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7" r:id="rId4"/>
    <p:sldMasterId id="2147483770" r:id="rId5"/>
    <p:sldMasterId id="2147483790" r:id="rId6"/>
    <p:sldMasterId id="2147483823" r:id="rId7"/>
    <p:sldMasterId id="2147483846" r:id="rId8"/>
  </p:sldMasterIdLst>
  <p:notesMasterIdLst>
    <p:notesMasterId r:id="rId56"/>
  </p:notesMasterIdLst>
  <p:handoutMasterIdLst>
    <p:handoutMasterId r:id="rId57"/>
  </p:handoutMasterIdLst>
  <p:sldIdLst>
    <p:sldId id="281" r:id="rId9"/>
    <p:sldId id="2076137520" r:id="rId10"/>
    <p:sldId id="2076137573" r:id="rId11"/>
    <p:sldId id="2076137522" r:id="rId12"/>
    <p:sldId id="2076137523" r:id="rId13"/>
    <p:sldId id="2076137524" r:id="rId14"/>
    <p:sldId id="2076137531" r:id="rId15"/>
    <p:sldId id="2076137578" r:id="rId16"/>
    <p:sldId id="2076137579" r:id="rId17"/>
    <p:sldId id="2076137580" r:id="rId18"/>
    <p:sldId id="2076137530" r:id="rId19"/>
    <p:sldId id="2076137586" r:id="rId20"/>
    <p:sldId id="2076137588" r:id="rId21"/>
    <p:sldId id="2076137590" r:id="rId22"/>
    <p:sldId id="2076137592" r:id="rId23"/>
    <p:sldId id="2076137629" r:id="rId24"/>
    <p:sldId id="2076137630" r:id="rId25"/>
    <p:sldId id="2076137598" r:id="rId26"/>
    <p:sldId id="2076137648" r:id="rId27"/>
    <p:sldId id="2076137644" r:id="rId28"/>
    <p:sldId id="2076137646" r:id="rId29"/>
    <p:sldId id="2076137585" r:id="rId30"/>
    <p:sldId id="2076137544" r:id="rId31"/>
    <p:sldId id="2076137619" r:id="rId32"/>
    <p:sldId id="2076136535" r:id="rId33"/>
    <p:sldId id="2076137608" r:id="rId34"/>
    <p:sldId id="2076137609" r:id="rId35"/>
    <p:sldId id="2076137548" r:id="rId36"/>
    <p:sldId id="2076137610" r:id="rId37"/>
    <p:sldId id="2076137611" r:id="rId38"/>
    <p:sldId id="2076137612" r:id="rId39"/>
    <p:sldId id="2076137614" r:id="rId40"/>
    <p:sldId id="2076137615" r:id="rId41"/>
    <p:sldId id="2076137616" r:id="rId42"/>
    <p:sldId id="288" r:id="rId43"/>
    <p:sldId id="2076137649" r:id="rId44"/>
    <p:sldId id="2076137581" r:id="rId45"/>
    <p:sldId id="2076137461" r:id="rId46"/>
    <p:sldId id="2076137462" r:id="rId47"/>
    <p:sldId id="2076137463" r:id="rId48"/>
    <p:sldId id="2076137464" r:id="rId49"/>
    <p:sldId id="2076137465" r:id="rId50"/>
    <p:sldId id="2076137466" r:id="rId51"/>
    <p:sldId id="2076137467" r:id="rId52"/>
    <p:sldId id="2076137468" r:id="rId53"/>
    <p:sldId id="2076137469" r:id="rId54"/>
    <p:sldId id="2076137470" r:id="rId55"/>
  </p:sldIdLst>
  <p:sldSz cx="12188825"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90FBF40A-C70F-4EC7-9EC6-349982121097}">
          <p14:sldIdLst/>
        </p14:section>
        <p14:section name="Setting the stage" id="{101787E6-78B9-4F66-9F70-9E3491981332}">
          <p14:sldIdLst>
            <p14:sldId id="281"/>
            <p14:sldId id="2076137520"/>
            <p14:sldId id="2076137573"/>
          </p14:sldIdLst>
        </p14:section>
        <p14:section name="Humans &amp; robots working together helps your business" id="{3EBCC8DD-83AC-4DA8-9CB6-C35C82BE1AE7}">
          <p14:sldIdLst>
            <p14:sldId id="2076137522"/>
            <p14:sldId id="2076137523"/>
            <p14:sldId id="2076137524"/>
            <p14:sldId id="2076137531"/>
            <p14:sldId id="2076137578"/>
            <p14:sldId id="2076137579"/>
            <p14:sldId id="2076137580"/>
          </p14:sldIdLst>
        </p14:section>
        <p14:section name="How employees work with robots" id="{82E86444-C3F3-44A8-83F3-FB6EFAE7603E}">
          <p14:sldIdLst>
            <p14:sldId id="2076137530"/>
            <p14:sldId id="2076137586"/>
            <p14:sldId id="2076137588"/>
            <p14:sldId id="2076137590"/>
            <p14:sldId id="2076137592"/>
            <p14:sldId id="2076137629"/>
            <p14:sldId id="2076137630"/>
            <p14:sldId id="2076137598"/>
            <p14:sldId id="2076137648"/>
            <p14:sldId id="2076137644"/>
            <p14:sldId id="2076137646"/>
            <p14:sldId id="2076137585"/>
          </p14:sldIdLst>
        </p14:section>
        <p14:section name="The leap to democratized development" id="{FF5FC450-6060-4FCF-BE3D-AC1E1732156A}">
          <p14:sldIdLst>
            <p14:sldId id="2076137544"/>
            <p14:sldId id="2076137619"/>
            <p14:sldId id="2076136535"/>
            <p14:sldId id="2076137608"/>
            <p14:sldId id="2076137609"/>
          </p14:sldIdLst>
        </p14:section>
        <p14:section name="Making it a reality" id="{EA9FE2BC-98B6-43B4-99AE-8A002D06A529}">
          <p14:sldIdLst>
            <p14:sldId id="2076137548"/>
            <p14:sldId id="2076137610"/>
            <p14:sldId id="2076137611"/>
            <p14:sldId id="2076137612"/>
            <p14:sldId id="2076137614"/>
            <p14:sldId id="2076137615"/>
            <p14:sldId id="2076137616"/>
            <p14:sldId id="288"/>
            <p14:sldId id="2076137649"/>
          </p14:sldIdLst>
        </p14:section>
        <p14:section name="Appendix 1" id="{D7429825-D877-40ED-B8AA-0DC7C812E827}">
          <p14:sldIdLst>
            <p14:sldId id="2076137581"/>
          </p14:sldIdLst>
        </p14:section>
        <p14:section name="Appendix 2" id="{CD297383-CA68-4E81-A8E0-4CB348025058}">
          <p14:sldIdLst>
            <p14:sldId id="2076137461"/>
            <p14:sldId id="2076137462"/>
            <p14:sldId id="2076137463"/>
            <p14:sldId id="2076137464"/>
            <p14:sldId id="2076137465"/>
            <p14:sldId id="2076137466"/>
            <p14:sldId id="2076137467"/>
            <p14:sldId id="2076137468"/>
            <p14:sldId id="2076137469"/>
            <p14:sldId id="2076137470"/>
          </p14:sldIdLst>
        </p14:section>
      </p14:sectionLst>
    </p:ext>
    <p:ext uri="{EFAFB233-063F-42B5-8137-9DF3F51BA10A}">
      <p15:sldGuideLst xmlns:p15="http://schemas.microsoft.com/office/powerpoint/2012/main">
        <p15:guide id="1" orient="horz" pos="1704" userDrawn="1">
          <p15:clr>
            <a:srgbClr val="A4A3A4"/>
          </p15:clr>
        </p15:guide>
        <p15:guide id="2" orient="horz" pos="2184" userDrawn="1">
          <p15:clr>
            <a:srgbClr val="A4A3A4"/>
          </p15:clr>
        </p15:guide>
        <p15:guide id="3" orient="horz" pos="2352" userDrawn="1">
          <p15:clr>
            <a:srgbClr val="A4A3A4"/>
          </p15:clr>
        </p15:guide>
        <p15:guide id="4" pos="3839">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D8DB12-67A7-74AF-2E59-0E4E98C13BB4}" name="Joe Edwards" initials="JE" userId="S::joe.edwards@uipath.com::39223b91-f526-46ee-9abc-4374bab9d57e" providerId="AD"/>
  <p188:author id="{491CB31F-3636-B71C-AFEB-2C2CF3C67683}" name="Karan Srivastava" initials="KS" userId="S::karan.srivastava@uipath.com::d8738c41-3b5b-4970-8727-c344f15c1bbb" providerId="AD"/>
  <p188:author id="{7A618722-1807-C578-9639-7EDB2A66665E}" name="Anastasia Milgramm" initials="AM" userId="S::anastasia.milgramm@uipath.com::61178a08-f856-440a-a9e9-e242861a0ddc" providerId="AD"/>
  <p188:author id="{8D432433-B01C-1007-B3C8-076414D991BE}" name="Peter Cook" initials="PC" userId="Peter Cook" providerId="None"/>
  <p188:author id="{12368438-FEA8-F0E5-592B-410D231B040F}" name="Anastasia Milgramm" initials="AM" userId="S::Anastasia.Milgramm@uipath.com::61178a08-f856-440a-a9e9-e242861a0ddc" providerId="AD"/>
  <p188:author id="{DC1E403F-B51B-DBA2-5C15-BD3D7912B967}" name="Anastasia Yasevych" initials="AY" userId="S::anastasia.yasevych@uipath.com::d4c0367b-b2b5-496f-8a7e-3377a287d0a6" providerId="AD"/>
  <p188:author id="{E48B1F54-6E4A-8FCF-3228-67157B9F07F1}" name="Anastasia Yasevych" initials="AY" userId="Anastasia Yasevych" providerId="None"/>
  <p188:author id="{1FCE7072-087A-166B-54AE-11EAEBAC443C}" name="Liji Kunnath" initials="LK" userId="S::liji.kunnath@uipath.com::b56cb6c4-213e-4aca-a879-4186ae26c8c7" providerId="AD"/>
  <p188:author id="{2B6FF3A0-80CD-E446-17CC-55A4C2578005}" name="Sophia Sembai" initials="SS" userId="S::sophia.sembai@uipath.com::927140e5-682a-4c26-8524-81cc1ea2b35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abriel Pana" initials="GP" lastIdx="6" clrIdx="6">
    <p:extLst>
      <p:ext uri="{19B8F6BF-5375-455C-9EA6-DF929625EA0E}">
        <p15:presenceInfo xmlns:p15="http://schemas.microsoft.com/office/powerpoint/2012/main" userId="S::gabriel.pana@uipath.com::fa6204ad-955a-4651-b968-ca3e1bbd8d67" providerId="AD"/>
      </p:ext>
    </p:extLst>
  </p:cmAuthor>
  <p:cmAuthor id="1" name="Diego Lomanto" initials="DL" lastIdx="90" clrIdx="0">
    <p:extLst>
      <p:ext uri="{19B8F6BF-5375-455C-9EA6-DF929625EA0E}">
        <p15:presenceInfo xmlns:p15="http://schemas.microsoft.com/office/powerpoint/2012/main" userId="Diego Lomanto" providerId="None"/>
      </p:ext>
    </p:extLst>
  </p:cmAuthor>
  <p:cmAuthor id="8" name="Brandon Nott" initials="BN" lastIdx="6" clrIdx="7">
    <p:extLst>
      <p:ext uri="{19B8F6BF-5375-455C-9EA6-DF929625EA0E}">
        <p15:presenceInfo xmlns:p15="http://schemas.microsoft.com/office/powerpoint/2012/main" userId="S::brandon.nott@uipath.com::b58393c7-6efd-4dbc-a939-b200cc345c86" providerId="AD"/>
      </p:ext>
    </p:extLst>
  </p:cmAuthor>
  <p:cmAuthor id="2" name="Anastasia Yasevych" initials="AY" lastIdx="34" clrIdx="1">
    <p:extLst>
      <p:ext uri="{19B8F6BF-5375-455C-9EA6-DF929625EA0E}">
        <p15:presenceInfo xmlns:p15="http://schemas.microsoft.com/office/powerpoint/2012/main" userId="S::anastasia.yasevych@uipath.com::d4c0367b-b2b5-496f-8a7e-3377a287d0a6" providerId="AD"/>
      </p:ext>
    </p:extLst>
  </p:cmAuthor>
  <p:cmAuthor id="9" name="Peter Cook" initials="PC" lastIdx="6" clrIdx="8">
    <p:extLst>
      <p:ext uri="{19B8F6BF-5375-455C-9EA6-DF929625EA0E}">
        <p15:presenceInfo xmlns:p15="http://schemas.microsoft.com/office/powerpoint/2012/main" userId="S::peter.cook@uipath.com::58beb6a7-a86c-4d02-9f95-efb1fbd1573b" providerId="AD"/>
      </p:ext>
    </p:extLst>
  </p:cmAuthor>
  <p:cmAuthor id="3" name="Joe Edwards" initials="JE" lastIdx="1" clrIdx="2">
    <p:extLst>
      <p:ext uri="{19B8F6BF-5375-455C-9EA6-DF929625EA0E}">
        <p15:presenceInfo xmlns:p15="http://schemas.microsoft.com/office/powerpoint/2012/main" userId="S::joe.edwards@uipath.com::39223b91-f526-46ee-9abc-4374bab9d57e" providerId="AD"/>
      </p:ext>
    </p:extLst>
  </p:cmAuthor>
  <p:cmAuthor id="10" name="Christopher George" initials="CG" lastIdx="2" clrIdx="9">
    <p:extLst>
      <p:ext uri="{19B8F6BF-5375-455C-9EA6-DF929625EA0E}">
        <p15:presenceInfo xmlns:p15="http://schemas.microsoft.com/office/powerpoint/2012/main" userId="S::christopher.george@uipath.com::9f2fd766-a540-4381-aeb5-016a1fd25962" providerId="AD"/>
      </p:ext>
    </p:extLst>
  </p:cmAuthor>
  <p:cmAuthor id="4" name="Jackie Smith" initials="JS" lastIdx="9" clrIdx="3">
    <p:extLst>
      <p:ext uri="{19B8F6BF-5375-455C-9EA6-DF929625EA0E}">
        <p15:presenceInfo xmlns:p15="http://schemas.microsoft.com/office/powerpoint/2012/main" userId="S::jackie.smith@uipath.com::f6825f8a-5bf4-449b-a5a9-c449a6f526e9" providerId="AD"/>
      </p:ext>
    </p:extLst>
  </p:cmAuthor>
  <p:cmAuthor id="5" name="JS" initials="JS" lastIdx="16" clrIdx="4">
    <p:extLst>
      <p:ext uri="{19B8F6BF-5375-455C-9EA6-DF929625EA0E}">
        <p15:presenceInfo xmlns:p15="http://schemas.microsoft.com/office/powerpoint/2012/main" userId="JS" providerId="None"/>
      </p:ext>
    </p:extLst>
  </p:cmAuthor>
  <p:cmAuthor id="6" name="Anastasia Yasevych" initials="AY [2]" lastIdx="1" clrIdx="5">
    <p:extLst>
      <p:ext uri="{19B8F6BF-5375-455C-9EA6-DF929625EA0E}">
        <p15:presenceInfo xmlns:p15="http://schemas.microsoft.com/office/powerpoint/2012/main" userId="7f05f12211c437a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8D90"/>
    <a:srgbClr val="F9FBFF"/>
    <a:srgbClr val="DFE3E3"/>
    <a:srgbClr val="0067DF"/>
    <a:srgbClr val="F2F2F2"/>
    <a:srgbClr val="EBEDED"/>
    <a:srgbClr val="434B4B"/>
    <a:srgbClr val="A3AEAE"/>
    <a:srgbClr val="58595B"/>
    <a:srgbClr val="9AA4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680" autoAdjust="0"/>
  </p:normalViewPr>
  <p:slideViewPr>
    <p:cSldViewPr snapToGrid="0">
      <p:cViewPr varScale="1">
        <p:scale>
          <a:sx n="94" d="100"/>
          <a:sy n="94" d="100"/>
        </p:scale>
        <p:origin x="216" y="84"/>
      </p:cViewPr>
      <p:guideLst>
        <p:guide orient="horz" pos="1704"/>
        <p:guide orient="horz" pos="2184"/>
        <p:guide orient="horz" pos="2352"/>
        <p:guide pos="383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662987422226891E-2"/>
          <c:y val="4.6172766372642796E-2"/>
          <c:w val="0.91303397530141384"/>
          <c:h val="0.91455517931793917"/>
        </c:manualLayout>
      </c:layout>
      <c:doughnutChart>
        <c:varyColors val="1"/>
        <c:ser>
          <c:idx val="0"/>
          <c:order val="0"/>
          <c:tx>
            <c:strRef>
              <c:f>Sheet1!$B$1</c:f>
              <c:strCache>
                <c:ptCount val="1"/>
                <c:pt idx="0">
                  <c:v>Sales</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1-8F1A-4940-9867-79C7E2D01048}"/>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8F1A-4940-9867-79C7E2D0104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F1A-4940-9867-79C7E2D01048}"/>
              </c:ext>
            </c:extLst>
          </c:dPt>
          <c:dPt>
            <c:idx val="3"/>
            <c:bubble3D val="0"/>
            <c:spPr>
              <a:solidFill>
                <a:schemeClr val="accent2"/>
              </a:solidFill>
              <a:ln w="19050">
                <a:solidFill>
                  <a:schemeClr val="lt1"/>
                </a:solidFill>
              </a:ln>
              <a:effectLst/>
            </c:spPr>
            <c:extLst>
              <c:ext xmlns:c16="http://schemas.microsoft.com/office/drawing/2014/chart" uri="{C3380CC4-5D6E-409C-BE32-E72D297353CC}">
                <c16:uniqueId val="{00000007-8F1A-4940-9867-79C7E2D01048}"/>
              </c:ext>
            </c:extLst>
          </c:dPt>
          <c:dPt>
            <c:idx val="4"/>
            <c:bubble3D val="0"/>
            <c:spPr>
              <a:noFill/>
              <a:ln w="19050">
                <a:noFill/>
              </a:ln>
              <a:effectLst/>
            </c:spPr>
            <c:extLst>
              <c:ext xmlns:c16="http://schemas.microsoft.com/office/drawing/2014/chart" uri="{C3380CC4-5D6E-409C-BE32-E72D297353CC}">
                <c16:uniqueId val="{0000000A-8F1A-4940-9867-79C7E2D01048}"/>
              </c:ext>
            </c:extLst>
          </c:dPt>
          <c:cat>
            <c:strRef>
              <c:f>Sheet1!$A$2:$A$6</c:f>
              <c:strCache>
                <c:ptCount val="4"/>
                <c:pt idx="0">
                  <c:v>More time for leisure/personal time</c:v>
                </c:pt>
                <c:pt idx="1">
                  <c:v>Learning a new skill (professional development) </c:v>
                </c:pt>
                <c:pt idx="2">
                  <c:v>Learning a new skill (personal development) </c:v>
                </c:pt>
                <c:pt idx="3">
                  <c:v>More time for critical tasks/value adding tasks </c:v>
                </c:pt>
              </c:strCache>
            </c:strRef>
          </c:cat>
          <c:val>
            <c:numRef>
              <c:f>Sheet1!$B$2:$B$6</c:f>
              <c:numCache>
                <c:formatCode>0%</c:formatCode>
                <c:ptCount val="5"/>
                <c:pt idx="0">
                  <c:v>0.16</c:v>
                </c:pt>
                <c:pt idx="1">
                  <c:v>0.22</c:v>
                </c:pt>
                <c:pt idx="2">
                  <c:v>0.27</c:v>
                </c:pt>
                <c:pt idx="3">
                  <c:v>0.33</c:v>
                </c:pt>
                <c:pt idx="4">
                  <c:v>0.98</c:v>
                </c:pt>
              </c:numCache>
            </c:numRef>
          </c:val>
          <c:extLst>
            <c:ext xmlns:c16="http://schemas.microsoft.com/office/drawing/2014/chart" uri="{C3380CC4-5D6E-409C-BE32-E72D297353CC}">
              <c16:uniqueId val="{00000008-8F1A-4940-9867-79C7E2D01048}"/>
            </c:ext>
          </c:extLst>
        </c:ser>
        <c:dLbls>
          <c:showLegendKey val="0"/>
          <c:showVal val="0"/>
          <c:showCatName val="0"/>
          <c:showSerName val="0"/>
          <c:showPercent val="0"/>
          <c:showBubbleSize val="0"/>
          <c:showLeaderLines val="1"/>
        </c:dLbls>
        <c:firstSliceAng val="18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3C52AC-B35A-CA4E-8A36-41D4C19C8B66}" type="datetimeFigureOut">
              <a:rPr lang="en-US" smtClean="0"/>
              <a:pPr/>
              <a:t>1/7/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49E16FA-277E-0C48-86CC-060AC9F2D5BB}" type="slidenum">
              <a:rPr lang="en-US" smtClean="0"/>
              <a:pPr/>
              <a:t>‹Nr.›</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5EF42A7-8624-5649-A655-6E2B4F25EC14}" type="datetimeFigureOut">
              <a:rPr lang="en-US" smtClean="0"/>
              <a:pPr/>
              <a:t>1/7/2022</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618B97D-45A5-1E45-A1E0-6392C6E84CC6}" type="slidenum">
              <a:rPr lang="en-US" smtClean="0"/>
              <a:pPr/>
              <a:t>‹Nr.›</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This deck is designed to be modular. </a:t>
            </a:r>
            <a:r>
              <a:rPr lang="en-US" sz="1200" dirty="0">
                <a:solidFill>
                  <a:schemeClr val="bg1"/>
                </a:solidFill>
              </a:rPr>
              <a:t>Please review each section and add in relevant slides, based on your customer’s industry/persona and/or where you are in the sales cycle. You can reference slide 2 for ideas on how to customize this deck for your customer.</a:t>
            </a:r>
          </a:p>
          <a:p>
            <a:pPr marL="0" marR="0" lvl="0" indent="0" algn="l" defTabSz="457200" rtl="0" eaLnBrk="1" fontAlgn="auto" latinLnBrk="0" hangingPunct="1">
              <a:lnSpc>
                <a:spcPct val="100000"/>
              </a:lnSpc>
              <a:spcBef>
                <a:spcPts val="0"/>
              </a:spcBef>
              <a:spcAft>
                <a:spcPts val="0"/>
              </a:spcAft>
              <a:buClrTx/>
              <a:buSzTx/>
              <a:buFontTx/>
              <a:buNone/>
              <a:tabLst/>
              <a:defRPr/>
            </a:pPr>
            <a:br>
              <a:rPr lang="en-US" sz="1200" dirty="0">
                <a:solidFill>
                  <a:schemeClr val="bg1"/>
                </a:solidFill>
              </a:rPr>
            </a:br>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2</a:t>
            </a:fld>
            <a:endParaRPr lang="en-US"/>
          </a:p>
        </p:txBody>
      </p:sp>
    </p:spTree>
    <p:extLst>
      <p:ext uri="{BB962C8B-B14F-4D97-AF65-F5344CB8AC3E}">
        <p14:creationId xmlns:p14="http://schemas.microsoft.com/office/powerpoint/2010/main" val="1626009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11</a:t>
            </a:fld>
            <a:endParaRPr lang="en-US"/>
          </a:p>
        </p:txBody>
      </p:sp>
    </p:spTree>
    <p:extLst>
      <p:ext uri="{BB962C8B-B14F-4D97-AF65-F5344CB8AC3E}">
        <p14:creationId xmlns:p14="http://schemas.microsoft.com/office/powerpoint/2010/main" val="6011091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12</a:t>
            </a:fld>
            <a:endParaRPr lang="en-US"/>
          </a:p>
        </p:txBody>
      </p:sp>
    </p:spTree>
    <p:extLst>
      <p:ext uri="{BB962C8B-B14F-4D97-AF65-F5344CB8AC3E}">
        <p14:creationId xmlns:p14="http://schemas.microsoft.com/office/powerpoint/2010/main" val="40619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13</a:t>
            </a:fld>
            <a:endParaRPr lang="en-US"/>
          </a:p>
        </p:txBody>
      </p:sp>
    </p:spTree>
    <p:extLst>
      <p:ext uri="{BB962C8B-B14F-4D97-AF65-F5344CB8AC3E}">
        <p14:creationId xmlns:p14="http://schemas.microsoft.com/office/powerpoint/2010/main" val="3057155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dirty="0">
              <a:solidFill>
                <a:schemeClr val="tx1"/>
              </a:solidFill>
            </a:endParaRPr>
          </a:p>
        </p:txBody>
      </p:sp>
      <p:sp>
        <p:nvSpPr>
          <p:cNvPr id="4" name="Slide Number Placeholder 3"/>
          <p:cNvSpPr>
            <a:spLocks noGrp="1"/>
          </p:cNvSpPr>
          <p:nvPr>
            <p:ph type="sldNum" sz="quarter" idx="5"/>
          </p:nvPr>
        </p:nvSpPr>
        <p:spPr/>
        <p:txBody>
          <a:bodyPr/>
          <a:lstStyle/>
          <a:p>
            <a:fld id="{1618B97D-45A5-1E45-A1E0-6392C6E84CC6}" type="slidenum">
              <a:rPr lang="en-US" smtClean="0"/>
              <a:pPr/>
              <a:t>14</a:t>
            </a:fld>
            <a:endParaRPr lang="en-US"/>
          </a:p>
        </p:txBody>
      </p:sp>
    </p:spTree>
    <p:extLst>
      <p:ext uri="{BB962C8B-B14F-4D97-AF65-F5344CB8AC3E}">
        <p14:creationId xmlns:p14="http://schemas.microsoft.com/office/powerpoint/2010/main" val="6919318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sz="1200"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15</a:t>
            </a:fld>
            <a:endParaRPr lang="en-US"/>
          </a:p>
        </p:txBody>
      </p:sp>
    </p:spTree>
    <p:extLst>
      <p:ext uri="{BB962C8B-B14F-4D97-AF65-F5344CB8AC3E}">
        <p14:creationId xmlns:p14="http://schemas.microsoft.com/office/powerpoint/2010/main" val="21070652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618B97D-45A5-1E45-A1E0-6392C6E84CC6}" type="slidenum">
              <a:rPr lang="en-US" smtClean="0"/>
              <a:pPr/>
              <a:t>16</a:t>
            </a:fld>
            <a:endParaRPr lang="en-US"/>
          </a:p>
        </p:txBody>
      </p:sp>
    </p:spTree>
    <p:extLst>
      <p:ext uri="{BB962C8B-B14F-4D97-AF65-F5344CB8AC3E}">
        <p14:creationId xmlns:p14="http://schemas.microsoft.com/office/powerpoint/2010/main" val="2361705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17</a:t>
            </a:fld>
            <a:endParaRPr lang="en-US"/>
          </a:p>
        </p:txBody>
      </p:sp>
    </p:spTree>
    <p:extLst>
      <p:ext uri="{BB962C8B-B14F-4D97-AF65-F5344CB8AC3E}">
        <p14:creationId xmlns:p14="http://schemas.microsoft.com/office/powerpoint/2010/main" val="1348807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18</a:t>
            </a:fld>
            <a:endParaRPr lang="en-US"/>
          </a:p>
        </p:txBody>
      </p:sp>
    </p:spTree>
    <p:extLst>
      <p:ext uri="{BB962C8B-B14F-4D97-AF65-F5344CB8AC3E}">
        <p14:creationId xmlns:p14="http://schemas.microsoft.com/office/powerpoint/2010/main" val="633413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19</a:t>
            </a:fld>
            <a:endParaRPr lang="en-US"/>
          </a:p>
        </p:txBody>
      </p:sp>
    </p:spTree>
    <p:extLst>
      <p:ext uri="{BB962C8B-B14F-4D97-AF65-F5344CB8AC3E}">
        <p14:creationId xmlns:p14="http://schemas.microsoft.com/office/powerpoint/2010/main" val="16786567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618B97D-45A5-1E45-A1E0-6392C6E84CC6}" type="slidenum">
              <a:rPr lang="en-US" smtClean="0"/>
              <a:pPr/>
              <a:t>20</a:t>
            </a:fld>
            <a:endParaRPr lang="en-US"/>
          </a:p>
        </p:txBody>
      </p:sp>
    </p:spTree>
    <p:extLst>
      <p:ext uri="{BB962C8B-B14F-4D97-AF65-F5344CB8AC3E}">
        <p14:creationId xmlns:p14="http://schemas.microsoft.com/office/powerpoint/2010/main" val="3128592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20817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cs typeface="+mn-lt"/>
            </a:endParaRPr>
          </a:p>
        </p:txBody>
      </p:sp>
      <p:sp>
        <p:nvSpPr>
          <p:cNvPr id="4" name="Slide Number Placeholder 3"/>
          <p:cNvSpPr>
            <a:spLocks noGrp="1"/>
          </p:cNvSpPr>
          <p:nvPr>
            <p:ph type="sldNum" sz="quarter" idx="5"/>
          </p:nvPr>
        </p:nvSpPr>
        <p:spPr/>
        <p:txBody>
          <a:bodyPr/>
          <a:lstStyle/>
          <a:p>
            <a:fld id="{1618B97D-45A5-1E45-A1E0-6392C6E84CC6}" type="slidenum">
              <a:rPr lang="en-US" smtClean="0"/>
              <a:pPr/>
              <a:t>21</a:t>
            </a:fld>
            <a:endParaRPr lang="en-US"/>
          </a:p>
        </p:txBody>
      </p:sp>
    </p:spTree>
    <p:extLst>
      <p:ext uri="{BB962C8B-B14F-4D97-AF65-F5344CB8AC3E}">
        <p14:creationId xmlns:p14="http://schemas.microsoft.com/office/powerpoint/2010/main" val="5102389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22</a:t>
            </a:fld>
            <a:endParaRPr lang="en-US"/>
          </a:p>
        </p:txBody>
      </p:sp>
    </p:spTree>
    <p:extLst>
      <p:ext uri="{BB962C8B-B14F-4D97-AF65-F5344CB8AC3E}">
        <p14:creationId xmlns:p14="http://schemas.microsoft.com/office/powerpoint/2010/main" val="2542613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23</a:t>
            </a:fld>
            <a:endParaRPr lang="en-US"/>
          </a:p>
        </p:txBody>
      </p:sp>
    </p:spTree>
    <p:extLst>
      <p:ext uri="{BB962C8B-B14F-4D97-AF65-F5344CB8AC3E}">
        <p14:creationId xmlns:p14="http://schemas.microsoft.com/office/powerpoint/2010/main" val="10470445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24</a:t>
            </a:fld>
            <a:endParaRPr lang="en-US"/>
          </a:p>
        </p:txBody>
      </p:sp>
    </p:spTree>
    <p:extLst>
      <p:ext uri="{BB962C8B-B14F-4D97-AF65-F5344CB8AC3E}">
        <p14:creationId xmlns:p14="http://schemas.microsoft.com/office/powerpoint/2010/main" val="3121756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83728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77745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27</a:t>
            </a:fld>
            <a:endParaRPr lang="en-US"/>
          </a:p>
        </p:txBody>
      </p:sp>
    </p:spTree>
    <p:extLst>
      <p:ext uri="{BB962C8B-B14F-4D97-AF65-F5344CB8AC3E}">
        <p14:creationId xmlns:p14="http://schemas.microsoft.com/office/powerpoint/2010/main" val="13332161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28</a:t>
            </a:fld>
            <a:endParaRPr lang="en-US"/>
          </a:p>
        </p:txBody>
      </p:sp>
    </p:spTree>
    <p:extLst>
      <p:ext uri="{BB962C8B-B14F-4D97-AF65-F5344CB8AC3E}">
        <p14:creationId xmlns:p14="http://schemas.microsoft.com/office/powerpoint/2010/main" val="22276563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29</a:t>
            </a:fld>
            <a:endParaRPr lang="en-US"/>
          </a:p>
        </p:txBody>
      </p:sp>
    </p:spTree>
    <p:extLst>
      <p:ext uri="{BB962C8B-B14F-4D97-AF65-F5344CB8AC3E}">
        <p14:creationId xmlns:p14="http://schemas.microsoft.com/office/powerpoint/2010/main" val="25392088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30</a:t>
            </a:fld>
            <a:endParaRPr lang="en-US"/>
          </a:p>
        </p:txBody>
      </p:sp>
    </p:spTree>
    <p:extLst>
      <p:ext uri="{BB962C8B-B14F-4D97-AF65-F5344CB8AC3E}">
        <p14:creationId xmlns:p14="http://schemas.microsoft.com/office/powerpoint/2010/main" val="2539208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4</a:t>
            </a:fld>
            <a:endParaRPr lang="en-US"/>
          </a:p>
        </p:txBody>
      </p:sp>
    </p:spTree>
    <p:extLst>
      <p:ext uri="{BB962C8B-B14F-4D97-AF65-F5344CB8AC3E}">
        <p14:creationId xmlns:p14="http://schemas.microsoft.com/office/powerpoint/2010/main" val="11262190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31</a:t>
            </a:fld>
            <a:endParaRPr lang="en-US"/>
          </a:p>
        </p:txBody>
      </p:sp>
    </p:spTree>
    <p:extLst>
      <p:ext uri="{BB962C8B-B14F-4D97-AF65-F5344CB8AC3E}">
        <p14:creationId xmlns:p14="http://schemas.microsoft.com/office/powerpoint/2010/main" val="25392088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9208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33</a:t>
            </a:fld>
            <a:endParaRPr lang="en-US"/>
          </a:p>
        </p:txBody>
      </p:sp>
    </p:spTree>
    <p:extLst>
      <p:ext uri="{BB962C8B-B14F-4D97-AF65-F5344CB8AC3E}">
        <p14:creationId xmlns:p14="http://schemas.microsoft.com/office/powerpoint/2010/main" val="25392088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34</a:t>
            </a:fld>
            <a:endParaRPr lang="en-US"/>
          </a:p>
        </p:txBody>
      </p:sp>
    </p:spTree>
    <p:extLst>
      <p:ext uri="{BB962C8B-B14F-4D97-AF65-F5344CB8AC3E}">
        <p14:creationId xmlns:p14="http://schemas.microsoft.com/office/powerpoint/2010/main" val="9139413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18B97D-45A5-1E45-A1E0-6392C6E84CC6}" type="slidenum">
              <a:rPr lang="en-US" smtClean="0"/>
              <a:pPr/>
              <a:t>37</a:t>
            </a:fld>
            <a:endParaRPr lang="en-US"/>
          </a:p>
        </p:txBody>
      </p:sp>
    </p:spTree>
    <p:extLst>
      <p:ext uri="{BB962C8B-B14F-4D97-AF65-F5344CB8AC3E}">
        <p14:creationId xmlns:p14="http://schemas.microsoft.com/office/powerpoint/2010/main" val="2613221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5</a:t>
            </a:fld>
            <a:endParaRPr lang="en-US"/>
          </a:p>
        </p:txBody>
      </p:sp>
    </p:spTree>
    <p:extLst>
      <p:ext uri="{BB962C8B-B14F-4D97-AF65-F5344CB8AC3E}">
        <p14:creationId xmlns:p14="http://schemas.microsoft.com/office/powerpoint/2010/main" val="1755004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a:solidFill>
                  <a:srgbClr val="000000"/>
                </a:solidFill>
                <a:effectLst/>
                <a:latin typeface="Inter"/>
              </a:rPr>
              <a:t>Imagine the business impact you’d see if each one of your employees could delegate manual work with a digital assistant. Similar to the way they work with Siri or Alexa or Google Home in their personal life, what if they had such an assistant at work?</a:t>
            </a:r>
          </a:p>
          <a:p>
            <a:pPr algn="l"/>
            <a:endParaRPr lang="en-GB" b="0" i="0">
              <a:solidFill>
                <a:srgbClr val="000000"/>
              </a:solidFill>
              <a:effectLst/>
              <a:latin typeface="Inter"/>
            </a:endParaRPr>
          </a:p>
          <a:p>
            <a:pPr algn="l"/>
            <a:r>
              <a:rPr lang="en-GB" b="0" i="0">
                <a:solidFill>
                  <a:srgbClr val="000000"/>
                </a:solidFill>
                <a:effectLst/>
                <a:latin typeface="Inter"/>
              </a:rPr>
              <a:t>Instead of spending hours on manual tasks that result in business losses, people would work:</a:t>
            </a:r>
            <a:br>
              <a:rPr lang="en-GB" b="0" i="0">
                <a:solidFill>
                  <a:srgbClr val="000000"/>
                </a:solidFill>
                <a:effectLst/>
                <a:latin typeface="Inter"/>
              </a:rPr>
            </a:br>
            <a:r>
              <a:rPr lang="en-GB" b="0" i="0">
                <a:solidFill>
                  <a:srgbClr val="000000"/>
                </a:solidFill>
                <a:effectLst/>
                <a:latin typeface="Inter"/>
              </a:rPr>
              <a:t>-faster</a:t>
            </a:r>
            <a:br>
              <a:rPr lang="en-GB" b="0" i="0">
                <a:solidFill>
                  <a:srgbClr val="000000"/>
                </a:solidFill>
                <a:effectLst/>
                <a:latin typeface="Inter"/>
              </a:rPr>
            </a:br>
            <a:r>
              <a:rPr lang="en-GB" b="0" i="0">
                <a:solidFill>
                  <a:srgbClr val="000000"/>
                </a:solidFill>
                <a:effectLst/>
                <a:latin typeface="Inter"/>
              </a:rPr>
              <a:t>-more creatively</a:t>
            </a:r>
            <a:br>
              <a:rPr lang="en-GB" b="0" i="0">
                <a:solidFill>
                  <a:srgbClr val="000000"/>
                </a:solidFill>
                <a:effectLst/>
                <a:latin typeface="Inter"/>
              </a:rPr>
            </a:br>
            <a:r>
              <a:rPr lang="en-GB" b="0" i="0">
                <a:solidFill>
                  <a:srgbClr val="000000"/>
                </a:solidFill>
                <a:effectLst/>
                <a:latin typeface="Inter"/>
              </a:rPr>
              <a:t>-with better accuracy</a:t>
            </a:r>
            <a:br>
              <a:rPr lang="en-GB" b="0" i="0">
                <a:solidFill>
                  <a:srgbClr val="000000"/>
                </a:solidFill>
                <a:effectLst/>
                <a:latin typeface="Inter"/>
              </a:rPr>
            </a:br>
            <a:r>
              <a:rPr lang="en-GB" b="0" i="0">
                <a:solidFill>
                  <a:srgbClr val="000000"/>
                </a:solidFill>
                <a:effectLst/>
                <a:latin typeface="Inter"/>
              </a:rPr>
              <a:t>-and on higher value tasks</a:t>
            </a:r>
            <a:br>
              <a:rPr lang="en-GB" b="0" i="0">
                <a:solidFill>
                  <a:srgbClr val="000000"/>
                </a:solidFill>
                <a:effectLst/>
                <a:latin typeface="Inter"/>
              </a:rPr>
            </a:br>
            <a:br>
              <a:rPr lang="en-GB" b="0" i="0">
                <a:solidFill>
                  <a:srgbClr val="000000"/>
                </a:solidFill>
                <a:effectLst/>
                <a:latin typeface="Inter"/>
              </a:rPr>
            </a:br>
            <a:r>
              <a:rPr lang="en-GB" b="0" i="0">
                <a:solidFill>
                  <a:srgbClr val="000000"/>
                </a:solidFill>
                <a:effectLst/>
                <a:latin typeface="Inter"/>
              </a:rPr>
              <a:t>[</a:t>
            </a:r>
            <a:r>
              <a:rPr lang="en-GB" b="1" i="1">
                <a:solidFill>
                  <a:srgbClr val="000000"/>
                </a:solidFill>
                <a:effectLst/>
                <a:latin typeface="Inter"/>
              </a:rPr>
              <a:t>Prompting question for the customer: </a:t>
            </a:r>
            <a:r>
              <a:rPr lang="en-GB" b="0" i="1">
                <a:solidFill>
                  <a:srgbClr val="273139"/>
                </a:solidFill>
                <a:effectLst/>
                <a:latin typeface="Inter"/>
              </a:rPr>
              <a:t>How do you think this would impact your employees’ productivity? What about their happiness? ]</a:t>
            </a:r>
            <a:br>
              <a:rPr lang="en-GB" b="0" i="0">
                <a:solidFill>
                  <a:srgbClr val="000000"/>
                </a:solidFill>
                <a:effectLst/>
                <a:latin typeface="Inter"/>
              </a:rPr>
            </a:br>
            <a:endParaRPr lang="en-GB" b="0" i="0">
              <a:solidFill>
                <a:srgbClr val="000000"/>
              </a:solidFill>
              <a:effectLst/>
              <a:latin typeface="Inter"/>
            </a:endParaRPr>
          </a:p>
          <a:p>
            <a:pPr algn="l"/>
            <a:r>
              <a:rPr lang="en-GB" b="1" i="0">
                <a:solidFill>
                  <a:srgbClr val="000000"/>
                </a:solidFill>
                <a:effectLst/>
                <a:latin typeface="Inter"/>
              </a:rPr>
              <a:t>Transition</a:t>
            </a:r>
            <a:r>
              <a:rPr lang="en-GB" b="0" i="0">
                <a:solidFill>
                  <a:srgbClr val="000000"/>
                </a:solidFill>
                <a:effectLst/>
                <a:latin typeface="Inter"/>
              </a:rPr>
              <a:t>: We recently did some analysis into whether employees actually </a:t>
            </a:r>
            <a:r>
              <a:rPr lang="en-GB" b="0" i="1">
                <a:solidFill>
                  <a:srgbClr val="000000"/>
                </a:solidFill>
                <a:effectLst/>
                <a:latin typeface="Inter"/>
              </a:rPr>
              <a:t>want</a:t>
            </a:r>
            <a:r>
              <a:rPr lang="en-GB" b="0" i="0">
                <a:solidFill>
                  <a:srgbClr val="000000"/>
                </a:solidFill>
                <a:effectLst/>
                <a:latin typeface="Inter"/>
              </a:rPr>
              <a:t> to work with automation – and how this will impact their productivity. Let’s take a look</a:t>
            </a:r>
            <a:endParaRPr lang="en-US"/>
          </a:p>
        </p:txBody>
      </p:sp>
      <p:sp>
        <p:nvSpPr>
          <p:cNvPr id="4" name="Slide Number Placeholder 3"/>
          <p:cNvSpPr>
            <a:spLocks noGrp="1"/>
          </p:cNvSpPr>
          <p:nvPr>
            <p:ph type="sldNum" sz="quarter" idx="5"/>
          </p:nvPr>
        </p:nvSpPr>
        <p:spPr/>
        <p:txBody>
          <a:bodyPr/>
          <a:lstStyle/>
          <a:p>
            <a:fld id="{1618B97D-45A5-1E45-A1E0-6392C6E84CC6}" type="slidenum">
              <a:rPr lang="en-US" smtClean="0"/>
              <a:pPr/>
              <a:t>6</a:t>
            </a:fld>
            <a:endParaRPr lang="en-US"/>
          </a:p>
        </p:txBody>
      </p:sp>
    </p:spTree>
    <p:extLst>
      <p:ext uri="{BB962C8B-B14F-4D97-AF65-F5344CB8AC3E}">
        <p14:creationId xmlns:p14="http://schemas.microsoft.com/office/powerpoint/2010/main" val="24130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7</a:t>
            </a:fld>
            <a:endParaRPr lang="en-US"/>
          </a:p>
        </p:txBody>
      </p:sp>
    </p:spTree>
    <p:extLst>
      <p:ext uri="{BB962C8B-B14F-4D97-AF65-F5344CB8AC3E}">
        <p14:creationId xmlns:p14="http://schemas.microsoft.com/office/powerpoint/2010/main" val="527133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8</a:t>
            </a:fld>
            <a:endParaRPr lang="en-US"/>
          </a:p>
        </p:txBody>
      </p:sp>
    </p:spTree>
    <p:extLst>
      <p:ext uri="{BB962C8B-B14F-4D97-AF65-F5344CB8AC3E}">
        <p14:creationId xmlns:p14="http://schemas.microsoft.com/office/powerpoint/2010/main" val="2922691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5835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91455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14.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8.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 Grid Light">
    <p:bg>
      <p:bgPr>
        <a:solidFill>
          <a:schemeClr val="bg2"/>
        </a:solidFill>
        <a:effectLst/>
      </p:bgPr>
    </p:bg>
    <p:spTree>
      <p:nvGrpSpPr>
        <p:cNvPr id="1" name=""/>
        <p:cNvGrpSpPr/>
        <p:nvPr/>
      </p:nvGrpSpPr>
      <p:grpSpPr>
        <a:xfrm>
          <a:off x="0" y="0"/>
          <a:ext cx="0" cy="0"/>
          <a:chOff x="0" y="0"/>
          <a:chExt cx="0" cy="0"/>
        </a:xfrm>
      </p:grpSpPr>
      <p:sp>
        <p:nvSpPr>
          <p:cNvPr id="2443" name="Freeform: Shape 2442">
            <a:extLst>
              <a:ext uri="{FF2B5EF4-FFF2-40B4-BE49-F238E27FC236}">
                <a16:creationId xmlns:a16="http://schemas.microsoft.com/office/drawing/2014/main" id="{E8FEADB5-2655-4BB8-AAE4-1B87200EA56F}"/>
              </a:ext>
            </a:extLst>
          </p:cNvPr>
          <p:cNvSpPr/>
          <p:nvPr/>
        </p:nvSpPr>
        <p:spPr>
          <a:xfrm>
            <a:off x="252826" y="222349"/>
            <a:ext cx="11701760" cy="6407421"/>
          </a:xfrm>
          <a:custGeom>
            <a:avLst/>
            <a:gdLst>
              <a:gd name="connsiteX0" fmla="*/ 11672158 w 11701760"/>
              <a:gd name="connsiteY0" fmla="*/ 6377925 h 6407421"/>
              <a:gd name="connsiteX1" fmla="*/ 11701760 w 11701760"/>
              <a:gd name="connsiteY1" fmla="*/ 6377925 h 6407421"/>
              <a:gd name="connsiteX2" fmla="*/ 11701760 w 11701760"/>
              <a:gd name="connsiteY2" fmla="*/ 6407421 h 6407421"/>
              <a:gd name="connsiteX3" fmla="*/ 11672158 w 11701760"/>
              <a:gd name="connsiteY3" fmla="*/ 6407421 h 6407421"/>
              <a:gd name="connsiteX4" fmla="*/ 11405961 w 11701760"/>
              <a:gd name="connsiteY4" fmla="*/ 6377925 h 6407421"/>
              <a:gd name="connsiteX5" fmla="*/ 11435563 w 11701760"/>
              <a:gd name="connsiteY5" fmla="*/ 6377925 h 6407421"/>
              <a:gd name="connsiteX6" fmla="*/ 11435563 w 11701760"/>
              <a:gd name="connsiteY6" fmla="*/ 6407421 h 6407421"/>
              <a:gd name="connsiteX7" fmla="*/ 11405961 w 11701760"/>
              <a:gd name="connsiteY7" fmla="*/ 6407421 h 6407421"/>
              <a:gd name="connsiteX8" fmla="*/ 11139872 w 11701760"/>
              <a:gd name="connsiteY8" fmla="*/ 6377925 h 6407421"/>
              <a:gd name="connsiteX9" fmla="*/ 11169474 w 11701760"/>
              <a:gd name="connsiteY9" fmla="*/ 6377925 h 6407421"/>
              <a:gd name="connsiteX10" fmla="*/ 11169474 w 11701760"/>
              <a:gd name="connsiteY10" fmla="*/ 6407421 h 6407421"/>
              <a:gd name="connsiteX11" fmla="*/ 11139872 w 11701760"/>
              <a:gd name="connsiteY11" fmla="*/ 6407421 h 6407421"/>
              <a:gd name="connsiteX12" fmla="*/ 10873675 w 11701760"/>
              <a:gd name="connsiteY12" fmla="*/ 6377925 h 6407421"/>
              <a:gd name="connsiteX13" fmla="*/ 10903277 w 11701760"/>
              <a:gd name="connsiteY13" fmla="*/ 6377925 h 6407421"/>
              <a:gd name="connsiteX14" fmla="*/ 10903277 w 11701760"/>
              <a:gd name="connsiteY14" fmla="*/ 6407421 h 6407421"/>
              <a:gd name="connsiteX15" fmla="*/ 10873675 w 11701760"/>
              <a:gd name="connsiteY15" fmla="*/ 6407421 h 6407421"/>
              <a:gd name="connsiteX16" fmla="*/ 10607478 w 11701760"/>
              <a:gd name="connsiteY16" fmla="*/ 6377925 h 6407421"/>
              <a:gd name="connsiteX17" fmla="*/ 10637188 w 11701760"/>
              <a:gd name="connsiteY17" fmla="*/ 6377925 h 6407421"/>
              <a:gd name="connsiteX18" fmla="*/ 10637188 w 11701760"/>
              <a:gd name="connsiteY18" fmla="*/ 6407421 h 6407421"/>
              <a:gd name="connsiteX19" fmla="*/ 10607478 w 11701760"/>
              <a:gd name="connsiteY19" fmla="*/ 6407421 h 6407421"/>
              <a:gd name="connsiteX20" fmla="*/ 10341389 w 11701760"/>
              <a:gd name="connsiteY20" fmla="*/ 6377925 h 6407421"/>
              <a:gd name="connsiteX21" fmla="*/ 10370992 w 11701760"/>
              <a:gd name="connsiteY21" fmla="*/ 6377925 h 6407421"/>
              <a:gd name="connsiteX22" fmla="*/ 10370992 w 11701760"/>
              <a:gd name="connsiteY22" fmla="*/ 6407421 h 6407421"/>
              <a:gd name="connsiteX23" fmla="*/ 10341389 w 11701760"/>
              <a:gd name="connsiteY23" fmla="*/ 6407421 h 6407421"/>
              <a:gd name="connsiteX24" fmla="*/ 10075192 w 11701760"/>
              <a:gd name="connsiteY24" fmla="*/ 6377925 h 6407421"/>
              <a:gd name="connsiteX25" fmla="*/ 10104794 w 11701760"/>
              <a:gd name="connsiteY25" fmla="*/ 6377925 h 6407421"/>
              <a:gd name="connsiteX26" fmla="*/ 10104794 w 11701760"/>
              <a:gd name="connsiteY26" fmla="*/ 6407421 h 6407421"/>
              <a:gd name="connsiteX27" fmla="*/ 10075192 w 11701760"/>
              <a:gd name="connsiteY27" fmla="*/ 6407421 h 6407421"/>
              <a:gd name="connsiteX28" fmla="*/ 9809103 w 11701760"/>
              <a:gd name="connsiteY28" fmla="*/ 6377925 h 6407421"/>
              <a:gd name="connsiteX29" fmla="*/ 9838705 w 11701760"/>
              <a:gd name="connsiteY29" fmla="*/ 6377925 h 6407421"/>
              <a:gd name="connsiteX30" fmla="*/ 9838705 w 11701760"/>
              <a:gd name="connsiteY30" fmla="*/ 6407421 h 6407421"/>
              <a:gd name="connsiteX31" fmla="*/ 9809103 w 11701760"/>
              <a:gd name="connsiteY31" fmla="*/ 6407421 h 6407421"/>
              <a:gd name="connsiteX32" fmla="*/ 9542906 w 11701760"/>
              <a:gd name="connsiteY32" fmla="*/ 6377925 h 6407421"/>
              <a:gd name="connsiteX33" fmla="*/ 9572509 w 11701760"/>
              <a:gd name="connsiteY33" fmla="*/ 6377925 h 6407421"/>
              <a:gd name="connsiteX34" fmla="*/ 9572509 w 11701760"/>
              <a:gd name="connsiteY34" fmla="*/ 6407421 h 6407421"/>
              <a:gd name="connsiteX35" fmla="*/ 9542906 w 11701760"/>
              <a:gd name="connsiteY35" fmla="*/ 6407421 h 6407421"/>
              <a:gd name="connsiteX36" fmla="*/ 9276817 w 11701760"/>
              <a:gd name="connsiteY36" fmla="*/ 6377925 h 6407421"/>
              <a:gd name="connsiteX37" fmla="*/ 9306420 w 11701760"/>
              <a:gd name="connsiteY37" fmla="*/ 6377925 h 6407421"/>
              <a:gd name="connsiteX38" fmla="*/ 9306420 w 11701760"/>
              <a:gd name="connsiteY38" fmla="*/ 6407421 h 6407421"/>
              <a:gd name="connsiteX39" fmla="*/ 9276817 w 11701760"/>
              <a:gd name="connsiteY39" fmla="*/ 6407421 h 6407421"/>
              <a:gd name="connsiteX40" fmla="*/ 9010620 w 11701760"/>
              <a:gd name="connsiteY40" fmla="*/ 6377925 h 6407421"/>
              <a:gd name="connsiteX41" fmla="*/ 9040222 w 11701760"/>
              <a:gd name="connsiteY41" fmla="*/ 6377925 h 6407421"/>
              <a:gd name="connsiteX42" fmla="*/ 9040222 w 11701760"/>
              <a:gd name="connsiteY42" fmla="*/ 6407421 h 6407421"/>
              <a:gd name="connsiteX43" fmla="*/ 9010620 w 11701760"/>
              <a:gd name="connsiteY43" fmla="*/ 6407421 h 6407421"/>
              <a:gd name="connsiteX44" fmla="*/ 8744423 w 11701760"/>
              <a:gd name="connsiteY44" fmla="*/ 6377925 h 6407421"/>
              <a:gd name="connsiteX45" fmla="*/ 8774026 w 11701760"/>
              <a:gd name="connsiteY45" fmla="*/ 6377925 h 6407421"/>
              <a:gd name="connsiteX46" fmla="*/ 8774026 w 11701760"/>
              <a:gd name="connsiteY46" fmla="*/ 6407421 h 6407421"/>
              <a:gd name="connsiteX47" fmla="*/ 8744423 w 11701760"/>
              <a:gd name="connsiteY47" fmla="*/ 6407421 h 6407421"/>
              <a:gd name="connsiteX48" fmla="*/ 8478226 w 11701760"/>
              <a:gd name="connsiteY48" fmla="*/ 6377925 h 6407421"/>
              <a:gd name="connsiteX49" fmla="*/ 8507828 w 11701760"/>
              <a:gd name="connsiteY49" fmla="*/ 6377925 h 6407421"/>
              <a:gd name="connsiteX50" fmla="*/ 8507828 w 11701760"/>
              <a:gd name="connsiteY50" fmla="*/ 6407421 h 6407421"/>
              <a:gd name="connsiteX51" fmla="*/ 8478226 w 11701760"/>
              <a:gd name="connsiteY51" fmla="*/ 6407421 h 6407421"/>
              <a:gd name="connsiteX52" fmla="*/ 8212137 w 11701760"/>
              <a:gd name="connsiteY52" fmla="*/ 6377925 h 6407421"/>
              <a:gd name="connsiteX53" fmla="*/ 8241740 w 11701760"/>
              <a:gd name="connsiteY53" fmla="*/ 6377925 h 6407421"/>
              <a:gd name="connsiteX54" fmla="*/ 8241740 w 11701760"/>
              <a:gd name="connsiteY54" fmla="*/ 6407421 h 6407421"/>
              <a:gd name="connsiteX55" fmla="*/ 8212137 w 11701760"/>
              <a:gd name="connsiteY55" fmla="*/ 6407421 h 6407421"/>
              <a:gd name="connsiteX56" fmla="*/ 7945940 w 11701760"/>
              <a:gd name="connsiteY56" fmla="*/ 6377925 h 6407421"/>
              <a:gd name="connsiteX57" fmla="*/ 7975543 w 11701760"/>
              <a:gd name="connsiteY57" fmla="*/ 6377925 h 6407421"/>
              <a:gd name="connsiteX58" fmla="*/ 7975543 w 11701760"/>
              <a:gd name="connsiteY58" fmla="*/ 6407421 h 6407421"/>
              <a:gd name="connsiteX59" fmla="*/ 7945940 w 11701760"/>
              <a:gd name="connsiteY59" fmla="*/ 6407421 h 6407421"/>
              <a:gd name="connsiteX60" fmla="*/ 7679743 w 11701760"/>
              <a:gd name="connsiteY60" fmla="*/ 6377925 h 6407421"/>
              <a:gd name="connsiteX61" fmla="*/ 7709346 w 11701760"/>
              <a:gd name="connsiteY61" fmla="*/ 6377925 h 6407421"/>
              <a:gd name="connsiteX62" fmla="*/ 7709346 w 11701760"/>
              <a:gd name="connsiteY62" fmla="*/ 6407421 h 6407421"/>
              <a:gd name="connsiteX63" fmla="*/ 7679743 w 11701760"/>
              <a:gd name="connsiteY63" fmla="*/ 6407421 h 6407421"/>
              <a:gd name="connsiteX64" fmla="*/ 7413653 w 11701760"/>
              <a:gd name="connsiteY64" fmla="*/ 6377925 h 6407421"/>
              <a:gd name="connsiteX65" fmla="*/ 7443256 w 11701760"/>
              <a:gd name="connsiteY65" fmla="*/ 6377925 h 6407421"/>
              <a:gd name="connsiteX66" fmla="*/ 7443256 w 11701760"/>
              <a:gd name="connsiteY66" fmla="*/ 6407421 h 6407421"/>
              <a:gd name="connsiteX67" fmla="*/ 7413653 w 11701760"/>
              <a:gd name="connsiteY67" fmla="*/ 6407421 h 6407421"/>
              <a:gd name="connsiteX68" fmla="*/ 7147456 w 11701760"/>
              <a:gd name="connsiteY68" fmla="*/ 6377925 h 6407421"/>
              <a:gd name="connsiteX69" fmla="*/ 7177058 w 11701760"/>
              <a:gd name="connsiteY69" fmla="*/ 6377925 h 6407421"/>
              <a:gd name="connsiteX70" fmla="*/ 7177058 w 11701760"/>
              <a:gd name="connsiteY70" fmla="*/ 6407421 h 6407421"/>
              <a:gd name="connsiteX71" fmla="*/ 7147456 w 11701760"/>
              <a:gd name="connsiteY71" fmla="*/ 6407421 h 6407421"/>
              <a:gd name="connsiteX72" fmla="*/ 6881367 w 11701760"/>
              <a:gd name="connsiteY72" fmla="*/ 6377925 h 6407421"/>
              <a:gd name="connsiteX73" fmla="*/ 6910970 w 11701760"/>
              <a:gd name="connsiteY73" fmla="*/ 6377925 h 6407421"/>
              <a:gd name="connsiteX74" fmla="*/ 6910970 w 11701760"/>
              <a:gd name="connsiteY74" fmla="*/ 6407421 h 6407421"/>
              <a:gd name="connsiteX75" fmla="*/ 6881367 w 11701760"/>
              <a:gd name="connsiteY75" fmla="*/ 6407421 h 6407421"/>
              <a:gd name="connsiteX76" fmla="*/ 6615170 w 11701760"/>
              <a:gd name="connsiteY76" fmla="*/ 6377925 h 6407421"/>
              <a:gd name="connsiteX77" fmla="*/ 6644773 w 11701760"/>
              <a:gd name="connsiteY77" fmla="*/ 6377925 h 6407421"/>
              <a:gd name="connsiteX78" fmla="*/ 6644773 w 11701760"/>
              <a:gd name="connsiteY78" fmla="*/ 6407421 h 6407421"/>
              <a:gd name="connsiteX79" fmla="*/ 6615170 w 11701760"/>
              <a:gd name="connsiteY79" fmla="*/ 6407421 h 6407421"/>
              <a:gd name="connsiteX80" fmla="*/ 6349081 w 11701760"/>
              <a:gd name="connsiteY80" fmla="*/ 6377925 h 6407421"/>
              <a:gd name="connsiteX81" fmla="*/ 6378683 w 11701760"/>
              <a:gd name="connsiteY81" fmla="*/ 6377925 h 6407421"/>
              <a:gd name="connsiteX82" fmla="*/ 6378683 w 11701760"/>
              <a:gd name="connsiteY82" fmla="*/ 6407421 h 6407421"/>
              <a:gd name="connsiteX83" fmla="*/ 6349081 w 11701760"/>
              <a:gd name="connsiteY83" fmla="*/ 6407421 h 6407421"/>
              <a:gd name="connsiteX84" fmla="*/ 6082884 w 11701760"/>
              <a:gd name="connsiteY84" fmla="*/ 6377925 h 6407421"/>
              <a:gd name="connsiteX85" fmla="*/ 6112486 w 11701760"/>
              <a:gd name="connsiteY85" fmla="*/ 6377925 h 6407421"/>
              <a:gd name="connsiteX86" fmla="*/ 6112486 w 11701760"/>
              <a:gd name="connsiteY86" fmla="*/ 6407421 h 6407421"/>
              <a:gd name="connsiteX87" fmla="*/ 6082884 w 11701760"/>
              <a:gd name="connsiteY87" fmla="*/ 6407421 h 6407421"/>
              <a:gd name="connsiteX88" fmla="*/ 5825310 w 11701760"/>
              <a:gd name="connsiteY88" fmla="*/ 6377925 h 6407421"/>
              <a:gd name="connsiteX89" fmla="*/ 5854913 w 11701760"/>
              <a:gd name="connsiteY89" fmla="*/ 6377925 h 6407421"/>
              <a:gd name="connsiteX90" fmla="*/ 5854913 w 11701760"/>
              <a:gd name="connsiteY90" fmla="*/ 6407421 h 6407421"/>
              <a:gd name="connsiteX91" fmla="*/ 5825310 w 11701760"/>
              <a:gd name="connsiteY91" fmla="*/ 6407421 h 6407421"/>
              <a:gd name="connsiteX92" fmla="*/ 5559113 w 11701760"/>
              <a:gd name="connsiteY92" fmla="*/ 6377925 h 6407421"/>
              <a:gd name="connsiteX93" fmla="*/ 5588715 w 11701760"/>
              <a:gd name="connsiteY93" fmla="*/ 6377925 h 6407421"/>
              <a:gd name="connsiteX94" fmla="*/ 5588715 w 11701760"/>
              <a:gd name="connsiteY94" fmla="*/ 6407421 h 6407421"/>
              <a:gd name="connsiteX95" fmla="*/ 5559113 w 11701760"/>
              <a:gd name="connsiteY95" fmla="*/ 6407421 h 6407421"/>
              <a:gd name="connsiteX96" fmla="*/ 5293024 w 11701760"/>
              <a:gd name="connsiteY96" fmla="*/ 6377925 h 6407421"/>
              <a:gd name="connsiteX97" fmla="*/ 5322626 w 11701760"/>
              <a:gd name="connsiteY97" fmla="*/ 6377925 h 6407421"/>
              <a:gd name="connsiteX98" fmla="*/ 5322626 w 11701760"/>
              <a:gd name="connsiteY98" fmla="*/ 6407421 h 6407421"/>
              <a:gd name="connsiteX99" fmla="*/ 5293024 w 11701760"/>
              <a:gd name="connsiteY99" fmla="*/ 6407421 h 6407421"/>
              <a:gd name="connsiteX100" fmla="*/ 5026827 w 11701760"/>
              <a:gd name="connsiteY100" fmla="*/ 6377925 h 6407421"/>
              <a:gd name="connsiteX101" fmla="*/ 5056429 w 11701760"/>
              <a:gd name="connsiteY101" fmla="*/ 6377925 h 6407421"/>
              <a:gd name="connsiteX102" fmla="*/ 5056429 w 11701760"/>
              <a:gd name="connsiteY102" fmla="*/ 6407421 h 6407421"/>
              <a:gd name="connsiteX103" fmla="*/ 5026827 w 11701760"/>
              <a:gd name="connsiteY103" fmla="*/ 6407421 h 6407421"/>
              <a:gd name="connsiteX104" fmla="*/ 4760630 w 11701760"/>
              <a:gd name="connsiteY104" fmla="*/ 6377925 h 6407421"/>
              <a:gd name="connsiteX105" fmla="*/ 4790340 w 11701760"/>
              <a:gd name="connsiteY105" fmla="*/ 6377925 h 6407421"/>
              <a:gd name="connsiteX106" fmla="*/ 4790340 w 11701760"/>
              <a:gd name="connsiteY106" fmla="*/ 6407421 h 6407421"/>
              <a:gd name="connsiteX107" fmla="*/ 4760630 w 11701760"/>
              <a:gd name="connsiteY107" fmla="*/ 6407421 h 6407421"/>
              <a:gd name="connsiteX108" fmla="*/ 4494541 w 11701760"/>
              <a:gd name="connsiteY108" fmla="*/ 6377925 h 6407421"/>
              <a:gd name="connsiteX109" fmla="*/ 4524144 w 11701760"/>
              <a:gd name="connsiteY109" fmla="*/ 6377925 h 6407421"/>
              <a:gd name="connsiteX110" fmla="*/ 4524144 w 11701760"/>
              <a:gd name="connsiteY110" fmla="*/ 6407421 h 6407421"/>
              <a:gd name="connsiteX111" fmla="*/ 4494541 w 11701760"/>
              <a:gd name="connsiteY111" fmla="*/ 6407421 h 6407421"/>
              <a:gd name="connsiteX112" fmla="*/ 4228344 w 11701760"/>
              <a:gd name="connsiteY112" fmla="*/ 6377925 h 6407421"/>
              <a:gd name="connsiteX113" fmla="*/ 4257946 w 11701760"/>
              <a:gd name="connsiteY113" fmla="*/ 6377925 h 6407421"/>
              <a:gd name="connsiteX114" fmla="*/ 4257946 w 11701760"/>
              <a:gd name="connsiteY114" fmla="*/ 6407421 h 6407421"/>
              <a:gd name="connsiteX115" fmla="*/ 4228344 w 11701760"/>
              <a:gd name="connsiteY115" fmla="*/ 6407421 h 6407421"/>
              <a:gd name="connsiteX116" fmla="*/ 3962255 w 11701760"/>
              <a:gd name="connsiteY116" fmla="*/ 6377925 h 6407421"/>
              <a:gd name="connsiteX117" fmla="*/ 3991857 w 11701760"/>
              <a:gd name="connsiteY117" fmla="*/ 6377925 h 6407421"/>
              <a:gd name="connsiteX118" fmla="*/ 3991857 w 11701760"/>
              <a:gd name="connsiteY118" fmla="*/ 6407421 h 6407421"/>
              <a:gd name="connsiteX119" fmla="*/ 3962255 w 11701760"/>
              <a:gd name="connsiteY119" fmla="*/ 6407421 h 6407421"/>
              <a:gd name="connsiteX120" fmla="*/ 3696058 w 11701760"/>
              <a:gd name="connsiteY120" fmla="*/ 6377925 h 6407421"/>
              <a:gd name="connsiteX121" fmla="*/ 3725661 w 11701760"/>
              <a:gd name="connsiteY121" fmla="*/ 6377925 h 6407421"/>
              <a:gd name="connsiteX122" fmla="*/ 3725661 w 11701760"/>
              <a:gd name="connsiteY122" fmla="*/ 6407421 h 6407421"/>
              <a:gd name="connsiteX123" fmla="*/ 3696058 w 11701760"/>
              <a:gd name="connsiteY123" fmla="*/ 6407421 h 6407421"/>
              <a:gd name="connsiteX124" fmla="*/ 3429969 w 11701760"/>
              <a:gd name="connsiteY124" fmla="*/ 6377925 h 6407421"/>
              <a:gd name="connsiteX125" fmla="*/ 3459572 w 11701760"/>
              <a:gd name="connsiteY125" fmla="*/ 6377925 h 6407421"/>
              <a:gd name="connsiteX126" fmla="*/ 3459572 w 11701760"/>
              <a:gd name="connsiteY126" fmla="*/ 6407421 h 6407421"/>
              <a:gd name="connsiteX127" fmla="*/ 3429969 w 11701760"/>
              <a:gd name="connsiteY127" fmla="*/ 6407421 h 6407421"/>
              <a:gd name="connsiteX128" fmla="*/ 3163772 w 11701760"/>
              <a:gd name="connsiteY128" fmla="*/ 6377925 h 6407421"/>
              <a:gd name="connsiteX129" fmla="*/ 3193374 w 11701760"/>
              <a:gd name="connsiteY129" fmla="*/ 6377925 h 6407421"/>
              <a:gd name="connsiteX130" fmla="*/ 3193374 w 11701760"/>
              <a:gd name="connsiteY130" fmla="*/ 6407421 h 6407421"/>
              <a:gd name="connsiteX131" fmla="*/ 3163772 w 11701760"/>
              <a:gd name="connsiteY131" fmla="*/ 6407421 h 6407421"/>
              <a:gd name="connsiteX132" fmla="*/ 2897575 w 11701760"/>
              <a:gd name="connsiteY132" fmla="*/ 6377925 h 6407421"/>
              <a:gd name="connsiteX133" fmla="*/ 2927178 w 11701760"/>
              <a:gd name="connsiteY133" fmla="*/ 6377925 h 6407421"/>
              <a:gd name="connsiteX134" fmla="*/ 2927178 w 11701760"/>
              <a:gd name="connsiteY134" fmla="*/ 6407421 h 6407421"/>
              <a:gd name="connsiteX135" fmla="*/ 2897575 w 11701760"/>
              <a:gd name="connsiteY135" fmla="*/ 6407421 h 6407421"/>
              <a:gd name="connsiteX136" fmla="*/ 2631378 w 11701760"/>
              <a:gd name="connsiteY136" fmla="*/ 6377925 h 6407421"/>
              <a:gd name="connsiteX137" fmla="*/ 2660980 w 11701760"/>
              <a:gd name="connsiteY137" fmla="*/ 6377925 h 6407421"/>
              <a:gd name="connsiteX138" fmla="*/ 2660980 w 11701760"/>
              <a:gd name="connsiteY138" fmla="*/ 6407421 h 6407421"/>
              <a:gd name="connsiteX139" fmla="*/ 2631378 w 11701760"/>
              <a:gd name="connsiteY139" fmla="*/ 6407421 h 6407421"/>
              <a:gd name="connsiteX140" fmla="*/ 2365289 w 11701760"/>
              <a:gd name="connsiteY140" fmla="*/ 6377925 h 6407421"/>
              <a:gd name="connsiteX141" fmla="*/ 2394892 w 11701760"/>
              <a:gd name="connsiteY141" fmla="*/ 6377925 h 6407421"/>
              <a:gd name="connsiteX142" fmla="*/ 2394892 w 11701760"/>
              <a:gd name="connsiteY142" fmla="*/ 6407421 h 6407421"/>
              <a:gd name="connsiteX143" fmla="*/ 2365289 w 11701760"/>
              <a:gd name="connsiteY143" fmla="*/ 6407421 h 6407421"/>
              <a:gd name="connsiteX144" fmla="*/ 2099092 w 11701760"/>
              <a:gd name="connsiteY144" fmla="*/ 6377925 h 6407421"/>
              <a:gd name="connsiteX145" fmla="*/ 2128695 w 11701760"/>
              <a:gd name="connsiteY145" fmla="*/ 6377925 h 6407421"/>
              <a:gd name="connsiteX146" fmla="*/ 2128695 w 11701760"/>
              <a:gd name="connsiteY146" fmla="*/ 6407421 h 6407421"/>
              <a:gd name="connsiteX147" fmla="*/ 2099092 w 11701760"/>
              <a:gd name="connsiteY147" fmla="*/ 6407421 h 6407421"/>
              <a:gd name="connsiteX148" fmla="*/ 1832898 w 11701760"/>
              <a:gd name="connsiteY148" fmla="*/ 6377925 h 6407421"/>
              <a:gd name="connsiteX149" fmla="*/ 1862498 w 11701760"/>
              <a:gd name="connsiteY149" fmla="*/ 6377925 h 6407421"/>
              <a:gd name="connsiteX150" fmla="*/ 1862498 w 11701760"/>
              <a:gd name="connsiteY150" fmla="*/ 6407421 h 6407421"/>
              <a:gd name="connsiteX151" fmla="*/ 1832898 w 11701760"/>
              <a:gd name="connsiteY151" fmla="*/ 6407421 h 6407421"/>
              <a:gd name="connsiteX152" fmla="*/ 1566808 w 11701760"/>
              <a:gd name="connsiteY152" fmla="*/ 6377925 h 6407421"/>
              <a:gd name="connsiteX153" fmla="*/ 1596409 w 11701760"/>
              <a:gd name="connsiteY153" fmla="*/ 6377925 h 6407421"/>
              <a:gd name="connsiteX154" fmla="*/ 1596409 w 11701760"/>
              <a:gd name="connsiteY154" fmla="*/ 6407421 h 6407421"/>
              <a:gd name="connsiteX155" fmla="*/ 1566808 w 11701760"/>
              <a:gd name="connsiteY155" fmla="*/ 6407421 h 6407421"/>
              <a:gd name="connsiteX156" fmla="*/ 1300611 w 11701760"/>
              <a:gd name="connsiteY156" fmla="*/ 6377925 h 6407421"/>
              <a:gd name="connsiteX157" fmla="*/ 1330213 w 11701760"/>
              <a:gd name="connsiteY157" fmla="*/ 6377925 h 6407421"/>
              <a:gd name="connsiteX158" fmla="*/ 1330213 w 11701760"/>
              <a:gd name="connsiteY158" fmla="*/ 6407421 h 6407421"/>
              <a:gd name="connsiteX159" fmla="*/ 1300611 w 11701760"/>
              <a:gd name="connsiteY159" fmla="*/ 6407421 h 6407421"/>
              <a:gd name="connsiteX160" fmla="*/ 1034520 w 11701760"/>
              <a:gd name="connsiteY160" fmla="*/ 6377925 h 6407421"/>
              <a:gd name="connsiteX161" fmla="*/ 1064123 w 11701760"/>
              <a:gd name="connsiteY161" fmla="*/ 6377925 h 6407421"/>
              <a:gd name="connsiteX162" fmla="*/ 1064123 w 11701760"/>
              <a:gd name="connsiteY162" fmla="*/ 6407421 h 6407421"/>
              <a:gd name="connsiteX163" fmla="*/ 1034520 w 11701760"/>
              <a:gd name="connsiteY163" fmla="*/ 6407421 h 6407421"/>
              <a:gd name="connsiteX164" fmla="*/ 768328 w 11701760"/>
              <a:gd name="connsiteY164" fmla="*/ 6377925 h 6407421"/>
              <a:gd name="connsiteX165" fmla="*/ 797926 w 11701760"/>
              <a:gd name="connsiteY165" fmla="*/ 6377925 h 6407421"/>
              <a:gd name="connsiteX166" fmla="*/ 797926 w 11701760"/>
              <a:gd name="connsiteY166" fmla="*/ 6407421 h 6407421"/>
              <a:gd name="connsiteX167" fmla="*/ 768328 w 11701760"/>
              <a:gd name="connsiteY167" fmla="*/ 6407421 h 6407421"/>
              <a:gd name="connsiteX168" fmla="*/ 502237 w 11701760"/>
              <a:gd name="connsiteY168" fmla="*/ 6377925 h 6407421"/>
              <a:gd name="connsiteX169" fmla="*/ 531839 w 11701760"/>
              <a:gd name="connsiteY169" fmla="*/ 6377925 h 6407421"/>
              <a:gd name="connsiteX170" fmla="*/ 531839 w 11701760"/>
              <a:gd name="connsiteY170" fmla="*/ 6407421 h 6407421"/>
              <a:gd name="connsiteX171" fmla="*/ 502237 w 11701760"/>
              <a:gd name="connsiteY171" fmla="*/ 6407421 h 6407421"/>
              <a:gd name="connsiteX172" fmla="*/ 236038 w 11701760"/>
              <a:gd name="connsiteY172" fmla="*/ 6377925 h 6407421"/>
              <a:gd name="connsiteX173" fmla="*/ 265640 w 11701760"/>
              <a:gd name="connsiteY173" fmla="*/ 6377925 h 6407421"/>
              <a:gd name="connsiteX174" fmla="*/ 265640 w 11701760"/>
              <a:gd name="connsiteY174" fmla="*/ 6407421 h 6407421"/>
              <a:gd name="connsiteX175" fmla="*/ 236038 w 11701760"/>
              <a:gd name="connsiteY175" fmla="*/ 6407421 h 6407421"/>
              <a:gd name="connsiteX176" fmla="*/ 2 w 11701760"/>
              <a:gd name="connsiteY176" fmla="*/ 6377925 h 6407421"/>
              <a:gd name="connsiteX177" fmla="*/ 29604 w 11701760"/>
              <a:gd name="connsiteY177" fmla="*/ 6377925 h 6407421"/>
              <a:gd name="connsiteX178" fmla="*/ 29604 w 11701760"/>
              <a:gd name="connsiteY178" fmla="*/ 6407421 h 6407421"/>
              <a:gd name="connsiteX179" fmla="*/ 2 w 11701760"/>
              <a:gd name="connsiteY179" fmla="*/ 6407421 h 6407421"/>
              <a:gd name="connsiteX180" fmla="*/ 11672158 w 11701760"/>
              <a:gd name="connsiteY180" fmla="*/ 6112161 h 6407421"/>
              <a:gd name="connsiteX181" fmla="*/ 11701760 w 11701760"/>
              <a:gd name="connsiteY181" fmla="*/ 6112161 h 6407421"/>
              <a:gd name="connsiteX182" fmla="*/ 11701760 w 11701760"/>
              <a:gd name="connsiteY182" fmla="*/ 6141763 h 6407421"/>
              <a:gd name="connsiteX183" fmla="*/ 11672158 w 11701760"/>
              <a:gd name="connsiteY183" fmla="*/ 6141763 h 6407421"/>
              <a:gd name="connsiteX184" fmla="*/ 11405961 w 11701760"/>
              <a:gd name="connsiteY184" fmla="*/ 6112161 h 6407421"/>
              <a:gd name="connsiteX185" fmla="*/ 11435563 w 11701760"/>
              <a:gd name="connsiteY185" fmla="*/ 6112161 h 6407421"/>
              <a:gd name="connsiteX186" fmla="*/ 11435563 w 11701760"/>
              <a:gd name="connsiteY186" fmla="*/ 6141763 h 6407421"/>
              <a:gd name="connsiteX187" fmla="*/ 11405961 w 11701760"/>
              <a:gd name="connsiteY187" fmla="*/ 6141763 h 6407421"/>
              <a:gd name="connsiteX188" fmla="*/ 11139872 w 11701760"/>
              <a:gd name="connsiteY188" fmla="*/ 6112161 h 6407421"/>
              <a:gd name="connsiteX189" fmla="*/ 11169474 w 11701760"/>
              <a:gd name="connsiteY189" fmla="*/ 6112161 h 6407421"/>
              <a:gd name="connsiteX190" fmla="*/ 11169474 w 11701760"/>
              <a:gd name="connsiteY190" fmla="*/ 6141763 h 6407421"/>
              <a:gd name="connsiteX191" fmla="*/ 11139872 w 11701760"/>
              <a:gd name="connsiteY191" fmla="*/ 6141763 h 6407421"/>
              <a:gd name="connsiteX192" fmla="*/ 10873675 w 11701760"/>
              <a:gd name="connsiteY192" fmla="*/ 6112161 h 6407421"/>
              <a:gd name="connsiteX193" fmla="*/ 10903277 w 11701760"/>
              <a:gd name="connsiteY193" fmla="*/ 6112161 h 6407421"/>
              <a:gd name="connsiteX194" fmla="*/ 10903277 w 11701760"/>
              <a:gd name="connsiteY194" fmla="*/ 6141763 h 6407421"/>
              <a:gd name="connsiteX195" fmla="*/ 10873675 w 11701760"/>
              <a:gd name="connsiteY195" fmla="*/ 6141763 h 6407421"/>
              <a:gd name="connsiteX196" fmla="*/ 10607478 w 11701760"/>
              <a:gd name="connsiteY196" fmla="*/ 6112161 h 6407421"/>
              <a:gd name="connsiteX197" fmla="*/ 10637188 w 11701760"/>
              <a:gd name="connsiteY197" fmla="*/ 6112161 h 6407421"/>
              <a:gd name="connsiteX198" fmla="*/ 10637188 w 11701760"/>
              <a:gd name="connsiteY198" fmla="*/ 6141763 h 6407421"/>
              <a:gd name="connsiteX199" fmla="*/ 10607478 w 11701760"/>
              <a:gd name="connsiteY199" fmla="*/ 6141763 h 6407421"/>
              <a:gd name="connsiteX200" fmla="*/ 10341389 w 11701760"/>
              <a:gd name="connsiteY200" fmla="*/ 6112161 h 6407421"/>
              <a:gd name="connsiteX201" fmla="*/ 10370992 w 11701760"/>
              <a:gd name="connsiteY201" fmla="*/ 6112161 h 6407421"/>
              <a:gd name="connsiteX202" fmla="*/ 10370992 w 11701760"/>
              <a:gd name="connsiteY202" fmla="*/ 6141763 h 6407421"/>
              <a:gd name="connsiteX203" fmla="*/ 10341389 w 11701760"/>
              <a:gd name="connsiteY203" fmla="*/ 6141763 h 6407421"/>
              <a:gd name="connsiteX204" fmla="*/ 10075192 w 11701760"/>
              <a:gd name="connsiteY204" fmla="*/ 6112161 h 6407421"/>
              <a:gd name="connsiteX205" fmla="*/ 10104794 w 11701760"/>
              <a:gd name="connsiteY205" fmla="*/ 6112161 h 6407421"/>
              <a:gd name="connsiteX206" fmla="*/ 10104794 w 11701760"/>
              <a:gd name="connsiteY206" fmla="*/ 6141763 h 6407421"/>
              <a:gd name="connsiteX207" fmla="*/ 10075192 w 11701760"/>
              <a:gd name="connsiteY207" fmla="*/ 6141763 h 6407421"/>
              <a:gd name="connsiteX208" fmla="*/ 9809103 w 11701760"/>
              <a:gd name="connsiteY208" fmla="*/ 6112161 h 6407421"/>
              <a:gd name="connsiteX209" fmla="*/ 9838705 w 11701760"/>
              <a:gd name="connsiteY209" fmla="*/ 6112161 h 6407421"/>
              <a:gd name="connsiteX210" fmla="*/ 9838705 w 11701760"/>
              <a:gd name="connsiteY210" fmla="*/ 6141763 h 6407421"/>
              <a:gd name="connsiteX211" fmla="*/ 9809103 w 11701760"/>
              <a:gd name="connsiteY211" fmla="*/ 6141763 h 6407421"/>
              <a:gd name="connsiteX212" fmla="*/ 9542906 w 11701760"/>
              <a:gd name="connsiteY212" fmla="*/ 6112161 h 6407421"/>
              <a:gd name="connsiteX213" fmla="*/ 9572509 w 11701760"/>
              <a:gd name="connsiteY213" fmla="*/ 6112161 h 6407421"/>
              <a:gd name="connsiteX214" fmla="*/ 9572509 w 11701760"/>
              <a:gd name="connsiteY214" fmla="*/ 6141763 h 6407421"/>
              <a:gd name="connsiteX215" fmla="*/ 9542906 w 11701760"/>
              <a:gd name="connsiteY215" fmla="*/ 6141763 h 6407421"/>
              <a:gd name="connsiteX216" fmla="*/ 9276817 w 11701760"/>
              <a:gd name="connsiteY216" fmla="*/ 6112161 h 6407421"/>
              <a:gd name="connsiteX217" fmla="*/ 9306420 w 11701760"/>
              <a:gd name="connsiteY217" fmla="*/ 6112161 h 6407421"/>
              <a:gd name="connsiteX218" fmla="*/ 9306420 w 11701760"/>
              <a:gd name="connsiteY218" fmla="*/ 6141763 h 6407421"/>
              <a:gd name="connsiteX219" fmla="*/ 9276817 w 11701760"/>
              <a:gd name="connsiteY219" fmla="*/ 6141763 h 6407421"/>
              <a:gd name="connsiteX220" fmla="*/ 9010620 w 11701760"/>
              <a:gd name="connsiteY220" fmla="*/ 6112161 h 6407421"/>
              <a:gd name="connsiteX221" fmla="*/ 9040222 w 11701760"/>
              <a:gd name="connsiteY221" fmla="*/ 6112161 h 6407421"/>
              <a:gd name="connsiteX222" fmla="*/ 9040222 w 11701760"/>
              <a:gd name="connsiteY222" fmla="*/ 6141763 h 6407421"/>
              <a:gd name="connsiteX223" fmla="*/ 9010620 w 11701760"/>
              <a:gd name="connsiteY223" fmla="*/ 6141763 h 6407421"/>
              <a:gd name="connsiteX224" fmla="*/ 8744423 w 11701760"/>
              <a:gd name="connsiteY224" fmla="*/ 6112161 h 6407421"/>
              <a:gd name="connsiteX225" fmla="*/ 8774026 w 11701760"/>
              <a:gd name="connsiteY225" fmla="*/ 6112161 h 6407421"/>
              <a:gd name="connsiteX226" fmla="*/ 8774026 w 11701760"/>
              <a:gd name="connsiteY226" fmla="*/ 6141763 h 6407421"/>
              <a:gd name="connsiteX227" fmla="*/ 8744423 w 11701760"/>
              <a:gd name="connsiteY227" fmla="*/ 6141763 h 6407421"/>
              <a:gd name="connsiteX228" fmla="*/ 8478226 w 11701760"/>
              <a:gd name="connsiteY228" fmla="*/ 6112161 h 6407421"/>
              <a:gd name="connsiteX229" fmla="*/ 8507828 w 11701760"/>
              <a:gd name="connsiteY229" fmla="*/ 6112161 h 6407421"/>
              <a:gd name="connsiteX230" fmla="*/ 8507828 w 11701760"/>
              <a:gd name="connsiteY230" fmla="*/ 6141763 h 6407421"/>
              <a:gd name="connsiteX231" fmla="*/ 8478226 w 11701760"/>
              <a:gd name="connsiteY231" fmla="*/ 6141763 h 6407421"/>
              <a:gd name="connsiteX232" fmla="*/ 8212137 w 11701760"/>
              <a:gd name="connsiteY232" fmla="*/ 6112161 h 6407421"/>
              <a:gd name="connsiteX233" fmla="*/ 8241740 w 11701760"/>
              <a:gd name="connsiteY233" fmla="*/ 6112161 h 6407421"/>
              <a:gd name="connsiteX234" fmla="*/ 8241740 w 11701760"/>
              <a:gd name="connsiteY234" fmla="*/ 6141763 h 6407421"/>
              <a:gd name="connsiteX235" fmla="*/ 8212137 w 11701760"/>
              <a:gd name="connsiteY235" fmla="*/ 6141763 h 6407421"/>
              <a:gd name="connsiteX236" fmla="*/ 7945940 w 11701760"/>
              <a:gd name="connsiteY236" fmla="*/ 6112161 h 6407421"/>
              <a:gd name="connsiteX237" fmla="*/ 7975543 w 11701760"/>
              <a:gd name="connsiteY237" fmla="*/ 6112161 h 6407421"/>
              <a:gd name="connsiteX238" fmla="*/ 7975543 w 11701760"/>
              <a:gd name="connsiteY238" fmla="*/ 6141763 h 6407421"/>
              <a:gd name="connsiteX239" fmla="*/ 7945940 w 11701760"/>
              <a:gd name="connsiteY239" fmla="*/ 6141763 h 6407421"/>
              <a:gd name="connsiteX240" fmla="*/ 7679743 w 11701760"/>
              <a:gd name="connsiteY240" fmla="*/ 6112161 h 6407421"/>
              <a:gd name="connsiteX241" fmla="*/ 7709346 w 11701760"/>
              <a:gd name="connsiteY241" fmla="*/ 6112161 h 6407421"/>
              <a:gd name="connsiteX242" fmla="*/ 7709346 w 11701760"/>
              <a:gd name="connsiteY242" fmla="*/ 6141763 h 6407421"/>
              <a:gd name="connsiteX243" fmla="*/ 7679743 w 11701760"/>
              <a:gd name="connsiteY243" fmla="*/ 6141763 h 6407421"/>
              <a:gd name="connsiteX244" fmla="*/ 7413653 w 11701760"/>
              <a:gd name="connsiteY244" fmla="*/ 6112161 h 6407421"/>
              <a:gd name="connsiteX245" fmla="*/ 7443256 w 11701760"/>
              <a:gd name="connsiteY245" fmla="*/ 6112161 h 6407421"/>
              <a:gd name="connsiteX246" fmla="*/ 7443256 w 11701760"/>
              <a:gd name="connsiteY246" fmla="*/ 6141763 h 6407421"/>
              <a:gd name="connsiteX247" fmla="*/ 7413653 w 11701760"/>
              <a:gd name="connsiteY247" fmla="*/ 6141763 h 6407421"/>
              <a:gd name="connsiteX248" fmla="*/ 7147456 w 11701760"/>
              <a:gd name="connsiteY248" fmla="*/ 6112161 h 6407421"/>
              <a:gd name="connsiteX249" fmla="*/ 7177058 w 11701760"/>
              <a:gd name="connsiteY249" fmla="*/ 6112161 h 6407421"/>
              <a:gd name="connsiteX250" fmla="*/ 7177058 w 11701760"/>
              <a:gd name="connsiteY250" fmla="*/ 6141763 h 6407421"/>
              <a:gd name="connsiteX251" fmla="*/ 7147456 w 11701760"/>
              <a:gd name="connsiteY251" fmla="*/ 6141763 h 6407421"/>
              <a:gd name="connsiteX252" fmla="*/ 6881367 w 11701760"/>
              <a:gd name="connsiteY252" fmla="*/ 6112161 h 6407421"/>
              <a:gd name="connsiteX253" fmla="*/ 6910970 w 11701760"/>
              <a:gd name="connsiteY253" fmla="*/ 6112161 h 6407421"/>
              <a:gd name="connsiteX254" fmla="*/ 6910970 w 11701760"/>
              <a:gd name="connsiteY254" fmla="*/ 6141763 h 6407421"/>
              <a:gd name="connsiteX255" fmla="*/ 6881367 w 11701760"/>
              <a:gd name="connsiteY255" fmla="*/ 6141763 h 6407421"/>
              <a:gd name="connsiteX256" fmla="*/ 6615170 w 11701760"/>
              <a:gd name="connsiteY256" fmla="*/ 6112161 h 6407421"/>
              <a:gd name="connsiteX257" fmla="*/ 6644773 w 11701760"/>
              <a:gd name="connsiteY257" fmla="*/ 6112161 h 6407421"/>
              <a:gd name="connsiteX258" fmla="*/ 6644773 w 11701760"/>
              <a:gd name="connsiteY258" fmla="*/ 6141763 h 6407421"/>
              <a:gd name="connsiteX259" fmla="*/ 6615170 w 11701760"/>
              <a:gd name="connsiteY259" fmla="*/ 6141763 h 6407421"/>
              <a:gd name="connsiteX260" fmla="*/ 6349081 w 11701760"/>
              <a:gd name="connsiteY260" fmla="*/ 6112161 h 6407421"/>
              <a:gd name="connsiteX261" fmla="*/ 6378683 w 11701760"/>
              <a:gd name="connsiteY261" fmla="*/ 6112161 h 6407421"/>
              <a:gd name="connsiteX262" fmla="*/ 6378683 w 11701760"/>
              <a:gd name="connsiteY262" fmla="*/ 6141763 h 6407421"/>
              <a:gd name="connsiteX263" fmla="*/ 6349081 w 11701760"/>
              <a:gd name="connsiteY263" fmla="*/ 6141763 h 6407421"/>
              <a:gd name="connsiteX264" fmla="*/ 6082884 w 11701760"/>
              <a:gd name="connsiteY264" fmla="*/ 6112161 h 6407421"/>
              <a:gd name="connsiteX265" fmla="*/ 6112486 w 11701760"/>
              <a:gd name="connsiteY265" fmla="*/ 6112161 h 6407421"/>
              <a:gd name="connsiteX266" fmla="*/ 6112486 w 11701760"/>
              <a:gd name="connsiteY266" fmla="*/ 6141763 h 6407421"/>
              <a:gd name="connsiteX267" fmla="*/ 6082884 w 11701760"/>
              <a:gd name="connsiteY267" fmla="*/ 6141763 h 6407421"/>
              <a:gd name="connsiteX268" fmla="*/ 5825310 w 11701760"/>
              <a:gd name="connsiteY268" fmla="*/ 6112161 h 6407421"/>
              <a:gd name="connsiteX269" fmla="*/ 5854913 w 11701760"/>
              <a:gd name="connsiteY269" fmla="*/ 6112161 h 6407421"/>
              <a:gd name="connsiteX270" fmla="*/ 5854913 w 11701760"/>
              <a:gd name="connsiteY270" fmla="*/ 6141763 h 6407421"/>
              <a:gd name="connsiteX271" fmla="*/ 5825310 w 11701760"/>
              <a:gd name="connsiteY271" fmla="*/ 6141763 h 6407421"/>
              <a:gd name="connsiteX272" fmla="*/ 5559113 w 11701760"/>
              <a:gd name="connsiteY272" fmla="*/ 6112161 h 6407421"/>
              <a:gd name="connsiteX273" fmla="*/ 5588715 w 11701760"/>
              <a:gd name="connsiteY273" fmla="*/ 6112161 h 6407421"/>
              <a:gd name="connsiteX274" fmla="*/ 5588715 w 11701760"/>
              <a:gd name="connsiteY274" fmla="*/ 6141763 h 6407421"/>
              <a:gd name="connsiteX275" fmla="*/ 5559113 w 11701760"/>
              <a:gd name="connsiteY275" fmla="*/ 6141763 h 6407421"/>
              <a:gd name="connsiteX276" fmla="*/ 5293024 w 11701760"/>
              <a:gd name="connsiteY276" fmla="*/ 6112161 h 6407421"/>
              <a:gd name="connsiteX277" fmla="*/ 5322626 w 11701760"/>
              <a:gd name="connsiteY277" fmla="*/ 6112161 h 6407421"/>
              <a:gd name="connsiteX278" fmla="*/ 5322626 w 11701760"/>
              <a:gd name="connsiteY278" fmla="*/ 6141763 h 6407421"/>
              <a:gd name="connsiteX279" fmla="*/ 5293024 w 11701760"/>
              <a:gd name="connsiteY279" fmla="*/ 6141763 h 6407421"/>
              <a:gd name="connsiteX280" fmla="*/ 5026827 w 11701760"/>
              <a:gd name="connsiteY280" fmla="*/ 6112161 h 6407421"/>
              <a:gd name="connsiteX281" fmla="*/ 5056429 w 11701760"/>
              <a:gd name="connsiteY281" fmla="*/ 6112161 h 6407421"/>
              <a:gd name="connsiteX282" fmla="*/ 5056429 w 11701760"/>
              <a:gd name="connsiteY282" fmla="*/ 6141763 h 6407421"/>
              <a:gd name="connsiteX283" fmla="*/ 5026827 w 11701760"/>
              <a:gd name="connsiteY283" fmla="*/ 6141763 h 6407421"/>
              <a:gd name="connsiteX284" fmla="*/ 4760630 w 11701760"/>
              <a:gd name="connsiteY284" fmla="*/ 6112161 h 6407421"/>
              <a:gd name="connsiteX285" fmla="*/ 4790340 w 11701760"/>
              <a:gd name="connsiteY285" fmla="*/ 6112161 h 6407421"/>
              <a:gd name="connsiteX286" fmla="*/ 4790340 w 11701760"/>
              <a:gd name="connsiteY286" fmla="*/ 6141763 h 6407421"/>
              <a:gd name="connsiteX287" fmla="*/ 4760630 w 11701760"/>
              <a:gd name="connsiteY287" fmla="*/ 6141763 h 6407421"/>
              <a:gd name="connsiteX288" fmla="*/ 4494541 w 11701760"/>
              <a:gd name="connsiteY288" fmla="*/ 6112161 h 6407421"/>
              <a:gd name="connsiteX289" fmla="*/ 4524144 w 11701760"/>
              <a:gd name="connsiteY289" fmla="*/ 6112161 h 6407421"/>
              <a:gd name="connsiteX290" fmla="*/ 4524144 w 11701760"/>
              <a:gd name="connsiteY290" fmla="*/ 6141763 h 6407421"/>
              <a:gd name="connsiteX291" fmla="*/ 4494541 w 11701760"/>
              <a:gd name="connsiteY291" fmla="*/ 6141763 h 6407421"/>
              <a:gd name="connsiteX292" fmla="*/ 4228344 w 11701760"/>
              <a:gd name="connsiteY292" fmla="*/ 6112161 h 6407421"/>
              <a:gd name="connsiteX293" fmla="*/ 4257946 w 11701760"/>
              <a:gd name="connsiteY293" fmla="*/ 6112161 h 6407421"/>
              <a:gd name="connsiteX294" fmla="*/ 4257946 w 11701760"/>
              <a:gd name="connsiteY294" fmla="*/ 6141763 h 6407421"/>
              <a:gd name="connsiteX295" fmla="*/ 4228344 w 11701760"/>
              <a:gd name="connsiteY295" fmla="*/ 6141763 h 6407421"/>
              <a:gd name="connsiteX296" fmla="*/ 3962255 w 11701760"/>
              <a:gd name="connsiteY296" fmla="*/ 6112161 h 6407421"/>
              <a:gd name="connsiteX297" fmla="*/ 3991857 w 11701760"/>
              <a:gd name="connsiteY297" fmla="*/ 6112161 h 6407421"/>
              <a:gd name="connsiteX298" fmla="*/ 3991857 w 11701760"/>
              <a:gd name="connsiteY298" fmla="*/ 6141763 h 6407421"/>
              <a:gd name="connsiteX299" fmla="*/ 3962255 w 11701760"/>
              <a:gd name="connsiteY299" fmla="*/ 6141763 h 6407421"/>
              <a:gd name="connsiteX300" fmla="*/ 3696058 w 11701760"/>
              <a:gd name="connsiteY300" fmla="*/ 6112161 h 6407421"/>
              <a:gd name="connsiteX301" fmla="*/ 3725661 w 11701760"/>
              <a:gd name="connsiteY301" fmla="*/ 6112161 h 6407421"/>
              <a:gd name="connsiteX302" fmla="*/ 3725661 w 11701760"/>
              <a:gd name="connsiteY302" fmla="*/ 6141763 h 6407421"/>
              <a:gd name="connsiteX303" fmla="*/ 3696058 w 11701760"/>
              <a:gd name="connsiteY303" fmla="*/ 6141763 h 6407421"/>
              <a:gd name="connsiteX304" fmla="*/ 3429969 w 11701760"/>
              <a:gd name="connsiteY304" fmla="*/ 6112161 h 6407421"/>
              <a:gd name="connsiteX305" fmla="*/ 3459572 w 11701760"/>
              <a:gd name="connsiteY305" fmla="*/ 6112161 h 6407421"/>
              <a:gd name="connsiteX306" fmla="*/ 3459572 w 11701760"/>
              <a:gd name="connsiteY306" fmla="*/ 6141763 h 6407421"/>
              <a:gd name="connsiteX307" fmla="*/ 3429969 w 11701760"/>
              <a:gd name="connsiteY307" fmla="*/ 6141763 h 6407421"/>
              <a:gd name="connsiteX308" fmla="*/ 3163772 w 11701760"/>
              <a:gd name="connsiteY308" fmla="*/ 6112161 h 6407421"/>
              <a:gd name="connsiteX309" fmla="*/ 3193374 w 11701760"/>
              <a:gd name="connsiteY309" fmla="*/ 6112161 h 6407421"/>
              <a:gd name="connsiteX310" fmla="*/ 3193374 w 11701760"/>
              <a:gd name="connsiteY310" fmla="*/ 6141763 h 6407421"/>
              <a:gd name="connsiteX311" fmla="*/ 3163772 w 11701760"/>
              <a:gd name="connsiteY311" fmla="*/ 6141763 h 6407421"/>
              <a:gd name="connsiteX312" fmla="*/ 2897575 w 11701760"/>
              <a:gd name="connsiteY312" fmla="*/ 6112161 h 6407421"/>
              <a:gd name="connsiteX313" fmla="*/ 2927178 w 11701760"/>
              <a:gd name="connsiteY313" fmla="*/ 6112161 h 6407421"/>
              <a:gd name="connsiteX314" fmla="*/ 2927178 w 11701760"/>
              <a:gd name="connsiteY314" fmla="*/ 6141763 h 6407421"/>
              <a:gd name="connsiteX315" fmla="*/ 2897575 w 11701760"/>
              <a:gd name="connsiteY315" fmla="*/ 6141763 h 6407421"/>
              <a:gd name="connsiteX316" fmla="*/ 2631378 w 11701760"/>
              <a:gd name="connsiteY316" fmla="*/ 6112161 h 6407421"/>
              <a:gd name="connsiteX317" fmla="*/ 2660980 w 11701760"/>
              <a:gd name="connsiteY317" fmla="*/ 6112161 h 6407421"/>
              <a:gd name="connsiteX318" fmla="*/ 2660980 w 11701760"/>
              <a:gd name="connsiteY318" fmla="*/ 6141763 h 6407421"/>
              <a:gd name="connsiteX319" fmla="*/ 2631378 w 11701760"/>
              <a:gd name="connsiteY319" fmla="*/ 6141763 h 6407421"/>
              <a:gd name="connsiteX320" fmla="*/ 2365289 w 11701760"/>
              <a:gd name="connsiteY320" fmla="*/ 6112161 h 6407421"/>
              <a:gd name="connsiteX321" fmla="*/ 2394892 w 11701760"/>
              <a:gd name="connsiteY321" fmla="*/ 6112161 h 6407421"/>
              <a:gd name="connsiteX322" fmla="*/ 2394892 w 11701760"/>
              <a:gd name="connsiteY322" fmla="*/ 6141763 h 6407421"/>
              <a:gd name="connsiteX323" fmla="*/ 2365289 w 11701760"/>
              <a:gd name="connsiteY323" fmla="*/ 6141763 h 6407421"/>
              <a:gd name="connsiteX324" fmla="*/ 2099092 w 11701760"/>
              <a:gd name="connsiteY324" fmla="*/ 6112161 h 6407421"/>
              <a:gd name="connsiteX325" fmla="*/ 2128695 w 11701760"/>
              <a:gd name="connsiteY325" fmla="*/ 6112161 h 6407421"/>
              <a:gd name="connsiteX326" fmla="*/ 2128695 w 11701760"/>
              <a:gd name="connsiteY326" fmla="*/ 6141763 h 6407421"/>
              <a:gd name="connsiteX327" fmla="*/ 2099092 w 11701760"/>
              <a:gd name="connsiteY327" fmla="*/ 6141763 h 6407421"/>
              <a:gd name="connsiteX328" fmla="*/ 1832898 w 11701760"/>
              <a:gd name="connsiteY328" fmla="*/ 6112161 h 6407421"/>
              <a:gd name="connsiteX329" fmla="*/ 1862498 w 11701760"/>
              <a:gd name="connsiteY329" fmla="*/ 6112161 h 6407421"/>
              <a:gd name="connsiteX330" fmla="*/ 1862498 w 11701760"/>
              <a:gd name="connsiteY330" fmla="*/ 6141763 h 6407421"/>
              <a:gd name="connsiteX331" fmla="*/ 1832898 w 11701760"/>
              <a:gd name="connsiteY331" fmla="*/ 6141763 h 6407421"/>
              <a:gd name="connsiteX332" fmla="*/ 1566808 w 11701760"/>
              <a:gd name="connsiteY332" fmla="*/ 6112161 h 6407421"/>
              <a:gd name="connsiteX333" fmla="*/ 1596409 w 11701760"/>
              <a:gd name="connsiteY333" fmla="*/ 6112161 h 6407421"/>
              <a:gd name="connsiteX334" fmla="*/ 1596409 w 11701760"/>
              <a:gd name="connsiteY334" fmla="*/ 6141763 h 6407421"/>
              <a:gd name="connsiteX335" fmla="*/ 1566808 w 11701760"/>
              <a:gd name="connsiteY335" fmla="*/ 6141763 h 6407421"/>
              <a:gd name="connsiteX336" fmla="*/ 1300611 w 11701760"/>
              <a:gd name="connsiteY336" fmla="*/ 6112161 h 6407421"/>
              <a:gd name="connsiteX337" fmla="*/ 1330213 w 11701760"/>
              <a:gd name="connsiteY337" fmla="*/ 6112161 h 6407421"/>
              <a:gd name="connsiteX338" fmla="*/ 1330213 w 11701760"/>
              <a:gd name="connsiteY338" fmla="*/ 6141763 h 6407421"/>
              <a:gd name="connsiteX339" fmla="*/ 1300611 w 11701760"/>
              <a:gd name="connsiteY339" fmla="*/ 6141763 h 6407421"/>
              <a:gd name="connsiteX340" fmla="*/ 1034520 w 11701760"/>
              <a:gd name="connsiteY340" fmla="*/ 6112161 h 6407421"/>
              <a:gd name="connsiteX341" fmla="*/ 1064123 w 11701760"/>
              <a:gd name="connsiteY341" fmla="*/ 6112161 h 6407421"/>
              <a:gd name="connsiteX342" fmla="*/ 1064123 w 11701760"/>
              <a:gd name="connsiteY342" fmla="*/ 6141763 h 6407421"/>
              <a:gd name="connsiteX343" fmla="*/ 1034520 w 11701760"/>
              <a:gd name="connsiteY343" fmla="*/ 6141763 h 6407421"/>
              <a:gd name="connsiteX344" fmla="*/ 768328 w 11701760"/>
              <a:gd name="connsiteY344" fmla="*/ 6112161 h 6407421"/>
              <a:gd name="connsiteX345" fmla="*/ 797926 w 11701760"/>
              <a:gd name="connsiteY345" fmla="*/ 6112161 h 6407421"/>
              <a:gd name="connsiteX346" fmla="*/ 797926 w 11701760"/>
              <a:gd name="connsiteY346" fmla="*/ 6141763 h 6407421"/>
              <a:gd name="connsiteX347" fmla="*/ 768328 w 11701760"/>
              <a:gd name="connsiteY347" fmla="*/ 6141763 h 6407421"/>
              <a:gd name="connsiteX348" fmla="*/ 502237 w 11701760"/>
              <a:gd name="connsiteY348" fmla="*/ 6112161 h 6407421"/>
              <a:gd name="connsiteX349" fmla="*/ 531839 w 11701760"/>
              <a:gd name="connsiteY349" fmla="*/ 6112161 h 6407421"/>
              <a:gd name="connsiteX350" fmla="*/ 531839 w 11701760"/>
              <a:gd name="connsiteY350" fmla="*/ 6141763 h 6407421"/>
              <a:gd name="connsiteX351" fmla="*/ 502237 w 11701760"/>
              <a:gd name="connsiteY351" fmla="*/ 6141763 h 6407421"/>
              <a:gd name="connsiteX352" fmla="*/ 236038 w 11701760"/>
              <a:gd name="connsiteY352" fmla="*/ 6112161 h 6407421"/>
              <a:gd name="connsiteX353" fmla="*/ 265640 w 11701760"/>
              <a:gd name="connsiteY353" fmla="*/ 6112161 h 6407421"/>
              <a:gd name="connsiteX354" fmla="*/ 265640 w 11701760"/>
              <a:gd name="connsiteY354" fmla="*/ 6141763 h 6407421"/>
              <a:gd name="connsiteX355" fmla="*/ 236038 w 11701760"/>
              <a:gd name="connsiteY355" fmla="*/ 6141763 h 6407421"/>
              <a:gd name="connsiteX356" fmla="*/ 2 w 11701760"/>
              <a:gd name="connsiteY356" fmla="*/ 6112161 h 6407421"/>
              <a:gd name="connsiteX357" fmla="*/ 29604 w 11701760"/>
              <a:gd name="connsiteY357" fmla="*/ 6112161 h 6407421"/>
              <a:gd name="connsiteX358" fmla="*/ 29604 w 11701760"/>
              <a:gd name="connsiteY358" fmla="*/ 6141763 h 6407421"/>
              <a:gd name="connsiteX359" fmla="*/ 2 w 11701760"/>
              <a:gd name="connsiteY359" fmla="*/ 6141763 h 6407421"/>
              <a:gd name="connsiteX360" fmla="*/ 11672158 w 11701760"/>
              <a:gd name="connsiteY360" fmla="*/ 5846396 h 6407421"/>
              <a:gd name="connsiteX361" fmla="*/ 11701760 w 11701760"/>
              <a:gd name="connsiteY361" fmla="*/ 5846396 h 6407421"/>
              <a:gd name="connsiteX362" fmla="*/ 11701760 w 11701760"/>
              <a:gd name="connsiteY362" fmla="*/ 5875998 h 6407421"/>
              <a:gd name="connsiteX363" fmla="*/ 11672158 w 11701760"/>
              <a:gd name="connsiteY363" fmla="*/ 5875998 h 6407421"/>
              <a:gd name="connsiteX364" fmla="*/ 11405961 w 11701760"/>
              <a:gd name="connsiteY364" fmla="*/ 5846396 h 6407421"/>
              <a:gd name="connsiteX365" fmla="*/ 11435563 w 11701760"/>
              <a:gd name="connsiteY365" fmla="*/ 5846396 h 6407421"/>
              <a:gd name="connsiteX366" fmla="*/ 11435563 w 11701760"/>
              <a:gd name="connsiteY366" fmla="*/ 5875998 h 6407421"/>
              <a:gd name="connsiteX367" fmla="*/ 11405961 w 11701760"/>
              <a:gd name="connsiteY367" fmla="*/ 5875998 h 6407421"/>
              <a:gd name="connsiteX368" fmla="*/ 11139872 w 11701760"/>
              <a:gd name="connsiteY368" fmla="*/ 5846396 h 6407421"/>
              <a:gd name="connsiteX369" fmla="*/ 11169474 w 11701760"/>
              <a:gd name="connsiteY369" fmla="*/ 5846396 h 6407421"/>
              <a:gd name="connsiteX370" fmla="*/ 11169474 w 11701760"/>
              <a:gd name="connsiteY370" fmla="*/ 5875998 h 6407421"/>
              <a:gd name="connsiteX371" fmla="*/ 11139872 w 11701760"/>
              <a:gd name="connsiteY371" fmla="*/ 5875998 h 6407421"/>
              <a:gd name="connsiteX372" fmla="*/ 10873675 w 11701760"/>
              <a:gd name="connsiteY372" fmla="*/ 5846396 h 6407421"/>
              <a:gd name="connsiteX373" fmla="*/ 10903277 w 11701760"/>
              <a:gd name="connsiteY373" fmla="*/ 5846396 h 6407421"/>
              <a:gd name="connsiteX374" fmla="*/ 10903277 w 11701760"/>
              <a:gd name="connsiteY374" fmla="*/ 5875998 h 6407421"/>
              <a:gd name="connsiteX375" fmla="*/ 10873675 w 11701760"/>
              <a:gd name="connsiteY375" fmla="*/ 5875998 h 6407421"/>
              <a:gd name="connsiteX376" fmla="*/ 10607478 w 11701760"/>
              <a:gd name="connsiteY376" fmla="*/ 5846396 h 6407421"/>
              <a:gd name="connsiteX377" fmla="*/ 10637188 w 11701760"/>
              <a:gd name="connsiteY377" fmla="*/ 5846396 h 6407421"/>
              <a:gd name="connsiteX378" fmla="*/ 10637188 w 11701760"/>
              <a:gd name="connsiteY378" fmla="*/ 5875998 h 6407421"/>
              <a:gd name="connsiteX379" fmla="*/ 10607478 w 11701760"/>
              <a:gd name="connsiteY379" fmla="*/ 5875998 h 6407421"/>
              <a:gd name="connsiteX380" fmla="*/ 10341389 w 11701760"/>
              <a:gd name="connsiteY380" fmla="*/ 5846396 h 6407421"/>
              <a:gd name="connsiteX381" fmla="*/ 10370992 w 11701760"/>
              <a:gd name="connsiteY381" fmla="*/ 5846396 h 6407421"/>
              <a:gd name="connsiteX382" fmla="*/ 10370992 w 11701760"/>
              <a:gd name="connsiteY382" fmla="*/ 5875998 h 6407421"/>
              <a:gd name="connsiteX383" fmla="*/ 10341389 w 11701760"/>
              <a:gd name="connsiteY383" fmla="*/ 5875998 h 6407421"/>
              <a:gd name="connsiteX384" fmla="*/ 10075192 w 11701760"/>
              <a:gd name="connsiteY384" fmla="*/ 5846396 h 6407421"/>
              <a:gd name="connsiteX385" fmla="*/ 10104794 w 11701760"/>
              <a:gd name="connsiteY385" fmla="*/ 5846396 h 6407421"/>
              <a:gd name="connsiteX386" fmla="*/ 10104794 w 11701760"/>
              <a:gd name="connsiteY386" fmla="*/ 5875998 h 6407421"/>
              <a:gd name="connsiteX387" fmla="*/ 10075192 w 11701760"/>
              <a:gd name="connsiteY387" fmla="*/ 5875998 h 6407421"/>
              <a:gd name="connsiteX388" fmla="*/ 9809103 w 11701760"/>
              <a:gd name="connsiteY388" fmla="*/ 5846396 h 6407421"/>
              <a:gd name="connsiteX389" fmla="*/ 9838705 w 11701760"/>
              <a:gd name="connsiteY389" fmla="*/ 5846396 h 6407421"/>
              <a:gd name="connsiteX390" fmla="*/ 9838705 w 11701760"/>
              <a:gd name="connsiteY390" fmla="*/ 5875998 h 6407421"/>
              <a:gd name="connsiteX391" fmla="*/ 9809103 w 11701760"/>
              <a:gd name="connsiteY391" fmla="*/ 5875998 h 6407421"/>
              <a:gd name="connsiteX392" fmla="*/ 9542906 w 11701760"/>
              <a:gd name="connsiteY392" fmla="*/ 5846396 h 6407421"/>
              <a:gd name="connsiteX393" fmla="*/ 9572509 w 11701760"/>
              <a:gd name="connsiteY393" fmla="*/ 5846396 h 6407421"/>
              <a:gd name="connsiteX394" fmla="*/ 9572509 w 11701760"/>
              <a:gd name="connsiteY394" fmla="*/ 5875998 h 6407421"/>
              <a:gd name="connsiteX395" fmla="*/ 9542906 w 11701760"/>
              <a:gd name="connsiteY395" fmla="*/ 5875998 h 6407421"/>
              <a:gd name="connsiteX396" fmla="*/ 9276817 w 11701760"/>
              <a:gd name="connsiteY396" fmla="*/ 5846396 h 6407421"/>
              <a:gd name="connsiteX397" fmla="*/ 9306420 w 11701760"/>
              <a:gd name="connsiteY397" fmla="*/ 5846396 h 6407421"/>
              <a:gd name="connsiteX398" fmla="*/ 9306420 w 11701760"/>
              <a:gd name="connsiteY398" fmla="*/ 5875998 h 6407421"/>
              <a:gd name="connsiteX399" fmla="*/ 9276817 w 11701760"/>
              <a:gd name="connsiteY399" fmla="*/ 5875998 h 6407421"/>
              <a:gd name="connsiteX400" fmla="*/ 9010620 w 11701760"/>
              <a:gd name="connsiteY400" fmla="*/ 5846396 h 6407421"/>
              <a:gd name="connsiteX401" fmla="*/ 9040222 w 11701760"/>
              <a:gd name="connsiteY401" fmla="*/ 5846396 h 6407421"/>
              <a:gd name="connsiteX402" fmla="*/ 9040222 w 11701760"/>
              <a:gd name="connsiteY402" fmla="*/ 5875998 h 6407421"/>
              <a:gd name="connsiteX403" fmla="*/ 9010620 w 11701760"/>
              <a:gd name="connsiteY403" fmla="*/ 5875998 h 6407421"/>
              <a:gd name="connsiteX404" fmla="*/ 8744423 w 11701760"/>
              <a:gd name="connsiteY404" fmla="*/ 5846396 h 6407421"/>
              <a:gd name="connsiteX405" fmla="*/ 8774026 w 11701760"/>
              <a:gd name="connsiteY405" fmla="*/ 5846396 h 6407421"/>
              <a:gd name="connsiteX406" fmla="*/ 8774026 w 11701760"/>
              <a:gd name="connsiteY406" fmla="*/ 5875998 h 6407421"/>
              <a:gd name="connsiteX407" fmla="*/ 8744423 w 11701760"/>
              <a:gd name="connsiteY407" fmla="*/ 5875998 h 6407421"/>
              <a:gd name="connsiteX408" fmla="*/ 8478226 w 11701760"/>
              <a:gd name="connsiteY408" fmla="*/ 5846396 h 6407421"/>
              <a:gd name="connsiteX409" fmla="*/ 8507828 w 11701760"/>
              <a:gd name="connsiteY409" fmla="*/ 5846396 h 6407421"/>
              <a:gd name="connsiteX410" fmla="*/ 8507828 w 11701760"/>
              <a:gd name="connsiteY410" fmla="*/ 5875998 h 6407421"/>
              <a:gd name="connsiteX411" fmla="*/ 8478226 w 11701760"/>
              <a:gd name="connsiteY411" fmla="*/ 5875998 h 6407421"/>
              <a:gd name="connsiteX412" fmla="*/ 8212137 w 11701760"/>
              <a:gd name="connsiteY412" fmla="*/ 5846396 h 6407421"/>
              <a:gd name="connsiteX413" fmla="*/ 8241740 w 11701760"/>
              <a:gd name="connsiteY413" fmla="*/ 5846396 h 6407421"/>
              <a:gd name="connsiteX414" fmla="*/ 8241740 w 11701760"/>
              <a:gd name="connsiteY414" fmla="*/ 5875998 h 6407421"/>
              <a:gd name="connsiteX415" fmla="*/ 8212137 w 11701760"/>
              <a:gd name="connsiteY415" fmla="*/ 5875998 h 6407421"/>
              <a:gd name="connsiteX416" fmla="*/ 7945940 w 11701760"/>
              <a:gd name="connsiteY416" fmla="*/ 5846396 h 6407421"/>
              <a:gd name="connsiteX417" fmla="*/ 7975543 w 11701760"/>
              <a:gd name="connsiteY417" fmla="*/ 5846396 h 6407421"/>
              <a:gd name="connsiteX418" fmla="*/ 7975543 w 11701760"/>
              <a:gd name="connsiteY418" fmla="*/ 5875998 h 6407421"/>
              <a:gd name="connsiteX419" fmla="*/ 7945940 w 11701760"/>
              <a:gd name="connsiteY419" fmla="*/ 5875998 h 6407421"/>
              <a:gd name="connsiteX420" fmla="*/ 7679743 w 11701760"/>
              <a:gd name="connsiteY420" fmla="*/ 5846396 h 6407421"/>
              <a:gd name="connsiteX421" fmla="*/ 7709346 w 11701760"/>
              <a:gd name="connsiteY421" fmla="*/ 5846396 h 6407421"/>
              <a:gd name="connsiteX422" fmla="*/ 7709346 w 11701760"/>
              <a:gd name="connsiteY422" fmla="*/ 5875998 h 6407421"/>
              <a:gd name="connsiteX423" fmla="*/ 7679743 w 11701760"/>
              <a:gd name="connsiteY423" fmla="*/ 5875998 h 6407421"/>
              <a:gd name="connsiteX424" fmla="*/ 7413653 w 11701760"/>
              <a:gd name="connsiteY424" fmla="*/ 5846396 h 6407421"/>
              <a:gd name="connsiteX425" fmla="*/ 7443256 w 11701760"/>
              <a:gd name="connsiteY425" fmla="*/ 5846396 h 6407421"/>
              <a:gd name="connsiteX426" fmla="*/ 7443256 w 11701760"/>
              <a:gd name="connsiteY426" fmla="*/ 5875998 h 6407421"/>
              <a:gd name="connsiteX427" fmla="*/ 7413653 w 11701760"/>
              <a:gd name="connsiteY427" fmla="*/ 5875998 h 6407421"/>
              <a:gd name="connsiteX428" fmla="*/ 7147456 w 11701760"/>
              <a:gd name="connsiteY428" fmla="*/ 5846396 h 6407421"/>
              <a:gd name="connsiteX429" fmla="*/ 7177058 w 11701760"/>
              <a:gd name="connsiteY429" fmla="*/ 5846396 h 6407421"/>
              <a:gd name="connsiteX430" fmla="*/ 7177058 w 11701760"/>
              <a:gd name="connsiteY430" fmla="*/ 5875998 h 6407421"/>
              <a:gd name="connsiteX431" fmla="*/ 7147456 w 11701760"/>
              <a:gd name="connsiteY431" fmla="*/ 5875998 h 6407421"/>
              <a:gd name="connsiteX432" fmla="*/ 6881367 w 11701760"/>
              <a:gd name="connsiteY432" fmla="*/ 5846396 h 6407421"/>
              <a:gd name="connsiteX433" fmla="*/ 6910970 w 11701760"/>
              <a:gd name="connsiteY433" fmla="*/ 5846396 h 6407421"/>
              <a:gd name="connsiteX434" fmla="*/ 6910970 w 11701760"/>
              <a:gd name="connsiteY434" fmla="*/ 5875998 h 6407421"/>
              <a:gd name="connsiteX435" fmla="*/ 6881367 w 11701760"/>
              <a:gd name="connsiteY435" fmla="*/ 5875998 h 6407421"/>
              <a:gd name="connsiteX436" fmla="*/ 6615170 w 11701760"/>
              <a:gd name="connsiteY436" fmla="*/ 5846396 h 6407421"/>
              <a:gd name="connsiteX437" fmla="*/ 6644773 w 11701760"/>
              <a:gd name="connsiteY437" fmla="*/ 5846396 h 6407421"/>
              <a:gd name="connsiteX438" fmla="*/ 6644773 w 11701760"/>
              <a:gd name="connsiteY438" fmla="*/ 5875998 h 6407421"/>
              <a:gd name="connsiteX439" fmla="*/ 6615170 w 11701760"/>
              <a:gd name="connsiteY439" fmla="*/ 5875998 h 6407421"/>
              <a:gd name="connsiteX440" fmla="*/ 6349081 w 11701760"/>
              <a:gd name="connsiteY440" fmla="*/ 5846396 h 6407421"/>
              <a:gd name="connsiteX441" fmla="*/ 6378683 w 11701760"/>
              <a:gd name="connsiteY441" fmla="*/ 5846396 h 6407421"/>
              <a:gd name="connsiteX442" fmla="*/ 6378683 w 11701760"/>
              <a:gd name="connsiteY442" fmla="*/ 5875998 h 6407421"/>
              <a:gd name="connsiteX443" fmla="*/ 6349081 w 11701760"/>
              <a:gd name="connsiteY443" fmla="*/ 5875998 h 6407421"/>
              <a:gd name="connsiteX444" fmla="*/ 6082884 w 11701760"/>
              <a:gd name="connsiteY444" fmla="*/ 5846396 h 6407421"/>
              <a:gd name="connsiteX445" fmla="*/ 6112486 w 11701760"/>
              <a:gd name="connsiteY445" fmla="*/ 5846396 h 6407421"/>
              <a:gd name="connsiteX446" fmla="*/ 6112486 w 11701760"/>
              <a:gd name="connsiteY446" fmla="*/ 5875998 h 6407421"/>
              <a:gd name="connsiteX447" fmla="*/ 6082884 w 11701760"/>
              <a:gd name="connsiteY447" fmla="*/ 5875998 h 6407421"/>
              <a:gd name="connsiteX448" fmla="*/ 5825310 w 11701760"/>
              <a:gd name="connsiteY448" fmla="*/ 5846396 h 6407421"/>
              <a:gd name="connsiteX449" fmla="*/ 5854913 w 11701760"/>
              <a:gd name="connsiteY449" fmla="*/ 5846396 h 6407421"/>
              <a:gd name="connsiteX450" fmla="*/ 5854913 w 11701760"/>
              <a:gd name="connsiteY450" fmla="*/ 5875998 h 6407421"/>
              <a:gd name="connsiteX451" fmla="*/ 5825310 w 11701760"/>
              <a:gd name="connsiteY451" fmla="*/ 5875998 h 6407421"/>
              <a:gd name="connsiteX452" fmla="*/ 5559113 w 11701760"/>
              <a:gd name="connsiteY452" fmla="*/ 5846396 h 6407421"/>
              <a:gd name="connsiteX453" fmla="*/ 5588715 w 11701760"/>
              <a:gd name="connsiteY453" fmla="*/ 5846396 h 6407421"/>
              <a:gd name="connsiteX454" fmla="*/ 5588715 w 11701760"/>
              <a:gd name="connsiteY454" fmla="*/ 5875998 h 6407421"/>
              <a:gd name="connsiteX455" fmla="*/ 5559113 w 11701760"/>
              <a:gd name="connsiteY455" fmla="*/ 5875998 h 6407421"/>
              <a:gd name="connsiteX456" fmla="*/ 5293024 w 11701760"/>
              <a:gd name="connsiteY456" fmla="*/ 5846396 h 6407421"/>
              <a:gd name="connsiteX457" fmla="*/ 5322626 w 11701760"/>
              <a:gd name="connsiteY457" fmla="*/ 5846396 h 6407421"/>
              <a:gd name="connsiteX458" fmla="*/ 5322626 w 11701760"/>
              <a:gd name="connsiteY458" fmla="*/ 5875998 h 6407421"/>
              <a:gd name="connsiteX459" fmla="*/ 5293024 w 11701760"/>
              <a:gd name="connsiteY459" fmla="*/ 5875998 h 6407421"/>
              <a:gd name="connsiteX460" fmla="*/ 5026827 w 11701760"/>
              <a:gd name="connsiteY460" fmla="*/ 5846396 h 6407421"/>
              <a:gd name="connsiteX461" fmla="*/ 5056429 w 11701760"/>
              <a:gd name="connsiteY461" fmla="*/ 5846396 h 6407421"/>
              <a:gd name="connsiteX462" fmla="*/ 5056429 w 11701760"/>
              <a:gd name="connsiteY462" fmla="*/ 5875998 h 6407421"/>
              <a:gd name="connsiteX463" fmla="*/ 5026827 w 11701760"/>
              <a:gd name="connsiteY463" fmla="*/ 5875998 h 6407421"/>
              <a:gd name="connsiteX464" fmla="*/ 4760630 w 11701760"/>
              <a:gd name="connsiteY464" fmla="*/ 5846396 h 6407421"/>
              <a:gd name="connsiteX465" fmla="*/ 4790340 w 11701760"/>
              <a:gd name="connsiteY465" fmla="*/ 5846396 h 6407421"/>
              <a:gd name="connsiteX466" fmla="*/ 4790340 w 11701760"/>
              <a:gd name="connsiteY466" fmla="*/ 5875998 h 6407421"/>
              <a:gd name="connsiteX467" fmla="*/ 4760630 w 11701760"/>
              <a:gd name="connsiteY467" fmla="*/ 5875998 h 6407421"/>
              <a:gd name="connsiteX468" fmla="*/ 4494541 w 11701760"/>
              <a:gd name="connsiteY468" fmla="*/ 5846396 h 6407421"/>
              <a:gd name="connsiteX469" fmla="*/ 4524144 w 11701760"/>
              <a:gd name="connsiteY469" fmla="*/ 5846396 h 6407421"/>
              <a:gd name="connsiteX470" fmla="*/ 4524144 w 11701760"/>
              <a:gd name="connsiteY470" fmla="*/ 5875998 h 6407421"/>
              <a:gd name="connsiteX471" fmla="*/ 4494541 w 11701760"/>
              <a:gd name="connsiteY471" fmla="*/ 5875998 h 6407421"/>
              <a:gd name="connsiteX472" fmla="*/ 4228344 w 11701760"/>
              <a:gd name="connsiteY472" fmla="*/ 5846396 h 6407421"/>
              <a:gd name="connsiteX473" fmla="*/ 4257946 w 11701760"/>
              <a:gd name="connsiteY473" fmla="*/ 5846396 h 6407421"/>
              <a:gd name="connsiteX474" fmla="*/ 4257946 w 11701760"/>
              <a:gd name="connsiteY474" fmla="*/ 5875998 h 6407421"/>
              <a:gd name="connsiteX475" fmla="*/ 4228344 w 11701760"/>
              <a:gd name="connsiteY475" fmla="*/ 5875998 h 6407421"/>
              <a:gd name="connsiteX476" fmla="*/ 3962255 w 11701760"/>
              <a:gd name="connsiteY476" fmla="*/ 5846396 h 6407421"/>
              <a:gd name="connsiteX477" fmla="*/ 3991857 w 11701760"/>
              <a:gd name="connsiteY477" fmla="*/ 5846396 h 6407421"/>
              <a:gd name="connsiteX478" fmla="*/ 3991857 w 11701760"/>
              <a:gd name="connsiteY478" fmla="*/ 5875998 h 6407421"/>
              <a:gd name="connsiteX479" fmla="*/ 3962255 w 11701760"/>
              <a:gd name="connsiteY479" fmla="*/ 5875998 h 6407421"/>
              <a:gd name="connsiteX480" fmla="*/ 3696058 w 11701760"/>
              <a:gd name="connsiteY480" fmla="*/ 5846396 h 6407421"/>
              <a:gd name="connsiteX481" fmla="*/ 3725661 w 11701760"/>
              <a:gd name="connsiteY481" fmla="*/ 5846396 h 6407421"/>
              <a:gd name="connsiteX482" fmla="*/ 3725661 w 11701760"/>
              <a:gd name="connsiteY482" fmla="*/ 5875998 h 6407421"/>
              <a:gd name="connsiteX483" fmla="*/ 3696058 w 11701760"/>
              <a:gd name="connsiteY483" fmla="*/ 5875998 h 6407421"/>
              <a:gd name="connsiteX484" fmla="*/ 3429969 w 11701760"/>
              <a:gd name="connsiteY484" fmla="*/ 5846396 h 6407421"/>
              <a:gd name="connsiteX485" fmla="*/ 3459572 w 11701760"/>
              <a:gd name="connsiteY485" fmla="*/ 5846396 h 6407421"/>
              <a:gd name="connsiteX486" fmla="*/ 3459572 w 11701760"/>
              <a:gd name="connsiteY486" fmla="*/ 5875998 h 6407421"/>
              <a:gd name="connsiteX487" fmla="*/ 3429969 w 11701760"/>
              <a:gd name="connsiteY487" fmla="*/ 5875998 h 6407421"/>
              <a:gd name="connsiteX488" fmla="*/ 3163772 w 11701760"/>
              <a:gd name="connsiteY488" fmla="*/ 5846396 h 6407421"/>
              <a:gd name="connsiteX489" fmla="*/ 3193374 w 11701760"/>
              <a:gd name="connsiteY489" fmla="*/ 5846396 h 6407421"/>
              <a:gd name="connsiteX490" fmla="*/ 3193374 w 11701760"/>
              <a:gd name="connsiteY490" fmla="*/ 5875998 h 6407421"/>
              <a:gd name="connsiteX491" fmla="*/ 3163772 w 11701760"/>
              <a:gd name="connsiteY491" fmla="*/ 5875998 h 6407421"/>
              <a:gd name="connsiteX492" fmla="*/ 2897575 w 11701760"/>
              <a:gd name="connsiteY492" fmla="*/ 5846396 h 6407421"/>
              <a:gd name="connsiteX493" fmla="*/ 2927178 w 11701760"/>
              <a:gd name="connsiteY493" fmla="*/ 5846396 h 6407421"/>
              <a:gd name="connsiteX494" fmla="*/ 2927178 w 11701760"/>
              <a:gd name="connsiteY494" fmla="*/ 5875998 h 6407421"/>
              <a:gd name="connsiteX495" fmla="*/ 2897575 w 11701760"/>
              <a:gd name="connsiteY495" fmla="*/ 5875998 h 6407421"/>
              <a:gd name="connsiteX496" fmla="*/ 2631378 w 11701760"/>
              <a:gd name="connsiteY496" fmla="*/ 5846396 h 6407421"/>
              <a:gd name="connsiteX497" fmla="*/ 2660980 w 11701760"/>
              <a:gd name="connsiteY497" fmla="*/ 5846396 h 6407421"/>
              <a:gd name="connsiteX498" fmla="*/ 2660980 w 11701760"/>
              <a:gd name="connsiteY498" fmla="*/ 5875998 h 6407421"/>
              <a:gd name="connsiteX499" fmla="*/ 2631378 w 11701760"/>
              <a:gd name="connsiteY499" fmla="*/ 5875998 h 6407421"/>
              <a:gd name="connsiteX500" fmla="*/ 2365289 w 11701760"/>
              <a:gd name="connsiteY500" fmla="*/ 5846396 h 6407421"/>
              <a:gd name="connsiteX501" fmla="*/ 2394892 w 11701760"/>
              <a:gd name="connsiteY501" fmla="*/ 5846396 h 6407421"/>
              <a:gd name="connsiteX502" fmla="*/ 2394892 w 11701760"/>
              <a:gd name="connsiteY502" fmla="*/ 5875998 h 6407421"/>
              <a:gd name="connsiteX503" fmla="*/ 2365289 w 11701760"/>
              <a:gd name="connsiteY503" fmla="*/ 5875998 h 6407421"/>
              <a:gd name="connsiteX504" fmla="*/ 2099092 w 11701760"/>
              <a:gd name="connsiteY504" fmla="*/ 5846396 h 6407421"/>
              <a:gd name="connsiteX505" fmla="*/ 2128695 w 11701760"/>
              <a:gd name="connsiteY505" fmla="*/ 5846396 h 6407421"/>
              <a:gd name="connsiteX506" fmla="*/ 2128695 w 11701760"/>
              <a:gd name="connsiteY506" fmla="*/ 5875998 h 6407421"/>
              <a:gd name="connsiteX507" fmla="*/ 2099092 w 11701760"/>
              <a:gd name="connsiteY507" fmla="*/ 5875998 h 6407421"/>
              <a:gd name="connsiteX508" fmla="*/ 1832898 w 11701760"/>
              <a:gd name="connsiteY508" fmla="*/ 5846396 h 6407421"/>
              <a:gd name="connsiteX509" fmla="*/ 1862498 w 11701760"/>
              <a:gd name="connsiteY509" fmla="*/ 5846396 h 6407421"/>
              <a:gd name="connsiteX510" fmla="*/ 1862498 w 11701760"/>
              <a:gd name="connsiteY510" fmla="*/ 5875998 h 6407421"/>
              <a:gd name="connsiteX511" fmla="*/ 1832898 w 11701760"/>
              <a:gd name="connsiteY511" fmla="*/ 5875998 h 6407421"/>
              <a:gd name="connsiteX512" fmla="*/ 1566808 w 11701760"/>
              <a:gd name="connsiteY512" fmla="*/ 5846396 h 6407421"/>
              <a:gd name="connsiteX513" fmla="*/ 1596409 w 11701760"/>
              <a:gd name="connsiteY513" fmla="*/ 5846396 h 6407421"/>
              <a:gd name="connsiteX514" fmla="*/ 1596409 w 11701760"/>
              <a:gd name="connsiteY514" fmla="*/ 5875998 h 6407421"/>
              <a:gd name="connsiteX515" fmla="*/ 1566808 w 11701760"/>
              <a:gd name="connsiteY515" fmla="*/ 5875998 h 6407421"/>
              <a:gd name="connsiteX516" fmla="*/ 1300611 w 11701760"/>
              <a:gd name="connsiteY516" fmla="*/ 5846396 h 6407421"/>
              <a:gd name="connsiteX517" fmla="*/ 1330213 w 11701760"/>
              <a:gd name="connsiteY517" fmla="*/ 5846396 h 6407421"/>
              <a:gd name="connsiteX518" fmla="*/ 1330213 w 11701760"/>
              <a:gd name="connsiteY518" fmla="*/ 5875998 h 6407421"/>
              <a:gd name="connsiteX519" fmla="*/ 1300611 w 11701760"/>
              <a:gd name="connsiteY519" fmla="*/ 5875998 h 6407421"/>
              <a:gd name="connsiteX520" fmla="*/ 1034520 w 11701760"/>
              <a:gd name="connsiteY520" fmla="*/ 5846396 h 6407421"/>
              <a:gd name="connsiteX521" fmla="*/ 1064123 w 11701760"/>
              <a:gd name="connsiteY521" fmla="*/ 5846396 h 6407421"/>
              <a:gd name="connsiteX522" fmla="*/ 1064123 w 11701760"/>
              <a:gd name="connsiteY522" fmla="*/ 5875998 h 6407421"/>
              <a:gd name="connsiteX523" fmla="*/ 1034520 w 11701760"/>
              <a:gd name="connsiteY523" fmla="*/ 5875998 h 6407421"/>
              <a:gd name="connsiteX524" fmla="*/ 768328 w 11701760"/>
              <a:gd name="connsiteY524" fmla="*/ 5846396 h 6407421"/>
              <a:gd name="connsiteX525" fmla="*/ 797926 w 11701760"/>
              <a:gd name="connsiteY525" fmla="*/ 5846396 h 6407421"/>
              <a:gd name="connsiteX526" fmla="*/ 797926 w 11701760"/>
              <a:gd name="connsiteY526" fmla="*/ 5875998 h 6407421"/>
              <a:gd name="connsiteX527" fmla="*/ 768328 w 11701760"/>
              <a:gd name="connsiteY527" fmla="*/ 5875998 h 6407421"/>
              <a:gd name="connsiteX528" fmla="*/ 502237 w 11701760"/>
              <a:gd name="connsiteY528" fmla="*/ 5846396 h 6407421"/>
              <a:gd name="connsiteX529" fmla="*/ 531839 w 11701760"/>
              <a:gd name="connsiteY529" fmla="*/ 5846396 h 6407421"/>
              <a:gd name="connsiteX530" fmla="*/ 531839 w 11701760"/>
              <a:gd name="connsiteY530" fmla="*/ 5875998 h 6407421"/>
              <a:gd name="connsiteX531" fmla="*/ 502237 w 11701760"/>
              <a:gd name="connsiteY531" fmla="*/ 5875998 h 6407421"/>
              <a:gd name="connsiteX532" fmla="*/ 236038 w 11701760"/>
              <a:gd name="connsiteY532" fmla="*/ 5846396 h 6407421"/>
              <a:gd name="connsiteX533" fmla="*/ 265640 w 11701760"/>
              <a:gd name="connsiteY533" fmla="*/ 5846396 h 6407421"/>
              <a:gd name="connsiteX534" fmla="*/ 265640 w 11701760"/>
              <a:gd name="connsiteY534" fmla="*/ 5875998 h 6407421"/>
              <a:gd name="connsiteX535" fmla="*/ 236038 w 11701760"/>
              <a:gd name="connsiteY535" fmla="*/ 5875998 h 6407421"/>
              <a:gd name="connsiteX536" fmla="*/ 2 w 11701760"/>
              <a:gd name="connsiteY536" fmla="*/ 5846396 h 6407421"/>
              <a:gd name="connsiteX537" fmla="*/ 29604 w 11701760"/>
              <a:gd name="connsiteY537" fmla="*/ 5846396 h 6407421"/>
              <a:gd name="connsiteX538" fmla="*/ 29604 w 11701760"/>
              <a:gd name="connsiteY538" fmla="*/ 5875998 h 6407421"/>
              <a:gd name="connsiteX539" fmla="*/ 2 w 11701760"/>
              <a:gd name="connsiteY539" fmla="*/ 5875998 h 6407421"/>
              <a:gd name="connsiteX540" fmla="*/ 11672158 w 11701760"/>
              <a:gd name="connsiteY540" fmla="*/ 5580631 h 6407421"/>
              <a:gd name="connsiteX541" fmla="*/ 11701760 w 11701760"/>
              <a:gd name="connsiteY541" fmla="*/ 5580631 h 6407421"/>
              <a:gd name="connsiteX542" fmla="*/ 11701760 w 11701760"/>
              <a:gd name="connsiteY542" fmla="*/ 5610233 h 6407421"/>
              <a:gd name="connsiteX543" fmla="*/ 11672158 w 11701760"/>
              <a:gd name="connsiteY543" fmla="*/ 5610233 h 6407421"/>
              <a:gd name="connsiteX544" fmla="*/ 11405961 w 11701760"/>
              <a:gd name="connsiteY544" fmla="*/ 5580631 h 6407421"/>
              <a:gd name="connsiteX545" fmla="*/ 11435563 w 11701760"/>
              <a:gd name="connsiteY545" fmla="*/ 5580631 h 6407421"/>
              <a:gd name="connsiteX546" fmla="*/ 11435563 w 11701760"/>
              <a:gd name="connsiteY546" fmla="*/ 5610233 h 6407421"/>
              <a:gd name="connsiteX547" fmla="*/ 11405961 w 11701760"/>
              <a:gd name="connsiteY547" fmla="*/ 5610233 h 6407421"/>
              <a:gd name="connsiteX548" fmla="*/ 11139872 w 11701760"/>
              <a:gd name="connsiteY548" fmla="*/ 5580631 h 6407421"/>
              <a:gd name="connsiteX549" fmla="*/ 11169474 w 11701760"/>
              <a:gd name="connsiteY549" fmla="*/ 5580631 h 6407421"/>
              <a:gd name="connsiteX550" fmla="*/ 11169474 w 11701760"/>
              <a:gd name="connsiteY550" fmla="*/ 5610233 h 6407421"/>
              <a:gd name="connsiteX551" fmla="*/ 11139872 w 11701760"/>
              <a:gd name="connsiteY551" fmla="*/ 5610233 h 6407421"/>
              <a:gd name="connsiteX552" fmla="*/ 10873675 w 11701760"/>
              <a:gd name="connsiteY552" fmla="*/ 5580631 h 6407421"/>
              <a:gd name="connsiteX553" fmla="*/ 10903277 w 11701760"/>
              <a:gd name="connsiteY553" fmla="*/ 5580631 h 6407421"/>
              <a:gd name="connsiteX554" fmla="*/ 10903277 w 11701760"/>
              <a:gd name="connsiteY554" fmla="*/ 5610233 h 6407421"/>
              <a:gd name="connsiteX555" fmla="*/ 10873675 w 11701760"/>
              <a:gd name="connsiteY555" fmla="*/ 5610233 h 6407421"/>
              <a:gd name="connsiteX556" fmla="*/ 10607478 w 11701760"/>
              <a:gd name="connsiteY556" fmla="*/ 5580631 h 6407421"/>
              <a:gd name="connsiteX557" fmla="*/ 10637188 w 11701760"/>
              <a:gd name="connsiteY557" fmla="*/ 5580631 h 6407421"/>
              <a:gd name="connsiteX558" fmla="*/ 10637188 w 11701760"/>
              <a:gd name="connsiteY558" fmla="*/ 5610233 h 6407421"/>
              <a:gd name="connsiteX559" fmla="*/ 10607478 w 11701760"/>
              <a:gd name="connsiteY559" fmla="*/ 5610233 h 6407421"/>
              <a:gd name="connsiteX560" fmla="*/ 10341389 w 11701760"/>
              <a:gd name="connsiteY560" fmla="*/ 5580631 h 6407421"/>
              <a:gd name="connsiteX561" fmla="*/ 10370992 w 11701760"/>
              <a:gd name="connsiteY561" fmla="*/ 5580631 h 6407421"/>
              <a:gd name="connsiteX562" fmla="*/ 10370992 w 11701760"/>
              <a:gd name="connsiteY562" fmla="*/ 5610233 h 6407421"/>
              <a:gd name="connsiteX563" fmla="*/ 10341389 w 11701760"/>
              <a:gd name="connsiteY563" fmla="*/ 5610233 h 6407421"/>
              <a:gd name="connsiteX564" fmla="*/ 10075192 w 11701760"/>
              <a:gd name="connsiteY564" fmla="*/ 5580631 h 6407421"/>
              <a:gd name="connsiteX565" fmla="*/ 10104794 w 11701760"/>
              <a:gd name="connsiteY565" fmla="*/ 5580631 h 6407421"/>
              <a:gd name="connsiteX566" fmla="*/ 10104794 w 11701760"/>
              <a:gd name="connsiteY566" fmla="*/ 5610233 h 6407421"/>
              <a:gd name="connsiteX567" fmla="*/ 10075192 w 11701760"/>
              <a:gd name="connsiteY567" fmla="*/ 5610233 h 6407421"/>
              <a:gd name="connsiteX568" fmla="*/ 9809103 w 11701760"/>
              <a:gd name="connsiteY568" fmla="*/ 5580631 h 6407421"/>
              <a:gd name="connsiteX569" fmla="*/ 9838705 w 11701760"/>
              <a:gd name="connsiteY569" fmla="*/ 5580631 h 6407421"/>
              <a:gd name="connsiteX570" fmla="*/ 9838705 w 11701760"/>
              <a:gd name="connsiteY570" fmla="*/ 5610233 h 6407421"/>
              <a:gd name="connsiteX571" fmla="*/ 9809103 w 11701760"/>
              <a:gd name="connsiteY571" fmla="*/ 5610233 h 6407421"/>
              <a:gd name="connsiteX572" fmla="*/ 9542906 w 11701760"/>
              <a:gd name="connsiteY572" fmla="*/ 5580631 h 6407421"/>
              <a:gd name="connsiteX573" fmla="*/ 9572509 w 11701760"/>
              <a:gd name="connsiteY573" fmla="*/ 5580631 h 6407421"/>
              <a:gd name="connsiteX574" fmla="*/ 9572509 w 11701760"/>
              <a:gd name="connsiteY574" fmla="*/ 5610233 h 6407421"/>
              <a:gd name="connsiteX575" fmla="*/ 9542906 w 11701760"/>
              <a:gd name="connsiteY575" fmla="*/ 5610233 h 6407421"/>
              <a:gd name="connsiteX576" fmla="*/ 9276817 w 11701760"/>
              <a:gd name="connsiteY576" fmla="*/ 5580631 h 6407421"/>
              <a:gd name="connsiteX577" fmla="*/ 9306420 w 11701760"/>
              <a:gd name="connsiteY577" fmla="*/ 5580631 h 6407421"/>
              <a:gd name="connsiteX578" fmla="*/ 9306420 w 11701760"/>
              <a:gd name="connsiteY578" fmla="*/ 5610233 h 6407421"/>
              <a:gd name="connsiteX579" fmla="*/ 9276817 w 11701760"/>
              <a:gd name="connsiteY579" fmla="*/ 5610233 h 6407421"/>
              <a:gd name="connsiteX580" fmla="*/ 9010620 w 11701760"/>
              <a:gd name="connsiteY580" fmla="*/ 5580631 h 6407421"/>
              <a:gd name="connsiteX581" fmla="*/ 9040222 w 11701760"/>
              <a:gd name="connsiteY581" fmla="*/ 5580631 h 6407421"/>
              <a:gd name="connsiteX582" fmla="*/ 9040222 w 11701760"/>
              <a:gd name="connsiteY582" fmla="*/ 5610233 h 6407421"/>
              <a:gd name="connsiteX583" fmla="*/ 9010620 w 11701760"/>
              <a:gd name="connsiteY583" fmla="*/ 5610233 h 6407421"/>
              <a:gd name="connsiteX584" fmla="*/ 8744423 w 11701760"/>
              <a:gd name="connsiteY584" fmla="*/ 5580631 h 6407421"/>
              <a:gd name="connsiteX585" fmla="*/ 8774026 w 11701760"/>
              <a:gd name="connsiteY585" fmla="*/ 5580631 h 6407421"/>
              <a:gd name="connsiteX586" fmla="*/ 8774026 w 11701760"/>
              <a:gd name="connsiteY586" fmla="*/ 5610233 h 6407421"/>
              <a:gd name="connsiteX587" fmla="*/ 8744423 w 11701760"/>
              <a:gd name="connsiteY587" fmla="*/ 5610233 h 6407421"/>
              <a:gd name="connsiteX588" fmla="*/ 8478226 w 11701760"/>
              <a:gd name="connsiteY588" fmla="*/ 5580631 h 6407421"/>
              <a:gd name="connsiteX589" fmla="*/ 8507828 w 11701760"/>
              <a:gd name="connsiteY589" fmla="*/ 5580631 h 6407421"/>
              <a:gd name="connsiteX590" fmla="*/ 8507828 w 11701760"/>
              <a:gd name="connsiteY590" fmla="*/ 5610233 h 6407421"/>
              <a:gd name="connsiteX591" fmla="*/ 8478226 w 11701760"/>
              <a:gd name="connsiteY591" fmla="*/ 5610233 h 6407421"/>
              <a:gd name="connsiteX592" fmla="*/ 8212137 w 11701760"/>
              <a:gd name="connsiteY592" fmla="*/ 5580631 h 6407421"/>
              <a:gd name="connsiteX593" fmla="*/ 8241740 w 11701760"/>
              <a:gd name="connsiteY593" fmla="*/ 5580631 h 6407421"/>
              <a:gd name="connsiteX594" fmla="*/ 8241740 w 11701760"/>
              <a:gd name="connsiteY594" fmla="*/ 5610233 h 6407421"/>
              <a:gd name="connsiteX595" fmla="*/ 8212137 w 11701760"/>
              <a:gd name="connsiteY595" fmla="*/ 5610233 h 6407421"/>
              <a:gd name="connsiteX596" fmla="*/ 7945940 w 11701760"/>
              <a:gd name="connsiteY596" fmla="*/ 5580631 h 6407421"/>
              <a:gd name="connsiteX597" fmla="*/ 7975543 w 11701760"/>
              <a:gd name="connsiteY597" fmla="*/ 5580631 h 6407421"/>
              <a:gd name="connsiteX598" fmla="*/ 7975543 w 11701760"/>
              <a:gd name="connsiteY598" fmla="*/ 5610233 h 6407421"/>
              <a:gd name="connsiteX599" fmla="*/ 7945940 w 11701760"/>
              <a:gd name="connsiteY599" fmla="*/ 5610233 h 6407421"/>
              <a:gd name="connsiteX600" fmla="*/ 7679743 w 11701760"/>
              <a:gd name="connsiteY600" fmla="*/ 5580631 h 6407421"/>
              <a:gd name="connsiteX601" fmla="*/ 7709346 w 11701760"/>
              <a:gd name="connsiteY601" fmla="*/ 5580631 h 6407421"/>
              <a:gd name="connsiteX602" fmla="*/ 7709346 w 11701760"/>
              <a:gd name="connsiteY602" fmla="*/ 5610233 h 6407421"/>
              <a:gd name="connsiteX603" fmla="*/ 7679743 w 11701760"/>
              <a:gd name="connsiteY603" fmla="*/ 5610233 h 6407421"/>
              <a:gd name="connsiteX604" fmla="*/ 7413653 w 11701760"/>
              <a:gd name="connsiteY604" fmla="*/ 5580631 h 6407421"/>
              <a:gd name="connsiteX605" fmla="*/ 7443256 w 11701760"/>
              <a:gd name="connsiteY605" fmla="*/ 5580631 h 6407421"/>
              <a:gd name="connsiteX606" fmla="*/ 7443256 w 11701760"/>
              <a:gd name="connsiteY606" fmla="*/ 5610233 h 6407421"/>
              <a:gd name="connsiteX607" fmla="*/ 7413653 w 11701760"/>
              <a:gd name="connsiteY607" fmla="*/ 5610233 h 6407421"/>
              <a:gd name="connsiteX608" fmla="*/ 7147456 w 11701760"/>
              <a:gd name="connsiteY608" fmla="*/ 5580631 h 6407421"/>
              <a:gd name="connsiteX609" fmla="*/ 7177058 w 11701760"/>
              <a:gd name="connsiteY609" fmla="*/ 5580631 h 6407421"/>
              <a:gd name="connsiteX610" fmla="*/ 7177058 w 11701760"/>
              <a:gd name="connsiteY610" fmla="*/ 5610233 h 6407421"/>
              <a:gd name="connsiteX611" fmla="*/ 7147456 w 11701760"/>
              <a:gd name="connsiteY611" fmla="*/ 5610233 h 6407421"/>
              <a:gd name="connsiteX612" fmla="*/ 6881367 w 11701760"/>
              <a:gd name="connsiteY612" fmla="*/ 5580631 h 6407421"/>
              <a:gd name="connsiteX613" fmla="*/ 6910970 w 11701760"/>
              <a:gd name="connsiteY613" fmla="*/ 5580631 h 6407421"/>
              <a:gd name="connsiteX614" fmla="*/ 6910970 w 11701760"/>
              <a:gd name="connsiteY614" fmla="*/ 5610233 h 6407421"/>
              <a:gd name="connsiteX615" fmla="*/ 6881367 w 11701760"/>
              <a:gd name="connsiteY615" fmla="*/ 5610233 h 6407421"/>
              <a:gd name="connsiteX616" fmla="*/ 6615170 w 11701760"/>
              <a:gd name="connsiteY616" fmla="*/ 5580631 h 6407421"/>
              <a:gd name="connsiteX617" fmla="*/ 6644773 w 11701760"/>
              <a:gd name="connsiteY617" fmla="*/ 5580631 h 6407421"/>
              <a:gd name="connsiteX618" fmla="*/ 6644773 w 11701760"/>
              <a:gd name="connsiteY618" fmla="*/ 5610233 h 6407421"/>
              <a:gd name="connsiteX619" fmla="*/ 6615170 w 11701760"/>
              <a:gd name="connsiteY619" fmla="*/ 5610233 h 6407421"/>
              <a:gd name="connsiteX620" fmla="*/ 6349081 w 11701760"/>
              <a:gd name="connsiteY620" fmla="*/ 5580631 h 6407421"/>
              <a:gd name="connsiteX621" fmla="*/ 6378683 w 11701760"/>
              <a:gd name="connsiteY621" fmla="*/ 5580631 h 6407421"/>
              <a:gd name="connsiteX622" fmla="*/ 6378683 w 11701760"/>
              <a:gd name="connsiteY622" fmla="*/ 5610233 h 6407421"/>
              <a:gd name="connsiteX623" fmla="*/ 6349081 w 11701760"/>
              <a:gd name="connsiteY623" fmla="*/ 5610233 h 6407421"/>
              <a:gd name="connsiteX624" fmla="*/ 6082884 w 11701760"/>
              <a:gd name="connsiteY624" fmla="*/ 5580631 h 6407421"/>
              <a:gd name="connsiteX625" fmla="*/ 6112486 w 11701760"/>
              <a:gd name="connsiteY625" fmla="*/ 5580631 h 6407421"/>
              <a:gd name="connsiteX626" fmla="*/ 6112486 w 11701760"/>
              <a:gd name="connsiteY626" fmla="*/ 5610233 h 6407421"/>
              <a:gd name="connsiteX627" fmla="*/ 6082884 w 11701760"/>
              <a:gd name="connsiteY627" fmla="*/ 5610233 h 6407421"/>
              <a:gd name="connsiteX628" fmla="*/ 5825310 w 11701760"/>
              <a:gd name="connsiteY628" fmla="*/ 5580631 h 6407421"/>
              <a:gd name="connsiteX629" fmla="*/ 5854913 w 11701760"/>
              <a:gd name="connsiteY629" fmla="*/ 5580631 h 6407421"/>
              <a:gd name="connsiteX630" fmla="*/ 5854913 w 11701760"/>
              <a:gd name="connsiteY630" fmla="*/ 5610233 h 6407421"/>
              <a:gd name="connsiteX631" fmla="*/ 5825310 w 11701760"/>
              <a:gd name="connsiteY631" fmla="*/ 5610233 h 6407421"/>
              <a:gd name="connsiteX632" fmla="*/ 5559113 w 11701760"/>
              <a:gd name="connsiteY632" fmla="*/ 5580631 h 6407421"/>
              <a:gd name="connsiteX633" fmla="*/ 5588715 w 11701760"/>
              <a:gd name="connsiteY633" fmla="*/ 5580631 h 6407421"/>
              <a:gd name="connsiteX634" fmla="*/ 5588715 w 11701760"/>
              <a:gd name="connsiteY634" fmla="*/ 5610233 h 6407421"/>
              <a:gd name="connsiteX635" fmla="*/ 5559113 w 11701760"/>
              <a:gd name="connsiteY635" fmla="*/ 5610233 h 6407421"/>
              <a:gd name="connsiteX636" fmla="*/ 5293024 w 11701760"/>
              <a:gd name="connsiteY636" fmla="*/ 5580631 h 6407421"/>
              <a:gd name="connsiteX637" fmla="*/ 5322626 w 11701760"/>
              <a:gd name="connsiteY637" fmla="*/ 5580631 h 6407421"/>
              <a:gd name="connsiteX638" fmla="*/ 5322626 w 11701760"/>
              <a:gd name="connsiteY638" fmla="*/ 5610233 h 6407421"/>
              <a:gd name="connsiteX639" fmla="*/ 5293024 w 11701760"/>
              <a:gd name="connsiteY639" fmla="*/ 5610233 h 6407421"/>
              <a:gd name="connsiteX640" fmla="*/ 5026827 w 11701760"/>
              <a:gd name="connsiteY640" fmla="*/ 5580631 h 6407421"/>
              <a:gd name="connsiteX641" fmla="*/ 5056429 w 11701760"/>
              <a:gd name="connsiteY641" fmla="*/ 5580631 h 6407421"/>
              <a:gd name="connsiteX642" fmla="*/ 5056429 w 11701760"/>
              <a:gd name="connsiteY642" fmla="*/ 5610233 h 6407421"/>
              <a:gd name="connsiteX643" fmla="*/ 5026827 w 11701760"/>
              <a:gd name="connsiteY643" fmla="*/ 5610233 h 6407421"/>
              <a:gd name="connsiteX644" fmla="*/ 4760630 w 11701760"/>
              <a:gd name="connsiteY644" fmla="*/ 5580631 h 6407421"/>
              <a:gd name="connsiteX645" fmla="*/ 4790340 w 11701760"/>
              <a:gd name="connsiteY645" fmla="*/ 5580631 h 6407421"/>
              <a:gd name="connsiteX646" fmla="*/ 4790340 w 11701760"/>
              <a:gd name="connsiteY646" fmla="*/ 5610233 h 6407421"/>
              <a:gd name="connsiteX647" fmla="*/ 4760630 w 11701760"/>
              <a:gd name="connsiteY647" fmla="*/ 5610233 h 6407421"/>
              <a:gd name="connsiteX648" fmla="*/ 4494541 w 11701760"/>
              <a:gd name="connsiteY648" fmla="*/ 5580631 h 6407421"/>
              <a:gd name="connsiteX649" fmla="*/ 4524144 w 11701760"/>
              <a:gd name="connsiteY649" fmla="*/ 5580631 h 6407421"/>
              <a:gd name="connsiteX650" fmla="*/ 4524144 w 11701760"/>
              <a:gd name="connsiteY650" fmla="*/ 5610233 h 6407421"/>
              <a:gd name="connsiteX651" fmla="*/ 4494541 w 11701760"/>
              <a:gd name="connsiteY651" fmla="*/ 5610233 h 6407421"/>
              <a:gd name="connsiteX652" fmla="*/ 4228344 w 11701760"/>
              <a:gd name="connsiteY652" fmla="*/ 5580631 h 6407421"/>
              <a:gd name="connsiteX653" fmla="*/ 4257946 w 11701760"/>
              <a:gd name="connsiteY653" fmla="*/ 5580631 h 6407421"/>
              <a:gd name="connsiteX654" fmla="*/ 4257946 w 11701760"/>
              <a:gd name="connsiteY654" fmla="*/ 5610233 h 6407421"/>
              <a:gd name="connsiteX655" fmla="*/ 4228344 w 11701760"/>
              <a:gd name="connsiteY655" fmla="*/ 5610233 h 6407421"/>
              <a:gd name="connsiteX656" fmla="*/ 3962255 w 11701760"/>
              <a:gd name="connsiteY656" fmla="*/ 5580631 h 6407421"/>
              <a:gd name="connsiteX657" fmla="*/ 3991857 w 11701760"/>
              <a:gd name="connsiteY657" fmla="*/ 5580631 h 6407421"/>
              <a:gd name="connsiteX658" fmla="*/ 3991857 w 11701760"/>
              <a:gd name="connsiteY658" fmla="*/ 5610233 h 6407421"/>
              <a:gd name="connsiteX659" fmla="*/ 3962255 w 11701760"/>
              <a:gd name="connsiteY659" fmla="*/ 5610233 h 6407421"/>
              <a:gd name="connsiteX660" fmla="*/ 3696058 w 11701760"/>
              <a:gd name="connsiteY660" fmla="*/ 5580631 h 6407421"/>
              <a:gd name="connsiteX661" fmla="*/ 3725661 w 11701760"/>
              <a:gd name="connsiteY661" fmla="*/ 5580631 h 6407421"/>
              <a:gd name="connsiteX662" fmla="*/ 3725661 w 11701760"/>
              <a:gd name="connsiteY662" fmla="*/ 5610233 h 6407421"/>
              <a:gd name="connsiteX663" fmla="*/ 3696058 w 11701760"/>
              <a:gd name="connsiteY663" fmla="*/ 5610233 h 6407421"/>
              <a:gd name="connsiteX664" fmla="*/ 3429969 w 11701760"/>
              <a:gd name="connsiteY664" fmla="*/ 5580631 h 6407421"/>
              <a:gd name="connsiteX665" fmla="*/ 3459572 w 11701760"/>
              <a:gd name="connsiteY665" fmla="*/ 5580631 h 6407421"/>
              <a:gd name="connsiteX666" fmla="*/ 3459572 w 11701760"/>
              <a:gd name="connsiteY666" fmla="*/ 5610233 h 6407421"/>
              <a:gd name="connsiteX667" fmla="*/ 3429969 w 11701760"/>
              <a:gd name="connsiteY667" fmla="*/ 5610233 h 6407421"/>
              <a:gd name="connsiteX668" fmla="*/ 3163772 w 11701760"/>
              <a:gd name="connsiteY668" fmla="*/ 5580631 h 6407421"/>
              <a:gd name="connsiteX669" fmla="*/ 3193374 w 11701760"/>
              <a:gd name="connsiteY669" fmla="*/ 5580631 h 6407421"/>
              <a:gd name="connsiteX670" fmla="*/ 3193374 w 11701760"/>
              <a:gd name="connsiteY670" fmla="*/ 5610233 h 6407421"/>
              <a:gd name="connsiteX671" fmla="*/ 3163772 w 11701760"/>
              <a:gd name="connsiteY671" fmla="*/ 5610233 h 6407421"/>
              <a:gd name="connsiteX672" fmla="*/ 2897575 w 11701760"/>
              <a:gd name="connsiteY672" fmla="*/ 5580631 h 6407421"/>
              <a:gd name="connsiteX673" fmla="*/ 2927178 w 11701760"/>
              <a:gd name="connsiteY673" fmla="*/ 5580631 h 6407421"/>
              <a:gd name="connsiteX674" fmla="*/ 2927178 w 11701760"/>
              <a:gd name="connsiteY674" fmla="*/ 5610233 h 6407421"/>
              <a:gd name="connsiteX675" fmla="*/ 2897575 w 11701760"/>
              <a:gd name="connsiteY675" fmla="*/ 5610233 h 6407421"/>
              <a:gd name="connsiteX676" fmla="*/ 2631378 w 11701760"/>
              <a:gd name="connsiteY676" fmla="*/ 5580631 h 6407421"/>
              <a:gd name="connsiteX677" fmla="*/ 2660980 w 11701760"/>
              <a:gd name="connsiteY677" fmla="*/ 5580631 h 6407421"/>
              <a:gd name="connsiteX678" fmla="*/ 2660980 w 11701760"/>
              <a:gd name="connsiteY678" fmla="*/ 5610233 h 6407421"/>
              <a:gd name="connsiteX679" fmla="*/ 2631378 w 11701760"/>
              <a:gd name="connsiteY679" fmla="*/ 5610233 h 6407421"/>
              <a:gd name="connsiteX680" fmla="*/ 2365289 w 11701760"/>
              <a:gd name="connsiteY680" fmla="*/ 5580631 h 6407421"/>
              <a:gd name="connsiteX681" fmla="*/ 2394892 w 11701760"/>
              <a:gd name="connsiteY681" fmla="*/ 5580631 h 6407421"/>
              <a:gd name="connsiteX682" fmla="*/ 2394892 w 11701760"/>
              <a:gd name="connsiteY682" fmla="*/ 5610233 h 6407421"/>
              <a:gd name="connsiteX683" fmla="*/ 2365289 w 11701760"/>
              <a:gd name="connsiteY683" fmla="*/ 5610233 h 6407421"/>
              <a:gd name="connsiteX684" fmla="*/ 2099092 w 11701760"/>
              <a:gd name="connsiteY684" fmla="*/ 5580631 h 6407421"/>
              <a:gd name="connsiteX685" fmla="*/ 2128695 w 11701760"/>
              <a:gd name="connsiteY685" fmla="*/ 5580631 h 6407421"/>
              <a:gd name="connsiteX686" fmla="*/ 2128695 w 11701760"/>
              <a:gd name="connsiteY686" fmla="*/ 5610233 h 6407421"/>
              <a:gd name="connsiteX687" fmla="*/ 2099092 w 11701760"/>
              <a:gd name="connsiteY687" fmla="*/ 5610233 h 6407421"/>
              <a:gd name="connsiteX688" fmla="*/ 1832898 w 11701760"/>
              <a:gd name="connsiteY688" fmla="*/ 5580631 h 6407421"/>
              <a:gd name="connsiteX689" fmla="*/ 1862498 w 11701760"/>
              <a:gd name="connsiteY689" fmla="*/ 5580631 h 6407421"/>
              <a:gd name="connsiteX690" fmla="*/ 1862498 w 11701760"/>
              <a:gd name="connsiteY690" fmla="*/ 5610233 h 6407421"/>
              <a:gd name="connsiteX691" fmla="*/ 1832898 w 11701760"/>
              <a:gd name="connsiteY691" fmla="*/ 5610233 h 6407421"/>
              <a:gd name="connsiteX692" fmla="*/ 1566808 w 11701760"/>
              <a:gd name="connsiteY692" fmla="*/ 5580631 h 6407421"/>
              <a:gd name="connsiteX693" fmla="*/ 1596409 w 11701760"/>
              <a:gd name="connsiteY693" fmla="*/ 5580631 h 6407421"/>
              <a:gd name="connsiteX694" fmla="*/ 1596409 w 11701760"/>
              <a:gd name="connsiteY694" fmla="*/ 5610233 h 6407421"/>
              <a:gd name="connsiteX695" fmla="*/ 1566808 w 11701760"/>
              <a:gd name="connsiteY695" fmla="*/ 5610233 h 6407421"/>
              <a:gd name="connsiteX696" fmla="*/ 1300611 w 11701760"/>
              <a:gd name="connsiteY696" fmla="*/ 5580631 h 6407421"/>
              <a:gd name="connsiteX697" fmla="*/ 1330213 w 11701760"/>
              <a:gd name="connsiteY697" fmla="*/ 5580631 h 6407421"/>
              <a:gd name="connsiteX698" fmla="*/ 1330213 w 11701760"/>
              <a:gd name="connsiteY698" fmla="*/ 5610233 h 6407421"/>
              <a:gd name="connsiteX699" fmla="*/ 1300611 w 11701760"/>
              <a:gd name="connsiteY699" fmla="*/ 5610233 h 6407421"/>
              <a:gd name="connsiteX700" fmla="*/ 1034520 w 11701760"/>
              <a:gd name="connsiteY700" fmla="*/ 5580631 h 6407421"/>
              <a:gd name="connsiteX701" fmla="*/ 1064123 w 11701760"/>
              <a:gd name="connsiteY701" fmla="*/ 5580631 h 6407421"/>
              <a:gd name="connsiteX702" fmla="*/ 1064123 w 11701760"/>
              <a:gd name="connsiteY702" fmla="*/ 5610233 h 6407421"/>
              <a:gd name="connsiteX703" fmla="*/ 1034520 w 11701760"/>
              <a:gd name="connsiteY703" fmla="*/ 5610233 h 6407421"/>
              <a:gd name="connsiteX704" fmla="*/ 768328 w 11701760"/>
              <a:gd name="connsiteY704" fmla="*/ 5580631 h 6407421"/>
              <a:gd name="connsiteX705" fmla="*/ 797926 w 11701760"/>
              <a:gd name="connsiteY705" fmla="*/ 5580631 h 6407421"/>
              <a:gd name="connsiteX706" fmla="*/ 797926 w 11701760"/>
              <a:gd name="connsiteY706" fmla="*/ 5610233 h 6407421"/>
              <a:gd name="connsiteX707" fmla="*/ 768328 w 11701760"/>
              <a:gd name="connsiteY707" fmla="*/ 5610233 h 6407421"/>
              <a:gd name="connsiteX708" fmla="*/ 502237 w 11701760"/>
              <a:gd name="connsiteY708" fmla="*/ 5580631 h 6407421"/>
              <a:gd name="connsiteX709" fmla="*/ 531839 w 11701760"/>
              <a:gd name="connsiteY709" fmla="*/ 5580631 h 6407421"/>
              <a:gd name="connsiteX710" fmla="*/ 531839 w 11701760"/>
              <a:gd name="connsiteY710" fmla="*/ 5610233 h 6407421"/>
              <a:gd name="connsiteX711" fmla="*/ 502237 w 11701760"/>
              <a:gd name="connsiteY711" fmla="*/ 5610233 h 6407421"/>
              <a:gd name="connsiteX712" fmla="*/ 236038 w 11701760"/>
              <a:gd name="connsiteY712" fmla="*/ 5580631 h 6407421"/>
              <a:gd name="connsiteX713" fmla="*/ 265640 w 11701760"/>
              <a:gd name="connsiteY713" fmla="*/ 5580631 h 6407421"/>
              <a:gd name="connsiteX714" fmla="*/ 265640 w 11701760"/>
              <a:gd name="connsiteY714" fmla="*/ 5610233 h 6407421"/>
              <a:gd name="connsiteX715" fmla="*/ 236038 w 11701760"/>
              <a:gd name="connsiteY715" fmla="*/ 5610233 h 6407421"/>
              <a:gd name="connsiteX716" fmla="*/ 2 w 11701760"/>
              <a:gd name="connsiteY716" fmla="*/ 5580631 h 6407421"/>
              <a:gd name="connsiteX717" fmla="*/ 29604 w 11701760"/>
              <a:gd name="connsiteY717" fmla="*/ 5580631 h 6407421"/>
              <a:gd name="connsiteX718" fmla="*/ 29604 w 11701760"/>
              <a:gd name="connsiteY718" fmla="*/ 5610233 h 6407421"/>
              <a:gd name="connsiteX719" fmla="*/ 2 w 11701760"/>
              <a:gd name="connsiteY719" fmla="*/ 5610233 h 6407421"/>
              <a:gd name="connsiteX720" fmla="*/ 11672158 w 11701760"/>
              <a:gd name="connsiteY720" fmla="*/ 5314974 h 6407421"/>
              <a:gd name="connsiteX721" fmla="*/ 11701760 w 11701760"/>
              <a:gd name="connsiteY721" fmla="*/ 5314974 h 6407421"/>
              <a:gd name="connsiteX722" fmla="*/ 11701760 w 11701760"/>
              <a:gd name="connsiteY722" fmla="*/ 5344468 h 6407421"/>
              <a:gd name="connsiteX723" fmla="*/ 11672158 w 11701760"/>
              <a:gd name="connsiteY723" fmla="*/ 5344468 h 6407421"/>
              <a:gd name="connsiteX724" fmla="*/ 11405961 w 11701760"/>
              <a:gd name="connsiteY724" fmla="*/ 5314974 h 6407421"/>
              <a:gd name="connsiteX725" fmla="*/ 11435563 w 11701760"/>
              <a:gd name="connsiteY725" fmla="*/ 5314974 h 6407421"/>
              <a:gd name="connsiteX726" fmla="*/ 11435563 w 11701760"/>
              <a:gd name="connsiteY726" fmla="*/ 5344468 h 6407421"/>
              <a:gd name="connsiteX727" fmla="*/ 11405961 w 11701760"/>
              <a:gd name="connsiteY727" fmla="*/ 5344468 h 6407421"/>
              <a:gd name="connsiteX728" fmla="*/ 11139872 w 11701760"/>
              <a:gd name="connsiteY728" fmla="*/ 5314974 h 6407421"/>
              <a:gd name="connsiteX729" fmla="*/ 11169474 w 11701760"/>
              <a:gd name="connsiteY729" fmla="*/ 5314974 h 6407421"/>
              <a:gd name="connsiteX730" fmla="*/ 11169474 w 11701760"/>
              <a:gd name="connsiteY730" fmla="*/ 5344468 h 6407421"/>
              <a:gd name="connsiteX731" fmla="*/ 11139872 w 11701760"/>
              <a:gd name="connsiteY731" fmla="*/ 5344468 h 6407421"/>
              <a:gd name="connsiteX732" fmla="*/ 10873675 w 11701760"/>
              <a:gd name="connsiteY732" fmla="*/ 5314974 h 6407421"/>
              <a:gd name="connsiteX733" fmla="*/ 10903277 w 11701760"/>
              <a:gd name="connsiteY733" fmla="*/ 5314974 h 6407421"/>
              <a:gd name="connsiteX734" fmla="*/ 10903277 w 11701760"/>
              <a:gd name="connsiteY734" fmla="*/ 5344468 h 6407421"/>
              <a:gd name="connsiteX735" fmla="*/ 10873675 w 11701760"/>
              <a:gd name="connsiteY735" fmla="*/ 5344468 h 6407421"/>
              <a:gd name="connsiteX736" fmla="*/ 10607478 w 11701760"/>
              <a:gd name="connsiteY736" fmla="*/ 5314974 h 6407421"/>
              <a:gd name="connsiteX737" fmla="*/ 10637188 w 11701760"/>
              <a:gd name="connsiteY737" fmla="*/ 5314974 h 6407421"/>
              <a:gd name="connsiteX738" fmla="*/ 10637188 w 11701760"/>
              <a:gd name="connsiteY738" fmla="*/ 5344468 h 6407421"/>
              <a:gd name="connsiteX739" fmla="*/ 10607478 w 11701760"/>
              <a:gd name="connsiteY739" fmla="*/ 5344468 h 6407421"/>
              <a:gd name="connsiteX740" fmla="*/ 10341389 w 11701760"/>
              <a:gd name="connsiteY740" fmla="*/ 5314974 h 6407421"/>
              <a:gd name="connsiteX741" fmla="*/ 10370992 w 11701760"/>
              <a:gd name="connsiteY741" fmla="*/ 5314974 h 6407421"/>
              <a:gd name="connsiteX742" fmla="*/ 10370992 w 11701760"/>
              <a:gd name="connsiteY742" fmla="*/ 5344468 h 6407421"/>
              <a:gd name="connsiteX743" fmla="*/ 10341389 w 11701760"/>
              <a:gd name="connsiteY743" fmla="*/ 5344468 h 6407421"/>
              <a:gd name="connsiteX744" fmla="*/ 10075192 w 11701760"/>
              <a:gd name="connsiteY744" fmla="*/ 5314974 h 6407421"/>
              <a:gd name="connsiteX745" fmla="*/ 10104794 w 11701760"/>
              <a:gd name="connsiteY745" fmla="*/ 5314974 h 6407421"/>
              <a:gd name="connsiteX746" fmla="*/ 10104794 w 11701760"/>
              <a:gd name="connsiteY746" fmla="*/ 5344468 h 6407421"/>
              <a:gd name="connsiteX747" fmla="*/ 10075192 w 11701760"/>
              <a:gd name="connsiteY747" fmla="*/ 5344468 h 6407421"/>
              <a:gd name="connsiteX748" fmla="*/ 9809103 w 11701760"/>
              <a:gd name="connsiteY748" fmla="*/ 5314974 h 6407421"/>
              <a:gd name="connsiteX749" fmla="*/ 9838705 w 11701760"/>
              <a:gd name="connsiteY749" fmla="*/ 5314974 h 6407421"/>
              <a:gd name="connsiteX750" fmla="*/ 9838705 w 11701760"/>
              <a:gd name="connsiteY750" fmla="*/ 5344468 h 6407421"/>
              <a:gd name="connsiteX751" fmla="*/ 9809103 w 11701760"/>
              <a:gd name="connsiteY751" fmla="*/ 5344468 h 6407421"/>
              <a:gd name="connsiteX752" fmla="*/ 9542906 w 11701760"/>
              <a:gd name="connsiteY752" fmla="*/ 5314974 h 6407421"/>
              <a:gd name="connsiteX753" fmla="*/ 9572509 w 11701760"/>
              <a:gd name="connsiteY753" fmla="*/ 5314974 h 6407421"/>
              <a:gd name="connsiteX754" fmla="*/ 9572509 w 11701760"/>
              <a:gd name="connsiteY754" fmla="*/ 5344468 h 6407421"/>
              <a:gd name="connsiteX755" fmla="*/ 9542906 w 11701760"/>
              <a:gd name="connsiteY755" fmla="*/ 5344468 h 6407421"/>
              <a:gd name="connsiteX756" fmla="*/ 9276817 w 11701760"/>
              <a:gd name="connsiteY756" fmla="*/ 5314974 h 6407421"/>
              <a:gd name="connsiteX757" fmla="*/ 9306420 w 11701760"/>
              <a:gd name="connsiteY757" fmla="*/ 5314974 h 6407421"/>
              <a:gd name="connsiteX758" fmla="*/ 9306420 w 11701760"/>
              <a:gd name="connsiteY758" fmla="*/ 5344468 h 6407421"/>
              <a:gd name="connsiteX759" fmla="*/ 9276817 w 11701760"/>
              <a:gd name="connsiteY759" fmla="*/ 5344468 h 6407421"/>
              <a:gd name="connsiteX760" fmla="*/ 9010620 w 11701760"/>
              <a:gd name="connsiteY760" fmla="*/ 5314974 h 6407421"/>
              <a:gd name="connsiteX761" fmla="*/ 9040222 w 11701760"/>
              <a:gd name="connsiteY761" fmla="*/ 5314974 h 6407421"/>
              <a:gd name="connsiteX762" fmla="*/ 9040222 w 11701760"/>
              <a:gd name="connsiteY762" fmla="*/ 5344468 h 6407421"/>
              <a:gd name="connsiteX763" fmla="*/ 9010620 w 11701760"/>
              <a:gd name="connsiteY763" fmla="*/ 5344468 h 6407421"/>
              <a:gd name="connsiteX764" fmla="*/ 8744423 w 11701760"/>
              <a:gd name="connsiteY764" fmla="*/ 5314974 h 6407421"/>
              <a:gd name="connsiteX765" fmla="*/ 8774026 w 11701760"/>
              <a:gd name="connsiteY765" fmla="*/ 5314974 h 6407421"/>
              <a:gd name="connsiteX766" fmla="*/ 8774026 w 11701760"/>
              <a:gd name="connsiteY766" fmla="*/ 5344468 h 6407421"/>
              <a:gd name="connsiteX767" fmla="*/ 8744423 w 11701760"/>
              <a:gd name="connsiteY767" fmla="*/ 5344468 h 6407421"/>
              <a:gd name="connsiteX768" fmla="*/ 8478226 w 11701760"/>
              <a:gd name="connsiteY768" fmla="*/ 5314974 h 6407421"/>
              <a:gd name="connsiteX769" fmla="*/ 8507828 w 11701760"/>
              <a:gd name="connsiteY769" fmla="*/ 5314974 h 6407421"/>
              <a:gd name="connsiteX770" fmla="*/ 8507828 w 11701760"/>
              <a:gd name="connsiteY770" fmla="*/ 5344468 h 6407421"/>
              <a:gd name="connsiteX771" fmla="*/ 8478226 w 11701760"/>
              <a:gd name="connsiteY771" fmla="*/ 5344468 h 6407421"/>
              <a:gd name="connsiteX772" fmla="*/ 8212137 w 11701760"/>
              <a:gd name="connsiteY772" fmla="*/ 5314974 h 6407421"/>
              <a:gd name="connsiteX773" fmla="*/ 8241740 w 11701760"/>
              <a:gd name="connsiteY773" fmla="*/ 5314974 h 6407421"/>
              <a:gd name="connsiteX774" fmla="*/ 8241740 w 11701760"/>
              <a:gd name="connsiteY774" fmla="*/ 5344468 h 6407421"/>
              <a:gd name="connsiteX775" fmla="*/ 8212137 w 11701760"/>
              <a:gd name="connsiteY775" fmla="*/ 5344468 h 6407421"/>
              <a:gd name="connsiteX776" fmla="*/ 7945940 w 11701760"/>
              <a:gd name="connsiteY776" fmla="*/ 5314974 h 6407421"/>
              <a:gd name="connsiteX777" fmla="*/ 7975543 w 11701760"/>
              <a:gd name="connsiteY777" fmla="*/ 5314974 h 6407421"/>
              <a:gd name="connsiteX778" fmla="*/ 7975543 w 11701760"/>
              <a:gd name="connsiteY778" fmla="*/ 5344468 h 6407421"/>
              <a:gd name="connsiteX779" fmla="*/ 7945940 w 11701760"/>
              <a:gd name="connsiteY779" fmla="*/ 5344468 h 6407421"/>
              <a:gd name="connsiteX780" fmla="*/ 7679743 w 11701760"/>
              <a:gd name="connsiteY780" fmla="*/ 5314974 h 6407421"/>
              <a:gd name="connsiteX781" fmla="*/ 7709346 w 11701760"/>
              <a:gd name="connsiteY781" fmla="*/ 5314974 h 6407421"/>
              <a:gd name="connsiteX782" fmla="*/ 7709346 w 11701760"/>
              <a:gd name="connsiteY782" fmla="*/ 5344468 h 6407421"/>
              <a:gd name="connsiteX783" fmla="*/ 7679743 w 11701760"/>
              <a:gd name="connsiteY783" fmla="*/ 5344468 h 6407421"/>
              <a:gd name="connsiteX784" fmla="*/ 7413653 w 11701760"/>
              <a:gd name="connsiteY784" fmla="*/ 5314974 h 6407421"/>
              <a:gd name="connsiteX785" fmla="*/ 7443256 w 11701760"/>
              <a:gd name="connsiteY785" fmla="*/ 5314974 h 6407421"/>
              <a:gd name="connsiteX786" fmla="*/ 7443256 w 11701760"/>
              <a:gd name="connsiteY786" fmla="*/ 5344468 h 6407421"/>
              <a:gd name="connsiteX787" fmla="*/ 7413653 w 11701760"/>
              <a:gd name="connsiteY787" fmla="*/ 5344468 h 6407421"/>
              <a:gd name="connsiteX788" fmla="*/ 7147456 w 11701760"/>
              <a:gd name="connsiteY788" fmla="*/ 5314974 h 6407421"/>
              <a:gd name="connsiteX789" fmla="*/ 7177058 w 11701760"/>
              <a:gd name="connsiteY789" fmla="*/ 5314974 h 6407421"/>
              <a:gd name="connsiteX790" fmla="*/ 7177058 w 11701760"/>
              <a:gd name="connsiteY790" fmla="*/ 5344468 h 6407421"/>
              <a:gd name="connsiteX791" fmla="*/ 7147456 w 11701760"/>
              <a:gd name="connsiteY791" fmla="*/ 5344468 h 6407421"/>
              <a:gd name="connsiteX792" fmla="*/ 6881367 w 11701760"/>
              <a:gd name="connsiteY792" fmla="*/ 5314974 h 6407421"/>
              <a:gd name="connsiteX793" fmla="*/ 6910970 w 11701760"/>
              <a:gd name="connsiteY793" fmla="*/ 5314974 h 6407421"/>
              <a:gd name="connsiteX794" fmla="*/ 6910970 w 11701760"/>
              <a:gd name="connsiteY794" fmla="*/ 5344468 h 6407421"/>
              <a:gd name="connsiteX795" fmla="*/ 6881367 w 11701760"/>
              <a:gd name="connsiteY795" fmla="*/ 5344468 h 6407421"/>
              <a:gd name="connsiteX796" fmla="*/ 6615170 w 11701760"/>
              <a:gd name="connsiteY796" fmla="*/ 5314974 h 6407421"/>
              <a:gd name="connsiteX797" fmla="*/ 6644773 w 11701760"/>
              <a:gd name="connsiteY797" fmla="*/ 5314974 h 6407421"/>
              <a:gd name="connsiteX798" fmla="*/ 6644773 w 11701760"/>
              <a:gd name="connsiteY798" fmla="*/ 5344468 h 6407421"/>
              <a:gd name="connsiteX799" fmla="*/ 6615170 w 11701760"/>
              <a:gd name="connsiteY799" fmla="*/ 5344468 h 6407421"/>
              <a:gd name="connsiteX800" fmla="*/ 6349081 w 11701760"/>
              <a:gd name="connsiteY800" fmla="*/ 5314974 h 6407421"/>
              <a:gd name="connsiteX801" fmla="*/ 6378683 w 11701760"/>
              <a:gd name="connsiteY801" fmla="*/ 5314974 h 6407421"/>
              <a:gd name="connsiteX802" fmla="*/ 6378683 w 11701760"/>
              <a:gd name="connsiteY802" fmla="*/ 5344468 h 6407421"/>
              <a:gd name="connsiteX803" fmla="*/ 6349081 w 11701760"/>
              <a:gd name="connsiteY803" fmla="*/ 5344468 h 6407421"/>
              <a:gd name="connsiteX804" fmla="*/ 6082884 w 11701760"/>
              <a:gd name="connsiteY804" fmla="*/ 5314974 h 6407421"/>
              <a:gd name="connsiteX805" fmla="*/ 6112486 w 11701760"/>
              <a:gd name="connsiteY805" fmla="*/ 5314974 h 6407421"/>
              <a:gd name="connsiteX806" fmla="*/ 6112486 w 11701760"/>
              <a:gd name="connsiteY806" fmla="*/ 5344468 h 6407421"/>
              <a:gd name="connsiteX807" fmla="*/ 6082884 w 11701760"/>
              <a:gd name="connsiteY807" fmla="*/ 5344468 h 6407421"/>
              <a:gd name="connsiteX808" fmla="*/ 5825310 w 11701760"/>
              <a:gd name="connsiteY808" fmla="*/ 5314974 h 6407421"/>
              <a:gd name="connsiteX809" fmla="*/ 5854913 w 11701760"/>
              <a:gd name="connsiteY809" fmla="*/ 5314974 h 6407421"/>
              <a:gd name="connsiteX810" fmla="*/ 5854913 w 11701760"/>
              <a:gd name="connsiteY810" fmla="*/ 5344468 h 6407421"/>
              <a:gd name="connsiteX811" fmla="*/ 5825310 w 11701760"/>
              <a:gd name="connsiteY811" fmla="*/ 5344468 h 6407421"/>
              <a:gd name="connsiteX812" fmla="*/ 5559113 w 11701760"/>
              <a:gd name="connsiteY812" fmla="*/ 5314974 h 6407421"/>
              <a:gd name="connsiteX813" fmla="*/ 5588715 w 11701760"/>
              <a:gd name="connsiteY813" fmla="*/ 5314974 h 6407421"/>
              <a:gd name="connsiteX814" fmla="*/ 5588715 w 11701760"/>
              <a:gd name="connsiteY814" fmla="*/ 5344468 h 6407421"/>
              <a:gd name="connsiteX815" fmla="*/ 5559113 w 11701760"/>
              <a:gd name="connsiteY815" fmla="*/ 5344468 h 6407421"/>
              <a:gd name="connsiteX816" fmla="*/ 5293024 w 11701760"/>
              <a:gd name="connsiteY816" fmla="*/ 5314974 h 6407421"/>
              <a:gd name="connsiteX817" fmla="*/ 5322626 w 11701760"/>
              <a:gd name="connsiteY817" fmla="*/ 5314974 h 6407421"/>
              <a:gd name="connsiteX818" fmla="*/ 5322626 w 11701760"/>
              <a:gd name="connsiteY818" fmla="*/ 5344468 h 6407421"/>
              <a:gd name="connsiteX819" fmla="*/ 5293024 w 11701760"/>
              <a:gd name="connsiteY819" fmla="*/ 5344468 h 6407421"/>
              <a:gd name="connsiteX820" fmla="*/ 5026827 w 11701760"/>
              <a:gd name="connsiteY820" fmla="*/ 5314974 h 6407421"/>
              <a:gd name="connsiteX821" fmla="*/ 5056429 w 11701760"/>
              <a:gd name="connsiteY821" fmla="*/ 5314974 h 6407421"/>
              <a:gd name="connsiteX822" fmla="*/ 5056429 w 11701760"/>
              <a:gd name="connsiteY822" fmla="*/ 5344468 h 6407421"/>
              <a:gd name="connsiteX823" fmla="*/ 5026827 w 11701760"/>
              <a:gd name="connsiteY823" fmla="*/ 5344468 h 6407421"/>
              <a:gd name="connsiteX824" fmla="*/ 4760630 w 11701760"/>
              <a:gd name="connsiteY824" fmla="*/ 5314974 h 6407421"/>
              <a:gd name="connsiteX825" fmla="*/ 4790340 w 11701760"/>
              <a:gd name="connsiteY825" fmla="*/ 5314974 h 6407421"/>
              <a:gd name="connsiteX826" fmla="*/ 4790340 w 11701760"/>
              <a:gd name="connsiteY826" fmla="*/ 5344468 h 6407421"/>
              <a:gd name="connsiteX827" fmla="*/ 4760630 w 11701760"/>
              <a:gd name="connsiteY827" fmla="*/ 5344468 h 6407421"/>
              <a:gd name="connsiteX828" fmla="*/ 4494541 w 11701760"/>
              <a:gd name="connsiteY828" fmla="*/ 5314974 h 6407421"/>
              <a:gd name="connsiteX829" fmla="*/ 4524144 w 11701760"/>
              <a:gd name="connsiteY829" fmla="*/ 5314974 h 6407421"/>
              <a:gd name="connsiteX830" fmla="*/ 4524144 w 11701760"/>
              <a:gd name="connsiteY830" fmla="*/ 5344468 h 6407421"/>
              <a:gd name="connsiteX831" fmla="*/ 4494541 w 11701760"/>
              <a:gd name="connsiteY831" fmla="*/ 5344468 h 6407421"/>
              <a:gd name="connsiteX832" fmla="*/ 4228344 w 11701760"/>
              <a:gd name="connsiteY832" fmla="*/ 5314974 h 6407421"/>
              <a:gd name="connsiteX833" fmla="*/ 4257946 w 11701760"/>
              <a:gd name="connsiteY833" fmla="*/ 5314974 h 6407421"/>
              <a:gd name="connsiteX834" fmla="*/ 4257946 w 11701760"/>
              <a:gd name="connsiteY834" fmla="*/ 5344468 h 6407421"/>
              <a:gd name="connsiteX835" fmla="*/ 4228344 w 11701760"/>
              <a:gd name="connsiteY835" fmla="*/ 5344468 h 6407421"/>
              <a:gd name="connsiteX836" fmla="*/ 3962255 w 11701760"/>
              <a:gd name="connsiteY836" fmla="*/ 5314974 h 6407421"/>
              <a:gd name="connsiteX837" fmla="*/ 3991857 w 11701760"/>
              <a:gd name="connsiteY837" fmla="*/ 5314974 h 6407421"/>
              <a:gd name="connsiteX838" fmla="*/ 3991857 w 11701760"/>
              <a:gd name="connsiteY838" fmla="*/ 5344468 h 6407421"/>
              <a:gd name="connsiteX839" fmla="*/ 3962255 w 11701760"/>
              <a:gd name="connsiteY839" fmla="*/ 5344468 h 6407421"/>
              <a:gd name="connsiteX840" fmla="*/ 3696058 w 11701760"/>
              <a:gd name="connsiteY840" fmla="*/ 5314974 h 6407421"/>
              <a:gd name="connsiteX841" fmla="*/ 3725661 w 11701760"/>
              <a:gd name="connsiteY841" fmla="*/ 5314974 h 6407421"/>
              <a:gd name="connsiteX842" fmla="*/ 3725661 w 11701760"/>
              <a:gd name="connsiteY842" fmla="*/ 5344468 h 6407421"/>
              <a:gd name="connsiteX843" fmla="*/ 3696058 w 11701760"/>
              <a:gd name="connsiteY843" fmla="*/ 5344468 h 6407421"/>
              <a:gd name="connsiteX844" fmla="*/ 3429969 w 11701760"/>
              <a:gd name="connsiteY844" fmla="*/ 5314974 h 6407421"/>
              <a:gd name="connsiteX845" fmla="*/ 3459572 w 11701760"/>
              <a:gd name="connsiteY845" fmla="*/ 5314974 h 6407421"/>
              <a:gd name="connsiteX846" fmla="*/ 3459572 w 11701760"/>
              <a:gd name="connsiteY846" fmla="*/ 5344468 h 6407421"/>
              <a:gd name="connsiteX847" fmla="*/ 3429969 w 11701760"/>
              <a:gd name="connsiteY847" fmla="*/ 5344468 h 6407421"/>
              <a:gd name="connsiteX848" fmla="*/ 3163772 w 11701760"/>
              <a:gd name="connsiteY848" fmla="*/ 5314974 h 6407421"/>
              <a:gd name="connsiteX849" fmla="*/ 3193374 w 11701760"/>
              <a:gd name="connsiteY849" fmla="*/ 5314974 h 6407421"/>
              <a:gd name="connsiteX850" fmla="*/ 3193374 w 11701760"/>
              <a:gd name="connsiteY850" fmla="*/ 5344468 h 6407421"/>
              <a:gd name="connsiteX851" fmla="*/ 3163772 w 11701760"/>
              <a:gd name="connsiteY851" fmla="*/ 5344468 h 6407421"/>
              <a:gd name="connsiteX852" fmla="*/ 2897575 w 11701760"/>
              <a:gd name="connsiteY852" fmla="*/ 5314974 h 6407421"/>
              <a:gd name="connsiteX853" fmla="*/ 2927178 w 11701760"/>
              <a:gd name="connsiteY853" fmla="*/ 5314974 h 6407421"/>
              <a:gd name="connsiteX854" fmla="*/ 2927178 w 11701760"/>
              <a:gd name="connsiteY854" fmla="*/ 5344468 h 6407421"/>
              <a:gd name="connsiteX855" fmla="*/ 2897575 w 11701760"/>
              <a:gd name="connsiteY855" fmla="*/ 5344468 h 6407421"/>
              <a:gd name="connsiteX856" fmla="*/ 2631378 w 11701760"/>
              <a:gd name="connsiteY856" fmla="*/ 5314974 h 6407421"/>
              <a:gd name="connsiteX857" fmla="*/ 2660980 w 11701760"/>
              <a:gd name="connsiteY857" fmla="*/ 5314974 h 6407421"/>
              <a:gd name="connsiteX858" fmla="*/ 2660980 w 11701760"/>
              <a:gd name="connsiteY858" fmla="*/ 5344468 h 6407421"/>
              <a:gd name="connsiteX859" fmla="*/ 2631378 w 11701760"/>
              <a:gd name="connsiteY859" fmla="*/ 5344468 h 6407421"/>
              <a:gd name="connsiteX860" fmla="*/ 2365289 w 11701760"/>
              <a:gd name="connsiteY860" fmla="*/ 5314974 h 6407421"/>
              <a:gd name="connsiteX861" fmla="*/ 2394892 w 11701760"/>
              <a:gd name="connsiteY861" fmla="*/ 5314974 h 6407421"/>
              <a:gd name="connsiteX862" fmla="*/ 2394892 w 11701760"/>
              <a:gd name="connsiteY862" fmla="*/ 5344468 h 6407421"/>
              <a:gd name="connsiteX863" fmla="*/ 2365289 w 11701760"/>
              <a:gd name="connsiteY863" fmla="*/ 5344468 h 6407421"/>
              <a:gd name="connsiteX864" fmla="*/ 2099092 w 11701760"/>
              <a:gd name="connsiteY864" fmla="*/ 5314974 h 6407421"/>
              <a:gd name="connsiteX865" fmla="*/ 2128695 w 11701760"/>
              <a:gd name="connsiteY865" fmla="*/ 5314974 h 6407421"/>
              <a:gd name="connsiteX866" fmla="*/ 2128695 w 11701760"/>
              <a:gd name="connsiteY866" fmla="*/ 5344468 h 6407421"/>
              <a:gd name="connsiteX867" fmla="*/ 2099092 w 11701760"/>
              <a:gd name="connsiteY867" fmla="*/ 5344468 h 6407421"/>
              <a:gd name="connsiteX868" fmla="*/ 1832898 w 11701760"/>
              <a:gd name="connsiteY868" fmla="*/ 5314974 h 6407421"/>
              <a:gd name="connsiteX869" fmla="*/ 1862498 w 11701760"/>
              <a:gd name="connsiteY869" fmla="*/ 5314974 h 6407421"/>
              <a:gd name="connsiteX870" fmla="*/ 1862498 w 11701760"/>
              <a:gd name="connsiteY870" fmla="*/ 5344468 h 6407421"/>
              <a:gd name="connsiteX871" fmla="*/ 1832898 w 11701760"/>
              <a:gd name="connsiteY871" fmla="*/ 5344468 h 6407421"/>
              <a:gd name="connsiteX872" fmla="*/ 1566808 w 11701760"/>
              <a:gd name="connsiteY872" fmla="*/ 5314974 h 6407421"/>
              <a:gd name="connsiteX873" fmla="*/ 1596409 w 11701760"/>
              <a:gd name="connsiteY873" fmla="*/ 5314974 h 6407421"/>
              <a:gd name="connsiteX874" fmla="*/ 1596409 w 11701760"/>
              <a:gd name="connsiteY874" fmla="*/ 5344468 h 6407421"/>
              <a:gd name="connsiteX875" fmla="*/ 1566808 w 11701760"/>
              <a:gd name="connsiteY875" fmla="*/ 5344468 h 6407421"/>
              <a:gd name="connsiteX876" fmla="*/ 1300611 w 11701760"/>
              <a:gd name="connsiteY876" fmla="*/ 5314974 h 6407421"/>
              <a:gd name="connsiteX877" fmla="*/ 1330213 w 11701760"/>
              <a:gd name="connsiteY877" fmla="*/ 5314974 h 6407421"/>
              <a:gd name="connsiteX878" fmla="*/ 1330213 w 11701760"/>
              <a:gd name="connsiteY878" fmla="*/ 5344468 h 6407421"/>
              <a:gd name="connsiteX879" fmla="*/ 1300611 w 11701760"/>
              <a:gd name="connsiteY879" fmla="*/ 5344468 h 6407421"/>
              <a:gd name="connsiteX880" fmla="*/ 1034520 w 11701760"/>
              <a:gd name="connsiteY880" fmla="*/ 5314974 h 6407421"/>
              <a:gd name="connsiteX881" fmla="*/ 1064123 w 11701760"/>
              <a:gd name="connsiteY881" fmla="*/ 5314974 h 6407421"/>
              <a:gd name="connsiteX882" fmla="*/ 1064123 w 11701760"/>
              <a:gd name="connsiteY882" fmla="*/ 5344468 h 6407421"/>
              <a:gd name="connsiteX883" fmla="*/ 1034520 w 11701760"/>
              <a:gd name="connsiteY883" fmla="*/ 5344468 h 6407421"/>
              <a:gd name="connsiteX884" fmla="*/ 768328 w 11701760"/>
              <a:gd name="connsiteY884" fmla="*/ 5314974 h 6407421"/>
              <a:gd name="connsiteX885" fmla="*/ 797926 w 11701760"/>
              <a:gd name="connsiteY885" fmla="*/ 5314974 h 6407421"/>
              <a:gd name="connsiteX886" fmla="*/ 797926 w 11701760"/>
              <a:gd name="connsiteY886" fmla="*/ 5344468 h 6407421"/>
              <a:gd name="connsiteX887" fmla="*/ 768328 w 11701760"/>
              <a:gd name="connsiteY887" fmla="*/ 5344468 h 6407421"/>
              <a:gd name="connsiteX888" fmla="*/ 502237 w 11701760"/>
              <a:gd name="connsiteY888" fmla="*/ 5314974 h 6407421"/>
              <a:gd name="connsiteX889" fmla="*/ 531839 w 11701760"/>
              <a:gd name="connsiteY889" fmla="*/ 5314974 h 6407421"/>
              <a:gd name="connsiteX890" fmla="*/ 531839 w 11701760"/>
              <a:gd name="connsiteY890" fmla="*/ 5344468 h 6407421"/>
              <a:gd name="connsiteX891" fmla="*/ 502237 w 11701760"/>
              <a:gd name="connsiteY891" fmla="*/ 5344468 h 6407421"/>
              <a:gd name="connsiteX892" fmla="*/ 236038 w 11701760"/>
              <a:gd name="connsiteY892" fmla="*/ 5314974 h 6407421"/>
              <a:gd name="connsiteX893" fmla="*/ 265640 w 11701760"/>
              <a:gd name="connsiteY893" fmla="*/ 5314974 h 6407421"/>
              <a:gd name="connsiteX894" fmla="*/ 265640 w 11701760"/>
              <a:gd name="connsiteY894" fmla="*/ 5344468 h 6407421"/>
              <a:gd name="connsiteX895" fmla="*/ 236038 w 11701760"/>
              <a:gd name="connsiteY895" fmla="*/ 5344468 h 6407421"/>
              <a:gd name="connsiteX896" fmla="*/ 2 w 11701760"/>
              <a:gd name="connsiteY896" fmla="*/ 5314974 h 6407421"/>
              <a:gd name="connsiteX897" fmla="*/ 29604 w 11701760"/>
              <a:gd name="connsiteY897" fmla="*/ 5314974 h 6407421"/>
              <a:gd name="connsiteX898" fmla="*/ 29604 w 11701760"/>
              <a:gd name="connsiteY898" fmla="*/ 5344468 h 6407421"/>
              <a:gd name="connsiteX899" fmla="*/ 2 w 11701760"/>
              <a:gd name="connsiteY899" fmla="*/ 5344468 h 6407421"/>
              <a:gd name="connsiteX900" fmla="*/ 11672158 w 11701760"/>
              <a:gd name="connsiteY900" fmla="*/ 5049209 h 6407421"/>
              <a:gd name="connsiteX901" fmla="*/ 11701760 w 11701760"/>
              <a:gd name="connsiteY901" fmla="*/ 5049209 h 6407421"/>
              <a:gd name="connsiteX902" fmla="*/ 11701760 w 11701760"/>
              <a:gd name="connsiteY902" fmla="*/ 5078812 h 6407421"/>
              <a:gd name="connsiteX903" fmla="*/ 11672158 w 11701760"/>
              <a:gd name="connsiteY903" fmla="*/ 5078812 h 6407421"/>
              <a:gd name="connsiteX904" fmla="*/ 11405961 w 11701760"/>
              <a:gd name="connsiteY904" fmla="*/ 5049209 h 6407421"/>
              <a:gd name="connsiteX905" fmla="*/ 11435563 w 11701760"/>
              <a:gd name="connsiteY905" fmla="*/ 5049209 h 6407421"/>
              <a:gd name="connsiteX906" fmla="*/ 11435563 w 11701760"/>
              <a:gd name="connsiteY906" fmla="*/ 5078812 h 6407421"/>
              <a:gd name="connsiteX907" fmla="*/ 11405961 w 11701760"/>
              <a:gd name="connsiteY907" fmla="*/ 5078812 h 6407421"/>
              <a:gd name="connsiteX908" fmla="*/ 11139872 w 11701760"/>
              <a:gd name="connsiteY908" fmla="*/ 5049209 h 6407421"/>
              <a:gd name="connsiteX909" fmla="*/ 11169474 w 11701760"/>
              <a:gd name="connsiteY909" fmla="*/ 5049209 h 6407421"/>
              <a:gd name="connsiteX910" fmla="*/ 11169474 w 11701760"/>
              <a:gd name="connsiteY910" fmla="*/ 5078812 h 6407421"/>
              <a:gd name="connsiteX911" fmla="*/ 11139872 w 11701760"/>
              <a:gd name="connsiteY911" fmla="*/ 5078812 h 6407421"/>
              <a:gd name="connsiteX912" fmla="*/ 10873675 w 11701760"/>
              <a:gd name="connsiteY912" fmla="*/ 5049209 h 6407421"/>
              <a:gd name="connsiteX913" fmla="*/ 10903277 w 11701760"/>
              <a:gd name="connsiteY913" fmla="*/ 5049209 h 6407421"/>
              <a:gd name="connsiteX914" fmla="*/ 10903277 w 11701760"/>
              <a:gd name="connsiteY914" fmla="*/ 5078812 h 6407421"/>
              <a:gd name="connsiteX915" fmla="*/ 10873675 w 11701760"/>
              <a:gd name="connsiteY915" fmla="*/ 5078812 h 6407421"/>
              <a:gd name="connsiteX916" fmla="*/ 10607478 w 11701760"/>
              <a:gd name="connsiteY916" fmla="*/ 5049209 h 6407421"/>
              <a:gd name="connsiteX917" fmla="*/ 10637188 w 11701760"/>
              <a:gd name="connsiteY917" fmla="*/ 5049209 h 6407421"/>
              <a:gd name="connsiteX918" fmla="*/ 10637188 w 11701760"/>
              <a:gd name="connsiteY918" fmla="*/ 5078812 h 6407421"/>
              <a:gd name="connsiteX919" fmla="*/ 10607478 w 11701760"/>
              <a:gd name="connsiteY919" fmla="*/ 5078812 h 6407421"/>
              <a:gd name="connsiteX920" fmla="*/ 10341389 w 11701760"/>
              <a:gd name="connsiteY920" fmla="*/ 5049209 h 6407421"/>
              <a:gd name="connsiteX921" fmla="*/ 10370992 w 11701760"/>
              <a:gd name="connsiteY921" fmla="*/ 5049209 h 6407421"/>
              <a:gd name="connsiteX922" fmla="*/ 10370992 w 11701760"/>
              <a:gd name="connsiteY922" fmla="*/ 5078812 h 6407421"/>
              <a:gd name="connsiteX923" fmla="*/ 10341389 w 11701760"/>
              <a:gd name="connsiteY923" fmla="*/ 5078812 h 6407421"/>
              <a:gd name="connsiteX924" fmla="*/ 10075192 w 11701760"/>
              <a:gd name="connsiteY924" fmla="*/ 5049209 h 6407421"/>
              <a:gd name="connsiteX925" fmla="*/ 10104794 w 11701760"/>
              <a:gd name="connsiteY925" fmla="*/ 5049209 h 6407421"/>
              <a:gd name="connsiteX926" fmla="*/ 10104794 w 11701760"/>
              <a:gd name="connsiteY926" fmla="*/ 5078812 h 6407421"/>
              <a:gd name="connsiteX927" fmla="*/ 10075192 w 11701760"/>
              <a:gd name="connsiteY927" fmla="*/ 5078812 h 6407421"/>
              <a:gd name="connsiteX928" fmla="*/ 9809103 w 11701760"/>
              <a:gd name="connsiteY928" fmla="*/ 5049209 h 6407421"/>
              <a:gd name="connsiteX929" fmla="*/ 9838705 w 11701760"/>
              <a:gd name="connsiteY929" fmla="*/ 5049209 h 6407421"/>
              <a:gd name="connsiteX930" fmla="*/ 9838705 w 11701760"/>
              <a:gd name="connsiteY930" fmla="*/ 5078812 h 6407421"/>
              <a:gd name="connsiteX931" fmla="*/ 9809103 w 11701760"/>
              <a:gd name="connsiteY931" fmla="*/ 5078812 h 6407421"/>
              <a:gd name="connsiteX932" fmla="*/ 9542906 w 11701760"/>
              <a:gd name="connsiteY932" fmla="*/ 5049209 h 6407421"/>
              <a:gd name="connsiteX933" fmla="*/ 9572509 w 11701760"/>
              <a:gd name="connsiteY933" fmla="*/ 5049209 h 6407421"/>
              <a:gd name="connsiteX934" fmla="*/ 9572509 w 11701760"/>
              <a:gd name="connsiteY934" fmla="*/ 5078812 h 6407421"/>
              <a:gd name="connsiteX935" fmla="*/ 9542906 w 11701760"/>
              <a:gd name="connsiteY935" fmla="*/ 5078812 h 6407421"/>
              <a:gd name="connsiteX936" fmla="*/ 9276817 w 11701760"/>
              <a:gd name="connsiteY936" fmla="*/ 5049209 h 6407421"/>
              <a:gd name="connsiteX937" fmla="*/ 9306420 w 11701760"/>
              <a:gd name="connsiteY937" fmla="*/ 5049209 h 6407421"/>
              <a:gd name="connsiteX938" fmla="*/ 9306420 w 11701760"/>
              <a:gd name="connsiteY938" fmla="*/ 5078812 h 6407421"/>
              <a:gd name="connsiteX939" fmla="*/ 9276817 w 11701760"/>
              <a:gd name="connsiteY939" fmla="*/ 5078812 h 6407421"/>
              <a:gd name="connsiteX940" fmla="*/ 9010620 w 11701760"/>
              <a:gd name="connsiteY940" fmla="*/ 5049209 h 6407421"/>
              <a:gd name="connsiteX941" fmla="*/ 9040222 w 11701760"/>
              <a:gd name="connsiteY941" fmla="*/ 5049209 h 6407421"/>
              <a:gd name="connsiteX942" fmla="*/ 9040222 w 11701760"/>
              <a:gd name="connsiteY942" fmla="*/ 5078812 h 6407421"/>
              <a:gd name="connsiteX943" fmla="*/ 9010620 w 11701760"/>
              <a:gd name="connsiteY943" fmla="*/ 5078812 h 6407421"/>
              <a:gd name="connsiteX944" fmla="*/ 8744423 w 11701760"/>
              <a:gd name="connsiteY944" fmla="*/ 5049209 h 6407421"/>
              <a:gd name="connsiteX945" fmla="*/ 8774026 w 11701760"/>
              <a:gd name="connsiteY945" fmla="*/ 5049209 h 6407421"/>
              <a:gd name="connsiteX946" fmla="*/ 8774026 w 11701760"/>
              <a:gd name="connsiteY946" fmla="*/ 5078812 h 6407421"/>
              <a:gd name="connsiteX947" fmla="*/ 8744423 w 11701760"/>
              <a:gd name="connsiteY947" fmla="*/ 5078812 h 6407421"/>
              <a:gd name="connsiteX948" fmla="*/ 8478226 w 11701760"/>
              <a:gd name="connsiteY948" fmla="*/ 5049209 h 6407421"/>
              <a:gd name="connsiteX949" fmla="*/ 8507828 w 11701760"/>
              <a:gd name="connsiteY949" fmla="*/ 5049209 h 6407421"/>
              <a:gd name="connsiteX950" fmla="*/ 8507828 w 11701760"/>
              <a:gd name="connsiteY950" fmla="*/ 5078812 h 6407421"/>
              <a:gd name="connsiteX951" fmla="*/ 8478226 w 11701760"/>
              <a:gd name="connsiteY951" fmla="*/ 5078812 h 6407421"/>
              <a:gd name="connsiteX952" fmla="*/ 8212137 w 11701760"/>
              <a:gd name="connsiteY952" fmla="*/ 5049209 h 6407421"/>
              <a:gd name="connsiteX953" fmla="*/ 8241740 w 11701760"/>
              <a:gd name="connsiteY953" fmla="*/ 5049209 h 6407421"/>
              <a:gd name="connsiteX954" fmla="*/ 8241740 w 11701760"/>
              <a:gd name="connsiteY954" fmla="*/ 5078812 h 6407421"/>
              <a:gd name="connsiteX955" fmla="*/ 8212137 w 11701760"/>
              <a:gd name="connsiteY955" fmla="*/ 5078812 h 6407421"/>
              <a:gd name="connsiteX956" fmla="*/ 7945940 w 11701760"/>
              <a:gd name="connsiteY956" fmla="*/ 5049209 h 6407421"/>
              <a:gd name="connsiteX957" fmla="*/ 7975543 w 11701760"/>
              <a:gd name="connsiteY957" fmla="*/ 5049209 h 6407421"/>
              <a:gd name="connsiteX958" fmla="*/ 7975543 w 11701760"/>
              <a:gd name="connsiteY958" fmla="*/ 5078812 h 6407421"/>
              <a:gd name="connsiteX959" fmla="*/ 7945940 w 11701760"/>
              <a:gd name="connsiteY959" fmla="*/ 5078812 h 6407421"/>
              <a:gd name="connsiteX960" fmla="*/ 7679743 w 11701760"/>
              <a:gd name="connsiteY960" fmla="*/ 5049209 h 6407421"/>
              <a:gd name="connsiteX961" fmla="*/ 7709346 w 11701760"/>
              <a:gd name="connsiteY961" fmla="*/ 5049209 h 6407421"/>
              <a:gd name="connsiteX962" fmla="*/ 7709346 w 11701760"/>
              <a:gd name="connsiteY962" fmla="*/ 5078812 h 6407421"/>
              <a:gd name="connsiteX963" fmla="*/ 7679743 w 11701760"/>
              <a:gd name="connsiteY963" fmla="*/ 5078812 h 6407421"/>
              <a:gd name="connsiteX964" fmla="*/ 7413653 w 11701760"/>
              <a:gd name="connsiteY964" fmla="*/ 5049209 h 6407421"/>
              <a:gd name="connsiteX965" fmla="*/ 7443256 w 11701760"/>
              <a:gd name="connsiteY965" fmla="*/ 5049209 h 6407421"/>
              <a:gd name="connsiteX966" fmla="*/ 7443256 w 11701760"/>
              <a:gd name="connsiteY966" fmla="*/ 5078812 h 6407421"/>
              <a:gd name="connsiteX967" fmla="*/ 7413653 w 11701760"/>
              <a:gd name="connsiteY967" fmla="*/ 5078812 h 6407421"/>
              <a:gd name="connsiteX968" fmla="*/ 7147456 w 11701760"/>
              <a:gd name="connsiteY968" fmla="*/ 5049209 h 6407421"/>
              <a:gd name="connsiteX969" fmla="*/ 7177058 w 11701760"/>
              <a:gd name="connsiteY969" fmla="*/ 5049209 h 6407421"/>
              <a:gd name="connsiteX970" fmla="*/ 7177058 w 11701760"/>
              <a:gd name="connsiteY970" fmla="*/ 5078812 h 6407421"/>
              <a:gd name="connsiteX971" fmla="*/ 7147456 w 11701760"/>
              <a:gd name="connsiteY971" fmla="*/ 5078812 h 6407421"/>
              <a:gd name="connsiteX972" fmla="*/ 6881367 w 11701760"/>
              <a:gd name="connsiteY972" fmla="*/ 5049209 h 6407421"/>
              <a:gd name="connsiteX973" fmla="*/ 6910970 w 11701760"/>
              <a:gd name="connsiteY973" fmla="*/ 5049209 h 6407421"/>
              <a:gd name="connsiteX974" fmla="*/ 6910970 w 11701760"/>
              <a:gd name="connsiteY974" fmla="*/ 5078812 h 6407421"/>
              <a:gd name="connsiteX975" fmla="*/ 6881367 w 11701760"/>
              <a:gd name="connsiteY975" fmla="*/ 5078812 h 6407421"/>
              <a:gd name="connsiteX976" fmla="*/ 6615170 w 11701760"/>
              <a:gd name="connsiteY976" fmla="*/ 5049209 h 6407421"/>
              <a:gd name="connsiteX977" fmla="*/ 6644773 w 11701760"/>
              <a:gd name="connsiteY977" fmla="*/ 5049209 h 6407421"/>
              <a:gd name="connsiteX978" fmla="*/ 6644773 w 11701760"/>
              <a:gd name="connsiteY978" fmla="*/ 5078812 h 6407421"/>
              <a:gd name="connsiteX979" fmla="*/ 6615170 w 11701760"/>
              <a:gd name="connsiteY979" fmla="*/ 5078812 h 6407421"/>
              <a:gd name="connsiteX980" fmla="*/ 6349081 w 11701760"/>
              <a:gd name="connsiteY980" fmla="*/ 5049209 h 6407421"/>
              <a:gd name="connsiteX981" fmla="*/ 6378683 w 11701760"/>
              <a:gd name="connsiteY981" fmla="*/ 5049209 h 6407421"/>
              <a:gd name="connsiteX982" fmla="*/ 6378683 w 11701760"/>
              <a:gd name="connsiteY982" fmla="*/ 5078812 h 6407421"/>
              <a:gd name="connsiteX983" fmla="*/ 6349081 w 11701760"/>
              <a:gd name="connsiteY983" fmla="*/ 5078812 h 6407421"/>
              <a:gd name="connsiteX984" fmla="*/ 6082884 w 11701760"/>
              <a:gd name="connsiteY984" fmla="*/ 5049209 h 6407421"/>
              <a:gd name="connsiteX985" fmla="*/ 6112486 w 11701760"/>
              <a:gd name="connsiteY985" fmla="*/ 5049209 h 6407421"/>
              <a:gd name="connsiteX986" fmla="*/ 6112486 w 11701760"/>
              <a:gd name="connsiteY986" fmla="*/ 5078812 h 6407421"/>
              <a:gd name="connsiteX987" fmla="*/ 6082884 w 11701760"/>
              <a:gd name="connsiteY987" fmla="*/ 5078812 h 6407421"/>
              <a:gd name="connsiteX988" fmla="*/ 5825310 w 11701760"/>
              <a:gd name="connsiteY988" fmla="*/ 5049209 h 6407421"/>
              <a:gd name="connsiteX989" fmla="*/ 5854913 w 11701760"/>
              <a:gd name="connsiteY989" fmla="*/ 5049209 h 6407421"/>
              <a:gd name="connsiteX990" fmla="*/ 5854913 w 11701760"/>
              <a:gd name="connsiteY990" fmla="*/ 5078812 h 6407421"/>
              <a:gd name="connsiteX991" fmla="*/ 5825310 w 11701760"/>
              <a:gd name="connsiteY991" fmla="*/ 5078812 h 6407421"/>
              <a:gd name="connsiteX992" fmla="*/ 5559113 w 11701760"/>
              <a:gd name="connsiteY992" fmla="*/ 5049209 h 6407421"/>
              <a:gd name="connsiteX993" fmla="*/ 5588715 w 11701760"/>
              <a:gd name="connsiteY993" fmla="*/ 5049209 h 6407421"/>
              <a:gd name="connsiteX994" fmla="*/ 5588715 w 11701760"/>
              <a:gd name="connsiteY994" fmla="*/ 5078812 h 6407421"/>
              <a:gd name="connsiteX995" fmla="*/ 5559113 w 11701760"/>
              <a:gd name="connsiteY995" fmla="*/ 5078812 h 6407421"/>
              <a:gd name="connsiteX996" fmla="*/ 5293024 w 11701760"/>
              <a:gd name="connsiteY996" fmla="*/ 5049209 h 6407421"/>
              <a:gd name="connsiteX997" fmla="*/ 5322626 w 11701760"/>
              <a:gd name="connsiteY997" fmla="*/ 5049209 h 6407421"/>
              <a:gd name="connsiteX998" fmla="*/ 5322626 w 11701760"/>
              <a:gd name="connsiteY998" fmla="*/ 5078812 h 6407421"/>
              <a:gd name="connsiteX999" fmla="*/ 5293024 w 11701760"/>
              <a:gd name="connsiteY999" fmla="*/ 5078812 h 6407421"/>
              <a:gd name="connsiteX1000" fmla="*/ 5026827 w 11701760"/>
              <a:gd name="connsiteY1000" fmla="*/ 5049209 h 6407421"/>
              <a:gd name="connsiteX1001" fmla="*/ 5056429 w 11701760"/>
              <a:gd name="connsiteY1001" fmla="*/ 5049209 h 6407421"/>
              <a:gd name="connsiteX1002" fmla="*/ 5056429 w 11701760"/>
              <a:gd name="connsiteY1002" fmla="*/ 5078812 h 6407421"/>
              <a:gd name="connsiteX1003" fmla="*/ 5026827 w 11701760"/>
              <a:gd name="connsiteY1003" fmla="*/ 5078812 h 6407421"/>
              <a:gd name="connsiteX1004" fmla="*/ 4760630 w 11701760"/>
              <a:gd name="connsiteY1004" fmla="*/ 5049209 h 6407421"/>
              <a:gd name="connsiteX1005" fmla="*/ 4790340 w 11701760"/>
              <a:gd name="connsiteY1005" fmla="*/ 5049209 h 6407421"/>
              <a:gd name="connsiteX1006" fmla="*/ 4790340 w 11701760"/>
              <a:gd name="connsiteY1006" fmla="*/ 5078812 h 6407421"/>
              <a:gd name="connsiteX1007" fmla="*/ 4760630 w 11701760"/>
              <a:gd name="connsiteY1007" fmla="*/ 5078812 h 6407421"/>
              <a:gd name="connsiteX1008" fmla="*/ 4494541 w 11701760"/>
              <a:gd name="connsiteY1008" fmla="*/ 5049209 h 6407421"/>
              <a:gd name="connsiteX1009" fmla="*/ 4524144 w 11701760"/>
              <a:gd name="connsiteY1009" fmla="*/ 5049209 h 6407421"/>
              <a:gd name="connsiteX1010" fmla="*/ 4524144 w 11701760"/>
              <a:gd name="connsiteY1010" fmla="*/ 5078812 h 6407421"/>
              <a:gd name="connsiteX1011" fmla="*/ 4494541 w 11701760"/>
              <a:gd name="connsiteY1011" fmla="*/ 5078812 h 6407421"/>
              <a:gd name="connsiteX1012" fmla="*/ 4228344 w 11701760"/>
              <a:gd name="connsiteY1012" fmla="*/ 5049209 h 6407421"/>
              <a:gd name="connsiteX1013" fmla="*/ 4257946 w 11701760"/>
              <a:gd name="connsiteY1013" fmla="*/ 5049209 h 6407421"/>
              <a:gd name="connsiteX1014" fmla="*/ 4257946 w 11701760"/>
              <a:gd name="connsiteY1014" fmla="*/ 5078812 h 6407421"/>
              <a:gd name="connsiteX1015" fmla="*/ 4228344 w 11701760"/>
              <a:gd name="connsiteY1015" fmla="*/ 5078812 h 6407421"/>
              <a:gd name="connsiteX1016" fmla="*/ 3962255 w 11701760"/>
              <a:gd name="connsiteY1016" fmla="*/ 5049209 h 6407421"/>
              <a:gd name="connsiteX1017" fmla="*/ 3991857 w 11701760"/>
              <a:gd name="connsiteY1017" fmla="*/ 5049209 h 6407421"/>
              <a:gd name="connsiteX1018" fmla="*/ 3991857 w 11701760"/>
              <a:gd name="connsiteY1018" fmla="*/ 5078812 h 6407421"/>
              <a:gd name="connsiteX1019" fmla="*/ 3962255 w 11701760"/>
              <a:gd name="connsiteY1019" fmla="*/ 5078812 h 6407421"/>
              <a:gd name="connsiteX1020" fmla="*/ 3696058 w 11701760"/>
              <a:gd name="connsiteY1020" fmla="*/ 5049209 h 6407421"/>
              <a:gd name="connsiteX1021" fmla="*/ 3725661 w 11701760"/>
              <a:gd name="connsiteY1021" fmla="*/ 5049209 h 6407421"/>
              <a:gd name="connsiteX1022" fmla="*/ 3725661 w 11701760"/>
              <a:gd name="connsiteY1022" fmla="*/ 5078812 h 6407421"/>
              <a:gd name="connsiteX1023" fmla="*/ 3696058 w 11701760"/>
              <a:gd name="connsiteY1023" fmla="*/ 5078812 h 6407421"/>
              <a:gd name="connsiteX1024" fmla="*/ 3429969 w 11701760"/>
              <a:gd name="connsiteY1024" fmla="*/ 5049209 h 6407421"/>
              <a:gd name="connsiteX1025" fmla="*/ 3459572 w 11701760"/>
              <a:gd name="connsiteY1025" fmla="*/ 5049209 h 6407421"/>
              <a:gd name="connsiteX1026" fmla="*/ 3459572 w 11701760"/>
              <a:gd name="connsiteY1026" fmla="*/ 5078812 h 6407421"/>
              <a:gd name="connsiteX1027" fmla="*/ 3429969 w 11701760"/>
              <a:gd name="connsiteY1027" fmla="*/ 5078812 h 6407421"/>
              <a:gd name="connsiteX1028" fmla="*/ 3163772 w 11701760"/>
              <a:gd name="connsiteY1028" fmla="*/ 5049209 h 6407421"/>
              <a:gd name="connsiteX1029" fmla="*/ 3193374 w 11701760"/>
              <a:gd name="connsiteY1029" fmla="*/ 5049209 h 6407421"/>
              <a:gd name="connsiteX1030" fmla="*/ 3193374 w 11701760"/>
              <a:gd name="connsiteY1030" fmla="*/ 5078812 h 6407421"/>
              <a:gd name="connsiteX1031" fmla="*/ 3163772 w 11701760"/>
              <a:gd name="connsiteY1031" fmla="*/ 5078812 h 6407421"/>
              <a:gd name="connsiteX1032" fmla="*/ 2897575 w 11701760"/>
              <a:gd name="connsiteY1032" fmla="*/ 5049209 h 6407421"/>
              <a:gd name="connsiteX1033" fmla="*/ 2927178 w 11701760"/>
              <a:gd name="connsiteY1033" fmla="*/ 5049209 h 6407421"/>
              <a:gd name="connsiteX1034" fmla="*/ 2927178 w 11701760"/>
              <a:gd name="connsiteY1034" fmla="*/ 5078812 h 6407421"/>
              <a:gd name="connsiteX1035" fmla="*/ 2897575 w 11701760"/>
              <a:gd name="connsiteY1035" fmla="*/ 5078812 h 6407421"/>
              <a:gd name="connsiteX1036" fmla="*/ 2631378 w 11701760"/>
              <a:gd name="connsiteY1036" fmla="*/ 5049209 h 6407421"/>
              <a:gd name="connsiteX1037" fmla="*/ 2660980 w 11701760"/>
              <a:gd name="connsiteY1037" fmla="*/ 5049209 h 6407421"/>
              <a:gd name="connsiteX1038" fmla="*/ 2660980 w 11701760"/>
              <a:gd name="connsiteY1038" fmla="*/ 5078812 h 6407421"/>
              <a:gd name="connsiteX1039" fmla="*/ 2631378 w 11701760"/>
              <a:gd name="connsiteY1039" fmla="*/ 5078812 h 6407421"/>
              <a:gd name="connsiteX1040" fmla="*/ 2365289 w 11701760"/>
              <a:gd name="connsiteY1040" fmla="*/ 5049209 h 6407421"/>
              <a:gd name="connsiteX1041" fmla="*/ 2394892 w 11701760"/>
              <a:gd name="connsiteY1041" fmla="*/ 5049209 h 6407421"/>
              <a:gd name="connsiteX1042" fmla="*/ 2394892 w 11701760"/>
              <a:gd name="connsiteY1042" fmla="*/ 5078812 h 6407421"/>
              <a:gd name="connsiteX1043" fmla="*/ 2365289 w 11701760"/>
              <a:gd name="connsiteY1043" fmla="*/ 5078812 h 6407421"/>
              <a:gd name="connsiteX1044" fmla="*/ 2099092 w 11701760"/>
              <a:gd name="connsiteY1044" fmla="*/ 5049209 h 6407421"/>
              <a:gd name="connsiteX1045" fmla="*/ 2128695 w 11701760"/>
              <a:gd name="connsiteY1045" fmla="*/ 5049209 h 6407421"/>
              <a:gd name="connsiteX1046" fmla="*/ 2128695 w 11701760"/>
              <a:gd name="connsiteY1046" fmla="*/ 5078812 h 6407421"/>
              <a:gd name="connsiteX1047" fmla="*/ 2099092 w 11701760"/>
              <a:gd name="connsiteY1047" fmla="*/ 5078812 h 6407421"/>
              <a:gd name="connsiteX1048" fmla="*/ 1832898 w 11701760"/>
              <a:gd name="connsiteY1048" fmla="*/ 5049209 h 6407421"/>
              <a:gd name="connsiteX1049" fmla="*/ 1862498 w 11701760"/>
              <a:gd name="connsiteY1049" fmla="*/ 5049209 h 6407421"/>
              <a:gd name="connsiteX1050" fmla="*/ 1862498 w 11701760"/>
              <a:gd name="connsiteY1050" fmla="*/ 5078812 h 6407421"/>
              <a:gd name="connsiteX1051" fmla="*/ 1832898 w 11701760"/>
              <a:gd name="connsiteY1051" fmla="*/ 5078812 h 6407421"/>
              <a:gd name="connsiteX1052" fmla="*/ 1566808 w 11701760"/>
              <a:gd name="connsiteY1052" fmla="*/ 5049209 h 6407421"/>
              <a:gd name="connsiteX1053" fmla="*/ 1596409 w 11701760"/>
              <a:gd name="connsiteY1053" fmla="*/ 5049209 h 6407421"/>
              <a:gd name="connsiteX1054" fmla="*/ 1596409 w 11701760"/>
              <a:gd name="connsiteY1054" fmla="*/ 5078812 h 6407421"/>
              <a:gd name="connsiteX1055" fmla="*/ 1566808 w 11701760"/>
              <a:gd name="connsiteY1055" fmla="*/ 5078812 h 6407421"/>
              <a:gd name="connsiteX1056" fmla="*/ 1300611 w 11701760"/>
              <a:gd name="connsiteY1056" fmla="*/ 5049209 h 6407421"/>
              <a:gd name="connsiteX1057" fmla="*/ 1330213 w 11701760"/>
              <a:gd name="connsiteY1057" fmla="*/ 5049209 h 6407421"/>
              <a:gd name="connsiteX1058" fmla="*/ 1330213 w 11701760"/>
              <a:gd name="connsiteY1058" fmla="*/ 5078812 h 6407421"/>
              <a:gd name="connsiteX1059" fmla="*/ 1300611 w 11701760"/>
              <a:gd name="connsiteY1059" fmla="*/ 5078812 h 6407421"/>
              <a:gd name="connsiteX1060" fmla="*/ 1034520 w 11701760"/>
              <a:gd name="connsiteY1060" fmla="*/ 5049209 h 6407421"/>
              <a:gd name="connsiteX1061" fmla="*/ 1064123 w 11701760"/>
              <a:gd name="connsiteY1061" fmla="*/ 5049209 h 6407421"/>
              <a:gd name="connsiteX1062" fmla="*/ 1064123 w 11701760"/>
              <a:gd name="connsiteY1062" fmla="*/ 5078812 h 6407421"/>
              <a:gd name="connsiteX1063" fmla="*/ 1034520 w 11701760"/>
              <a:gd name="connsiteY1063" fmla="*/ 5078812 h 6407421"/>
              <a:gd name="connsiteX1064" fmla="*/ 768328 w 11701760"/>
              <a:gd name="connsiteY1064" fmla="*/ 5049209 h 6407421"/>
              <a:gd name="connsiteX1065" fmla="*/ 797926 w 11701760"/>
              <a:gd name="connsiteY1065" fmla="*/ 5049209 h 6407421"/>
              <a:gd name="connsiteX1066" fmla="*/ 797926 w 11701760"/>
              <a:gd name="connsiteY1066" fmla="*/ 5078812 h 6407421"/>
              <a:gd name="connsiteX1067" fmla="*/ 768328 w 11701760"/>
              <a:gd name="connsiteY1067" fmla="*/ 5078812 h 6407421"/>
              <a:gd name="connsiteX1068" fmla="*/ 502237 w 11701760"/>
              <a:gd name="connsiteY1068" fmla="*/ 5049209 h 6407421"/>
              <a:gd name="connsiteX1069" fmla="*/ 531839 w 11701760"/>
              <a:gd name="connsiteY1069" fmla="*/ 5049209 h 6407421"/>
              <a:gd name="connsiteX1070" fmla="*/ 531839 w 11701760"/>
              <a:gd name="connsiteY1070" fmla="*/ 5078812 h 6407421"/>
              <a:gd name="connsiteX1071" fmla="*/ 502237 w 11701760"/>
              <a:gd name="connsiteY1071" fmla="*/ 5078812 h 6407421"/>
              <a:gd name="connsiteX1072" fmla="*/ 236038 w 11701760"/>
              <a:gd name="connsiteY1072" fmla="*/ 5049209 h 6407421"/>
              <a:gd name="connsiteX1073" fmla="*/ 265640 w 11701760"/>
              <a:gd name="connsiteY1073" fmla="*/ 5049209 h 6407421"/>
              <a:gd name="connsiteX1074" fmla="*/ 265640 w 11701760"/>
              <a:gd name="connsiteY1074" fmla="*/ 5078812 h 6407421"/>
              <a:gd name="connsiteX1075" fmla="*/ 236038 w 11701760"/>
              <a:gd name="connsiteY1075" fmla="*/ 5078812 h 6407421"/>
              <a:gd name="connsiteX1076" fmla="*/ 2 w 11701760"/>
              <a:gd name="connsiteY1076" fmla="*/ 5049209 h 6407421"/>
              <a:gd name="connsiteX1077" fmla="*/ 29604 w 11701760"/>
              <a:gd name="connsiteY1077" fmla="*/ 5049209 h 6407421"/>
              <a:gd name="connsiteX1078" fmla="*/ 29604 w 11701760"/>
              <a:gd name="connsiteY1078" fmla="*/ 5078812 h 6407421"/>
              <a:gd name="connsiteX1079" fmla="*/ 2 w 11701760"/>
              <a:gd name="connsiteY1079" fmla="*/ 5078812 h 6407421"/>
              <a:gd name="connsiteX1080" fmla="*/ 11672158 w 11701760"/>
              <a:gd name="connsiteY1080" fmla="*/ 4783444 h 6407421"/>
              <a:gd name="connsiteX1081" fmla="*/ 11701760 w 11701760"/>
              <a:gd name="connsiteY1081" fmla="*/ 4783444 h 6407421"/>
              <a:gd name="connsiteX1082" fmla="*/ 11701760 w 11701760"/>
              <a:gd name="connsiteY1082" fmla="*/ 4813046 h 6407421"/>
              <a:gd name="connsiteX1083" fmla="*/ 11672158 w 11701760"/>
              <a:gd name="connsiteY1083" fmla="*/ 4813046 h 6407421"/>
              <a:gd name="connsiteX1084" fmla="*/ 11405961 w 11701760"/>
              <a:gd name="connsiteY1084" fmla="*/ 4783444 h 6407421"/>
              <a:gd name="connsiteX1085" fmla="*/ 11435563 w 11701760"/>
              <a:gd name="connsiteY1085" fmla="*/ 4783444 h 6407421"/>
              <a:gd name="connsiteX1086" fmla="*/ 11435563 w 11701760"/>
              <a:gd name="connsiteY1086" fmla="*/ 4813046 h 6407421"/>
              <a:gd name="connsiteX1087" fmla="*/ 11405961 w 11701760"/>
              <a:gd name="connsiteY1087" fmla="*/ 4813046 h 6407421"/>
              <a:gd name="connsiteX1088" fmla="*/ 11139872 w 11701760"/>
              <a:gd name="connsiteY1088" fmla="*/ 4783444 h 6407421"/>
              <a:gd name="connsiteX1089" fmla="*/ 11169474 w 11701760"/>
              <a:gd name="connsiteY1089" fmla="*/ 4783444 h 6407421"/>
              <a:gd name="connsiteX1090" fmla="*/ 11169474 w 11701760"/>
              <a:gd name="connsiteY1090" fmla="*/ 4813046 h 6407421"/>
              <a:gd name="connsiteX1091" fmla="*/ 11139872 w 11701760"/>
              <a:gd name="connsiteY1091" fmla="*/ 4813046 h 6407421"/>
              <a:gd name="connsiteX1092" fmla="*/ 10873675 w 11701760"/>
              <a:gd name="connsiteY1092" fmla="*/ 4783444 h 6407421"/>
              <a:gd name="connsiteX1093" fmla="*/ 10903277 w 11701760"/>
              <a:gd name="connsiteY1093" fmla="*/ 4783444 h 6407421"/>
              <a:gd name="connsiteX1094" fmla="*/ 10903277 w 11701760"/>
              <a:gd name="connsiteY1094" fmla="*/ 4813046 h 6407421"/>
              <a:gd name="connsiteX1095" fmla="*/ 10873675 w 11701760"/>
              <a:gd name="connsiteY1095" fmla="*/ 4813046 h 6407421"/>
              <a:gd name="connsiteX1096" fmla="*/ 10607478 w 11701760"/>
              <a:gd name="connsiteY1096" fmla="*/ 4783444 h 6407421"/>
              <a:gd name="connsiteX1097" fmla="*/ 10637188 w 11701760"/>
              <a:gd name="connsiteY1097" fmla="*/ 4783444 h 6407421"/>
              <a:gd name="connsiteX1098" fmla="*/ 10637188 w 11701760"/>
              <a:gd name="connsiteY1098" fmla="*/ 4813046 h 6407421"/>
              <a:gd name="connsiteX1099" fmla="*/ 10607478 w 11701760"/>
              <a:gd name="connsiteY1099" fmla="*/ 4813046 h 6407421"/>
              <a:gd name="connsiteX1100" fmla="*/ 10341389 w 11701760"/>
              <a:gd name="connsiteY1100" fmla="*/ 4783444 h 6407421"/>
              <a:gd name="connsiteX1101" fmla="*/ 10370992 w 11701760"/>
              <a:gd name="connsiteY1101" fmla="*/ 4783444 h 6407421"/>
              <a:gd name="connsiteX1102" fmla="*/ 10370992 w 11701760"/>
              <a:gd name="connsiteY1102" fmla="*/ 4813046 h 6407421"/>
              <a:gd name="connsiteX1103" fmla="*/ 10341389 w 11701760"/>
              <a:gd name="connsiteY1103" fmla="*/ 4813046 h 6407421"/>
              <a:gd name="connsiteX1104" fmla="*/ 10075192 w 11701760"/>
              <a:gd name="connsiteY1104" fmla="*/ 4783444 h 6407421"/>
              <a:gd name="connsiteX1105" fmla="*/ 10104794 w 11701760"/>
              <a:gd name="connsiteY1105" fmla="*/ 4783444 h 6407421"/>
              <a:gd name="connsiteX1106" fmla="*/ 10104794 w 11701760"/>
              <a:gd name="connsiteY1106" fmla="*/ 4813046 h 6407421"/>
              <a:gd name="connsiteX1107" fmla="*/ 10075192 w 11701760"/>
              <a:gd name="connsiteY1107" fmla="*/ 4813046 h 6407421"/>
              <a:gd name="connsiteX1108" fmla="*/ 9809103 w 11701760"/>
              <a:gd name="connsiteY1108" fmla="*/ 4783444 h 6407421"/>
              <a:gd name="connsiteX1109" fmla="*/ 9838705 w 11701760"/>
              <a:gd name="connsiteY1109" fmla="*/ 4783444 h 6407421"/>
              <a:gd name="connsiteX1110" fmla="*/ 9838705 w 11701760"/>
              <a:gd name="connsiteY1110" fmla="*/ 4813046 h 6407421"/>
              <a:gd name="connsiteX1111" fmla="*/ 9809103 w 11701760"/>
              <a:gd name="connsiteY1111" fmla="*/ 4813046 h 6407421"/>
              <a:gd name="connsiteX1112" fmla="*/ 9542906 w 11701760"/>
              <a:gd name="connsiteY1112" fmla="*/ 4783444 h 6407421"/>
              <a:gd name="connsiteX1113" fmla="*/ 9572509 w 11701760"/>
              <a:gd name="connsiteY1113" fmla="*/ 4783444 h 6407421"/>
              <a:gd name="connsiteX1114" fmla="*/ 9572509 w 11701760"/>
              <a:gd name="connsiteY1114" fmla="*/ 4813046 h 6407421"/>
              <a:gd name="connsiteX1115" fmla="*/ 9542906 w 11701760"/>
              <a:gd name="connsiteY1115" fmla="*/ 4813046 h 6407421"/>
              <a:gd name="connsiteX1116" fmla="*/ 9276817 w 11701760"/>
              <a:gd name="connsiteY1116" fmla="*/ 4783444 h 6407421"/>
              <a:gd name="connsiteX1117" fmla="*/ 9306420 w 11701760"/>
              <a:gd name="connsiteY1117" fmla="*/ 4783444 h 6407421"/>
              <a:gd name="connsiteX1118" fmla="*/ 9306420 w 11701760"/>
              <a:gd name="connsiteY1118" fmla="*/ 4813046 h 6407421"/>
              <a:gd name="connsiteX1119" fmla="*/ 9276817 w 11701760"/>
              <a:gd name="connsiteY1119" fmla="*/ 4813046 h 6407421"/>
              <a:gd name="connsiteX1120" fmla="*/ 9010620 w 11701760"/>
              <a:gd name="connsiteY1120" fmla="*/ 4783444 h 6407421"/>
              <a:gd name="connsiteX1121" fmla="*/ 9040222 w 11701760"/>
              <a:gd name="connsiteY1121" fmla="*/ 4783444 h 6407421"/>
              <a:gd name="connsiteX1122" fmla="*/ 9040222 w 11701760"/>
              <a:gd name="connsiteY1122" fmla="*/ 4813046 h 6407421"/>
              <a:gd name="connsiteX1123" fmla="*/ 9010620 w 11701760"/>
              <a:gd name="connsiteY1123" fmla="*/ 4813046 h 6407421"/>
              <a:gd name="connsiteX1124" fmla="*/ 8744423 w 11701760"/>
              <a:gd name="connsiteY1124" fmla="*/ 4783444 h 6407421"/>
              <a:gd name="connsiteX1125" fmla="*/ 8774026 w 11701760"/>
              <a:gd name="connsiteY1125" fmla="*/ 4783444 h 6407421"/>
              <a:gd name="connsiteX1126" fmla="*/ 8774026 w 11701760"/>
              <a:gd name="connsiteY1126" fmla="*/ 4813046 h 6407421"/>
              <a:gd name="connsiteX1127" fmla="*/ 8744423 w 11701760"/>
              <a:gd name="connsiteY1127" fmla="*/ 4813046 h 6407421"/>
              <a:gd name="connsiteX1128" fmla="*/ 8478226 w 11701760"/>
              <a:gd name="connsiteY1128" fmla="*/ 4783444 h 6407421"/>
              <a:gd name="connsiteX1129" fmla="*/ 8507828 w 11701760"/>
              <a:gd name="connsiteY1129" fmla="*/ 4783444 h 6407421"/>
              <a:gd name="connsiteX1130" fmla="*/ 8507828 w 11701760"/>
              <a:gd name="connsiteY1130" fmla="*/ 4813046 h 6407421"/>
              <a:gd name="connsiteX1131" fmla="*/ 8478226 w 11701760"/>
              <a:gd name="connsiteY1131" fmla="*/ 4813046 h 6407421"/>
              <a:gd name="connsiteX1132" fmla="*/ 8212137 w 11701760"/>
              <a:gd name="connsiteY1132" fmla="*/ 4783444 h 6407421"/>
              <a:gd name="connsiteX1133" fmla="*/ 8241740 w 11701760"/>
              <a:gd name="connsiteY1133" fmla="*/ 4783444 h 6407421"/>
              <a:gd name="connsiteX1134" fmla="*/ 8241740 w 11701760"/>
              <a:gd name="connsiteY1134" fmla="*/ 4813046 h 6407421"/>
              <a:gd name="connsiteX1135" fmla="*/ 8212137 w 11701760"/>
              <a:gd name="connsiteY1135" fmla="*/ 4813046 h 6407421"/>
              <a:gd name="connsiteX1136" fmla="*/ 7945940 w 11701760"/>
              <a:gd name="connsiteY1136" fmla="*/ 4783444 h 6407421"/>
              <a:gd name="connsiteX1137" fmla="*/ 7975543 w 11701760"/>
              <a:gd name="connsiteY1137" fmla="*/ 4783444 h 6407421"/>
              <a:gd name="connsiteX1138" fmla="*/ 7975543 w 11701760"/>
              <a:gd name="connsiteY1138" fmla="*/ 4813046 h 6407421"/>
              <a:gd name="connsiteX1139" fmla="*/ 7945940 w 11701760"/>
              <a:gd name="connsiteY1139" fmla="*/ 4813046 h 6407421"/>
              <a:gd name="connsiteX1140" fmla="*/ 7679743 w 11701760"/>
              <a:gd name="connsiteY1140" fmla="*/ 4783444 h 6407421"/>
              <a:gd name="connsiteX1141" fmla="*/ 7709346 w 11701760"/>
              <a:gd name="connsiteY1141" fmla="*/ 4783444 h 6407421"/>
              <a:gd name="connsiteX1142" fmla="*/ 7709346 w 11701760"/>
              <a:gd name="connsiteY1142" fmla="*/ 4813046 h 6407421"/>
              <a:gd name="connsiteX1143" fmla="*/ 7679743 w 11701760"/>
              <a:gd name="connsiteY1143" fmla="*/ 4813046 h 6407421"/>
              <a:gd name="connsiteX1144" fmla="*/ 7413653 w 11701760"/>
              <a:gd name="connsiteY1144" fmla="*/ 4783444 h 6407421"/>
              <a:gd name="connsiteX1145" fmla="*/ 7443256 w 11701760"/>
              <a:gd name="connsiteY1145" fmla="*/ 4783444 h 6407421"/>
              <a:gd name="connsiteX1146" fmla="*/ 7443256 w 11701760"/>
              <a:gd name="connsiteY1146" fmla="*/ 4813046 h 6407421"/>
              <a:gd name="connsiteX1147" fmla="*/ 7413653 w 11701760"/>
              <a:gd name="connsiteY1147" fmla="*/ 4813046 h 6407421"/>
              <a:gd name="connsiteX1148" fmla="*/ 7147456 w 11701760"/>
              <a:gd name="connsiteY1148" fmla="*/ 4783444 h 6407421"/>
              <a:gd name="connsiteX1149" fmla="*/ 7177058 w 11701760"/>
              <a:gd name="connsiteY1149" fmla="*/ 4783444 h 6407421"/>
              <a:gd name="connsiteX1150" fmla="*/ 7177058 w 11701760"/>
              <a:gd name="connsiteY1150" fmla="*/ 4813046 h 6407421"/>
              <a:gd name="connsiteX1151" fmla="*/ 7147456 w 11701760"/>
              <a:gd name="connsiteY1151" fmla="*/ 4813046 h 6407421"/>
              <a:gd name="connsiteX1152" fmla="*/ 6881367 w 11701760"/>
              <a:gd name="connsiteY1152" fmla="*/ 4783444 h 6407421"/>
              <a:gd name="connsiteX1153" fmla="*/ 6910970 w 11701760"/>
              <a:gd name="connsiteY1153" fmla="*/ 4783444 h 6407421"/>
              <a:gd name="connsiteX1154" fmla="*/ 6910970 w 11701760"/>
              <a:gd name="connsiteY1154" fmla="*/ 4813046 h 6407421"/>
              <a:gd name="connsiteX1155" fmla="*/ 6881367 w 11701760"/>
              <a:gd name="connsiteY1155" fmla="*/ 4813046 h 6407421"/>
              <a:gd name="connsiteX1156" fmla="*/ 6615170 w 11701760"/>
              <a:gd name="connsiteY1156" fmla="*/ 4783444 h 6407421"/>
              <a:gd name="connsiteX1157" fmla="*/ 6644773 w 11701760"/>
              <a:gd name="connsiteY1157" fmla="*/ 4783444 h 6407421"/>
              <a:gd name="connsiteX1158" fmla="*/ 6644773 w 11701760"/>
              <a:gd name="connsiteY1158" fmla="*/ 4813046 h 6407421"/>
              <a:gd name="connsiteX1159" fmla="*/ 6615170 w 11701760"/>
              <a:gd name="connsiteY1159" fmla="*/ 4813046 h 6407421"/>
              <a:gd name="connsiteX1160" fmla="*/ 6349081 w 11701760"/>
              <a:gd name="connsiteY1160" fmla="*/ 4783444 h 6407421"/>
              <a:gd name="connsiteX1161" fmla="*/ 6378683 w 11701760"/>
              <a:gd name="connsiteY1161" fmla="*/ 4783444 h 6407421"/>
              <a:gd name="connsiteX1162" fmla="*/ 6378683 w 11701760"/>
              <a:gd name="connsiteY1162" fmla="*/ 4813046 h 6407421"/>
              <a:gd name="connsiteX1163" fmla="*/ 6349081 w 11701760"/>
              <a:gd name="connsiteY1163" fmla="*/ 4813046 h 6407421"/>
              <a:gd name="connsiteX1164" fmla="*/ 6082884 w 11701760"/>
              <a:gd name="connsiteY1164" fmla="*/ 4783444 h 6407421"/>
              <a:gd name="connsiteX1165" fmla="*/ 6112486 w 11701760"/>
              <a:gd name="connsiteY1165" fmla="*/ 4783444 h 6407421"/>
              <a:gd name="connsiteX1166" fmla="*/ 6112486 w 11701760"/>
              <a:gd name="connsiteY1166" fmla="*/ 4813046 h 6407421"/>
              <a:gd name="connsiteX1167" fmla="*/ 6082884 w 11701760"/>
              <a:gd name="connsiteY1167" fmla="*/ 4813046 h 6407421"/>
              <a:gd name="connsiteX1168" fmla="*/ 5825310 w 11701760"/>
              <a:gd name="connsiteY1168" fmla="*/ 4783444 h 6407421"/>
              <a:gd name="connsiteX1169" fmla="*/ 5854913 w 11701760"/>
              <a:gd name="connsiteY1169" fmla="*/ 4783444 h 6407421"/>
              <a:gd name="connsiteX1170" fmla="*/ 5854913 w 11701760"/>
              <a:gd name="connsiteY1170" fmla="*/ 4813046 h 6407421"/>
              <a:gd name="connsiteX1171" fmla="*/ 5825310 w 11701760"/>
              <a:gd name="connsiteY1171" fmla="*/ 4813046 h 6407421"/>
              <a:gd name="connsiteX1172" fmla="*/ 5559113 w 11701760"/>
              <a:gd name="connsiteY1172" fmla="*/ 4783444 h 6407421"/>
              <a:gd name="connsiteX1173" fmla="*/ 5588715 w 11701760"/>
              <a:gd name="connsiteY1173" fmla="*/ 4783444 h 6407421"/>
              <a:gd name="connsiteX1174" fmla="*/ 5588715 w 11701760"/>
              <a:gd name="connsiteY1174" fmla="*/ 4813046 h 6407421"/>
              <a:gd name="connsiteX1175" fmla="*/ 5559113 w 11701760"/>
              <a:gd name="connsiteY1175" fmla="*/ 4813046 h 6407421"/>
              <a:gd name="connsiteX1176" fmla="*/ 5293024 w 11701760"/>
              <a:gd name="connsiteY1176" fmla="*/ 4783444 h 6407421"/>
              <a:gd name="connsiteX1177" fmla="*/ 5322626 w 11701760"/>
              <a:gd name="connsiteY1177" fmla="*/ 4783444 h 6407421"/>
              <a:gd name="connsiteX1178" fmla="*/ 5322626 w 11701760"/>
              <a:gd name="connsiteY1178" fmla="*/ 4813046 h 6407421"/>
              <a:gd name="connsiteX1179" fmla="*/ 5293024 w 11701760"/>
              <a:gd name="connsiteY1179" fmla="*/ 4813046 h 6407421"/>
              <a:gd name="connsiteX1180" fmla="*/ 5026827 w 11701760"/>
              <a:gd name="connsiteY1180" fmla="*/ 4783444 h 6407421"/>
              <a:gd name="connsiteX1181" fmla="*/ 5056429 w 11701760"/>
              <a:gd name="connsiteY1181" fmla="*/ 4783444 h 6407421"/>
              <a:gd name="connsiteX1182" fmla="*/ 5056429 w 11701760"/>
              <a:gd name="connsiteY1182" fmla="*/ 4813046 h 6407421"/>
              <a:gd name="connsiteX1183" fmla="*/ 5026827 w 11701760"/>
              <a:gd name="connsiteY1183" fmla="*/ 4813046 h 6407421"/>
              <a:gd name="connsiteX1184" fmla="*/ 4760630 w 11701760"/>
              <a:gd name="connsiteY1184" fmla="*/ 4783444 h 6407421"/>
              <a:gd name="connsiteX1185" fmla="*/ 4790340 w 11701760"/>
              <a:gd name="connsiteY1185" fmla="*/ 4783444 h 6407421"/>
              <a:gd name="connsiteX1186" fmla="*/ 4790340 w 11701760"/>
              <a:gd name="connsiteY1186" fmla="*/ 4813046 h 6407421"/>
              <a:gd name="connsiteX1187" fmla="*/ 4760630 w 11701760"/>
              <a:gd name="connsiteY1187" fmla="*/ 4813046 h 6407421"/>
              <a:gd name="connsiteX1188" fmla="*/ 4494541 w 11701760"/>
              <a:gd name="connsiteY1188" fmla="*/ 4783444 h 6407421"/>
              <a:gd name="connsiteX1189" fmla="*/ 4524144 w 11701760"/>
              <a:gd name="connsiteY1189" fmla="*/ 4783444 h 6407421"/>
              <a:gd name="connsiteX1190" fmla="*/ 4524144 w 11701760"/>
              <a:gd name="connsiteY1190" fmla="*/ 4813046 h 6407421"/>
              <a:gd name="connsiteX1191" fmla="*/ 4494541 w 11701760"/>
              <a:gd name="connsiteY1191" fmla="*/ 4813046 h 6407421"/>
              <a:gd name="connsiteX1192" fmla="*/ 4228344 w 11701760"/>
              <a:gd name="connsiteY1192" fmla="*/ 4783444 h 6407421"/>
              <a:gd name="connsiteX1193" fmla="*/ 4257946 w 11701760"/>
              <a:gd name="connsiteY1193" fmla="*/ 4783444 h 6407421"/>
              <a:gd name="connsiteX1194" fmla="*/ 4257946 w 11701760"/>
              <a:gd name="connsiteY1194" fmla="*/ 4813046 h 6407421"/>
              <a:gd name="connsiteX1195" fmla="*/ 4228344 w 11701760"/>
              <a:gd name="connsiteY1195" fmla="*/ 4813046 h 6407421"/>
              <a:gd name="connsiteX1196" fmla="*/ 3962255 w 11701760"/>
              <a:gd name="connsiteY1196" fmla="*/ 4783444 h 6407421"/>
              <a:gd name="connsiteX1197" fmla="*/ 3991857 w 11701760"/>
              <a:gd name="connsiteY1197" fmla="*/ 4783444 h 6407421"/>
              <a:gd name="connsiteX1198" fmla="*/ 3991857 w 11701760"/>
              <a:gd name="connsiteY1198" fmla="*/ 4813046 h 6407421"/>
              <a:gd name="connsiteX1199" fmla="*/ 3962255 w 11701760"/>
              <a:gd name="connsiteY1199" fmla="*/ 4813046 h 6407421"/>
              <a:gd name="connsiteX1200" fmla="*/ 3696058 w 11701760"/>
              <a:gd name="connsiteY1200" fmla="*/ 4783444 h 6407421"/>
              <a:gd name="connsiteX1201" fmla="*/ 3725661 w 11701760"/>
              <a:gd name="connsiteY1201" fmla="*/ 4783444 h 6407421"/>
              <a:gd name="connsiteX1202" fmla="*/ 3725661 w 11701760"/>
              <a:gd name="connsiteY1202" fmla="*/ 4813046 h 6407421"/>
              <a:gd name="connsiteX1203" fmla="*/ 3696058 w 11701760"/>
              <a:gd name="connsiteY1203" fmla="*/ 4813046 h 6407421"/>
              <a:gd name="connsiteX1204" fmla="*/ 3429969 w 11701760"/>
              <a:gd name="connsiteY1204" fmla="*/ 4783444 h 6407421"/>
              <a:gd name="connsiteX1205" fmla="*/ 3459572 w 11701760"/>
              <a:gd name="connsiteY1205" fmla="*/ 4783444 h 6407421"/>
              <a:gd name="connsiteX1206" fmla="*/ 3459572 w 11701760"/>
              <a:gd name="connsiteY1206" fmla="*/ 4813046 h 6407421"/>
              <a:gd name="connsiteX1207" fmla="*/ 3429969 w 11701760"/>
              <a:gd name="connsiteY1207" fmla="*/ 4813046 h 6407421"/>
              <a:gd name="connsiteX1208" fmla="*/ 3163772 w 11701760"/>
              <a:gd name="connsiteY1208" fmla="*/ 4783444 h 6407421"/>
              <a:gd name="connsiteX1209" fmla="*/ 3193374 w 11701760"/>
              <a:gd name="connsiteY1209" fmla="*/ 4783444 h 6407421"/>
              <a:gd name="connsiteX1210" fmla="*/ 3193374 w 11701760"/>
              <a:gd name="connsiteY1210" fmla="*/ 4813046 h 6407421"/>
              <a:gd name="connsiteX1211" fmla="*/ 3163772 w 11701760"/>
              <a:gd name="connsiteY1211" fmla="*/ 4813046 h 6407421"/>
              <a:gd name="connsiteX1212" fmla="*/ 2897575 w 11701760"/>
              <a:gd name="connsiteY1212" fmla="*/ 4783444 h 6407421"/>
              <a:gd name="connsiteX1213" fmla="*/ 2927178 w 11701760"/>
              <a:gd name="connsiteY1213" fmla="*/ 4783444 h 6407421"/>
              <a:gd name="connsiteX1214" fmla="*/ 2927178 w 11701760"/>
              <a:gd name="connsiteY1214" fmla="*/ 4813046 h 6407421"/>
              <a:gd name="connsiteX1215" fmla="*/ 2897575 w 11701760"/>
              <a:gd name="connsiteY1215" fmla="*/ 4813046 h 6407421"/>
              <a:gd name="connsiteX1216" fmla="*/ 2631378 w 11701760"/>
              <a:gd name="connsiteY1216" fmla="*/ 4783444 h 6407421"/>
              <a:gd name="connsiteX1217" fmla="*/ 2660980 w 11701760"/>
              <a:gd name="connsiteY1217" fmla="*/ 4783444 h 6407421"/>
              <a:gd name="connsiteX1218" fmla="*/ 2660980 w 11701760"/>
              <a:gd name="connsiteY1218" fmla="*/ 4813046 h 6407421"/>
              <a:gd name="connsiteX1219" fmla="*/ 2631378 w 11701760"/>
              <a:gd name="connsiteY1219" fmla="*/ 4813046 h 6407421"/>
              <a:gd name="connsiteX1220" fmla="*/ 2365289 w 11701760"/>
              <a:gd name="connsiteY1220" fmla="*/ 4783444 h 6407421"/>
              <a:gd name="connsiteX1221" fmla="*/ 2394892 w 11701760"/>
              <a:gd name="connsiteY1221" fmla="*/ 4783444 h 6407421"/>
              <a:gd name="connsiteX1222" fmla="*/ 2394892 w 11701760"/>
              <a:gd name="connsiteY1222" fmla="*/ 4813046 h 6407421"/>
              <a:gd name="connsiteX1223" fmla="*/ 2365289 w 11701760"/>
              <a:gd name="connsiteY1223" fmla="*/ 4813046 h 6407421"/>
              <a:gd name="connsiteX1224" fmla="*/ 2099092 w 11701760"/>
              <a:gd name="connsiteY1224" fmla="*/ 4783444 h 6407421"/>
              <a:gd name="connsiteX1225" fmla="*/ 2128695 w 11701760"/>
              <a:gd name="connsiteY1225" fmla="*/ 4783444 h 6407421"/>
              <a:gd name="connsiteX1226" fmla="*/ 2128695 w 11701760"/>
              <a:gd name="connsiteY1226" fmla="*/ 4813046 h 6407421"/>
              <a:gd name="connsiteX1227" fmla="*/ 2099092 w 11701760"/>
              <a:gd name="connsiteY1227" fmla="*/ 4813046 h 6407421"/>
              <a:gd name="connsiteX1228" fmla="*/ 1832898 w 11701760"/>
              <a:gd name="connsiteY1228" fmla="*/ 4783444 h 6407421"/>
              <a:gd name="connsiteX1229" fmla="*/ 1862498 w 11701760"/>
              <a:gd name="connsiteY1229" fmla="*/ 4783444 h 6407421"/>
              <a:gd name="connsiteX1230" fmla="*/ 1862498 w 11701760"/>
              <a:gd name="connsiteY1230" fmla="*/ 4813046 h 6407421"/>
              <a:gd name="connsiteX1231" fmla="*/ 1832898 w 11701760"/>
              <a:gd name="connsiteY1231" fmla="*/ 4813046 h 6407421"/>
              <a:gd name="connsiteX1232" fmla="*/ 1566808 w 11701760"/>
              <a:gd name="connsiteY1232" fmla="*/ 4783444 h 6407421"/>
              <a:gd name="connsiteX1233" fmla="*/ 1596409 w 11701760"/>
              <a:gd name="connsiteY1233" fmla="*/ 4783444 h 6407421"/>
              <a:gd name="connsiteX1234" fmla="*/ 1596409 w 11701760"/>
              <a:gd name="connsiteY1234" fmla="*/ 4813046 h 6407421"/>
              <a:gd name="connsiteX1235" fmla="*/ 1566808 w 11701760"/>
              <a:gd name="connsiteY1235" fmla="*/ 4813046 h 6407421"/>
              <a:gd name="connsiteX1236" fmla="*/ 1300611 w 11701760"/>
              <a:gd name="connsiteY1236" fmla="*/ 4783444 h 6407421"/>
              <a:gd name="connsiteX1237" fmla="*/ 1330213 w 11701760"/>
              <a:gd name="connsiteY1237" fmla="*/ 4783444 h 6407421"/>
              <a:gd name="connsiteX1238" fmla="*/ 1330213 w 11701760"/>
              <a:gd name="connsiteY1238" fmla="*/ 4813046 h 6407421"/>
              <a:gd name="connsiteX1239" fmla="*/ 1300611 w 11701760"/>
              <a:gd name="connsiteY1239" fmla="*/ 4813046 h 6407421"/>
              <a:gd name="connsiteX1240" fmla="*/ 1034520 w 11701760"/>
              <a:gd name="connsiteY1240" fmla="*/ 4783444 h 6407421"/>
              <a:gd name="connsiteX1241" fmla="*/ 1064123 w 11701760"/>
              <a:gd name="connsiteY1241" fmla="*/ 4783444 h 6407421"/>
              <a:gd name="connsiteX1242" fmla="*/ 1064123 w 11701760"/>
              <a:gd name="connsiteY1242" fmla="*/ 4813046 h 6407421"/>
              <a:gd name="connsiteX1243" fmla="*/ 1034520 w 11701760"/>
              <a:gd name="connsiteY1243" fmla="*/ 4813046 h 6407421"/>
              <a:gd name="connsiteX1244" fmla="*/ 768327 w 11701760"/>
              <a:gd name="connsiteY1244" fmla="*/ 4783444 h 6407421"/>
              <a:gd name="connsiteX1245" fmla="*/ 797926 w 11701760"/>
              <a:gd name="connsiteY1245" fmla="*/ 4783444 h 6407421"/>
              <a:gd name="connsiteX1246" fmla="*/ 797926 w 11701760"/>
              <a:gd name="connsiteY1246" fmla="*/ 4813046 h 6407421"/>
              <a:gd name="connsiteX1247" fmla="*/ 768327 w 11701760"/>
              <a:gd name="connsiteY1247" fmla="*/ 4813046 h 6407421"/>
              <a:gd name="connsiteX1248" fmla="*/ 502237 w 11701760"/>
              <a:gd name="connsiteY1248" fmla="*/ 4783444 h 6407421"/>
              <a:gd name="connsiteX1249" fmla="*/ 531839 w 11701760"/>
              <a:gd name="connsiteY1249" fmla="*/ 4783444 h 6407421"/>
              <a:gd name="connsiteX1250" fmla="*/ 531839 w 11701760"/>
              <a:gd name="connsiteY1250" fmla="*/ 4813046 h 6407421"/>
              <a:gd name="connsiteX1251" fmla="*/ 502237 w 11701760"/>
              <a:gd name="connsiteY1251" fmla="*/ 4813046 h 6407421"/>
              <a:gd name="connsiteX1252" fmla="*/ 236038 w 11701760"/>
              <a:gd name="connsiteY1252" fmla="*/ 4783444 h 6407421"/>
              <a:gd name="connsiteX1253" fmla="*/ 265640 w 11701760"/>
              <a:gd name="connsiteY1253" fmla="*/ 4783444 h 6407421"/>
              <a:gd name="connsiteX1254" fmla="*/ 265640 w 11701760"/>
              <a:gd name="connsiteY1254" fmla="*/ 4813046 h 6407421"/>
              <a:gd name="connsiteX1255" fmla="*/ 236038 w 11701760"/>
              <a:gd name="connsiteY1255" fmla="*/ 4813046 h 6407421"/>
              <a:gd name="connsiteX1256" fmla="*/ 2 w 11701760"/>
              <a:gd name="connsiteY1256" fmla="*/ 4783444 h 6407421"/>
              <a:gd name="connsiteX1257" fmla="*/ 29604 w 11701760"/>
              <a:gd name="connsiteY1257" fmla="*/ 4783444 h 6407421"/>
              <a:gd name="connsiteX1258" fmla="*/ 29604 w 11701760"/>
              <a:gd name="connsiteY1258" fmla="*/ 4813046 h 6407421"/>
              <a:gd name="connsiteX1259" fmla="*/ 2 w 11701760"/>
              <a:gd name="connsiteY1259" fmla="*/ 4813046 h 6407421"/>
              <a:gd name="connsiteX1260" fmla="*/ 11672158 w 11701760"/>
              <a:gd name="connsiteY1260" fmla="*/ 4517679 h 6407421"/>
              <a:gd name="connsiteX1261" fmla="*/ 11701760 w 11701760"/>
              <a:gd name="connsiteY1261" fmla="*/ 4517679 h 6407421"/>
              <a:gd name="connsiteX1262" fmla="*/ 11701760 w 11701760"/>
              <a:gd name="connsiteY1262" fmla="*/ 4547281 h 6407421"/>
              <a:gd name="connsiteX1263" fmla="*/ 11672158 w 11701760"/>
              <a:gd name="connsiteY1263" fmla="*/ 4547281 h 6407421"/>
              <a:gd name="connsiteX1264" fmla="*/ 11405961 w 11701760"/>
              <a:gd name="connsiteY1264" fmla="*/ 4517679 h 6407421"/>
              <a:gd name="connsiteX1265" fmla="*/ 11435563 w 11701760"/>
              <a:gd name="connsiteY1265" fmla="*/ 4517679 h 6407421"/>
              <a:gd name="connsiteX1266" fmla="*/ 11435563 w 11701760"/>
              <a:gd name="connsiteY1266" fmla="*/ 4547281 h 6407421"/>
              <a:gd name="connsiteX1267" fmla="*/ 11405961 w 11701760"/>
              <a:gd name="connsiteY1267" fmla="*/ 4547281 h 6407421"/>
              <a:gd name="connsiteX1268" fmla="*/ 11139872 w 11701760"/>
              <a:gd name="connsiteY1268" fmla="*/ 4517679 h 6407421"/>
              <a:gd name="connsiteX1269" fmla="*/ 11169474 w 11701760"/>
              <a:gd name="connsiteY1269" fmla="*/ 4517679 h 6407421"/>
              <a:gd name="connsiteX1270" fmla="*/ 11169474 w 11701760"/>
              <a:gd name="connsiteY1270" fmla="*/ 4547281 h 6407421"/>
              <a:gd name="connsiteX1271" fmla="*/ 11139872 w 11701760"/>
              <a:gd name="connsiteY1271" fmla="*/ 4547281 h 6407421"/>
              <a:gd name="connsiteX1272" fmla="*/ 10873675 w 11701760"/>
              <a:gd name="connsiteY1272" fmla="*/ 4517679 h 6407421"/>
              <a:gd name="connsiteX1273" fmla="*/ 10903277 w 11701760"/>
              <a:gd name="connsiteY1273" fmla="*/ 4517679 h 6407421"/>
              <a:gd name="connsiteX1274" fmla="*/ 10903277 w 11701760"/>
              <a:gd name="connsiteY1274" fmla="*/ 4547281 h 6407421"/>
              <a:gd name="connsiteX1275" fmla="*/ 10873675 w 11701760"/>
              <a:gd name="connsiteY1275" fmla="*/ 4547281 h 6407421"/>
              <a:gd name="connsiteX1276" fmla="*/ 10607478 w 11701760"/>
              <a:gd name="connsiteY1276" fmla="*/ 4517679 h 6407421"/>
              <a:gd name="connsiteX1277" fmla="*/ 10637188 w 11701760"/>
              <a:gd name="connsiteY1277" fmla="*/ 4517679 h 6407421"/>
              <a:gd name="connsiteX1278" fmla="*/ 10637188 w 11701760"/>
              <a:gd name="connsiteY1278" fmla="*/ 4547281 h 6407421"/>
              <a:gd name="connsiteX1279" fmla="*/ 10607478 w 11701760"/>
              <a:gd name="connsiteY1279" fmla="*/ 4547281 h 6407421"/>
              <a:gd name="connsiteX1280" fmla="*/ 10341389 w 11701760"/>
              <a:gd name="connsiteY1280" fmla="*/ 4517679 h 6407421"/>
              <a:gd name="connsiteX1281" fmla="*/ 10370992 w 11701760"/>
              <a:gd name="connsiteY1281" fmla="*/ 4517679 h 6407421"/>
              <a:gd name="connsiteX1282" fmla="*/ 10370992 w 11701760"/>
              <a:gd name="connsiteY1282" fmla="*/ 4547281 h 6407421"/>
              <a:gd name="connsiteX1283" fmla="*/ 10341389 w 11701760"/>
              <a:gd name="connsiteY1283" fmla="*/ 4547281 h 6407421"/>
              <a:gd name="connsiteX1284" fmla="*/ 10075192 w 11701760"/>
              <a:gd name="connsiteY1284" fmla="*/ 4517679 h 6407421"/>
              <a:gd name="connsiteX1285" fmla="*/ 10104794 w 11701760"/>
              <a:gd name="connsiteY1285" fmla="*/ 4517679 h 6407421"/>
              <a:gd name="connsiteX1286" fmla="*/ 10104794 w 11701760"/>
              <a:gd name="connsiteY1286" fmla="*/ 4547281 h 6407421"/>
              <a:gd name="connsiteX1287" fmla="*/ 10075192 w 11701760"/>
              <a:gd name="connsiteY1287" fmla="*/ 4547281 h 6407421"/>
              <a:gd name="connsiteX1288" fmla="*/ 9809103 w 11701760"/>
              <a:gd name="connsiteY1288" fmla="*/ 4517679 h 6407421"/>
              <a:gd name="connsiteX1289" fmla="*/ 9838705 w 11701760"/>
              <a:gd name="connsiteY1289" fmla="*/ 4517679 h 6407421"/>
              <a:gd name="connsiteX1290" fmla="*/ 9838705 w 11701760"/>
              <a:gd name="connsiteY1290" fmla="*/ 4547281 h 6407421"/>
              <a:gd name="connsiteX1291" fmla="*/ 9809103 w 11701760"/>
              <a:gd name="connsiteY1291" fmla="*/ 4547281 h 6407421"/>
              <a:gd name="connsiteX1292" fmla="*/ 9542906 w 11701760"/>
              <a:gd name="connsiteY1292" fmla="*/ 4517679 h 6407421"/>
              <a:gd name="connsiteX1293" fmla="*/ 9572509 w 11701760"/>
              <a:gd name="connsiteY1293" fmla="*/ 4517679 h 6407421"/>
              <a:gd name="connsiteX1294" fmla="*/ 9572509 w 11701760"/>
              <a:gd name="connsiteY1294" fmla="*/ 4547281 h 6407421"/>
              <a:gd name="connsiteX1295" fmla="*/ 9542906 w 11701760"/>
              <a:gd name="connsiteY1295" fmla="*/ 4547281 h 6407421"/>
              <a:gd name="connsiteX1296" fmla="*/ 9276817 w 11701760"/>
              <a:gd name="connsiteY1296" fmla="*/ 4517679 h 6407421"/>
              <a:gd name="connsiteX1297" fmla="*/ 9306420 w 11701760"/>
              <a:gd name="connsiteY1297" fmla="*/ 4517679 h 6407421"/>
              <a:gd name="connsiteX1298" fmla="*/ 9306420 w 11701760"/>
              <a:gd name="connsiteY1298" fmla="*/ 4547281 h 6407421"/>
              <a:gd name="connsiteX1299" fmla="*/ 9276817 w 11701760"/>
              <a:gd name="connsiteY1299" fmla="*/ 4547281 h 6407421"/>
              <a:gd name="connsiteX1300" fmla="*/ 9010620 w 11701760"/>
              <a:gd name="connsiteY1300" fmla="*/ 4517679 h 6407421"/>
              <a:gd name="connsiteX1301" fmla="*/ 9040222 w 11701760"/>
              <a:gd name="connsiteY1301" fmla="*/ 4517679 h 6407421"/>
              <a:gd name="connsiteX1302" fmla="*/ 9040222 w 11701760"/>
              <a:gd name="connsiteY1302" fmla="*/ 4547281 h 6407421"/>
              <a:gd name="connsiteX1303" fmla="*/ 9010620 w 11701760"/>
              <a:gd name="connsiteY1303" fmla="*/ 4547281 h 6407421"/>
              <a:gd name="connsiteX1304" fmla="*/ 8744423 w 11701760"/>
              <a:gd name="connsiteY1304" fmla="*/ 4517679 h 6407421"/>
              <a:gd name="connsiteX1305" fmla="*/ 8774026 w 11701760"/>
              <a:gd name="connsiteY1305" fmla="*/ 4517679 h 6407421"/>
              <a:gd name="connsiteX1306" fmla="*/ 8774026 w 11701760"/>
              <a:gd name="connsiteY1306" fmla="*/ 4547281 h 6407421"/>
              <a:gd name="connsiteX1307" fmla="*/ 8744423 w 11701760"/>
              <a:gd name="connsiteY1307" fmla="*/ 4547281 h 6407421"/>
              <a:gd name="connsiteX1308" fmla="*/ 8478226 w 11701760"/>
              <a:gd name="connsiteY1308" fmla="*/ 4517679 h 6407421"/>
              <a:gd name="connsiteX1309" fmla="*/ 8507828 w 11701760"/>
              <a:gd name="connsiteY1309" fmla="*/ 4517679 h 6407421"/>
              <a:gd name="connsiteX1310" fmla="*/ 8507828 w 11701760"/>
              <a:gd name="connsiteY1310" fmla="*/ 4547281 h 6407421"/>
              <a:gd name="connsiteX1311" fmla="*/ 8478226 w 11701760"/>
              <a:gd name="connsiteY1311" fmla="*/ 4547281 h 6407421"/>
              <a:gd name="connsiteX1312" fmla="*/ 8212137 w 11701760"/>
              <a:gd name="connsiteY1312" fmla="*/ 4517679 h 6407421"/>
              <a:gd name="connsiteX1313" fmla="*/ 8241740 w 11701760"/>
              <a:gd name="connsiteY1313" fmla="*/ 4517679 h 6407421"/>
              <a:gd name="connsiteX1314" fmla="*/ 8241740 w 11701760"/>
              <a:gd name="connsiteY1314" fmla="*/ 4547281 h 6407421"/>
              <a:gd name="connsiteX1315" fmla="*/ 8212137 w 11701760"/>
              <a:gd name="connsiteY1315" fmla="*/ 4547281 h 6407421"/>
              <a:gd name="connsiteX1316" fmla="*/ 7945940 w 11701760"/>
              <a:gd name="connsiteY1316" fmla="*/ 4517679 h 6407421"/>
              <a:gd name="connsiteX1317" fmla="*/ 7975543 w 11701760"/>
              <a:gd name="connsiteY1317" fmla="*/ 4517679 h 6407421"/>
              <a:gd name="connsiteX1318" fmla="*/ 7975543 w 11701760"/>
              <a:gd name="connsiteY1318" fmla="*/ 4547281 h 6407421"/>
              <a:gd name="connsiteX1319" fmla="*/ 7945940 w 11701760"/>
              <a:gd name="connsiteY1319" fmla="*/ 4547281 h 6407421"/>
              <a:gd name="connsiteX1320" fmla="*/ 7679743 w 11701760"/>
              <a:gd name="connsiteY1320" fmla="*/ 4517679 h 6407421"/>
              <a:gd name="connsiteX1321" fmla="*/ 7709346 w 11701760"/>
              <a:gd name="connsiteY1321" fmla="*/ 4517679 h 6407421"/>
              <a:gd name="connsiteX1322" fmla="*/ 7709346 w 11701760"/>
              <a:gd name="connsiteY1322" fmla="*/ 4547281 h 6407421"/>
              <a:gd name="connsiteX1323" fmla="*/ 7679743 w 11701760"/>
              <a:gd name="connsiteY1323" fmla="*/ 4547281 h 6407421"/>
              <a:gd name="connsiteX1324" fmla="*/ 7413653 w 11701760"/>
              <a:gd name="connsiteY1324" fmla="*/ 4517679 h 6407421"/>
              <a:gd name="connsiteX1325" fmla="*/ 7443256 w 11701760"/>
              <a:gd name="connsiteY1325" fmla="*/ 4517679 h 6407421"/>
              <a:gd name="connsiteX1326" fmla="*/ 7443256 w 11701760"/>
              <a:gd name="connsiteY1326" fmla="*/ 4547281 h 6407421"/>
              <a:gd name="connsiteX1327" fmla="*/ 7413653 w 11701760"/>
              <a:gd name="connsiteY1327" fmla="*/ 4547281 h 6407421"/>
              <a:gd name="connsiteX1328" fmla="*/ 7147456 w 11701760"/>
              <a:gd name="connsiteY1328" fmla="*/ 4517679 h 6407421"/>
              <a:gd name="connsiteX1329" fmla="*/ 7177058 w 11701760"/>
              <a:gd name="connsiteY1329" fmla="*/ 4517679 h 6407421"/>
              <a:gd name="connsiteX1330" fmla="*/ 7177058 w 11701760"/>
              <a:gd name="connsiteY1330" fmla="*/ 4547281 h 6407421"/>
              <a:gd name="connsiteX1331" fmla="*/ 7147456 w 11701760"/>
              <a:gd name="connsiteY1331" fmla="*/ 4547281 h 6407421"/>
              <a:gd name="connsiteX1332" fmla="*/ 6881367 w 11701760"/>
              <a:gd name="connsiteY1332" fmla="*/ 4517679 h 6407421"/>
              <a:gd name="connsiteX1333" fmla="*/ 6910970 w 11701760"/>
              <a:gd name="connsiteY1333" fmla="*/ 4517679 h 6407421"/>
              <a:gd name="connsiteX1334" fmla="*/ 6910970 w 11701760"/>
              <a:gd name="connsiteY1334" fmla="*/ 4547281 h 6407421"/>
              <a:gd name="connsiteX1335" fmla="*/ 6881367 w 11701760"/>
              <a:gd name="connsiteY1335" fmla="*/ 4547281 h 6407421"/>
              <a:gd name="connsiteX1336" fmla="*/ 6615170 w 11701760"/>
              <a:gd name="connsiteY1336" fmla="*/ 4517679 h 6407421"/>
              <a:gd name="connsiteX1337" fmla="*/ 6644773 w 11701760"/>
              <a:gd name="connsiteY1337" fmla="*/ 4517679 h 6407421"/>
              <a:gd name="connsiteX1338" fmla="*/ 6644773 w 11701760"/>
              <a:gd name="connsiteY1338" fmla="*/ 4547281 h 6407421"/>
              <a:gd name="connsiteX1339" fmla="*/ 6615170 w 11701760"/>
              <a:gd name="connsiteY1339" fmla="*/ 4547281 h 6407421"/>
              <a:gd name="connsiteX1340" fmla="*/ 6349081 w 11701760"/>
              <a:gd name="connsiteY1340" fmla="*/ 4517679 h 6407421"/>
              <a:gd name="connsiteX1341" fmla="*/ 6378683 w 11701760"/>
              <a:gd name="connsiteY1341" fmla="*/ 4517679 h 6407421"/>
              <a:gd name="connsiteX1342" fmla="*/ 6378683 w 11701760"/>
              <a:gd name="connsiteY1342" fmla="*/ 4547281 h 6407421"/>
              <a:gd name="connsiteX1343" fmla="*/ 6349081 w 11701760"/>
              <a:gd name="connsiteY1343" fmla="*/ 4547281 h 6407421"/>
              <a:gd name="connsiteX1344" fmla="*/ 6082884 w 11701760"/>
              <a:gd name="connsiteY1344" fmla="*/ 4517679 h 6407421"/>
              <a:gd name="connsiteX1345" fmla="*/ 6112486 w 11701760"/>
              <a:gd name="connsiteY1345" fmla="*/ 4517679 h 6407421"/>
              <a:gd name="connsiteX1346" fmla="*/ 6112486 w 11701760"/>
              <a:gd name="connsiteY1346" fmla="*/ 4547281 h 6407421"/>
              <a:gd name="connsiteX1347" fmla="*/ 6082884 w 11701760"/>
              <a:gd name="connsiteY1347" fmla="*/ 4547281 h 6407421"/>
              <a:gd name="connsiteX1348" fmla="*/ 5825310 w 11701760"/>
              <a:gd name="connsiteY1348" fmla="*/ 4517679 h 6407421"/>
              <a:gd name="connsiteX1349" fmla="*/ 5854913 w 11701760"/>
              <a:gd name="connsiteY1349" fmla="*/ 4517679 h 6407421"/>
              <a:gd name="connsiteX1350" fmla="*/ 5854913 w 11701760"/>
              <a:gd name="connsiteY1350" fmla="*/ 4547281 h 6407421"/>
              <a:gd name="connsiteX1351" fmla="*/ 5825310 w 11701760"/>
              <a:gd name="connsiteY1351" fmla="*/ 4547281 h 6407421"/>
              <a:gd name="connsiteX1352" fmla="*/ 5559113 w 11701760"/>
              <a:gd name="connsiteY1352" fmla="*/ 4517679 h 6407421"/>
              <a:gd name="connsiteX1353" fmla="*/ 5588715 w 11701760"/>
              <a:gd name="connsiteY1353" fmla="*/ 4517679 h 6407421"/>
              <a:gd name="connsiteX1354" fmla="*/ 5588715 w 11701760"/>
              <a:gd name="connsiteY1354" fmla="*/ 4547281 h 6407421"/>
              <a:gd name="connsiteX1355" fmla="*/ 5559113 w 11701760"/>
              <a:gd name="connsiteY1355" fmla="*/ 4547281 h 6407421"/>
              <a:gd name="connsiteX1356" fmla="*/ 5293024 w 11701760"/>
              <a:gd name="connsiteY1356" fmla="*/ 4517679 h 6407421"/>
              <a:gd name="connsiteX1357" fmla="*/ 5322626 w 11701760"/>
              <a:gd name="connsiteY1357" fmla="*/ 4517679 h 6407421"/>
              <a:gd name="connsiteX1358" fmla="*/ 5322626 w 11701760"/>
              <a:gd name="connsiteY1358" fmla="*/ 4547281 h 6407421"/>
              <a:gd name="connsiteX1359" fmla="*/ 5293024 w 11701760"/>
              <a:gd name="connsiteY1359" fmla="*/ 4547281 h 6407421"/>
              <a:gd name="connsiteX1360" fmla="*/ 5026827 w 11701760"/>
              <a:gd name="connsiteY1360" fmla="*/ 4517679 h 6407421"/>
              <a:gd name="connsiteX1361" fmla="*/ 5056429 w 11701760"/>
              <a:gd name="connsiteY1361" fmla="*/ 4517679 h 6407421"/>
              <a:gd name="connsiteX1362" fmla="*/ 5056429 w 11701760"/>
              <a:gd name="connsiteY1362" fmla="*/ 4547281 h 6407421"/>
              <a:gd name="connsiteX1363" fmla="*/ 5026827 w 11701760"/>
              <a:gd name="connsiteY1363" fmla="*/ 4547281 h 6407421"/>
              <a:gd name="connsiteX1364" fmla="*/ 4760630 w 11701760"/>
              <a:gd name="connsiteY1364" fmla="*/ 4517679 h 6407421"/>
              <a:gd name="connsiteX1365" fmla="*/ 4790340 w 11701760"/>
              <a:gd name="connsiteY1365" fmla="*/ 4517679 h 6407421"/>
              <a:gd name="connsiteX1366" fmla="*/ 4790340 w 11701760"/>
              <a:gd name="connsiteY1366" fmla="*/ 4547281 h 6407421"/>
              <a:gd name="connsiteX1367" fmla="*/ 4760630 w 11701760"/>
              <a:gd name="connsiteY1367" fmla="*/ 4547281 h 6407421"/>
              <a:gd name="connsiteX1368" fmla="*/ 4494541 w 11701760"/>
              <a:gd name="connsiteY1368" fmla="*/ 4517679 h 6407421"/>
              <a:gd name="connsiteX1369" fmla="*/ 4524144 w 11701760"/>
              <a:gd name="connsiteY1369" fmla="*/ 4517679 h 6407421"/>
              <a:gd name="connsiteX1370" fmla="*/ 4524144 w 11701760"/>
              <a:gd name="connsiteY1370" fmla="*/ 4547281 h 6407421"/>
              <a:gd name="connsiteX1371" fmla="*/ 4494541 w 11701760"/>
              <a:gd name="connsiteY1371" fmla="*/ 4547281 h 6407421"/>
              <a:gd name="connsiteX1372" fmla="*/ 4228344 w 11701760"/>
              <a:gd name="connsiteY1372" fmla="*/ 4517679 h 6407421"/>
              <a:gd name="connsiteX1373" fmla="*/ 4257946 w 11701760"/>
              <a:gd name="connsiteY1373" fmla="*/ 4517679 h 6407421"/>
              <a:gd name="connsiteX1374" fmla="*/ 4257946 w 11701760"/>
              <a:gd name="connsiteY1374" fmla="*/ 4547281 h 6407421"/>
              <a:gd name="connsiteX1375" fmla="*/ 4228344 w 11701760"/>
              <a:gd name="connsiteY1375" fmla="*/ 4547281 h 6407421"/>
              <a:gd name="connsiteX1376" fmla="*/ 3962255 w 11701760"/>
              <a:gd name="connsiteY1376" fmla="*/ 4517679 h 6407421"/>
              <a:gd name="connsiteX1377" fmla="*/ 3991857 w 11701760"/>
              <a:gd name="connsiteY1377" fmla="*/ 4517679 h 6407421"/>
              <a:gd name="connsiteX1378" fmla="*/ 3991857 w 11701760"/>
              <a:gd name="connsiteY1378" fmla="*/ 4547281 h 6407421"/>
              <a:gd name="connsiteX1379" fmla="*/ 3962255 w 11701760"/>
              <a:gd name="connsiteY1379" fmla="*/ 4547281 h 6407421"/>
              <a:gd name="connsiteX1380" fmla="*/ 3696058 w 11701760"/>
              <a:gd name="connsiteY1380" fmla="*/ 4517679 h 6407421"/>
              <a:gd name="connsiteX1381" fmla="*/ 3725661 w 11701760"/>
              <a:gd name="connsiteY1381" fmla="*/ 4517679 h 6407421"/>
              <a:gd name="connsiteX1382" fmla="*/ 3725661 w 11701760"/>
              <a:gd name="connsiteY1382" fmla="*/ 4547281 h 6407421"/>
              <a:gd name="connsiteX1383" fmla="*/ 3696058 w 11701760"/>
              <a:gd name="connsiteY1383" fmla="*/ 4547281 h 6407421"/>
              <a:gd name="connsiteX1384" fmla="*/ 3429969 w 11701760"/>
              <a:gd name="connsiteY1384" fmla="*/ 4517679 h 6407421"/>
              <a:gd name="connsiteX1385" fmla="*/ 3459572 w 11701760"/>
              <a:gd name="connsiteY1385" fmla="*/ 4517679 h 6407421"/>
              <a:gd name="connsiteX1386" fmla="*/ 3459572 w 11701760"/>
              <a:gd name="connsiteY1386" fmla="*/ 4547281 h 6407421"/>
              <a:gd name="connsiteX1387" fmla="*/ 3429969 w 11701760"/>
              <a:gd name="connsiteY1387" fmla="*/ 4547281 h 6407421"/>
              <a:gd name="connsiteX1388" fmla="*/ 3163772 w 11701760"/>
              <a:gd name="connsiteY1388" fmla="*/ 4517679 h 6407421"/>
              <a:gd name="connsiteX1389" fmla="*/ 3193374 w 11701760"/>
              <a:gd name="connsiteY1389" fmla="*/ 4517679 h 6407421"/>
              <a:gd name="connsiteX1390" fmla="*/ 3193374 w 11701760"/>
              <a:gd name="connsiteY1390" fmla="*/ 4547281 h 6407421"/>
              <a:gd name="connsiteX1391" fmla="*/ 3163772 w 11701760"/>
              <a:gd name="connsiteY1391" fmla="*/ 4547281 h 6407421"/>
              <a:gd name="connsiteX1392" fmla="*/ 2897575 w 11701760"/>
              <a:gd name="connsiteY1392" fmla="*/ 4517679 h 6407421"/>
              <a:gd name="connsiteX1393" fmla="*/ 2927178 w 11701760"/>
              <a:gd name="connsiteY1393" fmla="*/ 4517679 h 6407421"/>
              <a:gd name="connsiteX1394" fmla="*/ 2927178 w 11701760"/>
              <a:gd name="connsiteY1394" fmla="*/ 4547281 h 6407421"/>
              <a:gd name="connsiteX1395" fmla="*/ 2897575 w 11701760"/>
              <a:gd name="connsiteY1395" fmla="*/ 4547281 h 6407421"/>
              <a:gd name="connsiteX1396" fmla="*/ 2631378 w 11701760"/>
              <a:gd name="connsiteY1396" fmla="*/ 4517679 h 6407421"/>
              <a:gd name="connsiteX1397" fmla="*/ 2660980 w 11701760"/>
              <a:gd name="connsiteY1397" fmla="*/ 4517679 h 6407421"/>
              <a:gd name="connsiteX1398" fmla="*/ 2660980 w 11701760"/>
              <a:gd name="connsiteY1398" fmla="*/ 4547281 h 6407421"/>
              <a:gd name="connsiteX1399" fmla="*/ 2631378 w 11701760"/>
              <a:gd name="connsiteY1399" fmla="*/ 4547281 h 6407421"/>
              <a:gd name="connsiteX1400" fmla="*/ 2365289 w 11701760"/>
              <a:gd name="connsiteY1400" fmla="*/ 4517679 h 6407421"/>
              <a:gd name="connsiteX1401" fmla="*/ 2394892 w 11701760"/>
              <a:gd name="connsiteY1401" fmla="*/ 4517679 h 6407421"/>
              <a:gd name="connsiteX1402" fmla="*/ 2394892 w 11701760"/>
              <a:gd name="connsiteY1402" fmla="*/ 4547281 h 6407421"/>
              <a:gd name="connsiteX1403" fmla="*/ 2365289 w 11701760"/>
              <a:gd name="connsiteY1403" fmla="*/ 4547281 h 6407421"/>
              <a:gd name="connsiteX1404" fmla="*/ 2099092 w 11701760"/>
              <a:gd name="connsiteY1404" fmla="*/ 4517679 h 6407421"/>
              <a:gd name="connsiteX1405" fmla="*/ 2128695 w 11701760"/>
              <a:gd name="connsiteY1405" fmla="*/ 4517679 h 6407421"/>
              <a:gd name="connsiteX1406" fmla="*/ 2128695 w 11701760"/>
              <a:gd name="connsiteY1406" fmla="*/ 4547281 h 6407421"/>
              <a:gd name="connsiteX1407" fmla="*/ 2099092 w 11701760"/>
              <a:gd name="connsiteY1407" fmla="*/ 4547281 h 6407421"/>
              <a:gd name="connsiteX1408" fmla="*/ 1832898 w 11701760"/>
              <a:gd name="connsiteY1408" fmla="*/ 4517679 h 6407421"/>
              <a:gd name="connsiteX1409" fmla="*/ 1862498 w 11701760"/>
              <a:gd name="connsiteY1409" fmla="*/ 4517679 h 6407421"/>
              <a:gd name="connsiteX1410" fmla="*/ 1862498 w 11701760"/>
              <a:gd name="connsiteY1410" fmla="*/ 4547281 h 6407421"/>
              <a:gd name="connsiteX1411" fmla="*/ 1832898 w 11701760"/>
              <a:gd name="connsiteY1411" fmla="*/ 4547281 h 6407421"/>
              <a:gd name="connsiteX1412" fmla="*/ 1566808 w 11701760"/>
              <a:gd name="connsiteY1412" fmla="*/ 4517679 h 6407421"/>
              <a:gd name="connsiteX1413" fmla="*/ 1596409 w 11701760"/>
              <a:gd name="connsiteY1413" fmla="*/ 4517679 h 6407421"/>
              <a:gd name="connsiteX1414" fmla="*/ 1596409 w 11701760"/>
              <a:gd name="connsiteY1414" fmla="*/ 4547281 h 6407421"/>
              <a:gd name="connsiteX1415" fmla="*/ 1566808 w 11701760"/>
              <a:gd name="connsiteY1415" fmla="*/ 4547281 h 6407421"/>
              <a:gd name="connsiteX1416" fmla="*/ 1300611 w 11701760"/>
              <a:gd name="connsiteY1416" fmla="*/ 4517679 h 6407421"/>
              <a:gd name="connsiteX1417" fmla="*/ 1330213 w 11701760"/>
              <a:gd name="connsiteY1417" fmla="*/ 4517679 h 6407421"/>
              <a:gd name="connsiteX1418" fmla="*/ 1330213 w 11701760"/>
              <a:gd name="connsiteY1418" fmla="*/ 4547281 h 6407421"/>
              <a:gd name="connsiteX1419" fmla="*/ 1300611 w 11701760"/>
              <a:gd name="connsiteY1419" fmla="*/ 4547281 h 6407421"/>
              <a:gd name="connsiteX1420" fmla="*/ 1034520 w 11701760"/>
              <a:gd name="connsiteY1420" fmla="*/ 4517679 h 6407421"/>
              <a:gd name="connsiteX1421" fmla="*/ 1064123 w 11701760"/>
              <a:gd name="connsiteY1421" fmla="*/ 4517679 h 6407421"/>
              <a:gd name="connsiteX1422" fmla="*/ 1064123 w 11701760"/>
              <a:gd name="connsiteY1422" fmla="*/ 4547281 h 6407421"/>
              <a:gd name="connsiteX1423" fmla="*/ 1034520 w 11701760"/>
              <a:gd name="connsiteY1423" fmla="*/ 4547281 h 6407421"/>
              <a:gd name="connsiteX1424" fmla="*/ 768327 w 11701760"/>
              <a:gd name="connsiteY1424" fmla="*/ 4517679 h 6407421"/>
              <a:gd name="connsiteX1425" fmla="*/ 797926 w 11701760"/>
              <a:gd name="connsiteY1425" fmla="*/ 4517679 h 6407421"/>
              <a:gd name="connsiteX1426" fmla="*/ 797926 w 11701760"/>
              <a:gd name="connsiteY1426" fmla="*/ 4547281 h 6407421"/>
              <a:gd name="connsiteX1427" fmla="*/ 768327 w 11701760"/>
              <a:gd name="connsiteY1427" fmla="*/ 4547281 h 6407421"/>
              <a:gd name="connsiteX1428" fmla="*/ 502236 w 11701760"/>
              <a:gd name="connsiteY1428" fmla="*/ 4517679 h 6407421"/>
              <a:gd name="connsiteX1429" fmla="*/ 531839 w 11701760"/>
              <a:gd name="connsiteY1429" fmla="*/ 4517679 h 6407421"/>
              <a:gd name="connsiteX1430" fmla="*/ 531839 w 11701760"/>
              <a:gd name="connsiteY1430" fmla="*/ 4547281 h 6407421"/>
              <a:gd name="connsiteX1431" fmla="*/ 502236 w 11701760"/>
              <a:gd name="connsiteY1431" fmla="*/ 4547281 h 6407421"/>
              <a:gd name="connsiteX1432" fmla="*/ 236037 w 11701760"/>
              <a:gd name="connsiteY1432" fmla="*/ 4517679 h 6407421"/>
              <a:gd name="connsiteX1433" fmla="*/ 265640 w 11701760"/>
              <a:gd name="connsiteY1433" fmla="*/ 4517679 h 6407421"/>
              <a:gd name="connsiteX1434" fmla="*/ 265640 w 11701760"/>
              <a:gd name="connsiteY1434" fmla="*/ 4547281 h 6407421"/>
              <a:gd name="connsiteX1435" fmla="*/ 236037 w 11701760"/>
              <a:gd name="connsiteY1435" fmla="*/ 4547281 h 6407421"/>
              <a:gd name="connsiteX1436" fmla="*/ 2 w 11701760"/>
              <a:gd name="connsiteY1436" fmla="*/ 4517679 h 6407421"/>
              <a:gd name="connsiteX1437" fmla="*/ 29603 w 11701760"/>
              <a:gd name="connsiteY1437" fmla="*/ 4517679 h 6407421"/>
              <a:gd name="connsiteX1438" fmla="*/ 29603 w 11701760"/>
              <a:gd name="connsiteY1438" fmla="*/ 4547281 h 6407421"/>
              <a:gd name="connsiteX1439" fmla="*/ 2 w 11701760"/>
              <a:gd name="connsiteY1439" fmla="*/ 4547281 h 6407421"/>
              <a:gd name="connsiteX1440" fmla="*/ 11672158 w 11701760"/>
              <a:gd name="connsiteY1440" fmla="*/ 4252022 h 6407421"/>
              <a:gd name="connsiteX1441" fmla="*/ 11701760 w 11701760"/>
              <a:gd name="connsiteY1441" fmla="*/ 4252022 h 6407421"/>
              <a:gd name="connsiteX1442" fmla="*/ 11701760 w 11701760"/>
              <a:gd name="connsiteY1442" fmla="*/ 4281516 h 6407421"/>
              <a:gd name="connsiteX1443" fmla="*/ 11672158 w 11701760"/>
              <a:gd name="connsiteY1443" fmla="*/ 4281516 h 6407421"/>
              <a:gd name="connsiteX1444" fmla="*/ 11405961 w 11701760"/>
              <a:gd name="connsiteY1444" fmla="*/ 4252022 h 6407421"/>
              <a:gd name="connsiteX1445" fmla="*/ 11435563 w 11701760"/>
              <a:gd name="connsiteY1445" fmla="*/ 4252022 h 6407421"/>
              <a:gd name="connsiteX1446" fmla="*/ 11435563 w 11701760"/>
              <a:gd name="connsiteY1446" fmla="*/ 4281516 h 6407421"/>
              <a:gd name="connsiteX1447" fmla="*/ 11405961 w 11701760"/>
              <a:gd name="connsiteY1447" fmla="*/ 4281516 h 6407421"/>
              <a:gd name="connsiteX1448" fmla="*/ 11139872 w 11701760"/>
              <a:gd name="connsiteY1448" fmla="*/ 4252022 h 6407421"/>
              <a:gd name="connsiteX1449" fmla="*/ 11169474 w 11701760"/>
              <a:gd name="connsiteY1449" fmla="*/ 4252022 h 6407421"/>
              <a:gd name="connsiteX1450" fmla="*/ 11169474 w 11701760"/>
              <a:gd name="connsiteY1450" fmla="*/ 4281516 h 6407421"/>
              <a:gd name="connsiteX1451" fmla="*/ 11139872 w 11701760"/>
              <a:gd name="connsiteY1451" fmla="*/ 4281516 h 6407421"/>
              <a:gd name="connsiteX1452" fmla="*/ 10873675 w 11701760"/>
              <a:gd name="connsiteY1452" fmla="*/ 4252022 h 6407421"/>
              <a:gd name="connsiteX1453" fmla="*/ 10903277 w 11701760"/>
              <a:gd name="connsiteY1453" fmla="*/ 4252022 h 6407421"/>
              <a:gd name="connsiteX1454" fmla="*/ 10903277 w 11701760"/>
              <a:gd name="connsiteY1454" fmla="*/ 4281516 h 6407421"/>
              <a:gd name="connsiteX1455" fmla="*/ 10873675 w 11701760"/>
              <a:gd name="connsiteY1455" fmla="*/ 4281516 h 6407421"/>
              <a:gd name="connsiteX1456" fmla="*/ 10607478 w 11701760"/>
              <a:gd name="connsiteY1456" fmla="*/ 4252022 h 6407421"/>
              <a:gd name="connsiteX1457" fmla="*/ 10637188 w 11701760"/>
              <a:gd name="connsiteY1457" fmla="*/ 4252022 h 6407421"/>
              <a:gd name="connsiteX1458" fmla="*/ 10637188 w 11701760"/>
              <a:gd name="connsiteY1458" fmla="*/ 4281516 h 6407421"/>
              <a:gd name="connsiteX1459" fmla="*/ 10607478 w 11701760"/>
              <a:gd name="connsiteY1459" fmla="*/ 4281516 h 6407421"/>
              <a:gd name="connsiteX1460" fmla="*/ 10341389 w 11701760"/>
              <a:gd name="connsiteY1460" fmla="*/ 4252022 h 6407421"/>
              <a:gd name="connsiteX1461" fmla="*/ 10370992 w 11701760"/>
              <a:gd name="connsiteY1461" fmla="*/ 4252022 h 6407421"/>
              <a:gd name="connsiteX1462" fmla="*/ 10370992 w 11701760"/>
              <a:gd name="connsiteY1462" fmla="*/ 4281516 h 6407421"/>
              <a:gd name="connsiteX1463" fmla="*/ 10341389 w 11701760"/>
              <a:gd name="connsiteY1463" fmla="*/ 4281516 h 6407421"/>
              <a:gd name="connsiteX1464" fmla="*/ 10075192 w 11701760"/>
              <a:gd name="connsiteY1464" fmla="*/ 4252022 h 6407421"/>
              <a:gd name="connsiteX1465" fmla="*/ 10104794 w 11701760"/>
              <a:gd name="connsiteY1465" fmla="*/ 4252022 h 6407421"/>
              <a:gd name="connsiteX1466" fmla="*/ 10104794 w 11701760"/>
              <a:gd name="connsiteY1466" fmla="*/ 4281516 h 6407421"/>
              <a:gd name="connsiteX1467" fmla="*/ 10075192 w 11701760"/>
              <a:gd name="connsiteY1467" fmla="*/ 4281516 h 6407421"/>
              <a:gd name="connsiteX1468" fmla="*/ 9809103 w 11701760"/>
              <a:gd name="connsiteY1468" fmla="*/ 4252022 h 6407421"/>
              <a:gd name="connsiteX1469" fmla="*/ 9838705 w 11701760"/>
              <a:gd name="connsiteY1469" fmla="*/ 4252022 h 6407421"/>
              <a:gd name="connsiteX1470" fmla="*/ 9838705 w 11701760"/>
              <a:gd name="connsiteY1470" fmla="*/ 4281516 h 6407421"/>
              <a:gd name="connsiteX1471" fmla="*/ 9809103 w 11701760"/>
              <a:gd name="connsiteY1471" fmla="*/ 4281516 h 6407421"/>
              <a:gd name="connsiteX1472" fmla="*/ 9542906 w 11701760"/>
              <a:gd name="connsiteY1472" fmla="*/ 4252022 h 6407421"/>
              <a:gd name="connsiteX1473" fmla="*/ 9572509 w 11701760"/>
              <a:gd name="connsiteY1473" fmla="*/ 4252022 h 6407421"/>
              <a:gd name="connsiteX1474" fmla="*/ 9572509 w 11701760"/>
              <a:gd name="connsiteY1474" fmla="*/ 4281516 h 6407421"/>
              <a:gd name="connsiteX1475" fmla="*/ 9542906 w 11701760"/>
              <a:gd name="connsiteY1475" fmla="*/ 4281516 h 6407421"/>
              <a:gd name="connsiteX1476" fmla="*/ 9276817 w 11701760"/>
              <a:gd name="connsiteY1476" fmla="*/ 4252022 h 6407421"/>
              <a:gd name="connsiteX1477" fmla="*/ 9306420 w 11701760"/>
              <a:gd name="connsiteY1477" fmla="*/ 4252022 h 6407421"/>
              <a:gd name="connsiteX1478" fmla="*/ 9306420 w 11701760"/>
              <a:gd name="connsiteY1478" fmla="*/ 4281516 h 6407421"/>
              <a:gd name="connsiteX1479" fmla="*/ 9276817 w 11701760"/>
              <a:gd name="connsiteY1479" fmla="*/ 4281516 h 6407421"/>
              <a:gd name="connsiteX1480" fmla="*/ 9010620 w 11701760"/>
              <a:gd name="connsiteY1480" fmla="*/ 4252022 h 6407421"/>
              <a:gd name="connsiteX1481" fmla="*/ 9040222 w 11701760"/>
              <a:gd name="connsiteY1481" fmla="*/ 4252022 h 6407421"/>
              <a:gd name="connsiteX1482" fmla="*/ 9040222 w 11701760"/>
              <a:gd name="connsiteY1482" fmla="*/ 4281516 h 6407421"/>
              <a:gd name="connsiteX1483" fmla="*/ 9010620 w 11701760"/>
              <a:gd name="connsiteY1483" fmla="*/ 4281516 h 6407421"/>
              <a:gd name="connsiteX1484" fmla="*/ 8744423 w 11701760"/>
              <a:gd name="connsiteY1484" fmla="*/ 4252022 h 6407421"/>
              <a:gd name="connsiteX1485" fmla="*/ 8774026 w 11701760"/>
              <a:gd name="connsiteY1485" fmla="*/ 4252022 h 6407421"/>
              <a:gd name="connsiteX1486" fmla="*/ 8774026 w 11701760"/>
              <a:gd name="connsiteY1486" fmla="*/ 4281516 h 6407421"/>
              <a:gd name="connsiteX1487" fmla="*/ 8744423 w 11701760"/>
              <a:gd name="connsiteY1487" fmla="*/ 4281516 h 6407421"/>
              <a:gd name="connsiteX1488" fmla="*/ 8478226 w 11701760"/>
              <a:gd name="connsiteY1488" fmla="*/ 4252022 h 6407421"/>
              <a:gd name="connsiteX1489" fmla="*/ 8507828 w 11701760"/>
              <a:gd name="connsiteY1489" fmla="*/ 4252022 h 6407421"/>
              <a:gd name="connsiteX1490" fmla="*/ 8507828 w 11701760"/>
              <a:gd name="connsiteY1490" fmla="*/ 4281516 h 6407421"/>
              <a:gd name="connsiteX1491" fmla="*/ 8478226 w 11701760"/>
              <a:gd name="connsiteY1491" fmla="*/ 4281516 h 6407421"/>
              <a:gd name="connsiteX1492" fmla="*/ 8212137 w 11701760"/>
              <a:gd name="connsiteY1492" fmla="*/ 4252022 h 6407421"/>
              <a:gd name="connsiteX1493" fmla="*/ 8241740 w 11701760"/>
              <a:gd name="connsiteY1493" fmla="*/ 4252022 h 6407421"/>
              <a:gd name="connsiteX1494" fmla="*/ 8241740 w 11701760"/>
              <a:gd name="connsiteY1494" fmla="*/ 4281516 h 6407421"/>
              <a:gd name="connsiteX1495" fmla="*/ 8212137 w 11701760"/>
              <a:gd name="connsiteY1495" fmla="*/ 4281516 h 6407421"/>
              <a:gd name="connsiteX1496" fmla="*/ 7945940 w 11701760"/>
              <a:gd name="connsiteY1496" fmla="*/ 4252022 h 6407421"/>
              <a:gd name="connsiteX1497" fmla="*/ 7975543 w 11701760"/>
              <a:gd name="connsiteY1497" fmla="*/ 4252022 h 6407421"/>
              <a:gd name="connsiteX1498" fmla="*/ 7975543 w 11701760"/>
              <a:gd name="connsiteY1498" fmla="*/ 4281516 h 6407421"/>
              <a:gd name="connsiteX1499" fmla="*/ 7945940 w 11701760"/>
              <a:gd name="connsiteY1499" fmla="*/ 4281516 h 6407421"/>
              <a:gd name="connsiteX1500" fmla="*/ 7679743 w 11701760"/>
              <a:gd name="connsiteY1500" fmla="*/ 4252022 h 6407421"/>
              <a:gd name="connsiteX1501" fmla="*/ 7709346 w 11701760"/>
              <a:gd name="connsiteY1501" fmla="*/ 4252022 h 6407421"/>
              <a:gd name="connsiteX1502" fmla="*/ 7709346 w 11701760"/>
              <a:gd name="connsiteY1502" fmla="*/ 4281516 h 6407421"/>
              <a:gd name="connsiteX1503" fmla="*/ 7679743 w 11701760"/>
              <a:gd name="connsiteY1503" fmla="*/ 4281516 h 6407421"/>
              <a:gd name="connsiteX1504" fmla="*/ 7413653 w 11701760"/>
              <a:gd name="connsiteY1504" fmla="*/ 4252022 h 6407421"/>
              <a:gd name="connsiteX1505" fmla="*/ 7443256 w 11701760"/>
              <a:gd name="connsiteY1505" fmla="*/ 4252022 h 6407421"/>
              <a:gd name="connsiteX1506" fmla="*/ 7443256 w 11701760"/>
              <a:gd name="connsiteY1506" fmla="*/ 4281516 h 6407421"/>
              <a:gd name="connsiteX1507" fmla="*/ 7413653 w 11701760"/>
              <a:gd name="connsiteY1507" fmla="*/ 4281516 h 6407421"/>
              <a:gd name="connsiteX1508" fmla="*/ 7147456 w 11701760"/>
              <a:gd name="connsiteY1508" fmla="*/ 4252022 h 6407421"/>
              <a:gd name="connsiteX1509" fmla="*/ 7177058 w 11701760"/>
              <a:gd name="connsiteY1509" fmla="*/ 4252022 h 6407421"/>
              <a:gd name="connsiteX1510" fmla="*/ 7177058 w 11701760"/>
              <a:gd name="connsiteY1510" fmla="*/ 4281516 h 6407421"/>
              <a:gd name="connsiteX1511" fmla="*/ 7147456 w 11701760"/>
              <a:gd name="connsiteY1511" fmla="*/ 4281516 h 6407421"/>
              <a:gd name="connsiteX1512" fmla="*/ 6881367 w 11701760"/>
              <a:gd name="connsiteY1512" fmla="*/ 4252022 h 6407421"/>
              <a:gd name="connsiteX1513" fmla="*/ 6910970 w 11701760"/>
              <a:gd name="connsiteY1513" fmla="*/ 4252022 h 6407421"/>
              <a:gd name="connsiteX1514" fmla="*/ 6910970 w 11701760"/>
              <a:gd name="connsiteY1514" fmla="*/ 4281516 h 6407421"/>
              <a:gd name="connsiteX1515" fmla="*/ 6881367 w 11701760"/>
              <a:gd name="connsiteY1515" fmla="*/ 4281516 h 6407421"/>
              <a:gd name="connsiteX1516" fmla="*/ 6615170 w 11701760"/>
              <a:gd name="connsiteY1516" fmla="*/ 4252022 h 6407421"/>
              <a:gd name="connsiteX1517" fmla="*/ 6644773 w 11701760"/>
              <a:gd name="connsiteY1517" fmla="*/ 4252022 h 6407421"/>
              <a:gd name="connsiteX1518" fmla="*/ 6644773 w 11701760"/>
              <a:gd name="connsiteY1518" fmla="*/ 4281516 h 6407421"/>
              <a:gd name="connsiteX1519" fmla="*/ 6615170 w 11701760"/>
              <a:gd name="connsiteY1519" fmla="*/ 4281516 h 6407421"/>
              <a:gd name="connsiteX1520" fmla="*/ 6349081 w 11701760"/>
              <a:gd name="connsiteY1520" fmla="*/ 4252022 h 6407421"/>
              <a:gd name="connsiteX1521" fmla="*/ 6378683 w 11701760"/>
              <a:gd name="connsiteY1521" fmla="*/ 4252022 h 6407421"/>
              <a:gd name="connsiteX1522" fmla="*/ 6378683 w 11701760"/>
              <a:gd name="connsiteY1522" fmla="*/ 4281516 h 6407421"/>
              <a:gd name="connsiteX1523" fmla="*/ 6349081 w 11701760"/>
              <a:gd name="connsiteY1523" fmla="*/ 4281516 h 6407421"/>
              <a:gd name="connsiteX1524" fmla="*/ 6082884 w 11701760"/>
              <a:gd name="connsiteY1524" fmla="*/ 4252022 h 6407421"/>
              <a:gd name="connsiteX1525" fmla="*/ 6112486 w 11701760"/>
              <a:gd name="connsiteY1525" fmla="*/ 4252022 h 6407421"/>
              <a:gd name="connsiteX1526" fmla="*/ 6112486 w 11701760"/>
              <a:gd name="connsiteY1526" fmla="*/ 4281516 h 6407421"/>
              <a:gd name="connsiteX1527" fmla="*/ 6082884 w 11701760"/>
              <a:gd name="connsiteY1527" fmla="*/ 4281516 h 6407421"/>
              <a:gd name="connsiteX1528" fmla="*/ 5825310 w 11701760"/>
              <a:gd name="connsiteY1528" fmla="*/ 4252022 h 6407421"/>
              <a:gd name="connsiteX1529" fmla="*/ 5854913 w 11701760"/>
              <a:gd name="connsiteY1529" fmla="*/ 4252022 h 6407421"/>
              <a:gd name="connsiteX1530" fmla="*/ 5854913 w 11701760"/>
              <a:gd name="connsiteY1530" fmla="*/ 4281516 h 6407421"/>
              <a:gd name="connsiteX1531" fmla="*/ 5825310 w 11701760"/>
              <a:gd name="connsiteY1531" fmla="*/ 4281516 h 6407421"/>
              <a:gd name="connsiteX1532" fmla="*/ 5559113 w 11701760"/>
              <a:gd name="connsiteY1532" fmla="*/ 4252022 h 6407421"/>
              <a:gd name="connsiteX1533" fmla="*/ 5588715 w 11701760"/>
              <a:gd name="connsiteY1533" fmla="*/ 4252022 h 6407421"/>
              <a:gd name="connsiteX1534" fmla="*/ 5588715 w 11701760"/>
              <a:gd name="connsiteY1534" fmla="*/ 4281516 h 6407421"/>
              <a:gd name="connsiteX1535" fmla="*/ 5559113 w 11701760"/>
              <a:gd name="connsiteY1535" fmla="*/ 4281516 h 6407421"/>
              <a:gd name="connsiteX1536" fmla="*/ 5293024 w 11701760"/>
              <a:gd name="connsiteY1536" fmla="*/ 4252022 h 6407421"/>
              <a:gd name="connsiteX1537" fmla="*/ 5322626 w 11701760"/>
              <a:gd name="connsiteY1537" fmla="*/ 4252022 h 6407421"/>
              <a:gd name="connsiteX1538" fmla="*/ 5322626 w 11701760"/>
              <a:gd name="connsiteY1538" fmla="*/ 4281516 h 6407421"/>
              <a:gd name="connsiteX1539" fmla="*/ 5293024 w 11701760"/>
              <a:gd name="connsiteY1539" fmla="*/ 4281516 h 6407421"/>
              <a:gd name="connsiteX1540" fmla="*/ 5026827 w 11701760"/>
              <a:gd name="connsiteY1540" fmla="*/ 4252022 h 6407421"/>
              <a:gd name="connsiteX1541" fmla="*/ 5056429 w 11701760"/>
              <a:gd name="connsiteY1541" fmla="*/ 4252022 h 6407421"/>
              <a:gd name="connsiteX1542" fmla="*/ 5056429 w 11701760"/>
              <a:gd name="connsiteY1542" fmla="*/ 4281516 h 6407421"/>
              <a:gd name="connsiteX1543" fmla="*/ 5026827 w 11701760"/>
              <a:gd name="connsiteY1543" fmla="*/ 4281516 h 6407421"/>
              <a:gd name="connsiteX1544" fmla="*/ 4760630 w 11701760"/>
              <a:gd name="connsiteY1544" fmla="*/ 4252022 h 6407421"/>
              <a:gd name="connsiteX1545" fmla="*/ 4790340 w 11701760"/>
              <a:gd name="connsiteY1545" fmla="*/ 4252022 h 6407421"/>
              <a:gd name="connsiteX1546" fmla="*/ 4790340 w 11701760"/>
              <a:gd name="connsiteY1546" fmla="*/ 4281516 h 6407421"/>
              <a:gd name="connsiteX1547" fmla="*/ 4760630 w 11701760"/>
              <a:gd name="connsiteY1547" fmla="*/ 4281516 h 6407421"/>
              <a:gd name="connsiteX1548" fmla="*/ 4494541 w 11701760"/>
              <a:gd name="connsiteY1548" fmla="*/ 4252022 h 6407421"/>
              <a:gd name="connsiteX1549" fmla="*/ 4524144 w 11701760"/>
              <a:gd name="connsiteY1549" fmla="*/ 4252022 h 6407421"/>
              <a:gd name="connsiteX1550" fmla="*/ 4524144 w 11701760"/>
              <a:gd name="connsiteY1550" fmla="*/ 4281516 h 6407421"/>
              <a:gd name="connsiteX1551" fmla="*/ 4494541 w 11701760"/>
              <a:gd name="connsiteY1551" fmla="*/ 4281516 h 6407421"/>
              <a:gd name="connsiteX1552" fmla="*/ 4228344 w 11701760"/>
              <a:gd name="connsiteY1552" fmla="*/ 4252022 h 6407421"/>
              <a:gd name="connsiteX1553" fmla="*/ 4257946 w 11701760"/>
              <a:gd name="connsiteY1553" fmla="*/ 4252022 h 6407421"/>
              <a:gd name="connsiteX1554" fmla="*/ 4257946 w 11701760"/>
              <a:gd name="connsiteY1554" fmla="*/ 4281516 h 6407421"/>
              <a:gd name="connsiteX1555" fmla="*/ 4228344 w 11701760"/>
              <a:gd name="connsiteY1555" fmla="*/ 4281516 h 6407421"/>
              <a:gd name="connsiteX1556" fmla="*/ 3962255 w 11701760"/>
              <a:gd name="connsiteY1556" fmla="*/ 4252022 h 6407421"/>
              <a:gd name="connsiteX1557" fmla="*/ 3991857 w 11701760"/>
              <a:gd name="connsiteY1557" fmla="*/ 4252022 h 6407421"/>
              <a:gd name="connsiteX1558" fmla="*/ 3991857 w 11701760"/>
              <a:gd name="connsiteY1558" fmla="*/ 4281516 h 6407421"/>
              <a:gd name="connsiteX1559" fmla="*/ 3962255 w 11701760"/>
              <a:gd name="connsiteY1559" fmla="*/ 4281516 h 6407421"/>
              <a:gd name="connsiteX1560" fmla="*/ 3696058 w 11701760"/>
              <a:gd name="connsiteY1560" fmla="*/ 4252022 h 6407421"/>
              <a:gd name="connsiteX1561" fmla="*/ 3725661 w 11701760"/>
              <a:gd name="connsiteY1561" fmla="*/ 4252022 h 6407421"/>
              <a:gd name="connsiteX1562" fmla="*/ 3725661 w 11701760"/>
              <a:gd name="connsiteY1562" fmla="*/ 4281516 h 6407421"/>
              <a:gd name="connsiteX1563" fmla="*/ 3696058 w 11701760"/>
              <a:gd name="connsiteY1563" fmla="*/ 4281516 h 6407421"/>
              <a:gd name="connsiteX1564" fmla="*/ 3429969 w 11701760"/>
              <a:gd name="connsiteY1564" fmla="*/ 4252022 h 6407421"/>
              <a:gd name="connsiteX1565" fmla="*/ 3459572 w 11701760"/>
              <a:gd name="connsiteY1565" fmla="*/ 4252022 h 6407421"/>
              <a:gd name="connsiteX1566" fmla="*/ 3459572 w 11701760"/>
              <a:gd name="connsiteY1566" fmla="*/ 4281516 h 6407421"/>
              <a:gd name="connsiteX1567" fmla="*/ 3429969 w 11701760"/>
              <a:gd name="connsiteY1567" fmla="*/ 4281516 h 6407421"/>
              <a:gd name="connsiteX1568" fmla="*/ 3163772 w 11701760"/>
              <a:gd name="connsiteY1568" fmla="*/ 4252022 h 6407421"/>
              <a:gd name="connsiteX1569" fmla="*/ 3193374 w 11701760"/>
              <a:gd name="connsiteY1569" fmla="*/ 4252022 h 6407421"/>
              <a:gd name="connsiteX1570" fmla="*/ 3193374 w 11701760"/>
              <a:gd name="connsiteY1570" fmla="*/ 4281516 h 6407421"/>
              <a:gd name="connsiteX1571" fmla="*/ 3163772 w 11701760"/>
              <a:gd name="connsiteY1571" fmla="*/ 4281516 h 6407421"/>
              <a:gd name="connsiteX1572" fmla="*/ 2897575 w 11701760"/>
              <a:gd name="connsiteY1572" fmla="*/ 4252022 h 6407421"/>
              <a:gd name="connsiteX1573" fmla="*/ 2927178 w 11701760"/>
              <a:gd name="connsiteY1573" fmla="*/ 4252022 h 6407421"/>
              <a:gd name="connsiteX1574" fmla="*/ 2927178 w 11701760"/>
              <a:gd name="connsiteY1574" fmla="*/ 4281516 h 6407421"/>
              <a:gd name="connsiteX1575" fmla="*/ 2897575 w 11701760"/>
              <a:gd name="connsiteY1575" fmla="*/ 4281516 h 6407421"/>
              <a:gd name="connsiteX1576" fmla="*/ 2631378 w 11701760"/>
              <a:gd name="connsiteY1576" fmla="*/ 4252022 h 6407421"/>
              <a:gd name="connsiteX1577" fmla="*/ 2660980 w 11701760"/>
              <a:gd name="connsiteY1577" fmla="*/ 4252022 h 6407421"/>
              <a:gd name="connsiteX1578" fmla="*/ 2660980 w 11701760"/>
              <a:gd name="connsiteY1578" fmla="*/ 4281516 h 6407421"/>
              <a:gd name="connsiteX1579" fmla="*/ 2631378 w 11701760"/>
              <a:gd name="connsiteY1579" fmla="*/ 4281516 h 6407421"/>
              <a:gd name="connsiteX1580" fmla="*/ 2365289 w 11701760"/>
              <a:gd name="connsiteY1580" fmla="*/ 4252022 h 6407421"/>
              <a:gd name="connsiteX1581" fmla="*/ 2394892 w 11701760"/>
              <a:gd name="connsiteY1581" fmla="*/ 4252022 h 6407421"/>
              <a:gd name="connsiteX1582" fmla="*/ 2394892 w 11701760"/>
              <a:gd name="connsiteY1582" fmla="*/ 4281516 h 6407421"/>
              <a:gd name="connsiteX1583" fmla="*/ 2365289 w 11701760"/>
              <a:gd name="connsiteY1583" fmla="*/ 4281516 h 6407421"/>
              <a:gd name="connsiteX1584" fmla="*/ 2099092 w 11701760"/>
              <a:gd name="connsiteY1584" fmla="*/ 4252022 h 6407421"/>
              <a:gd name="connsiteX1585" fmla="*/ 2128695 w 11701760"/>
              <a:gd name="connsiteY1585" fmla="*/ 4252022 h 6407421"/>
              <a:gd name="connsiteX1586" fmla="*/ 2128695 w 11701760"/>
              <a:gd name="connsiteY1586" fmla="*/ 4281516 h 6407421"/>
              <a:gd name="connsiteX1587" fmla="*/ 2099092 w 11701760"/>
              <a:gd name="connsiteY1587" fmla="*/ 4281516 h 6407421"/>
              <a:gd name="connsiteX1588" fmla="*/ 1832898 w 11701760"/>
              <a:gd name="connsiteY1588" fmla="*/ 4252022 h 6407421"/>
              <a:gd name="connsiteX1589" fmla="*/ 1862498 w 11701760"/>
              <a:gd name="connsiteY1589" fmla="*/ 4252022 h 6407421"/>
              <a:gd name="connsiteX1590" fmla="*/ 1862498 w 11701760"/>
              <a:gd name="connsiteY1590" fmla="*/ 4281516 h 6407421"/>
              <a:gd name="connsiteX1591" fmla="*/ 1832898 w 11701760"/>
              <a:gd name="connsiteY1591" fmla="*/ 4281516 h 6407421"/>
              <a:gd name="connsiteX1592" fmla="*/ 1566808 w 11701760"/>
              <a:gd name="connsiteY1592" fmla="*/ 4252022 h 6407421"/>
              <a:gd name="connsiteX1593" fmla="*/ 1596409 w 11701760"/>
              <a:gd name="connsiteY1593" fmla="*/ 4252022 h 6407421"/>
              <a:gd name="connsiteX1594" fmla="*/ 1596409 w 11701760"/>
              <a:gd name="connsiteY1594" fmla="*/ 4281516 h 6407421"/>
              <a:gd name="connsiteX1595" fmla="*/ 1566808 w 11701760"/>
              <a:gd name="connsiteY1595" fmla="*/ 4281516 h 6407421"/>
              <a:gd name="connsiteX1596" fmla="*/ 1300611 w 11701760"/>
              <a:gd name="connsiteY1596" fmla="*/ 4252022 h 6407421"/>
              <a:gd name="connsiteX1597" fmla="*/ 1330213 w 11701760"/>
              <a:gd name="connsiteY1597" fmla="*/ 4252022 h 6407421"/>
              <a:gd name="connsiteX1598" fmla="*/ 1330213 w 11701760"/>
              <a:gd name="connsiteY1598" fmla="*/ 4281516 h 6407421"/>
              <a:gd name="connsiteX1599" fmla="*/ 1300611 w 11701760"/>
              <a:gd name="connsiteY1599" fmla="*/ 4281516 h 6407421"/>
              <a:gd name="connsiteX1600" fmla="*/ 1034520 w 11701760"/>
              <a:gd name="connsiteY1600" fmla="*/ 4252022 h 6407421"/>
              <a:gd name="connsiteX1601" fmla="*/ 1064123 w 11701760"/>
              <a:gd name="connsiteY1601" fmla="*/ 4252022 h 6407421"/>
              <a:gd name="connsiteX1602" fmla="*/ 1064123 w 11701760"/>
              <a:gd name="connsiteY1602" fmla="*/ 4281516 h 6407421"/>
              <a:gd name="connsiteX1603" fmla="*/ 1034520 w 11701760"/>
              <a:gd name="connsiteY1603" fmla="*/ 4281516 h 6407421"/>
              <a:gd name="connsiteX1604" fmla="*/ 768327 w 11701760"/>
              <a:gd name="connsiteY1604" fmla="*/ 4252022 h 6407421"/>
              <a:gd name="connsiteX1605" fmla="*/ 797926 w 11701760"/>
              <a:gd name="connsiteY1605" fmla="*/ 4252022 h 6407421"/>
              <a:gd name="connsiteX1606" fmla="*/ 797926 w 11701760"/>
              <a:gd name="connsiteY1606" fmla="*/ 4281516 h 6407421"/>
              <a:gd name="connsiteX1607" fmla="*/ 768327 w 11701760"/>
              <a:gd name="connsiteY1607" fmla="*/ 4281516 h 6407421"/>
              <a:gd name="connsiteX1608" fmla="*/ 502236 w 11701760"/>
              <a:gd name="connsiteY1608" fmla="*/ 4252022 h 6407421"/>
              <a:gd name="connsiteX1609" fmla="*/ 531839 w 11701760"/>
              <a:gd name="connsiteY1609" fmla="*/ 4252022 h 6407421"/>
              <a:gd name="connsiteX1610" fmla="*/ 531839 w 11701760"/>
              <a:gd name="connsiteY1610" fmla="*/ 4281516 h 6407421"/>
              <a:gd name="connsiteX1611" fmla="*/ 502236 w 11701760"/>
              <a:gd name="connsiteY1611" fmla="*/ 4281516 h 6407421"/>
              <a:gd name="connsiteX1612" fmla="*/ 236037 w 11701760"/>
              <a:gd name="connsiteY1612" fmla="*/ 4252022 h 6407421"/>
              <a:gd name="connsiteX1613" fmla="*/ 265640 w 11701760"/>
              <a:gd name="connsiteY1613" fmla="*/ 4252022 h 6407421"/>
              <a:gd name="connsiteX1614" fmla="*/ 265640 w 11701760"/>
              <a:gd name="connsiteY1614" fmla="*/ 4281516 h 6407421"/>
              <a:gd name="connsiteX1615" fmla="*/ 236037 w 11701760"/>
              <a:gd name="connsiteY1615" fmla="*/ 4281516 h 6407421"/>
              <a:gd name="connsiteX1616" fmla="*/ 1 w 11701760"/>
              <a:gd name="connsiteY1616" fmla="*/ 4252022 h 6407421"/>
              <a:gd name="connsiteX1617" fmla="*/ 29603 w 11701760"/>
              <a:gd name="connsiteY1617" fmla="*/ 4252022 h 6407421"/>
              <a:gd name="connsiteX1618" fmla="*/ 29603 w 11701760"/>
              <a:gd name="connsiteY1618" fmla="*/ 4281516 h 6407421"/>
              <a:gd name="connsiteX1619" fmla="*/ 1 w 11701760"/>
              <a:gd name="connsiteY1619" fmla="*/ 4281516 h 6407421"/>
              <a:gd name="connsiteX1620" fmla="*/ 11672158 w 11701760"/>
              <a:gd name="connsiteY1620" fmla="*/ 3986257 h 6407421"/>
              <a:gd name="connsiteX1621" fmla="*/ 11701760 w 11701760"/>
              <a:gd name="connsiteY1621" fmla="*/ 3986257 h 6407421"/>
              <a:gd name="connsiteX1622" fmla="*/ 11701760 w 11701760"/>
              <a:gd name="connsiteY1622" fmla="*/ 4015859 h 6407421"/>
              <a:gd name="connsiteX1623" fmla="*/ 11672158 w 11701760"/>
              <a:gd name="connsiteY1623" fmla="*/ 4015859 h 6407421"/>
              <a:gd name="connsiteX1624" fmla="*/ 11405961 w 11701760"/>
              <a:gd name="connsiteY1624" fmla="*/ 3986257 h 6407421"/>
              <a:gd name="connsiteX1625" fmla="*/ 11435563 w 11701760"/>
              <a:gd name="connsiteY1625" fmla="*/ 3986257 h 6407421"/>
              <a:gd name="connsiteX1626" fmla="*/ 11435563 w 11701760"/>
              <a:gd name="connsiteY1626" fmla="*/ 4015859 h 6407421"/>
              <a:gd name="connsiteX1627" fmla="*/ 11405961 w 11701760"/>
              <a:gd name="connsiteY1627" fmla="*/ 4015859 h 6407421"/>
              <a:gd name="connsiteX1628" fmla="*/ 11139872 w 11701760"/>
              <a:gd name="connsiteY1628" fmla="*/ 3986257 h 6407421"/>
              <a:gd name="connsiteX1629" fmla="*/ 11169474 w 11701760"/>
              <a:gd name="connsiteY1629" fmla="*/ 3986257 h 6407421"/>
              <a:gd name="connsiteX1630" fmla="*/ 11169474 w 11701760"/>
              <a:gd name="connsiteY1630" fmla="*/ 4015859 h 6407421"/>
              <a:gd name="connsiteX1631" fmla="*/ 11139872 w 11701760"/>
              <a:gd name="connsiteY1631" fmla="*/ 4015859 h 6407421"/>
              <a:gd name="connsiteX1632" fmla="*/ 10873675 w 11701760"/>
              <a:gd name="connsiteY1632" fmla="*/ 3986257 h 6407421"/>
              <a:gd name="connsiteX1633" fmla="*/ 10903277 w 11701760"/>
              <a:gd name="connsiteY1633" fmla="*/ 3986257 h 6407421"/>
              <a:gd name="connsiteX1634" fmla="*/ 10903277 w 11701760"/>
              <a:gd name="connsiteY1634" fmla="*/ 4015859 h 6407421"/>
              <a:gd name="connsiteX1635" fmla="*/ 10873675 w 11701760"/>
              <a:gd name="connsiteY1635" fmla="*/ 4015859 h 6407421"/>
              <a:gd name="connsiteX1636" fmla="*/ 10607478 w 11701760"/>
              <a:gd name="connsiteY1636" fmla="*/ 3986257 h 6407421"/>
              <a:gd name="connsiteX1637" fmla="*/ 10637188 w 11701760"/>
              <a:gd name="connsiteY1637" fmla="*/ 3986257 h 6407421"/>
              <a:gd name="connsiteX1638" fmla="*/ 10637188 w 11701760"/>
              <a:gd name="connsiteY1638" fmla="*/ 4015859 h 6407421"/>
              <a:gd name="connsiteX1639" fmla="*/ 10607478 w 11701760"/>
              <a:gd name="connsiteY1639" fmla="*/ 4015859 h 6407421"/>
              <a:gd name="connsiteX1640" fmla="*/ 10341389 w 11701760"/>
              <a:gd name="connsiteY1640" fmla="*/ 3986257 h 6407421"/>
              <a:gd name="connsiteX1641" fmla="*/ 10370992 w 11701760"/>
              <a:gd name="connsiteY1641" fmla="*/ 3986257 h 6407421"/>
              <a:gd name="connsiteX1642" fmla="*/ 10370992 w 11701760"/>
              <a:gd name="connsiteY1642" fmla="*/ 4015859 h 6407421"/>
              <a:gd name="connsiteX1643" fmla="*/ 10341389 w 11701760"/>
              <a:gd name="connsiteY1643" fmla="*/ 4015859 h 6407421"/>
              <a:gd name="connsiteX1644" fmla="*/ 10075192 w 11701760"/>
              <a:gd name="connsiteY1644" fmla="*/ 3986257 h 6407421"/>
              <a:gd name="connsiteX1645" fmla="*/ 10104794 w 11701760"/>
              <a:gd name="connsiteY1645" fmla="*/ 3986257 h 6407421"/>
              <a:gd name="connsiteX1646" fmla="*/ 10104794 w 11701760"/>
              <a:gd name="connsiteY1646" fmla="*/ 4015859 h 6407421"/>
              <a:gd name="connsiteX1647" fmla="*/ 10075192 w 11701760"/>
              <a:gd name="connsiteY1647" fmla="*/ 4015859 h 6407421"/>
              <a:gd name="connsiteX1648" fmla="*/ 9809103 w 11701760"/>
              <a:gd name="connsiteY1648" fmla="*/ 3986257 h 6407421"/>
              <a:gd name="connsiteX1649" fmla="*/ 9838705 w 11701760"/>
              <a:gd name="connsiteY1649" fmla="*/ 3986257 h 6407421"/>
              <a:gd name="connsiteX1650" fmla="*/ 9838705 w 11701760"/>
              <a:gd name="connsiteY1650" fmla="*/ 4015859 h 6407421"/>
              <a:gd name="connsiteX1651" fmla="*/ 9809103 w 11701760"/>
              <a:gd name="connsiteY1651" fmla="*/ 4015859 h 6407421"/>
              <a:gd name="connsiteX1652" fmla="*/ 9542906 w 11701760"/>
              <a:gd name="connsiteY1652" fmla="*/ 3986257 h 6407421"/>
              <a:gd name="connsiteX1653" fmla="*/ 9572509 w 11701760"/>
              <a:gd name="connsiteY1653" fmla="*/ 3986257 h 6407421"/>
              <a:gd name="connsiteX1654" fmla="*/ 9572509 w 11701760"/>
              <a:gd name="connsiteY1654" fmla="*/ 4015859 h 6407421"/>
              <a:gd name="connsiteX1655" fmla="*/ 9542906 w 11701760"/>
              <a:gd name="connsiteY1655" fmla="*/ 4015859 h 6407421"/>
              <a:gd name="connsiteX1656" fmla="*/ 9276817 w 11701760"/>
              <a:gd name="connsiteY1656" fmla="*/ 3986257 h 6407421"/>
              <a:gd name="connsiteX1657" fmla="*/ 9306420 w 11701760"/>
              <a:gd name="connsiteY1657" fmla="*/ 3986257 h 6407421"/>
              <a:gd name="connsiteX1658" fmla="*/ 9306420 w 11701760"/>
              <a:gd name="connsiteY1658" fmla="*/ 4015859 h 6407421"/>
              <a:gd name="connsiteX1659" fmla="*/ 9276817 w 11701760"/>
              <a:gd name="connsiteY1659" fmla="*/ 4015859 h 6407421"/>
              <a:gd name="connsiteX1660" fmla="*/ 9010620 w 11701760"/>
              <a:gd name="connsiteY1660" fmla="*/ 3986257 h 6407421"/>
              <a:gd name="connsiteX1661" fmla="*/ 9040222 w 11701760"/>
              <a:gd name="connsiteY1661" fmla="*/ 3986257 h 6407421"/>
              <a:gd name="connsiteX1662" fmla="*/ 9040222 w 11701760"/>
              <a:gd name="connsiteY1662" fmla="*/ 4015859 h 6407421"/>
              <a:gd name="connsiteX1663" fmla="*/ 9010620 w 11701760"/>
              <a:gd name="connsiteY1663" fmla="*/ 4015859 h 6407421"/>
              <a:gd name="connsiteX1664" fmla="*/ 8744423 w 11701760"/>
              <a:gd name="connsiteY1664" fmla="*/ 3986257 h 6407421"/>
              <a:gd name="connsiteX1665" fmla="*/ 8774026 w 11701760"/>
              <a:gd name="connsiteY1665" fmla="*/ 3986257 h 6407421"/>
              <a:gd name="connsiteX1666" fmla="*/ 8774026 w 11701760"/>
              <a:gd name="connsiteY1666" fmla="*/ 4015859 h 6407421"/>
              <a:gd name="connsiteX1667" fmla="*/ 8744423 w 11701760"/>
              <a:gd name="connsiteY1667" fmla="*/ 4015859 h 6407421"/>
              <a:gd name="connsiteX1668" fmla="*/ 8478226 w 11701760"/>
              <a:gd name="connsiteY1668" fmla="*/ 3986257 h 6407421"/>
              <a:gd name="connsiteX1669" fmla="*/ 8507828 w 11701760"/>
              <a:gd name="connsiteY1669" fmla="*/ 3986257 h 6407421"/>
              <a:gd name="connsiteX1670" fmla="*/ 8507828 w 11701760"/>
              <a:gd name="connsiteY1670" fmla="*/ 4015859 h 6407421"/>
              <a:gd name="connsiteX1671" fmla="*/ 8478226 w 11701760"/>
              <a:gd name="connsiteY1671" fmla="*/ 4015859 h 6407421"/>
              <a:gd name="connsiteX1672" fmla="*/ 8212137 w 11701760"/>
              <a:gd name="connsiteY1672" fmla="*/ 3986257 h 6407421"/>
              <a:gd name="connsiteX1673" fmla="*/ 8241740 w 11701760"/>
              <a:gd name="connsiteY1673" fmla="*/ 3986257 h 6407421"/>
              <a:gd name="connsiteX1674" fmla="*/ 8241740 w 11701760"/>
              <a:gd name="connsiteY1674" fmla="*/ 4015859 h 6407421"/>
              <a:gd name="connsiteX1675" fmla="*/ 8212137 w 11701760"/>
              <a:gd name="connsiteY1675" fmla="*/ 4015859 h 6407421"/>
              <a:gd name="connsiteX1676" fmla="*/ 7945940 w 11701760"/>
              <a:gd name="connsiteY1676" fmla="*/ 3986257 h 6407421"/>
              <a:gd name="connsiteX1677" fmla="*/ 7975543 w 11701760"/>
              <a:gd name="connsiteY1677" fmla="*/ 3986257 h 6407421"/>
              <a:gd name="connsiteX1678" fmla="*/ 7975543 w 11701760"/>
              <a:gd name="connsiteY1678" fmla="*/ 4015859 h 6407421"/>
              <a:gd name="connsiteX1679" fmla="*/ 7945940 w 11701760"/>
              <a:gd name="connsiteY1679" fmla="*/ 4015859 h 6407421"/>
              <a:gd name="connsiteX1680" fmla="*/ 7679743 w 11701760"/>
              <a:gd name="connsiteY1680" fmla="*/ 3986257 h 6407421"/>
              <a:gd name="connsiteX1681" fmla="*/ 7709346 w 11701760"/>
              <a:gd name="connsiteY1681" fmla="*/ 3986257 h 6407421"/>
              <a:gd name="connsiteX1682" fmla="*/ 7709346 w 11701760"/>
              <a:gd name="connsiteY1682" fmla="*/ 4015859 h 6407421"/>
              <a:gd name="connsiteX1683" fmla="*/ 7679743 w 11701760"/>
              <a:gd name="connsiteY1683" fmla="*/ 4015859 h 6407421"/>
              <a:gd name="connsiteX1684" fmla="*/ 7413653 w 11701760"/>
              <a:gd name="connsiteY1684" fmla="*/ 3986257 h 6407421"/>
              <a:gd name="connsiteX1685" fmla="*/ 7443256 w 11701760"/>
              <a:gd name="connsiteY1685" fmla="*/ 3986257 h 6407421"/>
              <a:gd name="connsiteX1686" fmla="*/ 7443256 w 11701760"/>
              <a:gd name="connsiteY1686" fmla="*/ 4015859 h 6407421"/>
              <a:gd name="connsiteX1687" fmla="*/ 7413653 w 11701760"/>
              <a:gd name="connsiteY1687" fmla="*/ 4015859 h 6407421"/>
              <a:gd name="connsiteX1688" fmla="*/ 7147456 w 11701760"/>
              <a:gd name="connsiteY1688" fmla="*/ 3986257 h 6407421"/>
              <a:gd name="connsiteX1689" fmla="*/ 7177058 w 11701760"/>
              <a:gd name="connsiteY1689" fmla="*/ 3986257 h 6407421"/>
              <a:gd name="connsiteX1690" fmla="*/ 7177058 w 11701760"/>
              <a:gd name="connsiteY1690" fmla="*/ 4015859 h 6407421"/>
              <a:gd name="connsiteX1691" fmla="*/ 7147456 w 11701760"/>
              <a:gd name="connsiteY1691" fmla="*/ 4015859 h 6407421"/>
              <a:gd name="connsiteX1692" fmla="*/ 6881367 w 11701760"/>
              <a:gd name="connsiteY1692" fmla="*/ 3986257 h 6407421"/>
              <a:gd name="connsiteX1693" fmla="*/ 6910970 w 11701760"/>
              <a:gd name="connsiteY1693" fmla="*/ 3986257 h 6407421"/>
              <a:gd name="connsiteX1694" fmla="*/ 6910970 w 11701760"/>
              <a:gd name="connsiteY1694" fmla="*/ 4015859 h 6407421"/>
              <a:gd name="connsiteX1695" fmla="*/ 6881367 w 11701760"/>
              <a:gd name="connsiteY1695" fmla="*/ 4015859 h 6407421"/>
              <a:gd name="connsiteX1696" fmla="*/ 6615170 w 11701760"/>
              <a:gd name="connsiteY1696" fmla="*/ 3986257 h 6407421"/>
              <a:gd name="connsiteX1697" fmla="*/ 6644773 w 11701760"/>
              <a:gd name="connsiteY1697" fmla="*/ 3986257 h 6407421"/>
              <a:gd name="connsiteX1698" fmla="*/ 6644773 w 11701760"/>
              <a:gd name="connsiteY1698" fmla="*/ 4015859 h 6407421"/>
              <a:gd name="connsiteX1699" fmla="*/ 6615170 w 11701760"/>
              <a:gd name="connsiteY1699" fmla="*/ 4015859 h 6407421"/>
              <a:gd name="connsiteX1700" fmla="*/ 6349081 w 11701760"/>
              <a:gd name="connsiteY1700" fmla="*/ 3986257 h 6407421"/>
              <a:gd name="connsiteX1701" fmla="*/ 6378683 w 11701760"/>
              <a:gd name="connsiteY1701" fmla="*/ 3986257 h 6407421"/>
              <a:gd name="connsiteX1702" fmla="*/ 6378683 w 11701760"/>
              <a:gd name="connsiteY1702" fmla="*/ 4015859 h 6407421"/>
              <a:gd name="connsiteX1703" fmla="*/ 6349081 w 11701760"/>
              <a:gd name="connsiteY1703" fmla="*/ 4015859 h 6407421"/>
              <a:gd name="connsiteX1704" fmla="*/ 6082884 w 11701760"/>
              <a:gd name="connsiteY1704" fmla="*/ 3986257 h 6407421"/>
              <a:gd name="connsiteX1705" fmla="*/ 6112486 w 11701760"/>
              <a:gd name="connsiteY1705" fmla="*/ 3986257 h 6407421"/>
              <a:gd name="connsiteX1706" fmla="*/ 6112486 w 11701760"/>
              <a:gd name="connsiteY1706" fmla="*/ 4015859 h 6407421"/>
              <a:gd name="connsiteX1707" fmla="*/ 6082884 w 11701760"/>
              <a:gd name="connsiteY1707" fmla="*/ 4015859 h 6407421"/>
              <a:gd name="connsiteX1708" fmla="*/ 5825310 w 11701760"/>
              <a:gd name="connsiteY1708" fmla="*/ 3986257 h 6407421"/>
              <a:gd name="connsiteX1709" fmla="*/ 5854913 w 11701760"/>
              <a:gd name="connsiteY1709" fmla="*/ 3986257 h 6407421"/>
              <a:gd name="connsiteX1710" fmla="*/ 5854913 w 11701760"/>
              <a:gd name="connsiteY1710" fmla="*/ 4015859 h 6407421"/>
              <a:gd name="connsiteX1711" fmla="*/ 5825310 w 11701760"/>
              <a:gd name="connsiteY1711" fmla="*/ 4015859 h 6407421"/>
              <a:gd name="connsiteX1712" fmla="*/ 5559113 w 11701760"/>
              <a:gd name="connsiteY1712" fmla="*/ 3986257 h 6407421"/>
              <a:gd name="connsiteX1713" fmla="*/ 5588715 w 11701760"/>
              <a:gd name="connsiteY1713" fmla="*/ 3986257 h 6407421"/>
              <a:gd name="connsiteX1714" fmla="*/ 5588715 w 11701760"/>
              <a:gd name="connsiteY1714" fmla="*/ 4015859 h 6407421"/>
              <a:gd name="connsiteX1715" fmla="*/ 5559113 w 11701760"/>
              <a:gd name="connsiteY1715" fmla="*/ 4015859 h 6407421"/>
              <a:gd name="connsiteX1716" fmla="*/ 5293024 w 11701760"/>
              <a:gd name="connsiteY1716" fmla="*/ 3986257 h 6407421"/>
              <a:gd name="connsiteX1717" fmla="*/ 5322626 w 11701760"/>
              <a:gd name="connsiteY1717" fmla="*/ 3986257 h 6407421"/>
              <a:gd name="connsiteX1718" fmla="*/ 5322626 w 11701760"/>
              <a:gd name="connsiteY1718" fmla="*/ 4015859 h 6407421"/>
              <a:gd name="connsiteX1719" fmla="*/ 5293024 w 11701760"/>
              <a:gd name="connsiteY1719" fmla="*/ 4015859 h 6407421"/>
              <a:gd name="connsiteX1720" fmla="*/ 5026827 w 11701760"/>
              <a:gd name="connsiteY1720" fmla="*/ 3986257 h 6407421"/>
              <a:gd name="connsiteX1721" fmla="*/ 5056429 w 11701760"/>
              <a:gd name="connsiteY1721" fmla="*/ 3986257 h 6407421"/>
              <a:gd name="connsiteX1722" fmla="*/ 5056429 w 11701760"/>
              <a:gd name="connsiteY1722" fmla="*/ 4015859 h 6407421"/>
              <a:gd name="connsiteX1723" fmla="*/ 5026827 w 11701760"/>
              <a:gd name="connsiteY1723" fmla="*/ 4015859 h 6407421"/>
              <a:gd name="connsiteX1724" fmla="*/ 4760630 w 11701760"/>
              <a:gd name="connsiteY1724" fmla="*/ 3986257 h 6407421"/>
              <a:gd name="connsiteX1725" fmla="*/ 4790340 w 11701760"/>
              <a:gd name="connsiteY1725" fmla="*/ 3986257 h 6407421"/>
              <a:gd name="connsiteX1726" fmla="*/ 4790340 w 11701760"/>
              <a:gd name="connsiteY1726" fmla="*/ 4015859 h 6407421"/>
              <a:gd name="connsiteX1727" fmla="*/ 4760630 w 11701760"/>
              <a:gd name="connsiteY1727" fmla="*/ 4015859 h 6407421"/>
              <a:gd name="connsiteX1728" fmla="*/ 4494541 w 11701760"/>
              <a:gd name="connsiteY1728" fmla="*/ 3986257 h 6407421"/>
              <a:gd name="connsiteX1729" fmla="*/ 4524144 w 11701760"/>
              <a:gd name="connsiteY1729" fmla="*/ 3986257 h 6407421"/>
              <a:gd name="connsiteX1730" fmla="*/ 4524144 w 11701760"/>
              <a:gd name="connsiteY1730" fmla="*/ 4015859 h 6407421"/>
              <a:gd name="connsiteX1731" fmla="*/ 4494541 w 11701760"/>
              <a:gd name="connsiteY1731" fmla="*/ 4015859 h 6407421"/>
              <a:gd name="connsiteX1732" fmla="*/ 4228344 w 11701760"/>
              <a:gd name="connsiteY1732" fmla="*/ 3986257 h 6407421"/>
              <a:gd name="connsiteX1733" fmla="*/ 4257946 w 11701760"/>
              <a:gd name="connsiteY1733" fmla="*/ 3986257 h 6407421"/>
              <a:gd name="connsiteX1734" fmla="*/ 4257946 w 11701760"/>
              <a:gd name="connsiteY1734" fmla="*/ 4015859 h 6407421"/>
              <a:gd name="connsiteX1735" fmla="*/ 4228344 w 11701760"/>
              <a:gd name="connsiteY1735" fmla="*/ 4015859 h 6407421"/>
              <a:gd name="connsiteX1736" fmla="*/ 3962255 w 11701760"/>
              <a:gd name="connsiteY1736" fmla="*/ 3986257 h 6407421"/>
              <a:gd name="connsiteX1737" fmla="*/ 3991857 w 11701760"/>
              <a:gd name="connsiteY1737" fmla="*/ 3986257 h 6407421"/>
              <a:gd name="connsiteX1738" fmla="*/ 3991857 w 11701760"/>
              <a:gd name="connsiteY1738" fmla="*/ 4015859 h 6407421"/>
              <a:gd name="connsiteX1739" fmla="*/ 3962255 w 11701760"/>
              <a:gd name="connsiteY1739" fmla="*/ 4015859 h 6407421"/>
              <a:gd name="connsiteX1740" fmla="*/ 3696058 w 11701760"/>
              <a:gd name="connsiteY1740" fmla="*/ 3986257 h 6407421"/>
              <a:gd name="connsiteX1741" fmla="*/ 3725661 w 11701760"/>
              <a:gd name="connsiteY1741" fmla="*/ 3986257 h 6407421"/>
              <a:gd name="connsiteX1742" fmla="*/ 3725661 w 11701760"/>
              <a:gd name="connsiteY1742" fmla="*/ 4015859 h 6407421"/>
              <a:gd name="connsiteX1743" fmla="*/ 3696058 w 11701760"/>
              <a:gd name="connsiteY1743" fmla="*/ 4015859 h 6407421"/>
              <a:gd name="connsiteX1744" fmla="*/ 3429969 w 11701760"/>
              <a:gd name="connsiteY1744" fmla="*/ 3986257 h 6407421"/>
              <a:gd name="connsiteX1745" fmla="*/ 3459572 w 11701760"/>
              <a:gd name="connsiteY1745" fmla="*/ 3986257 h 6407421"/>
              <a:gd name="connsiteX1746" fmla="*/ 3459572 w 11701760"/>
              <a:gd name="connsiteY1746" fmla="*/ 4015859 h 6407421"/>
              <a:gd name="connsiteX1747" fmla="*/ 3429969 w 11701760"/>
              <a:gd name="connsiteY1747" fmla="*/ 4015859 h 6407421"/>
              <a:gd name="connsiteX1748" fmla="*/ 3163772 w 11701760"/>
              <a:gd name="connsiteY1748" fmla="*/ 3986257 h 6407421"/>
              <a:gd name="connsiteX1749" fmla="*/ 3193374 w 11701760"/>
              <a:gd name="connsiteY1749" fmla="*/ 3986257 h 6407421"/>
              <a:gd name="connsiteX1750" fmla="*/ 3193374 w 11701760"/>
              <a:gd name="connsiteY1750" fmla="*/ 4015859 h 6407421"/>
              <a:gd name="connsiteX1751" fmla="*/ 3163772 w 11701760"/>
              <a:gd name="connsiteY1751" fmla="*/ 4015859 h 6407421"/>
              <a:gd name="connsiteX1752" fmla="*/ 2897575 w 11701760"/>
              <a:gd name="connsiteY1752" fmla="*/ 3986257 h 6407421"/>
              <a:gd name="connsiteX1753" fmla="*/ 2927178 w 11701760"/>
              <a:gd name="connsiteY1753" fmla="*/ 3986257 h 6407421"/>
              <a:gd name="connsiteX1754" fmla="*/ 2927178 w 11701760"/>
              <a:gd name="connsiteY1754" fmla="*/ 4015859 h 6407421"/>
              <a:gd name="connsiteX1755" fmla="*/ 2897575 w 11701760"/>
              <a:gd name="connsiteY1755" fmla="*/ 4015859 h 6407421"/>
              <a:gd name="connsiteX1756" fmla="*/ 2631378 w 11701760"/>
              <a:gd name="connsiteY1756" fmla="*/ 3986257 h 6407421"/>
              <a:gd name="connsiteX1757" fmla="*/ 2660980 w 11701760"/>
              <a:gd name="connsiteY1757" fmla="*/ 3986257 h 6407421"/>
              <a:gd name="connsiteX1758" fmla="*/ 2660980 w 11701760"/>
              <a:gd name="connsiteY1758" fmla="*/ 4015859 h 6407421"/>
              <a:gd name="connsiteX1759" fmla="*/ 2631378 w 11701760"/>
              <a:gd name="connsiteY1759" fmla="*/ 4015859 h 6407421"/>
              <a:gd name="connsiteX1760" fmla="*/ 2365289 w 11701760"/>
              <a:gd name="connsiteY1760" fmla="*/ 3986257 h 6407421"/>
              <a:gd name="connsiteX1761" fmla="*/ 2394892 w 11701760"/>
              <a:gd name="connsiteY1761" fmla="*/ 3986257 h 6407421"/>
              <a:gd name="connsiteX1762" fmla="*/ 2394892 w 11701760"/>
              <a:gd name="connsiteY1762" fmla="*/ 4015859 h 6407421"/>
              <a:gd name="connsiteX1763" fmla="*/ 2365289 w 11701760"/>
              <a:gd name="connsiteY1763" fmla="*/ 4015859 h 6407421"/>
              <a:gd name="connsiteX1764" fmla="*/ 2099092 w 11701760"/>
              <a:gd name="connsiteY1764" fmla="*/ 3986257 h 6407421"/>
              <a:gd name="connsiteX1765" fmla="*/ 2128695 w 11701760"/>
              <a:gd name="connsiteY1765" fmla="*/ 3986257 h 6407421"/>
              <a:gd name="connsiteX1766" fmla="*/ 2128695 w 11701760"/>
              <a:gd name="connsiteY1766" fmla="*/ 4015859 h 6407421"/>
              <a:gd name="connsiteX1767" fmla="*/ 2099092 w 11701760"/>
              <a:gd name="connsiteY1767" fmla="*/ 4015859 h 6407421"/>
              <a:gd name="connsiteX1768" fmla="*/ 1832898 w 11701760"/>
              <a:gd name="connsiteY1768" fmla="*/ 3986257 h 6407421"/>
              <a:gd name="connsiteX1769" fmla="*/ 1862498 w 11701760"/>
              <a:gd name="connsiteY1769" fmla="*/ 3986257 h 6407421"/>
              <a:gd name="connsiteX1770" fmla="*/ 1862498 w 11701760"/>
              <a:gd name="connsiteY1770" fmla="*/ 4015859 h 6407421"/>
              <a:gd name="connsiteX1771" fmla="*/ 1832898 w 11701760"/>
              <a:gd name="connsiteY1771" fmla="*/ 4015859 h 6407421"/>
              <a:gd name="connsiteX1772" fmla="*/ 1566808 w 11701760"/>
              <a:gd name="connsiteY1772" fmla="*/ 3986257 h 6407421"/>
              <a:gd name="connsiteX1773" fmla="*/ 1596409 w 11701760"/>
              <a:gd name="connsiteY1773" fmla="*/ 3986257 h 6407421"/>
              <a:gd name="connsiteX1774" fmla="*/ 1596409 w 11701760"/>
              <a:gd name="connsiteY1774" fmla="*/ 4015859 h 6407421"/>
              <a:gd name="connsiteX1775" fmla="*/ 1566808 w 11701760"/>
              <a:gd name="connsiteY1775" fmla="*/ 4015859 h 6407421"/>
              <a:gd name="connsiteX1776" fmla="*/ 1300611 w 11701760"/>
              <a:gd name="connsiteY1776" fmla="*/ 3986257 h 6407421"/>
              <a:gd name="connsiteX1777" fmla="*/ 1330213 w 11701760"/>
              <a:gd name="connsiteY1777" fmla="*/ 3986257 h 6407421"/>
              <a:gd name="connsiteX1778" fmla="*/ 1330213 w 11701760"/>
              <a:gd name="connsiteY1778" fmla="*/ 4015859 h 6407421"/>
              <a:gd name="connsiteX1779" fmla="*/ 1300611 w 11701760"/>
              <a:gd name="connsiteY1779" fmla="*/ 4015859 h 6407421"/>
              <a:gd name="connsiteX1780" fmla="*/ 1034520 w 11701760"/>
              <a:gd name="connsiteY1780" fmla="*/ 3986257 h 6407421"/>
              <a:gd name="connsiteX1781" fmla="*/ 1064123 w 11701760"/>
              <a:gd name="connsiteY1781" fmla="*/ 3986257 h 6407421"/>
              <a:gd name="connsiteX1782" fmla="*/ 1064123 w 11701760"/>
              <a:gd name="connsiteY1782" fmla="*/ 4015859 h 6407421"/>
              <a:gd name="connsiteX1783" fmla="*/ 1034520 w 11701760"/>
              <a:gd name="connsiteY1783" fmla="*/ 4015859 h 6407421"/>
              <a:gd name="connsiteX1784" fmla="*/ 768327 w 11701760"/>
              <a:gd name="connsiteY1784" fmla="*/ 3986257 h 6407421"/>
              <a:gd name="connsiteX1785" fmla="*/ 797926 w 11701760"/>
              <a:gd name="connsiteY1785" fmla="*/ 3986257 h 6407421"/>
              <a:gd name="connsiteX1786" fmla="*/ 797926 w 11701760"/>
              <a:gd name="connsiteY1786" fmla="*/ 4015859 h 6407421"/>
              <a:gd name="connsiteX1787" fmla="*/ 768327 w 11701760"/>
              <a:gd name="connsiteY1787" fmla="*/ 4015859 h 6407421"/>
              <a:gd name="connsiteX1788" fmla="*/ 502236 w 11701760"/>
              <a:gd name="connsiteY1788" fmla="*/ 3986257 h 6407421"/>
              <a:gd name="connsiteX1789" fmla="*/ 531839 w 11701760"/>
              <a:gd name="connsiteY1789" fmla="*/ 3986257 h 6407421"/>
              <a:gd name="connsiteX1790" fmla="*/ 531839 w 11701760"/>
              <a:gd name="connsiteY1790" fmla="*/ 4015859 h 6407421"/>
              <a:gd name="connsiteX1791" fmla="*/ 502236 w 11701760"/>
              <a:gd name="connsiteY1791" fmla="*/ 4015859 h 6407421"/>
              <a:gd name="connsiteX1792" fmla="*/ 236037 w 11701760"/>
              <a:gd name="connsiteY1792" fmla="*/ 3986257 h 6407421"/>
              <a:gd name="connsiteX1793" fmla="*/ 265640 w 11701760"/>
              <a:gd name="connsiteY1793" fmla="*/ 3986257 h 6407421"/>
              <a:gd name="connsiteX1794" fmla="*/ 265640 w 11701760"/>
              <a:gd name="connsiteY1794" fmla="*/ 4015859 h 6407421"/>
              <a:gd name="connsiteX1795" fmla="*/ 236037 w 11701760"/>
              <a:gd name="connsiteY1795" fmla="*/ 4015859 h 6407421"/>
              <a:gd name="connsiteX1796" fmla="*/ 1 w 11701760"/>
              <a:gd name="connsiteY1796" fmla="*/ 3986257 h 6407421"/>
              <a:gd name="connsiteX1797" fmla="*/ 29603 w 11701760"/>
              <a:gd name="connsiteY1797" fmla="*/ 3986257 h 6407421"/>
              <a:gd name="connsiteX1798" fmla="*/ 29603 w 11701760"/>
              <a:gd name="connsiteY1798" fmla="*/ 4015859 h 6407421"/>
              <a:gd name="connsiteX1799" fmla="*/ 1 w 11701760"/>
              <a:gd name="connsiteY1799" fmla="*/ 4015859 h 6407421"/>
              <a:gd name="connsiteX1800" fmla="*/ 11672158 w 11701760"/>
              <a:gd name="connsiteY1800" fmla="*/ 3720492 h 6407421"/>
              <a:gd name="connsiteX1801" fmla="*/ 11701760 w 11701760"/>
              <a:gd name="connsiteY1801" fmla="*/ 3720492 h 6407421"/>
              <a:gd name="connsiteX1802" fmla="*/ 11701760 w 11701760"/>
              <a:gd name="connsiteY1802" fmla="*/ 3750094 h 6407421"/>
              <a:gd name="connsiteX1803" fmla="*/ 11672158 w 11701760"/>
              <a:gd name="connsiteY1803" fmla="*/ 3750094 h 6407421"/>
              <a:gd name="connsiteX1804" fmla="*/ 11405961 w 11701760"/>
              <a:gd name="connsiteY1804" fmla="*/ 3720492 h 6407421"/>
              <a:gd name="connsiteX1805" fmla="*/ 11435563 w 11701760"/>
              <a:gd name="connsiteY1805" fmla="*/ 3720492 h 6407421"/>
              <a:gd name="connsiteX1806" fmla="*/ 11435563 w 11701760"/>
              <a:gd name="connsiteY1806" fmla="*/ 3750094 h 6407421"/>
              <a:gd name="connsiteX1807" fmla="*/ 11405961 w 11701760"/>
              <a:gd name="connsiteY1807" fmla="*/ 3750094 h 6407421"/>
              <a:gd name="connsiteX1808" fmla="*/ 11139872 w 11701760"/>
              <a:gd name="connsiteY1808" fmla="*/ 3720492 h 6407421"/>
              <a:gd name="connsiteX1809" fmla="*/ 11169474 w 11701760"/>
              <a:gd name="connsiteY1809" fmla="*/ 3720492 h 6407421"/>
              <a:gd name="connsiteX1810" fmla="*/ 11169474 w 11701760"/>
              <a:gd name="connsiteY1810" fmla="*/ 3750094 h 6407421"/>
              <a:gd name="connsiteX1811" fmla="*/ 11139872 w 11701760"/>
              <a:gd name="connsiteY1811" fmla="*/ 3750094 h 6407421"/>
              <a:gd name="connsiteX1812" fmla="*/ 10873675 w 11701760"/>
              <a:gd name="connsiteY1812" fmla="*/ 3720492 h 6407421"/>
              <a:gd name="connsiteX1813" fmla="*/ 10903277 w 11701760"/>
              <a:gd name="connsiteY1813" fmla="*/ 3720492 h 6407421"/>
              <a:gd name="connsiteX1814" fmla="*/ 10903277 w 11701760"/>
              <a:gd name="connsiteY1814" fmla="*/ 3750094 h 6407421"/>
              <a:gd name="connsiteX1815" fmla="*/ 10873675 w 11701760"/>
              <a:gd name="connsiteY1815" fmla="*/ 3750094 h 6407421"/>
              <a:gd name="connsiteX1816" fmla="*/ 10607478 w 11701760"/>
              <a:gd name="connsiteY1816" fmla="*/ 3720492 h 6407421"/>
              <a:gd name="connsiteX1817" fmla="*/ 10637188 w 11701760"/>
              <a:gd name="connsiteY1817" fmla="*/ 3720492 h 6407421"/>
              <a:gd name="connsiteX1818" fmla="*/ 10637188 w 11701760"/>
              <a:gd name="connsiteY1818" fmla="*/ 3750094 h 6407421"/>
              <a:gd name="connsiteX1819" fmla="*/ 10607478 w 11701760"/>
              <a:gd name="connsiteY1819" fmla="*/ 3750094 h 6407421"/>
              <a:gd name="connsiteX1820" fmla="*/ 10341389 w 11701760"/>
              <a:gd name="connsiteY1820" fmla="*/ 3720492 h 6407421"/>
              <a:gd name="connsiteX1821" fmla="*/ 10370992 w 11701760"/>
              <a:gd name="connsiteY1821" fmla="*/ 3720492 h 6407421"/>
              <a:gd name="connsiteX1822" fmla="*/ 10370992 w 11701760"/>
              <a:gd name="connsiteY1822" fmla="*/ 3750094 h 6407421"/>
              <a:gd name="connsiteX1823" fmla="*/ 10341389 w 11701760"/>
              <a:gd name="connsiteY1823" fmla="*/ 3750094 h 6407421"/>
              <a:gd name="connsiteX1824" fmla="*/ 10075192 w 11701760"/>
              <a:gd name="connsiteY1824" fmla="*/ 3720492 h 6407421"/>
              <a:gd name="connsiteX1825" fmla="*/ 10104794 w 11701760"/>
              <a:gd name="connsiteY1825" fmla="*/ 3720492 h 6407421"/>
              <a:gd name="connsiteX1826" fmla="*/ 10104794 w 11701760"/>
              <a:gd name="connsiteY1826" fmla="*/ 3750094 h 6407421"/>
              <a:gd name="connsiteX1827" fmla="*/ 10075192 w 11701760"/>
              <a:gd name="connsiteY1827" fmla="*/ 3750094 h 6407421"/>
              <a:gd name="connsiteX1828" fmla="*/ 9809103 w 11701760"/>
              <a:gd name="connsiteY1828" fmla="*/ 3720492 h 6407421"/>
              <a:gd name="connsiteX1829" fmla="*/ 9838705 w 11701760"/>
              <a:gd name="connsiteY1829" fmla="*/ 3720492 h 6407421"/>
              <a:gd name="connsiteX1830" fmla="*/ 9838705 w 11701760"/>
              <a:gd name="connsiteY1830" fmla="*/ 3750094 h 6407421"/>
              <a:gd name="connsiteX1831" fmla="*/ 9809103 w 11701760"/>
              <a:gd name="connsiteY1831" fmla="*/ 3750094 h 6407421"/>
              <a:gd name="connsiteX1832" fmla="*/ 9542906 w 11701760"/>
              <a:gd name="connsiteY1832" fmla="*/ 3720492 h 6407421"/>
              <a:gd name="connsiteX1833" fmla="*/ 9572509 w 11701760"/>
              <a:gd name="connsiteY1833" fmla="*/ 3720492 h 6407421"/>
              <a:gd name="connsiteX1834" fmla="*/ 9572509 w 11701760"/>
              <a:gd name="connsiteY1834" fmla="*/ 3750094 h 6407421"/>
              <a:gd name="connsiteX1835" fmla="*/ 9542906 w 11701760"/>
              <a:gd name="connsiteY1835" fmla="*/ 3750094 h 6407421"/>
              <a:gd name="connsiteX1836" fmla="*/ 9276817 w 11701760"/>
              <a:gd name="connsiteY1836" fmla="*/ 3720492 h 6407421"/>
              <a:gd name="connsiteX1837" fmla="*/ 9306420 w 11701760"/>
              <a:gd name="connsiteY1837" fmla="*/ 3720492 h 6407421"/>
              <a:gd name="connsiteX1838" fmla="*/ 9306420 w 11701760"/>
              <a:gd name="connsiteY1838" fmla="*/ 3750094 h 6407421"/>
              <a:gd name="connsiteX1839" fmla="*/ 9276817 w 11701760"/>
              <a:gd name="connsiteY1839" fmla="*/ 3750094 h 6407421"/>
              <a:gd name="connsiteX1840" fmla="*/ 9010620 w 11701760"/>
              <a:gd name="connsiteY1840" fmla="*/ 3720492 h 6407421"/>
              <a:gd name="connsiteX1841" fmla="*/ 9040222 w 11701760"/>
              <a:gd name="connsiteY1841" fmla="*/ 3720492 h 6407421"/>
              <a:gd name="connsiteX1842" fmla="*/ 9040222 w 11701760"/>
              <a:gd name="connsiteY1842" fmla="*/ 3750094 h 6407421"/>
              <a:gd name="connsiteX1843" fmla="*/ 9010620 w 11701760"/>
              <a:gd name="connsiteY1843" fmla="*/ 3750094 h 6407421"/>
              <a:gd name="connsiteX1844" fmla="*/ 8744423 w 11701760"/>
              <a:gd name="connsiteY1844" fmla="*/ 3720492 h 6407421"/>
              <a:gd name="connsiteX1845" fmla="*/ 8774026 w 11701760"/>
              <a:gd name="connsiteY1845" fmla="*/ 3720492 h 6407421"/>
              <a:gd name="connsiteX1846" fmla="*/ 8774026 w 11701760"/>
              <a:gd name="connsiteY1846" fmla="*/ 3750094 h 6407421"/>
              <a:gd name="connsiteX1847" fmla="*/ 8744423 w 11701760"/>
              <a:gd name="connsiteY1847" fmla="*/ 3750094 h 6407421"/>
              <a:gd name="connsiteX1848" fmla="*/ 8478226 w 11701760"/>
              <a:gd name="connsiteY1848" fmla="*/ 3720492 h 6407421"/>
              <a:gd name="connsiteX1849" fmla="*/ 8507828 w 11701760"/>
              <a:gd name="connsiteY1849" fmla="*/ 3720492 h 6407421"/>
              <a:gd name="connsiteX1850" fmla="*/ 8507828 w 11701760"/>
              <a:gd name="connsiteY1850" fmla="*/ 3750094 h 6407421"/>
              <a:gd name="connsiteX1851" fmla="*/ 8478226 w 11701760"/>
              <a:gd name="connsiteY1851" fmla="*/ 3750094 h 6407421"/>
              <a:gd name="connsiteX1852" fmla="*/ 8212137 w 11701760"/>
              <a:gd name="connsiteY1852" fmla="*/ 3720492 h 6407421"/>
              <a:gd name="connsiteX1853" fmla="*/ 8241740 w 11701760"/>
              <a:gd name="connsiteY1853" fmla="*/ 3720492 h 6407421"/>
              <a:gd name="connsiteX1854" fmla="*/ 8241740 w 11701760"/>
              <a:gd name="connsiteY1854" fmla="*/ 3750094 h 6407421"/>
              <a:gd name="connsiteX1855" fmla="*/ 8212137 w 11701760"/>
              <a:gd name="connsiteY1855" fmla="*/ 3750094 h 6407421"/>
              <a:gd name="connsiteX1856" fmla="*/ 7945940 w 11701760"/>
              <a:gd name="connsiteY1856" fmla="*/ 3720492 h 6407421"/>
              <a:gd name="connsiteX1857" fmla="*/ 7975543 w 11701760"/>
              <a:gd name="connsiteY1857" fmla="*/ 3720492 h 6407421"/>
              <a:gd name="connsiteX1858" fmla="*/ 7975543 w 11701760"/>
              <a:gd name="connsiteY1858" fmla="*/ 3750094 h 6407421"/>
              <a:gd name="connsiteX1859" fmla="*/ 7945940 w 11701760"/>
              <a:gd name="connsiteY1859" fmla="*/ 3750094 h 6407421"/>
              <a:gd name="connsiteX1860" fmla="*/ 7679743 w 11701760"/>
              <a:gd name="connsiteY1860" fmla="*/ 3720492 h 6407421"/>
              <a:gd name="connsiteX1861" fmla="*/ 7709346 w 11701760"/>
              <a:gd name="connsiteY1861" fmla="*/ 3720492 h 6407421"/>
              <a:gd name="connsiteX1862" fmla="*/ 7709346 w 11701760"/>
              <a:gd name="connsiteY1862" fmla="*/ 3750094 h 6407421"/>
              <a:gd name="connsiteX1863" fmla="*/ 7679743 w 11701760"/>
              <a:gd name="connsiteY1863" fmla="*/ 3750094 h 6407421"/>
              <a:gd name="connsiteX1864" fmla="*/ 7413653 w 11701760"/>
              <a:gd name="connsiteY1864" fmla="*/ 3720492 h 6407421"/>
              <a:gd name="connsiteX1865" fmla="*/ 7443256 w 11701760"/>
              <a:gd name="connsiteY1865" fmla="*/ 3720492 h 6407421"/>
              <a:gd name="connsiteX1866" fmla="*/ 7443256 w 11701760"/>
              <a:gd name="connsiteY1866" fmla="*/ 3750094 h 6407421"/>
              <a:gd name="connsiteX1867" fmla="*/ 7413653 w 11701760"/>
              <a:gd name="connsiteY1867" fmla="*/ 3750094 h 6407421"/>
              <a:gd name="connsiteX1868" fmla="*/ 7147456 w 11701760"/>
              <a:gd name="connsiteY1868" fmla="*/ 3720492 h 6407421"/>
              <a:gd name="connsiteX1869" fmla="*/ 7177058 w 11701760"/>
              <a:gd name="connsiteY1869" fmla="*/ 3720492 h 6407421"/>
              <a:gd name="connsiteX1870" fmla="*/ 7177058 w 11701760"/>
              <a:gd name="connsiteY1870" fmla="*/ 3750094 h 6407421"/>
              <a:gd name="connsiteX1871" fmla="*/ 7147456 w 11701760"/>
              <a:gd name="connsiteY1871" fmla="*/ 3750094 h 6407421"/>
              <a:gd name="connsiteX1872" fmla="*/ 6881367 w 11701760"/>
              <a:gd name="connsiteY1872" fmla="*/ 3720492 h 6407421"/>
              <a:gd name="connsiteX1873" fmla="*/ 6910970 w 11701760"/>
              <a:gd name="connsiteY1873" fmla="*/ 3720492 h 6407421"/>
              <a:gd name="connsiteX1874" fmla="*/ 6910970 w 11701760"/>
              <a:gd name="connsiteY1874" fmla="*/ 3750094 h 6407421"/>
              <a:gd name="connsiteX1875" fmla="*/ 6881367 w 11701760"/>
              <a:gd name="connsiteY1875" fmla="*/ 3750094 h 6407421"/>
              <a:gd name="connsiteX1876" fmla="*/ 6615170 w 11701760"/>
              <a:gd name="connsiteY1876" fmla="*/ 3720492 h 6407421"/>
              <a:gd name="connsiteX1877" fmla="*/ 6644773 w 11701760"/>
              <a:gd name="connsiteY1877" fmla="*/ 3720492 h 6407421"/>
              <a:gd name="connsiteX1878" fmla="*/ 6644773 w 11701760"/>
              <a:gd name="connsiteY1878" fmla="*/ 3750094 h 6407421"/>
              <a:gd name="connsiteX1879" fmla="*/ 6615170 w 11701760"/>
              <a:gd name="connsiteY1879" fmla="*/ 3750094 h 6407421"/>
              <a:gd name="connsiteX1880" fmla="*/ 6349081 w 11701760"/>
              <a:gd name="connsiteY1880" fmla="*/ 3720492 h 6407421"/>
              <a:gd name="connsiteX1881" fmla="*/ 6378683 w 11701760"/>
              <a:gd name="connsiteY1881" fmla="*/ 3720492 h 6407421"/>
              <a:gd name="connsiteX1882" fmla="*/ 6378683 w 11701760"/>
              <a:gd name="connsiteY1882" fmla="*/ 3750094 h 6407421"/>
              <a:gd name="connsiteX1883" fmla="*/ 6349081 w 11701760"/>
              <a:gd name="connsiteY1883" fmla="*/ 3750094 h 6407421"/>
              <a:gd name="connsiteX1884" fmla="*/ 6082884 w 11701760"/>
              <a:gd name="connsiteY1884" fmla="*/ 3720492 h 6407421"/>
              <a:gd name="connsiteX1885" fmla="*/ 6112486 w 11701760"/>
              <a:gd name="connsiteY1885" fmla="*/ 3720492 h 6407421"/>
              <a:gd name="connsiteX1886" fmla="*/ 6112486 w 11701760"/>
              <a:gd name="connsiteY1886" fmla="*/ 3750094 h 6407421"/>
              <a:gd name="connsiteX1887" fmla="*/ 6082884 w 11701760"/>
              <a:gd name="connsiteY1887" fmla="*/ 3750094 h 6407421"/>
              <a:gd name="connsiteX1888" fmla="*/ 5825310 w 11701760"/>
              <a:gd name="connsiteY1888" fmla="*/ 3720492 h 6407421"/>
              <a:gd name="connsiteX1889" fmla="*/ 5854913 w 11701760"/>
              <a:gd name="connsiteY1889" fmla="*/ 3720492 h 6407421"/>
              <a:gd name="connsiteX1890" fmla="*/ 5854913 w 11701760"/>
              <a:gd name="connsiteY1890" fmla="*/ 3750094 h 6407421"/>
              <a:gd name="connsiteX1891" fmla="*/ 5825310 w 11701760"/>
              <a:gd name="connsiteY1891" fmla="*/ 3750094 h 6407421"/>
              <a:gd name="connsiteX1892" fmla="*/ 5559113 w 11701760"/>
              <a:gd name="connsiteY1892" fmla="*/ 3720492 h 6407421"/>
              <a:gd name="connsiteX1893" fmla="*/ 5588715 w 11701760"/>
              <a:gd name="connsiteY1893" fmla="*/ 3720492 h 6407421"/>
              <a:gd name="connsiteX1894" fmla="*/ 5588715 w 11701760"/>
              <a:gd name="connsiteY1894" fmla="*/ 3750094 h 6407421"/>
              <a:gd name="connsiteX1895" fmla="*/ 5559113 w 11701760"/>
              <a:gd name="connsiteY1895" fmla="*/ 3750094 h 6407421"/>
              <a:gd name="connsiteX1896" fmla="*/ 5293024 w 11701760"/>
              <a:gd name="connsiteY1896" fmla="*/ 3720492 h 6407421"/>
              <a:gd name="connsiteX1897" fmla="*/ 5322626 w 11701760"/>
              <a:gd name="connsiteY1897" fmla="*/ 3720492 h 6407421"/>
              <a:gd name="connsiteX1898" fmla="*/ 5322626 w 11701760"/>
              <a:gd name="connsiteY1898" fmla="*/ 3750094 h 6407421"/>
              <a:gd name="connsiteX1899" fmla="*/ 5293024 w 11701760"/>
              <a:gd name="connsiteY1899" fmla="*/ 3750094 h 6407421"/>
              <a:gd name="connsiteX1900" fmla="*/ 5026827 w 11701760"/>
              <a:gd name="connsiteY1900" fmla="*/ 3720492 h 6407421"/>
              <a:gd name="connsiteX1901" fmla="*/ 5056429 w 11701760"/>
              <a:gd name="connsiteY1901" fmla="*/ 3720492 h 6407421"/>
              <a:gd name="connsiteX1902" fmla="*/ 5056429 w 11701760"/>
              <a:gd name="connsiteY1902" fmla="*/ 3750094 h 6407421"/>
              <a:gd name="connsiteX1903" fmla="*/ 5026827 w 11701760"/>
              <a:gd name="connsiteY1903" fmla="*/ 3750094 h 6407421"/>
              <a:gd name="connsiteX1904" fmla="*/ 4760630 w 11701760"/>
              <a:gd name="connsiteY1904" fmla="*/ 3720492 h 6407421"/>
              <a:gd name="connsiteX1905" fmla="*/ 4790340 w 11701760"/>
              <a:gd name="connsiteY1905" fmla="*/ 3720492 h 6407421"/>
              <a:gd name="connsiteX1906" fmla="*/ 4790340 w 11701760"/>
              <a:gd name="connsiteY1906" fmla="*/ 3750094 h 6407421"/>
              <a:gd name="connsiteX1907" fmla="*/ 4760630 w 11701760"/>
              <a:gd name="connsiteY1907" fmla="*/ 3750094 h 6407421"/>
              <a:gd name="connsiteX1908" fmla="*/ 4494541 w 11701760"/>
              <a:gd name="connsiteY1908" fmla="*/ 3720492 h 6407421"/>
              <a:gd name="connsiteX1909" fmla="*/ 4524144 w 11701760"/>
              <a:gd name="connsiteY1909" fmla="*/ 3720492 h 6407421"/>
              <a:gd name="connsiteX1910" fmla="*/ 4524144 w 11701760"/>
              <a:gd name="connsiteY1910" fmla="*/ 3750094 h 6407421"/>
              <a:gd name="connsiteX1911" fmla="*/ 4494541 w 11701760"/>
              <a:gd name="connsiteY1911" fmla="*/ 3750094 h 6407421"/>
              <a:gd name="connsiteX1912" fmla="*/ 4228344 w 11701760"/>
              <a:gd name="connsiteY1912" fmla="*/ 3720492 h 6407421"/>
              <a:gd name="connsiteX1913" fmla="*/ 4257946 w 11701760"/>
              <a:gd name="connsiteY1913" fmla="*/ 3720492 h 6407421"/>
              <a:gd name="connsiteX1914" fmla="*/ 4257946 w 11701760"/>
              <a:gd name="connsiteY1914" fmla="*/ 3750094 h 6407421"/>
              <a:gd name="connsiteX1915" fmla="*/ 4228344 w 11701760"/>
              <a:gd name="connsiteY1915" fmla="*/ 3750094 h 6407421"/>
              <a:gd name="connsiteX1916" fmla="*/ 3962255 w 11701760"/>
              <a:gd name="connsiteY1916" fmla="*/ 3720492 h 6407421"/>
              <a:gd name="connsiteX1917" fmla="*/ 3991857 w 11701760"/>
              <a:gd name="connsiteY1917" fmla="*/ 3720492 h 6407421"/>
              <a:gd name="connsiteX1918" fmla="*/ 3991857 w 11701760"/>
              <a:gd name="connsiteY1918" fmla="*/ 3750094 h 6407421"/>
              <a:gd name="connsiteX1919" fmla="*/ 3962255 w 11701760"/>
              <a:gd name="connsiteY1919" fmla="*/ 3750094 h 6407421"/>
              <a:gd name="connsiteX1920" fmla="*/ 3696058 w 11701760"/>
              <a:gd name="connsiteY1920" fmla="*/ 3720492 h 6407421"/>
              <a:gd name="connsiteX1921" fmla="*/ 3725661 w 11701760"/>
              <a:gd name="connsiteY1921" fmla="*/ 3720492 h 6407421"/>
              <a:gd name="connsiteX1922" fmla="*/ 3725661 w 11701760"/>
              <a:gd name="connsiteY1922" fmla="*/ 3750094 h 6407421"/>
              <a:gd name="connsiteX1923" fmla="*/ 3696058 w 11701760"/>
              <a:gd name="connsiteY1923" fmla="*/ 3750094 h 6407421"/>
              <a:gd name="connsiteX1924" fmla="*/ 3429969 w 11701760"/>
              <a:gd name="connsiteY1924" fmla="*/ 3720492 h 6407421"/>
              <a:gd name="connsiteX1925" fmla="*/ 3459572 w 11701760"/>
              <a:gd name="connsiteY1925" fmla="*/ 3720492 h 6407421"/>
              <a:gd name="connsiteX1926" fmla="*/ 3459572 w 11701760"/>
              <a:gd name="connsiteY1926" fmla="*/ 3750094 h 6407421"/>
              <a:gd name="connsiteX1927" fmla="*/ 3429969 w 11701760"/>
              <a:gd name="connsiteY1927" fmla="*/ 3750094 h 6407421"/>
              <a:gd name="connsiteX1928" fmla="*/ 3163772 w 11701760"/>
              <a:gd name="connsiteY1928" fmla="*/ 3720492 h 6407421"/>
              <a:gd name="connsiteX1929" fmla="*/ 3193374 w 11701760"/>
              <a:gd name="connsiteY1929" fmla="*/ 3720492 h 6407421"/>
              <a:gd name="connsiteX1930" fmla="*/ 3193374 w 11701760"/>
              <a:gd name="connsiteY1930" fmla="*/ 3750094 h 6407421"/>
              <a:gd name="connsiteX1931" fmla="*/ 3163772 w 11701760"/>
              <a:gd name="connsiteY1931" fmla="*/ 3750094 h 6407421"/>
              <a:gd name="connsiteX1932" fmla="*/ 2897575 w 11701760"/>
              <a:gd name="connsiteY1932" fmla="*/ 3720492 h 6407421"/>
              <a:gd name="connsiteX1933" fmla="*/ 2927178 w 11701760"/>
              <a:gd name="connsiteY1933" fmla="*/ 3720492 h 6407421"/>
              <a:gd name="connsiteX1934" fmla="*/ 2927178 w 11701760"/>
              <a:gd name="connsiteY1934" fmla="*/ 3750094 h 6407421"/>
              <a:gd name="connsiteX1935" fmla="*/ 2897575 w 11701760"/>
              <a:gd name="connsiteY1935" fmla="*/ 3750094 h 6407421"/>
              <a:gd name="connsiteX1936" fmla="*/ 2631378 w 11701760"/>
              <a:gd name="connsiteY1936" fmla="*/ 3720492 h 6407421"/>
              <a:gd name="connsiteX1937" fmla="*/ 2660980 w 11701760"/>
              <a:gd name="connsiteY1937" fmla="*/ 3720492 h 6407421"/>
              <a:gd name="connsiteX1938" fmla="*/ 2660980 w 11701760"/>
              <a:gd name="connsiteY1938" fmla="*/ 3750094 h 6407421"/>
              <a:gd name="connsiteX1939" fmla="*/ 2631378 w 11701760"/>
              <a:gd name="connsiteY1939" fmla="*/ 3750094 h 6407421"/>
              <a:gd name="connsiteX1940" fmla="*/ 2365289 w 11701760"/>
              <a:gd name="connsiteY1940" fmla="*/ 3720492 h 6407421"/>
              <a:gd name="connsiteX1941" fmla="*/ 2394892 w 11701760"/>
              <a:gd name="connsiteY1941" fmla="*/ 3720492 h 6407421"/>
              <a:gd name="connsiteX1942" fmla="*/ 2394892 w 11701760"/>
              <a:gd name="connsiteY1942" fmla="*/ 3750094 h 6407421"/>
              <a:gd name="connsiteX1943" fmla="*/ 2365289 w 11701760"/>
              <a:gd name="connsiteY1943" fmla="*/ 3750094 h 6407421"/>
              <a:gd name="connsiteX1944" fmla="*/ 2099092 w 11701760"/>
              <a:gd name="connsiteY1944" fmla="*/ 3720492 h 6407421"/>
              <a:gd name="connsiteX1945" fmla="*/ 2128695 w 11701760"/>
              <a:gd name="connsiteY1945" fmla="*/ 3720492 h 6407421"/>
              <a:gd name="connsiteX1946" fmla="*/ 2128695 w 11701760"/>
              <a:gd name="connsiteY1946" fmla="*/ 3750094 h 6407421"/>
              <a:gd name="connsiteX1947" fmla="*/ 2099092 w 11701760"/>
              <a:gd name="connsiteY1947" fmla="*/ 3750094 h 6407421"/>
              <a:gd name="connsiteX1948" fmla="*/ 1832898 w 11701760"/>
              <a:gd name="connsiteY1948" fmla="*/ 3720492 h 6407421"/>
              <a:gd name="connsiteX1949" fmla="*/ 1862498 w 11701760"/>
              <a:gd name="connsiteY1949" fmla="*/ 3720492 h 6407421"/>
              <a:gd name="connsiteX1950" fmla="*/ 1862498 w 11701760"/>
              <a:gd name="connsiteY1950" fmla="*/ 3750094 h 6407421"/>
              <a:gd name="connsiteX1951" fmla="*/ 1832898 w 11701760"/>
              <a:gd name="connsiteY1951" fmla="*/ 3750094 h 6407421"/>
              <a:gd name="connsiteX1952" fmla="*/ 1566808 w 11701760"/>
              <a:gd name="connsiteY1952" fmla="*/ 3720492 h 6407421"/>
              <a:gd name="connsiteX1953" fmla="*/ 1596409 w 11701760"/>
              <a:gd name="connsiteY1953" fmla="*/ 3720492 h 6407421"/>
              <a:gd name="connsiteX1954" fmla="*/ 1596409 w 11701760"/>
              <a:gd name="connsiteY1954" fmla="*/ 3750094 h 6407421"/>
              <a:gd name="connsiteX1955" fmla="*/ 1566808 w 11701760"/>
              <a:gd name="connsiteY1955" fmla="*/ 3750094 h 6407421"/>
              <a:gd name="connsiteX1956" fmla="*/ 1300611 w 11701760"/>
              <a:gd name="connsiteY1956" fmla="*/ 3720492 h 6407421"/>
              <a:gd name="connsiteX1957" fmla="*/ 1330213 w 11701760"/>
              <a:gd name="connsiteY1957" fmla="*/ 3720492 h 6407421"/>
              <a:gd name="connsiteX1958" fmla="*/ 1330213 w 11701760"/>
              <a:gd name="connsiteY1958" fmla="*/ 3750094 h 6407421"/>
              <a:gd name="connsiteX1959" fmla="*/ 1300611 w 11701760"/>
              <a:gd name="connsiteY1959" fmla="*/ 3750094 h 6407421"/>
              <a:gd name="connsiteX1960" fmla="*/ 1034520 w 11701760"/>
              <a:gd name="connsiteY1960" fmla="*/ 3720492 h 6407421"/>
              <a:gd name="connsiteX1961" fmla="*/ 1064123 w 11701760"/>
              <a:gd name="connsiteY1961" fmla="*/ 3720492 h 6407421"/>
              <a:gd name="connsiteX1962" fmla="*/ 1064123 w 11701760"/>
              <a:gd name="connsiteY1962" fmla="*/ 3750094 h 6407421"/>
              <a:gd name="connsiteX1963" fmla="*/ 1034520 w 11701760"/>
              <a:gd name="connsiteY1963" fmla="*/ 3750094 h 6407421"/>
              <a:gd name="connsiteX1964" fmla="*/ 768327 w 11701760"/>
              <a:gd name="connsiteY1964" fmla="*/ 3720492 h 6407421"/>
              <a:gd name="connsiteX1965" fmla="*/ 797926 w 11701760"/>
              <a:gd name="connsiteY1965" fmla="*/ 3720492 h 6407421"/>
              <a:gd name="connsiteX1966" fmla="*/ 797926 w 11701760"/>
              <a:gd name="connsiteY1966" fmla="*/ 3750094 h 6407421"/>
              <a:gd name="connsiteX1967" fmla="*/ 768327 w 11701760"/>
              <a:gd name="connsiteY1967" fmla="*/ 3750094 h 6407421"/>
              <a:gd name="connsiteX1968" fmla="*/ 502236 w 11701760"/>
              <a:gd name="connsiteY1968" fmla="*/ 3720492 h 6407421"/>
              <a:gd name="connsiteX1969" fmla="*/ 531839 w 11701760"/>
              <a:gd name="connsiteY1969" fmla="*/ 3720492 h 6407421"/>
              <a:gd name="connsiteX1970" fmla="*/ 531839 w 11701760"/>
              <a:gd name="connsiteY1970" fmla="*/ 3750094 h 6407421"/>
              <a:gd name="connsiteX1971" fmla="*/ 502236 w 11701760"/>
              <a:gd name="connsiteY1971" fmla="*/ 3750094 h 6407421"/>
              <a:gd name="connsiteX1972" fmla="*/ 236037 w 11701760"/>
              <a:gd name="connsiteY1972" fmla="*/ 3720492 h 6407421"/>
              <a:gd name="connsiteX1973" fmla="*/ 265640 w 11701760"/>
              <a:gd name="connsiteY1973" fmla="*/ 3720492 h 6407421"/>
              <a:gd name="connsiteX1974" fmla="*/ 265640 w 11701760"/>
              <a:gd name="connsiteY1974" fmla="*/ 3750094 h 6407421"/>
              <a:gd name="connsiteX1975" fmla="*/ 236037 w 11701760"/>
              <a:gd name="connsiteY1975" fmla="*/ 3750094 h 6407421"/>
              <a:gd name="connsiteX1976" fmla="*/ 1 w 11701760"/>
              <a:gd name="connsiteY1976" fmla="*/ 3720492 h 6407421"/>
              <a:gd name="connsiteX1977" fmla="*/ 29603 w 11701760"/>
              <a:gd name="connsiteY1977" fmla="*/ 3720492 h 6407421"/>
              <a:gd name="connsiteX1978" fmla="*/ 29603 w 11701760"/>
              <a:gd name="connsiteY1978" fmla="*/ 3750094 h 6407421"/>
              <a:gd name="connsiteX1979" fmla="*/ 1 w 11701760"/>
              <a:gd name="connsiteY1979" fmla="*/ 3750094 h 6407421"/>
              <a:gd name="connsiteX1980" fmla="*/ 11672158 w 11701760"/>
              <a:gd name="connsiteY1980" fmla="*/ 3454727 h 6407421"/>
              <a:gd name="connsiteX1981" fmla="*/ 11701760 w 11701760"/>
              <a:gd name="connsiteY1981" fmla="*/ 3454727 h 6407421"/>
              <a:gd name="connsiteX1982" fmla="*/ 11701760 w 11701760"/>
              <a:gd name="connsiteY1982" fmla="*/ 3484330 h 6407421"/>
              <a:gd name="connsiteX1983" fmla="*/ 11672158 w 11701760"/>
              <a:gd name="connsiteY1983" fmla="*/ 3484330 h 6407421"/>
              <a:gd name="connsiteX1984" fmla="*/ 11405961 w 11701760"/>
              <a:gd name="connsiteY1984" fmla="*/ 3454727 h 6407421"/>
              <a:gd name="connsiteX1985" fmla="*/ 11435563 w 11701760"/>
              <a:gd name="connsiteY1985" fmla="*/ 3454727 h 6407421"/>
              <a:gd name="connsiteX1986" fmla="*/ 11435563 w 11701760"/>
              <a:gd name="connsiteY1986" fmla="*/ 3484330 h 6407421"/>
              <a:gd name="connsiteX1987" fmla="*/ 11405961 w 11701760"/>
              <a:gd name="connsiteY1987" fmla="*/ 3484330 h 6407421"/>
              <a:gd name="connsiteX1988" fmla="*/ 11139872 w 11701760"/>
              <a:gd name="connsiteY1988" fmla="*/ 3454727 h 6407421"/>
              <a:gd name="connsiteX1989" fmla="*/ 11169474 w 11701760"/>
              <a:gd name="connsiteY1989" fmla="*/ 3454727 h 6407421"/>
              <a:gd name="connsiteX1990" fmla="*/ 11169474 w 11701760"/>
              <a:gd name="connsiteY1990" fmla="*/ 3484330 h 6407421"/>
              <a:gd name="connsiteX1991" fmla="*/ 11139872 w 11701760"/>
              <a:gd name="connsiteY1991" fmla="*/ 3484330 h 6407421"/>
              <a:gd name="connsiteX1992" fmla="*/ 10873675 w 11701760"/>
              <a:gd name="connsiteY1992" fmla="*/ 3454727 h 6407421"/>
              <a:gd name="connsiteX1993" fmla="*/ 10903277 w 11701760"/>
              <a:gd name="connsiteY1993" fmla="*/ 3454727 h 6407421"/>
              <a:gd name="connsiteX1994" fmla="*/ 10903277 w 11701760"/>
              <a:gd name="connsiteY1994" fmla="*/ 3484330 h 6407421"/>
              <a:gd name="connsiteX1995" fmla="*/ 10873675 w 11701760"/>
              <a:gd name="connsiteY1995" fmla="*/ 3484330 h 6407421"/>
              <a:gd name="connsiteX1996" fmla="*/ 10607478 w 11701760"/>
              <a:gd name="connsiteY1996" fmla="*/ 3454727 h 6407421"/>
              <a:gd name="connsiteX1997" fmla="*/ 10637188 w 11701760"/>
              <a:gd name="connsiteY1997" fmla="*/ 3454727 h 6407421"/>
              <a:gd name="connsiteX1998" fmla="*/ 10637188 w 11701760"/>
              <a:gd name="connsiteY1998" fmla="*/ 3484330 h 6407421"/>
              <a:gd name="connsiteX1999" fmla="*/ 10607478 w 11701760"/>
              <a:gd name="connsiteY1999" fmla="*/ 3484330 h 6407421"/>
              <a:gd name="connsiteX2000" fmla="*/ 10341389 w 11701760"/>
              <a:gd name="connsiteY2000" fmla="*/ 3454727 h 6407421"/>
              <a:gd name="connsiteX2001" fmla="*/ 10370992 w 11701760"/>
              <a:gd name="connsiteY2001" fmla="*/ 3454727 h 6407421"/>
              <a:gd name="connsiteX2002" fmla="*/ 10370992 w 11701760"/>
              <a:gd name="connsiteY2002" fmla="*/ 3484330 h 6407421"/>
              <a:gd name="connsiteX2003" fmla="*/ 10341389 w 11701760"/>
              <a:gd name="connsiteY2003" fmla="*/ 3484330 h 6407421"/>
              <a:gd name="connsiteX2004" fmla="*/ 10075192 w 11701760"/>
              <a:gd name="connsiteY2004" fmla="*/ 3454727 h 6407421"/>
              <a:gd name="connsiteX2005" fmla="*/ 10104794 w 11701760"/>
              <a:gd name="connsiteY2005" fmla="*/ 3454727 h 6407421"/>
              <a:gd name="connsiteX2006" fmla="*/ 10104794 w 11701760"/>
              <a:gd name="connsiteY2006" fmla="*/ 3484330 h 6407421"/>
              <a:gd name="connsiteX2007" fmla="*/ 10075192 w 11701760"/>
              <a:gd name="connsiteY2007" fmla="*/ 3484330 h 6407421"/>
              <a:gd name="connsiteX2008" fmla="*/ 9809103 w 11701760"/>
              <a:gd name="connsiteY2008" fmla="*/ 3454727 h 6407421"/>
              <a:gd name="connsiteX2009" fmla="*/ 9838705 w 11701760"/>
              <a:gd name="connsiteY2009" fmla="*/ 3454727 h 6407421"/>
              <a:gd name="connsiteX2010" fmla="*/ 9838705 w 11701760"/>
              <a:gd name="connsiteY2010" fmla="*/ 3484330 h 6407421"/>
              <a:gd name="connsiteX2011" fmla="*/ 9809103 w 11701760"/>
              <a:gd name="connsiteY2011" fmla="*/ 3484330 h 6407421"/>
              <a:gd name="connsiteX2012" fmla="*/ 9542906 w 11701760"/>
              <a:gd name="connsiteY2012" fmla="*/ 3454727 h 6407421"/>
              <a:gd name="connsiteX2013" fmla="*/ 9572509 w 11701760"/>
              <a:gd name="connsiteY2013" fmla="*/ 3454727 h 6407421"/>
              <a:gd name="connsiteX2014" fmla="*/ 9572509 w 11701760"/>
              <a:gd name="connsiteY2014" fmla="*/ 3484330 h 6407421"/>
              <a:gd name="connsiteX2015" fmla="*/ 9542906 w 11701760"/>
              <a:gd name="connsiteY2015" fmla="*/ 3484330 h 6407421"/>
              <a:gd name="connsiteX2016" fmla="*/ 9276817 w 11701760"/>
              <a:gd name="connsiteY2016" fmla="*/ 3454727 h 6407421"/>
              <a:gd name="connsiteX2017" fmla="*/ 9306420 w 11701760"/>
              <a:gd name="connsiteY2017" fmla="*/ 3454727 h 6407421"/>
              <a:gd name="connsiteX2018" fmla="*/ 9306420 w 11701760"/>
              <a:gd name="connsiteY2018" fmla="*/ 3484330 h 6407421"/>
              <a:gd name="connsiteX2019" fmla="*/ 9276817 w 11701760"/>
              <a:gd name="connsiteY2019" fmla="*/ 3484330 h 6407421"/>
              <a:gd name="connsiteX2020" fmla="*/ 9010620 w 11701760"/>
              <a:gd name="connsiteY2020" fmla="*/ 3454727 h 6407421"/>
              <a:gd name="connsiteX2021" fmla="*/ 9040222 w 11701760"/>
              <a:gd name="connsiteY2021" fmla="*/ 3454727 h 6407421"/>
              <a:gd name="connsiteX2022" fmla="*/ 9040222 w 11701760"/>
              <a:gd name="connsiteY2022" fmla="*/ 3484330 h 6407421"/>
              <a:gd name="connsiteX2023" fmla="*/ 9010620 w 11701760"/>
              <a:gd name="connsiteY2023" fmla="*/ 3484330 h 6407421"/>
              <a:gd name="connsiteX2024" fmla="*/ 8744423 w 11701760"/>
              <a:gd name="connsiteY2024" fmla="*/ 3454727 h 6407421"/>
              <a:gd name="connsiteX2025" fmla="*/ 8774026 w 11701760"/>
              <a:gd name="connsiteY2025" fmla="*/ 3454727 h 6407421"/>
              <a:gd name="connsiteX2026" fmla="*/ 8774026 w 11701760"/>
              <a:gd name="connsiteY2026" fmla="*/ 3484330 h 6407421"/>
              <a:gd name="connsiteX2027" fmla="*/ 8744423 w 11701760"/>
              <a:gd name="connsiteY2027" fmla="*/ 3484330 h 6407421"/>
              <a:gd name="connsiteX2028" fmla="*/ 8478226 w 11701760"/>
              <a:gd name="connsiteY2028" fmla="*/ 3454727 h 6407421"/>
              <a:gd name="connsiteX2029" fmla="*/ 8507828 w 11701760"/>
              <a:gd name="connsiteY2029" fmla="*/ 3454727 h 6407421"/>
              <a:gd name="connsiteX2030" fmla="*/ 8507828 w 11701760"/>
              <a:gd name="connsiteY2030" fmla="*/ 3484330 h 6407421"/>
              <a:gd name="connsiteX2031" fmla="*/ 8478226 w 11701760"/>
              <a:gd name="connsiteY2031" fmla="*/ 3484330 h 6407421"/>
              <a:gd name="connsiteX2032" fmla="*/ 8212137 w 11701760"/>
              <a:gd name="connsiteY2032" fmla="*/ 3454727 h 6407421"/>
              <a:gd name="connsiteX2033" fmla="*/ 8241740 w 11701760"/>
              <a:gd name="connsiteY2033" fmla="*/ 3454727 h 6407421"/>
              <a:gd name="connsiteX2034" fmla="*/ 8241740 w 11701760"/>
              <a:gd name="connsiteY2034" fmla="*/ 3484330 h 6407421"/>
              <a:gd name="connsiteX2035" fmla="*/ 8212137 w 11701760"/>
              <a:gd name="connsiteY2035" fmla="*/ 3484330 h 6407421"/>
              <a:gd name="connsiteX2036" fmla="*/ 7945940 w 11701760"/>
              <a:gd name="connsiteY2036" fmla="*/ 3454727 h 6407421"/>
              <a:gd name="connsiteX2037" fmla="*/ 7975543 w 11701760"/>
              <a:gd name="connsiteY2037" fmla="*/ 3454727 h 6407421"/>
              <a:gd name="connsiteX2038" fmla="*/ 7975543 w 11701760"/>
              <a:gd name="connsiteY2038" fmla="*/ 3484330 h 6407421"/>
              <a:gd name="connsiteX2039" fmla="*/ 7945940 w 11701760"/>
              <a:gd name="connsiteY2039" fmla="*/ 3484330 h 6407421"/>
              <a:gd name="connsiteX2040" fmla="*/ 7679743 w 11701760"/>
              <a:gd name="connsiteY2040" fmla="*/ 3454727 h 6407421"/>
              <a:gd name="connsiteX2041" fmla="*/ 7709346 w 11701760"/>
              <a:gd name="connsiteY2041" fmla="*/ 3454727 h 6407421"/>
              <a:gd name="connsiteX2042" fmla="*/ 7709346 w 11701760"/>
              <a:gd name="connsiteY2042" fmla="*/ 3484330 h 6407421"/>
              <a:gd name="connsiteX2043" fmla="*/ 7679743 w 11701760"/>
              <a:gd name="connsiteY2043" fmla="*/ 3484330 h 6407421"/>
              <a:gd name="connsiteX2044" fmla="*/ 7413653 w 11701760"/>
              <a:gd name="connsiteY2044" fmla="*/ 3454727 h 6407421"/>
              <a:gd name="connsiteX2045" fmla="*/ 7443256 w 11701760"/>
              <a:gd name="connsiteY2045" fmla="*/ 3454727 h 6407421"/>
              <a:gd name="connsiteX2046" fmla="*/ 7443256 w 11701760"/>
              <a:gd name="connsiteY2046" fmla="*/ 3484330 h 6407421"/>
              <a:gd name="connsiteX2047" fmla="*/ 7413653 w 11701760"/>
              <a:gd name="connsiteY2047" fmla="*/ 3484330 h 6407421"/>
              <a:gd name="connsiteX2048" fmla="*/ 7147456 w 11701760"/>
              <a:gd name="connsiteY2048" fmla="*/ 3454727 h 6407421"/>
              <a:gd name="connsiteX2049" fmla="*/ 7177058 w 11701760"/>
              <a:gd name="connsiteY2049" fmla="*/ 3454727 h 6407421"/>
              <a:gd name="connsiteX2050" fmla="*/ 7177058 w 11701760"/>
              <a:gd name="connsiteY2050" fmla="*/ 3484330 h 6407421"/>
              <a:gd name="connsiteX2051" fmla="*/ 7147456 w 11701760"/>
              <a:gd name="connsiteY2051" fmla="*/ 3484330 h 6407421"/>
              <a:gd name="connsiteX2052" fmla="*/ 6881367 w 11701760"/>
              <a:gd name="connsiteY2052" fmla="*/ 3454727 h 6407421"/>
              <a:gd name="connsiteX2053" fmla="*/ 6910970 w 11701760"/>
              <a:gd name="connsiteY2053" fmla="*/ 3454727 h 6407421"/>
              <a:gd name="connsiteX2054" fmla="*/ 6910970 w 11701760"/>
              <a:gd name="connsiteY2054" fmla="*/ 3484330 h 6407421"/>
              <a:gd name="connsiteX2055" fmla="*/ 6881367 w 11701760"/>
              <a:gd name="connsiteY2055" fmla="*/ 3484330 h 6407421"/>
              <a:gd name="connsiteX2056" fmla="*/ 6615170 w 11701760"/>
              <a:gd name="connsiteY2056" fmla="*/ 3454727 h 6407421"/>
              <a:gd name="connsiteX2057" fmla="*/ 6644773 w 11701760"/>
              <a:gd name="connsiteY2057" fmla="*/ 3454727 h 6407421"/>
              <a:gd name="connsiteX2058" fmla="*/ 6644773 w 11701760"/>
              <a:gd name="connsiteY2058" fmla="*/ 3484330 h 6407421"/>
              <a:gd name="connsiteX2059" fmla="*/ 6615170 w 11701760"/>
              <a:gd name="connsiteY2059" fmla="*/ 3484330 h 6407421"/>
              <a:gd name="connsiteX2060" fmla="*/ 6349081 w 11701760"/>
              <a:gd name="connsiteY2060" fmla="*/ 3454727 h 6407421"/>
              <a:gd name="connsiteX2061" fmla="*/ 6378683 w 11701760"/>
              <a:gd name="connsiteY2061" fmla="*/ 3454727 h 6407421"/>
              <a:gd name="connsiteX2062" fmla="*/ 6378683 w 11701760"/>
              <a:gd name="connsiteY2062" fmla="*/ 3484330 h 6407421"/>
              <a:gd name="connsiteX2063" fmla="*/ 6349081 w 11701760"/>
              <a:gd name="connsiteY2063" fmla="*/ 3484330 h 6407421"/>
              <a:gd name="connsiteX2064" fmla="*/ 6082884 w 11701760"/>
              <a:gd name="connsiteY2064" fmla="*/ 3454727 h 6407421"/>
              <a:gd name="connsiteX2065" fmla="*/ 6112486 w 11701760"/>
              <a:gd name="connsiteY2065" fmla="*/ 3454727 h 6407421"/>
              <a:gd name="connsiteX2066" fmla="*/ 6112486 w 11701760"/>
              <a:gd name="connsiteY2066" fmla="*/ 3484330 h 6407421"/>
              <a:gd name="connsiteX2067" fmla="*/ 6082884 w 11701760"/>
              <a:gd name="connsiteY2067" fmla="*/ 3484330 h 6407421"/>
              <a:gd name="connsiteX2068" fmla="*/ 5825310 w 11701760"/>
              <a:gd name="connsiteY2068" fmla="*/ 3454727 h 6407421"/>
              <a:gd name="connsiteX2069" fmla="*/ 5854913 w 11701760"/>
              <a:gd name="connsiteY2069" fmla="*/ 3454727 h 6407421"/>
              <a:gd name="connsiteX2070" fmla="*/ 5854913 w 11701760"/>
              <a:gd name="connsiteY2070" fmla="*/ 3484330 h 6407421"/>
              <a:gd name="connsiteX2071" fmla="*/ 5825310 w 11701760"/>
              <a:gd name="connsiteY2071" fmla="*/ 3484330 h 6407421"/>
              <a:gd name="connsiteX2072" fmla="*/ 5559113 w 11701760"/>
              <a:gd name="connsiteY2072" fmla="*/ 3454727 h 6407421"/>
              <a:gd name="connsiteX2073" fmla="*/ 5588715 w 11701760"/>
              <a:gd name="connsiteY2073" fmla="*/ 3454727 h 6407421"/>
              <a:gd name="connsiteX2074" fmla="*/ 5588715 w 11701760"/>
              <a:gd name="connsiteY2074" fmla="*/ 3484330 h 6407421"/>
              <a:gd name="connsiteX2075" fmla="*/ 5559113 w 11701760"/>
              <a:gd name="connsiteY2075" fmla="*/ 3484330 h 6407421"/>
              <a:gd name="connsiteX2076" fmla="*/ 5293024 w 11701760"/>
              <a:gd name="connsiteY2076" fmla="*/ 3454727 h 6407421"/>
              <a:gd name="connsiteX2077" fmla="*/ 5322626 w 11701760"/>
              <a:gd name="connsiteY2077" fmla="*/ 3454727 h 6407421"/>
              <a:gd name="connsiteX2078" fmla="*/ 5322626 w 11701760"/>
              <a:gd name="connsiteY2078" fmla="*/ 3484330 h 6407421"/>
              <a:gd name="connsiteX2079" fmla="*/ 5293024 w 11701760"/>
              <a:gd name="connsiteY2079" fmla="*/ 3484330 h 6407421"/>
              <a:gd name="connsiteX2080" fmla="*/ 5026827 w 11701760"/>
              <a:gd name="connsiteY2080" fmla="*/ 3454727 h 6407421"/>
              <a:gd name="connsiteX2081" fmla="*/ 5056429 w 11701760"/>
              <a:gd name="connsiteY2081" fmla="*/ 3454727 h 6407421"/>
              <a:gd name="connsiteX2082" fmla="*/ 5056429 w 11701760"/>
              <a:gd name="connsiteY2082" fmla="*/ 3484330 h 6407421"/>
              <a:gd name="connsiteX2083" fmla="*/ 5026827 w 11701760"/>
              <a:gd name="connsiteY2083" fmla="*/ 3484330 h 6407421"/>
              <a:gd name="connsiteX2084" fmla="*/ 4760630 w 11701760"/>
              <a:gd name="connsiteY2084" fmla="*/ 3454727 h 6407421"/>
              <a:gd name="connsiteX2085" fmla="*/ 4790340 w 11701760"/>
              <a:gd name="connsiteY2085" fmla="*/ 3454727 h 6407421"/>
              <a:gd name="connsiteX2086" fmla="*/ 4790340 w 11701760"/>
              <a:gd name="connsiteY2086" fmla="*/ 3484330 h 6407421"/>
              <a:gd name="connsiteX2087" fmla="*/ 4760630 w 11701760"/>
              <a:gd name="connsiteY2087" fmla="*/ 3484330 h 6407421"/>
              <a:gd name="connsiteX2088" fmla="*/ 4494541 w 11701760"/>
              <a:gd name="connsiteY2088" fmla="*/ 3454727 h 6407421"/>
              <a:gd name="connsiteX2089" fmla="*/ 4524144 w 11701760"/>
              <a:gd name="connsiteY2089" fmla="*/ 3454727 h 6407421"/>
              <a:gd name="connsiteX2090" fmla="*/ 4524144 w 11701760"/>
              <a:gd name="connsiteY2090" fmla="*/ 3484330 h 6407421"/>
              <a:gd name="connsiteX2091" fmla="*/ 4494541 w 11701760"/>
              <a:gd name="connsiteY2091" fmla="*/ 3484330 h 6407421"/>
              <a:gd name="connsiteX2092" fmla="*/ 4228344 w 11701760"/>
              <a:gd name="connsiteY2092" fmla="*/ 3454727 h 6407421"/>
              <a:gd name="connsiteX2093" fmla="*/ 4257946 w 11701760"/>
              <a:gd name="connsiteY2093" fmla="*/ 3454727 h 6407421"/>
              <a:gd name="connsiteX2094" fmla="*/ 4257946 w 11701760"/>
              <a:gd name="connsiteY2094" fmla="*/ 3484330 h 6407421"/>
              <a:gd name="connsiteX2095" fmla="*/ 4228344 w 11701760"/>
              <a:gd name="connsiteY2095" fmla="*/ 3484330 h 6407421"/>
              <a:gd name="connsiteX2096" fmla="*/ 3962255 w 11701760"/>
              <a:gd name="connsiteY2096" fmla="*/ 3454727 h 6407421"/>
              <a:gd name="connsiteX2097" fmla="*/ 3991857 w 11701760"/>
              <a:gd name="connsiteY2097" fmla="*/ 3454727 h 6407421"/>
              <a:gd name="connsiteX2098" fmla="*/ 3991857 w 11701760"/>
              <a:gd name="connsiteY2098" fmla="*/ 3484330 h 6407421"/>
              <a:gd name="connsiteX2099" fmla="*/ 3962255 w 11701760"/>
              <a:gd name="connsiteY2099" fmla="*/ 3484330 h 6407421"/>
              <a:gd name="connsiteX2100" fmla="*/ 3696058 w 11701760"/>
              <a:gd name="connsiteY2100" fmla="*/ 3454727 h 6407421"/>
              <a:gd name="connsiteX2101" fmla="*/ 3725661 w 11701760"/>
              <a:gd name="connsiteY2101" fmla="*/ 3454727 h 6407421"/>
              <a:gd name="connsiteX2102" fmla="*/ 3725661 w 11701760"/>
              <a:gd name="connsiteY2102" fmla="*/ 3484330 h 6407421"/>
              <a:gd name="connsiteX2103" fmla="*/ 3696058 w 11701760"/>
              <a:gd name="connsiteY2103" fmla="*/ 3484330 h 6407421"/>
              <a:gd name="connsiteX2104" fmla="*/ 3429969 w 11701760"/>
              <a:gd name="connsiteY2104" fmla="*/ 3454727 h 6407421"/>
              <a:gd name="connsiteX2105" fmla="*/ 3459572 w 11701760"/>
              <a:gd name="connsiteY2105" fmla="*/ 3454727 h 6407421"/>
              <a:gd name="connsiteX2106" fmla="*/ 3459572 w 11701760"/>
              <a:gd name="connsiteY2106" fmla="*/ 3484330 h 6407421"/>
              <a:gd name="connsiteX2107" fmla="*/ 3429969 w 11701760"/>
              <a:gd name="connsiteY2107" fmla="*/ 3484330 h 6407421"/>
              <a:gd name="connsiteX2108" fmla="*/ 3163772 w 11701760"/>
              <a:gd name="connsiteY2108" fmla="*/ 3454727 h 6407421"/>
              <a:gd name="connsiteX2109" fmla="*/ 3193374 w 11701760"/>
              <a:gd name="connsiteY2109" fmla="*/ 3454727 h 6407421"/>
              <a:gd name="connsiteX2110" fmla="*/ 3193374 w 11701760"/>
              <a:gd name="connsiteY2110" fmla="*/ 3484330 h 6407421"/>
              <a:gd name="connsiteX2111" fmla="*/ 3163772 w 11701760"/>
              <a:gd name="connsiteY2111" fmla="*/ 3484330 h 6407421"/>
              <a:gd name="connsiteX2112" fmla="*/ 2897575 w 11701760"/>
              <a:gd name="connsiteY2112" fmla="*/ 3454727 h 6407421"/>
              <a:gd name="connsiteX2113" fmla="*/ 2927178 w 11701760"/>
              <a:gd name="connsiteY2113" fmla="*/ 3454727 h 6407421"/>
              <a:gd name="connsiteX2114" fmla="*/ 2927178 w 11701760"/>
              <a:gd name="connsiteY2114" fmla="*/ 3484330 h 6407421"/>
              <a:gd name="connsiteX2115" fmla="*/ 2897575 w 11701760"/>
              <a:gd name="connsiteY2115" fmla="*/ 3484330 h 6407421"/>
              <a:gd name="connsiteX2116" fmla="*/ 2631378 w 11701760"/>
              <a:gd name="connsiteY2116" fmla="*/ 3454727 h 6407421"/>
              <a:gd name="connsiteX2117" fmla="*/ 2660980 w 11701760"/>
              <a:gd name="connsiteY2117" fmla="*/ 3454727 h 6407421"/>
              <a:gd name="connsiteX2118" fmla="*/ 2660980 w 11701760"/>
              <a:gd name="connsiteY2118" fmla="*/ 3484330 h 6407421"/>
              <a:gd name="connsiteX2119" fmla="*/ 2631378 w 11701760"/>
              <a:gd name="connsiteY2119" fmla="*/ 3484330 h 6407421"/>
              <a:gd name="connsiteX2120" fmla="*/ 2365289 w 11701760"/>
              <a:gd name="connsiteY2120" fmla="*/ 3454727 h 6407421"/>
              <a:gd name="connsiteX2121" fmla="*/ 2394892 w 11701760"/>
              <a:gd name="connsiteY2121" fmla="*/ 3454727 h 6407421"/>
              <a:gd name="connsiteX2122" fmla="*/ 2394892 w 11701760"/>
              <a:gd name="connsiteY2122" fmla="*/ 3484330 h 6407421"/>
              <a:gd name="connsiteX2123" fmla="*/ 2365289 w 11701760"/>
              <a:gd name="connsiteY2123" fmla="*/ 3484330 h 6407421"/>
              <a:gd name="connsiteX2124" fmla="*/ 2099092 w 11701760"/>
              <a:gd name="connsiteY2124" fmla="*/ 3454727 h 6407421"/>
              <a:gd name="connsiteX2125" fmla="*/ 2128695 w 11701760"/>
              <a:gd name="connsiteY2125" fmla="*/ 3454727 h 6407421"/>
              <a:gd name="connsiteX2126" fmla="*/ 2128695 w 11701760"/>
              <a:gd name="connsiteY2126" fmla="*/ 3484330 h 6407421"/>
              <a:gd name="connsiteX2127" fmla="*/ 2099092 w 11701760"/>
              <a:gd name="connsiteY2127" fmla="*/ 3484330 h 6407421"/>
              <a:gd name="connsiteX2128" fmla="*/ 1832898 w 11701760"/>
              <a:gd name="connsiteY2128" fmla="*/ 3454727 h 6407421"/>
              <a:gd name="connsiteX2129" fmla="*/ 1862498 w 11701760"/>
              <a:gd name="connsiteY2129" fmla="*/ 3454727 h 6407421"/>
              <a:gd name="connsiteX2130" fmla="*/ 1862498 w 11701760"/>
              <a:gd name="connsiteY2130" fmla="*/ 3484330 h 6407421"/>
              <a:gd name="connsiteX2131" fmla="*/ 1832898 w 11701760"/>
              <a:gd name="connsiteY2131" fmla="*/ 3484330 h 6407421"/>
              <a:gd name="connsiteX2132" fmla="*/ 1566808 w 11701760"/>
              <a:gd name="connsiteY2132" fmla="*/ 3454727 h 6407421"/>
              <a:gd name="connsiteX2133" fmla="*/ 1596409 w 11701760"/>
              <a:gd name="connsiteY2133" fmla="*/ 3454727 h 6407421"/>
              <a:gd name="connsiteX2134" fmla="*/ 1596409 w 11701760"/>
              <a:gd name="connsiteY2134" fmla="*/ 3484330 h 6407421"/>
              <a:gd name="connsiteX2135" fmla="*/ 1566808 w 11701760"/>
              <a:gd name="connsiteY2135" fmla="*/ 3484330 h 6407421"/>
              <a:gd name="connsiteX2136" fmla="*/ 1300611 w 11701760"/>
              <a:gd name="connsiteY2136" fmla="*/ 3454727 h 6407421"/>
              <a:gd name="connsiteX2137" fmla="*/ 1330213 w 11701760"/>
              <a:gd name="connsiteY2137" fmla="*/ 3454727 h 6407421"/>
              <a:gd name="connsiteX2138" fmla="*/ 1330213 w 11701760"/>
              <a:gd name="connsiteY2138" fmla="*/ 3484330 h 6407421"/>
              <a:gd name="connsiteX2139" fmla="*/ 1300611 w 11701760"/>
              <a:gd name="connsiteY2139" fmla="*/ 3484330 h 6407421"/>
              <a:gd name="connsiteX2140" fmla="*/ 1034520 w 11701760"/>
              <a:gd name="connsiteY2140" fmla="*/ 3454727 h 6407421"/>
              <a:gd name="connsiteX2141" fmla="*/ 1064123 w 11701760"/>
              <a:gd name="connsiteY2141" fmla="*/ 3454727 h 6407421"/>
              <a:gd name="connsiteX2142" fmla="*/ 1064123 w 11701760"/>
              <a:gd name="connsiteY2142" fmla="*/ 3484330 h 6407421"/>
              <a:gd name="connsiteX2143" fmla="*/ 1034520 w 11701760"/>
              <a:gd name="connsiteY2143" fmla="*/ 3484330 h 6407421"/>
              <a:gd name="connsiteX2144" fmla="*/ 768327 w 11701760"/>
              <a:gd name="connsiteY2144" fmla="*/ 3454727 h 6407421"/>
              <a:gd name="connsiteX2145" fmla="*/ 797926 w 11701760"/>
              <a:gd name="connsiteY2145" fmla="*/ 3454727 h 6407421"/>
              <a:gd name="connsiteX2146" fmla="*/ 797926 w 11701760"/>
              <a:gd name="connsiteY2146" fmla="*/ 3484330 h 6407421"/>
              <a:gd name="connsiteX2147" fmla="*/ 768327 w 11701760"/>
              <a:gd name="connsiteY2147" fmla="*/ 3484330 h 6407421"/>
              <a:gd name="connsiteX2148" fmla="*/ 502236 w 11701760"/>
              <a:gd name="connsiteY2148" fmla="*/ 3454727 h 6407421"/>
              <a:gd name="connsiteX2149" fmla="*/ 531839 w 11701760"/>
              <a:gd name="connsiteY2149" fmla="*/ 3454727 h 6407421"/>
              <a:gd name="connsiteX2150" fmla="*/ 531839 w 11701760"/>
              <a:gd name="connsiteY2150" fmla="*/ 3484330 h 6407421"/>
              <a:gd name="connsiteX2151" fmla="*/ 502236 w 11701760"/>
              <a:gd name="connsiteY2151" fmla="*/ 3484330 h 6407421"/>
              <a:gd name="connsiteX2152" fmla="*/ 236037 w 11701760"/>
              <a:gd name="connsiteY2152" fmla="*/ 3454727 h 6407421"/>
              <a:gd name="connsiteX2153" fmla="*/ 265640 w 11701760"/>
              <a:gd name="connsiteY2153" fmla="*/ 3454727 h 6407421"/>
              <a:gd name="connsiteX2154" fmla="*/ 265640 w 11701760"/>
              <a:gd name="connsiteY2154" fmla="*/ 3484330 h 6407421"/>
              <a:gd name="connsiteX2155" fmla="*/ 236037 w 11701760"/>
              <a:gd name="connsiteY2155" fmla="*/ 3484330 h 6407421"/>
              <a:gd name="connsiteX2156" fmla="*/ 1 w 11701760"/>
              <a:gd name="connsiteY2156" fmla="*/ 3454727 h 6407421"/>
              <a:gd name="connsiteX2157" fmla="*/ 29603 w 11701760"/>
              <a:gd name="connsiteY2157" fmla="*/ 3454727 h 6407421"/>
              <a:gd name="connsiteX2158" fmla="*/ 29603 w 11701760"/>
              <a:gd name="connsiteY2158" fmla="*/ 3484330 h 6407421"/>
              <a:gd name="connsiteX2159" fmla="*/ 1 w 11701760"/>
              <a:gd name="connsiteY2159" fmla="*/ 3484330 h 6407421"/>
              <a:gd name="connsiteX2160" fmla="*/ 11672158 w 11701760"/>
              <a:gd name="connsiteY2160" fmla="*/ 3189089 h 6407421"/>
              <a:gd name="connsiteX2161" fmla="*/ 11701760 w 11701760"/>
              <a:gd name="connsiteY2161" fmla="*/ 3189089 h 6407421"/>
              <a:gd name="connsiteX2162" fmla="*/ 11701760 w 11701760"/>
              <a:gd name="connsiteY2162" fmla="*/ 3218566 h 6407421"/>
              <a:gd name="connsiteX2163" fmla="*/ 11672158 w 11701760"/>
              <a:gd name="connsiteY2163" fmla="*/ 3218566 h 6407421"/>
              <a:gd name="connsiteX2164" fmla="*/ 11405961 w 11701760"/>
              <a:gd name="connsiteY2164" fmla="*/ 3189089 h 6407421"/>
              <a:gd name="connsiteX2165" fmla="*/ 11435563 w 11701760"/>
              <a:gd name="connsiteY2165" fmla="*/ 3189089 h 6407421"/>
              <a:gd name="connsiteX2166" fmla="*/ 11435563 w 11701760"/>
              <a:gd name="connsiteY2166" fmla="*/ 3218566 h 6407421"/>
              <a:gd name="connsiteX2167" fmla="*/ 11405961 w 11701760"/>
              <a:gd name="connsiteY2167" fmla="*/ 3218566 h 6407421"/>
              <a:gd name="connsiteX2168" fmla="*/ 5825310 w 11701760"/>
              <a:gd name="connsiteY2168" fmla="*/ 3189089 h 6407421"/>
              <a:gd name="connsiteX2169" fmla="*/ 5854913 w 11701760"/>
              <a:gd name="connsiteY2169" fmla="*/ 3189089 h 6407421"/>
              <a:gd name="connsiteX2170" fmla="*/ 5854913 w 11701760"/>
              <a:gd name="connsiteY2170" fmla="*/ 3218566 h 6407421"/>
              <a:gd name="connsiteX2171" fmla="*/ 5825310 w 11701760"/>
              <a:gd name="connsiteY2171" fmla="*/ 3218566 h 6407421"/>
              <a:gd name="connsiteX2172" fmla="*/ 5559113 w 11701760"/>
              <a:gd name="connsiteY2172" fmla="*/ 3189089 h 6407421"/>
              <a:gd name="connsiteX2173" fmla="*/ 5588715 w 11701760"/>
              <a:gd name="connsiteY2173" fmla="*/ 3189089 h 6407421"/>
              <a:gd name="connsiteX2174" fmla="*/ 5588715 w 11701760"/>
              <a:gd name="connsiteY2174" fmla="*/ 3218566 h 6407421"/>
              <a:gd name="connsiteX2175" fmla="*/ 5559113 w 11701760"/>
              <a:gd name="connsiteY2175" fmla="*/ 3218566 h 6407421"/>
              <a:gd name="connsiteX2176" fmla="*/ 11139872 w 11701760"/>
              <a:gd name="connsiteY2176" fmla="*/ 3189087 h 6407421"/>
              <a:gd name="connsiteX2177" fmla="*/ 11169474 w 11701760"/>
              <a:gd name="connsiteY2177" fmla="*/ 3189087 h 6407421"/>
              <a:gd name="connsiteX2178" fmla="*/ 11169474 w 11701760"/>
              <a:gd name="connsiteY2178" fmla="*/ 3218566 h 6407421"/>
              <a:gd name="connsiteX2179" fmla="*/ 11139872 w 11701760"/>
              <a:gd name="connsiteY2179" fmla="*/ 3218566 h 6407421"/>
              <a:gd name="connsiteX2180" fmla="*/ 10873675 w 11701760"/>
              <a:gd name="connsiteY2180" fmla="*/ 3189087 h 6407421"/>
              <a:gd name="connsiteX2181" fmla="*/ 10903277 w 11701760"/>
              <a:gd name="connsiteY2181" fmla="*/ 3189087 h 6407421"/>
              <a:gd name="connsiteX2182" fmla="*/ 10903277 w 11701760"/>
              <a:gd name="connsiteY2182" fmla="*/ 3218566 h 6407421"/>
              <a:gd name="connsiteX2183" fmla="*/ 10873675 w 11701760"/>
              <a:gd name="connsiteY2183" fmla="*/ 3218566 h 6407421"/>
              <a:gd name="connsiteX2184" fmla="*/ 5293024 w 11701760"/>
              <a:gd name="connsiteY2184" fmla="*/ 3189087 h 6407421"/>
              <a:gd name="connsiteX2185" fmla="*/ 5322626 w 11701760"/>
              <a:gd name="connsiteY2185" fmla="*/ 3189087 h 6407421"/>
              <a:gd name="connsiteX2186" fmla="*/ 5322626 w 11701760"/>
              <a:gd name="connsiteY2186" fmla="*/ 3218566 h 6407421"/>
              <a:gd name="connsiteX2187" fmla="*/ 5293024 w 11701760"/>
              <a:gd name="connsiteY2187" fmla="*/ 3218566 h 6407421"/>
              <a:gd name="connsiteX2188" fmla="*/ 5026827 w 11701760"/>
              <a:gd name="connsiteY2188" fmla="*/ 3189087 h 6407421"/>
              <a:gd name="connsiteX2189" fmla="*/ 5056429 w 11701760"/>
              <a:gd name="connsiteY2189" fmla="*/ 3189087 h 6407421"/>
              <a:gd name="connsiteX2190" fmla="*/ 5056429 w 11701760"/>
              <a:gd name="connsiteY2190" fmla="*/ 3218566 h 6407421"/>
              <a:gd name="connsiteX2191" fmla="*/ 5026827 w 11701760"/>
              <a:gd name="connsiteY2191" fmla="*/ 3218566 h 6407421"/>
              <a:gd name="connsiteX2192" fmla="*/ 10607478 w 11701760"/>
              <a:gd name="connsiteY2192" fmla="*/ 3189086 h 6407421"/>
              <a:gd name="connsiteX2193" fmla="*/ 10637188 w 11701760"/>
              <a:gd name="connsiteY2193" fmla="*/ 3189086 h 6407421"/>
              <a:gd name="connsiteX2194" fmla="*/ 10637188 w 11701760"/>
              <a:gd name="connsiteY2194" fmla="*/ 3218566 h 6407421"/>
              <a:gd name="connsiteX2195" fmla="*/ 10607478 w 11701760"/>
              <a:gd name="connsiteY2195" fmla="*/ 3218566 h 6407421"/>
              <a:gd name="connsiteX2196" fmla="*/ 4760630 w 11701760"/>
              <a:gd name="connsiteY2196" fmla="*/ 3189086 h 6407421"/>
              <a:gd name="connsiteX2197" fmla="*/ 4790340 w 11701760"/>
              <a:gd name="connsiteY2197" fmla="*/ 3189086 h 6407421"/>
              <a:gd name="connsiteX2198" fmla="*/ 4790340 w 11701760"/>
              <a:gd name="connsiteY2198" fmla="*/ 3218566 h 6407421"/>
              <a:gd name="connsiteX2199" fmla="*/ 4760630 w 11701760"/>
              <a:gd name="connsiteY2199" fmla="*/ 3218566 h 6407421"/>
              <a:gd name="connsiteX2200" fmla="*/ 10341389 w 11701760"/>
              <a:gd name="connsiteY2200" fmla="*/ 3189085 h 6407421"/>
              <a:gd name="connsiteX2201" fmla="*/ 10370992 w 11701760"/>
              <a:gd name="connsiteY2201" fmla="*/ 3189085 h 6407421"/>
              <a:gd name="connsiteX2202" fmla="*/ 10370992 w 11701760"/>
              <a:gd name="connsiteY2202" fmla="*/ 3218566 h 6407421"/>
              <a:gd name="connsiteX2203" fmla="*/ 10341389 w 11701760"/>
              <a:gd name="connsiteY2203" fmla="*/ 3218566 h 6407421"/>
              <a:gd name="connsiteX2204" fmla="*/ 4494541 w 11701760"/>
              <a:gd name="connsiteY2204" fmla="*/ 3189085 h 6407421"/>
              <a:gd name="connsiteX2205" fmla="*/ 4524144 w 11701760"/>
              <a:gd name="connsiteY2205" fmla="*/ 3189085 h 6407421"/>
              <a:gd name="connsiteX2206" fmla="*/ 4524144 w 11701760"/>
              <a:gd name="connsiteY2206" fmla="*/ 3218566 h 6407421"/>
              <a:gd name="connsiteX2207" fmla="*/ 4494541 w 11701760"/>
              <a:gd name="connsiteY2207" fmla="*/ 3218566 h 6407421"/>
              <a:gd name="connsiteX2208" fmla="*/ 10075192 w 11701760"/>
              <a:gd name="connsiteY2208" fmla="*/ 3189084 h 6407421"/>
              <a:gd name="connsiteX2209" fmla="*/ 10104794 w 11701760"/>
              <a:gd name="connsiteY2209" fmla="*/ 3189084 h 6407421"/>
              <a:gd name="connsiteX2210" fmla="*/ 10104794 w 11701760"/>
              <a:gd name="connsiteY2210" fmla="*/ 3218566 h 6407421"/>
              <a:gd name="connsiteX2211" fmla="*/ 10075192 w 11701760"/>
              <a:gd name="connsiteY2211" fmla="*/ 3218566 h 6407421"/>
              <a:gd name="connsiteX2212" fmla="*/ 4228344 w 11701760"/>
              <a:gd name="connsiteY2212" fmla="*/ 3189084 h 6407421"/>
              <a:gd name="connsiteX2213" fmla="*/ 4257946 w 11701760"/>
              <a:gd name="connsiteY2213" fmla="*/ 3189084 h 6407421"/>
              <a:gd name="connsiteX2214" fmla="*/ 4257946 w 11701760"/>
              <a:gd name="connsiteY2214" fmla="*/ 3218566 h 6407421"/>
              <a:gd name="connsiteX2215" fmla="*/ 4228344 w 11701760"/>
              <a:gd name="connsiteY2215" fmla="*/ 3218566 h 6407421"/>
              <a:gd name="connsiteX2216" fmla="*/ 9809103 w 11701760"/>
              <a:gd name="connsiteY2216" fmla="*/ 3189083 h 6407421"/>
              <a:gd name="connsiteX2217" fmla="*/ 9838705 w 11701760"/>
              <a:gd name="connsiteY2217" fmla="*/ 3189083 h 6407421"/>
              <a:gd name="connsiteX2218" fmla="*/ 9838705 w 11701760"/>
              <a:gd name="connsiteY2218" fmla="*/ 3218566 h 6407421"/>
              <a:gd name="connsiteX2219" fmla="*/ 9809103 w 11701760"/>
              <a:gd name="connsiteY2219" fmla="*/ 3218566 h 6407421"/>
              <a:gd name="connsiteX2220" fmla="*/ 3962255 w 11701760"/>
              <a:gd name="connsiteY2220" fmla="*/ 3189083 h 6407421"/>
              <a:gd name="connsiteX2221" fmla="*/ 3991857 w 11701760"/>
              <a:gd name="connsiteY2221" fmla="*/ 3189083 h 6407421"/>
              <a:gd name="connsiteX2222" fmla="*/ 3991857 w 11701760"/>
              <a:gd name="connsiteY2222" fmla="*/ 3218566 h 6407421"/>
              <a:gd name="connsiteX2223" fmla="*/ 3962255 w 11701760"/>
              <a:gd name="connsiteY2223" fmla="*/ 3218566 h 6407421"/>
              <a:gd name="connsiteX2224" fmla="*/ 9542906 w 11701760"/>
              <a:gd name="connsiteY2224" fmla="*/ 3189082 h 6407421"/>
              <a:gd name="connsiteX2225" fmla="*/ 9572509 w 11701760"/>
              <a:gd name="connsiteY2225" fmla="*/ 3189082 h 6407421"/>
              <a:gd name="connsiteX2226" fmla="*/ 9572509 w 11701760"/>
              <a:gd name="connsiteY2226" fmla="*/ 3218566 h 6407421"/>
              <a:gd name="connsiteX2227" fmla="*/ 9542906 w 11701760"/>
              <a:gd name="connsiteY2227" fmla="*/ 3218566 h 6407421"/>
              <a:gd name="connsiteX2228" fmla="*/ 3696058 w 11701760"/>
              <a:gd name="connsiteY2228" fmla="*/ 3189082 h 6407421"/>
              <a:gd name="connsiteX2229" fmla="*/ 3725661 w 11701760"/>
              <a:gd name="connsiteY2229" fmla="*/ 3189082 h 6407421"/>
              <a:gd name="connsiteX2230" fmla="*/ 3725661 w 11701760"/>
              <a:gd name="connsiteY2230" fmla="*/ 3218566 h 6407421"/>
              <a:gd name="connsiteX2231" fmla="*/ 3696058 w 11701760"/>
              <a:gd name="connsiteY2231" fmla="*/ 3218566 h 6407421"/>
              <a:gd name="connsiteX2232" fmla="*/ 9276817 w 11701760"/>
              <a:gd name="connsiteY2232" fmla="*/ 3189081 h 6407421"/>
              <a:gd name="connsiteX2233" fmla="*/ 9306420 w 11701760"/>
              <a:gd name="connsiteY2233" fmla="*/ 3189081 h 6407421"/>
              <a:gd name="connsiteX2234" fmla="*/ 9306420 w 11701760"/>
              <a:gd name="connsiteY2234" fmla="*/ 3218566 h 6407421"/>
              <a:gd name="connsiteX2235" fmla="*/ 9276817 w 11701760"/>
              <a:gd name="connsiteY2235" fmla="*/ 3218566 h 6407421"/>
              <a:gd name="connsiteX2236" fmla="*/ 9010620 w 11701760"/>
              <a:gd name="connsiteY2236" fmla="*/ 3189081 h 6407421"/>
              <a:gd name="connsiteX2237" fmla="*/ 9040222 w 11701760"/>
              <a:gd name="connsiteY2237" fmla="*/ 3189081 h 6407421"/>
              <a:gd name="connsiteX2238" fmla="*/ 9040222 w 11701760"/>
              <a:gd name="connsiteY2238" fmla="*/ 3218566 h 6407421"/>
              <a:gd name="connsiteX2239" fmla="*/ 9010620 w 11701760"/>
              <a:gd name="connsiteY2239" fmla="*/ 3218566 h 6407421"/>
              <a:gd name="connsiteX2240" fmla="*/ 3429969 w 11701760"/>
              <a:gd name="connsiteY2240" fmla="*/ 3189081 h 6407421"/>
              <a:gd name="connsiteX2241" fmla="*/ 3459572 w 11701760"/>
              <a:gd name="connsiteY2241" fmla="*/ 3189081 h 6407421"/>
              <a:gd name="connsiteX2242" fmla="*/ 3459572 w 11701760"/>
              <a:gd name="connsiteY2242" fmla="*/ 3218566 h 6407421"/>
              <a:gd name="connsiteX2243" fmla="*/ 3429969 w 11701760"/>
              <a:gd name="connsiteY2243" fmla="*/ 3218566 h 6407421"/>
              <a:gd name="connsiteX2244" fmla="*/ 3163772 w 11701760"/>
              <a:gd name="connsiteY2244" fmla="*/ 3189081 h 6407421"/>
              <a:gd name="connsiteX2245" fmla="*/ 3193374 w 11701760"/>
              <a:gd name="connsiteY2245" fmla="*/ 3189081 h 6407421"/>
              <a:gd name="connsiteX2246" fmla="*/ 3193374 w 11701760"/>
              <a:gd name="connsiteY2246" fmla="*/ 3218566 h 6407421"/>
              <a:gd name="connsiteX2247" fmla="*/ 3163772 w 11701760"/>
              <a:gd name="connsiteY2247" fmla="*/ 3218566 h 6407421"/>
              <a:gd name="connsiteX2248" fmla="*/ 8744423 w 11701760"/>
              <a:gd name="connsiteY2248" fmla="*/ 3189080 h 6407421"/>
              <a:gd name="connsiteX2249" fmla="*/ 8774026 w 11701760"/>
              <a:gd name="connsiteY2249" fmla="*/ 3189080 h 6407421"/>
              <a:gd name="connsiteX2250" fmla="*/ 8774026 w 11701760"/>
              <a:gd name="connsiteY2250" fmla="*/ 3218566 h 6407421"/>
              <a:gd name="connsiteX2251" fmla="*/ 8744423 w 11701760"/>
              <a:gd name="connsiteY2251" fmla="*/ 3218566 h 6407421"/>
              <a:gd name="connsiteX2252" fmla="*/ 2897575 w 11701760"/>
              <a:gd name="connsiteY2252" fmla="*/ 3189080 h 6407421"/>
              <a:gd name="connsiteX2253" fmla="*/ 2927178 w 11701760"/>
              <a:gd name="connsiteY2253" fmla="*/ 3189080 h 6407421"/>
              <a:gd name="connsiteX2254" fmla="*/ 2927178 w 11701760"/>
              <a:gd name="connsiteY2254" fmla="*/ 3218566 h 6407421"/>
              <a:gd name="connsiteX2255" fmla="*/ 2897575 w 11701760"/>
              <a:gd name="connsiteY2255" fmla="*/ 3218566 h 6407421"/>
              <a:gd name="connsiteX2256" fmla="*/ 8478226 w 11701760"/>
              <a:gd name="connsiteY2256" fmla="*/ 3189079 h 6407421"/>
              <a:gd name="connsiteX2257" fmla="*/ 8507828 w 11701760"/>
              <a:gd name="connsiteY2257" fmla="*/ 3189079 h 6407421"/>
              <a:gd name="connsiteX2258" fmla="*/ 8507828 w 11701760"/>
              <a:gd name="connsiteY2258" fmla="*/ 3218566 h 6407421"/>
              <a:gd name="connsiteX2259" fmla="*/ 8478226 w 11701760"/>
              <a:gd name="connsiteY2259" fmla="*/ 3218566 h 6407421"/>
              <a:gd name="connsiteX2260" fmla="*/ 2631378 w 11701760"/>
              <a:gd name="connsiteY2260" fmla="*/ 3189079 h 6407421"/>
              <a:gd name="connsiteX2261" fmla="*/ 2660980 w 11701760"/>
              <a:gd name="connsiteY2261" fmla="*/ 3189079 h 6407421"/>
              <a:gd name="connsiteX2262" fmla="*/ 2660980 w 11701760"/>
              <a:gd name="connsiteY2262" fmla="*/ 3218566 h 6407421"/>
              <a:gd name="connsiteX2263" fmla="*/ 2631378 w 11701760"/>
              <a:gd name="connsiteY2263" fmla="*/ 3218566 h 6407421"/>
              <a:gd name="connsiteX2264" fmla="*/ 8212137 w 11701760"/>
              <a:gd name="connsiteY2264" fmla="*/ 3189078 h 6407421"/>
              <a:gd name="connsiteX2265" fmla="*/ 8241740 w 11701760"/>
              <a:gd name="connsiteY2265" fmla="*/ 3189078 h 6407421"/>
              <a:gd name="connsiteX2266" fmla="*/ 8241740 w 11701760"/>
              <a:gd name="connsiteY2266" fmla="*/ 3218566 h 6407421"/>
              <a:gd name="connsiteX2267" fmla="*/ 8212137 w 11701760"/>
              <a:gd name="connsiteY2267" fmla="*/ 3218566 h 6407421"/>
              <a:gd name="connsiteX2268" fmla="*/ 2365289 w 11701760"/>
              <a:gd name="connsiteY2268" fmla="*/ 3189078 h 6407421"/>
              <a:gd name="connsiteX2269" fmla="*/ 2394892 w 11701760"/>
              <a:gd name="connsiteY2269" fmla="*/ 3189078 h 6407421"/>
              <a:gd name="connsiteX2270" fmla="*/ 2394892 w 11701760"/>
              <a:gd name="connsiteY2270" fmla="*/ 3218566 h 6407421"/>
              <a:gd name="connsiteX2271" fmla="*/ 2365289 w 11701760"/>
              <a:gd name="connsiteY2271" fmla="*/ 3218566 h 6407421"/>
              <a:gd name="connsiteX2272" fmla="*/ 7945940 w 11701760"/>
              <a:gd name="connsiteY2272" fmla="*/ 3189077 h 6407421"/>
              <a:gd name="connsiteX2273" fmla="*/ 7975543 w 11701760"/>
              <a:gd name="connsiteY2273" fmla="*/ 3189077 h 6407421"/>
              <a:gd name="connsiteX2274" fmla="*/ 7975543 w 11701760"/>
              <a:gd name="connsiteY2274" fmla="*/ 3218566 h 6407421"/>
              <a:gd name="connsiteX2275" fmla="*/ 7945940 w 11701760"/>
              <a:gd name="connsiteY2275" fmla="*/ 3218566 h 6407421"/>
              <a:gd name="connsiteX2276" fmla="*/ 2099092 w 11701760"/>
              <a:gd name="connsiteY2276" fmla="*/ 3189077 h 6407421"/>
              <a:gd name="connsiteX2277" fmla="*/ 2128695 w 11701760"/>
              <a:gd name="connsiteY2277" fmla="*/ 3189077 h 6407421"/>
              <a:gd name="connsiteX2278" fmla="*/ 2128695 w 11701760"/>
              <a:gd name="connsiteY2278" fmla="*/ 3218566 h 6407421"/>
              <a:gd name="connsiteX2279" fmla="*/ 2099092 w 11701760"/>
              <a:gd name="connsiteY2279" fmla="*/ 3218566 h 6407421"/>
              <a:gd name="connsiteX2280" fmla="*/ 7679743 w 11701760"/>
              <a:gd name="connsiteY2280" fmla="*/ 3189076 h 6407421"/>
              <a:gd name="connsiteX2281" fmla="*/ 7709346 w 11701760"/>
              <a:gd name="connsiteY2281" fmla="*/ 3189076 h 6407421"/>
              <a:gd name="connsiteX2282" fmla="*/ 7709346 w 11701760"/>
              <a:gd name="connsiteY2282" fmla="*/ 3218566 h 6407421"/>
              <a:gd name="connsiteX2283" fmla="*/ 7679743 w 11701760"/>
              <a:gd name="connsiteY2283" fmla="*/ 3218566 h 6407421"/>
              <a:gd name="connsiteX2284" fmla="*/ 7413653 w 11701760"/>
              <a:gd name="connsiteY2284" fmla="*/ 3189076 h 6407421"/>
              <a:gd name="connsiteX2285" fmla="*/ 7443256 w 11701760"/>
              <a:gd name="connsiteY2285" fmla="*/ 3189076 h 6407421"/>
              <a:gd name="connsiteX2286" fmla="*/ 7443256 w 11701760"/>
              <a:gd name="connsiteY2286" fmla="*/ 3218566 h 6407421"/>
              <a:gd name="connsiteX2287" fmla="*/ 7413653 w 11701760"/>
              <a:gd name="connsiteY2287" fmla="*/ 3218566 h 6407421"/>
              <a:gd name="connsiteX2288" fmla="*/ 1832898 w 11701760"/>
              <a:gd name="connsiteY2288" fmla="*/ 3189076 h 6407421"/>
              <a:gd name="connsiteX2289" fmla="*/ 1862498 w 11701760"/>
              <a:gd name="connsiteY2289" fmla="*/ 3189076 h 6407421"/>
              <a:gd name="connsiteX2290" fmla="*/ 1862498 w 11701760"/>
              <a:gd name="connsiteY2290" fmla="*/ 3218566 h 6407421"/>
              <a:gd name="connsiteX2291" fmla="*/ 1832898 w 11701760"/>
              <a:gd name="connsiteY2291" fmla="*/ 3218566 h 6407421"/>
              <a:gd name="connsiteX2292" fmla="*/ 1566808 w 11701760"/>
              <a:gd name="connsiteY2292" fmla="*/ 3189076 h 6407421"/>
              <a:gd name="connsiteX2293" fmla="*/ 1596409 w 11701760"/>
              <a:gd name="connsiteY2293" fmla="*/ 3189076 h 6407421"/>
              <a:gd name="connsiteX2294" fmla="*/ 1596409 w 11701760"/>
              <a:gd name="connsiteY2294" fmla="*/ 3218566 h 6407421"/>
              <a:gd name="connsiteX2295" fmla="*/ 1566808 w 11701760"/>
              <a:gd name="connsiteY2295" fmla="*/ 3218566 h 6407421"/>
              <a:gd name="connsiteX2296" fmla="*/ 7147456 w 11701760"/>
              <a:gd name="connsiteY2296" fmla="*/ 3189075 h 6407421"/>
              <a:gd name="connsiteX2297" fmla="*/ 7177058 w 11701760"/>
              <a:gd name="connsiteY2297" fmla="*/ 3189075 h 6407421"/>
              <a:gd name="connsiteX2298" fmla="*/ 7177058 w 11701760"/>
              <a:gd name="connsiteY2298" fmla="*/ 3218566 h 6407421"/>
              <a:gd name="connsiteX2299" fmla="*/ 7147456 w 11701760"/>
              <a:gd name="connsiteY2299" fmla="*/ 3218566 h 6407421"/>
              <a:gd name="connsiteX2300" fmla="*/ 1300611 w 11701760"/>
              <a:gd name="connsiteY2300" fmla="*/ 3189075 h 6407421"/>
              <a:gd name="connsiteX2301" fmla="*/ 1330213 w 11701760"/>
              <a:gd name="connsiteY2301" fmla="*/ 3189075 h 6407421"/>
              <a:gd name="connsiteX2302" fmla="*/ 1330213 w 11701760"/>
              <a:gd name="connsiteY2302" fmla="*/ 3218566 h 6407421"/>
              <a:gd name="connsiteX2303" fmla="*/ 1300611 w 11701760"/>
              <a:gd name="connsiteY2303" fmla="*/ 3218566 h 6407421"/>
              <a:gd name="connsiteX2304" fmla="*/ 6881367 w 11701760"/>
              <a:gd name="connsiteY2304" fmla="*/ 3189074 h 6407421"/>
              <a:gd name="connsiteX2305" fmla="*/ 6910970 w 11701760"/>
              <a:gd name="connsiteY2305" fmla="*/ 3189074 h 6407421"/>
              <a:gd name="connsiteX2306" fmla="*/ 6910970 w 11701760"/>
              <a:gd name="connsiteY2306" fmla="*/ 3218566 h 6407421"/>
              <a:gd name="connsiteX2307" fmla="*/ 6881367 w 11701760"/>
              <a:gd name="connsiteY2307" fmla="*/ 3218566 h 6407421"/>
              <a:gd name="connsiteX2308" fmla="*/ 1034520 w 11701760"/>
              <a:gd name="connsiteY2308" fmla="*/ 3189074 h 6407421"/>
              <a:gd name="connsiteX2309" fmla="*/ 1064123 w 11701760"/>
              <a:gd name="connsiteY2309" fmla="*/ 3189074 h 6407421"/>
              <a:gd name="connsiteX2310" fmla="*/ 1064123 w 11701760"/>
              <a:gd name="connsiteY2310" fmla="*/ 3218566 h 6407421"/>
              <a:gd name="connsiteX2311" fmla="*/ 1034520 w 11701760"/>
              <a:gd name="connsiteY2311" fmla="*/ 3218566 h 6407421"/>
              <a:gd name="connsiteX2312" fmla="*/ 6615170 w 11701760"/>
              <a:gd name="connsiteY2312" fmla="*/ 3189073 h 6407421"/>
              <a:gd name="connsiteX2313" fmla="*/ 6644773 w 11701760"/>
              <a:gd name="connsiteY2313" fmla="*/ 3189073 h 6407421"/>
              <a:gd name="connsiteX2314" fmla="*/ 6644773 w 11701760"/>
              <a:gd name="connsiteY2314" fmla="*/ 3218566 h 6407421"/>
              <a:gd name="connsiteX2315" fmla="*/ 6615170 w 11701760"/>
              <a:gd name="connsiteY2315" fmla="*/ 3218566 h 6407421"/>
              <a:gd name="connsiteX2316" fmla="*/ 768327 w 11701760"/>
              <a:gd name="connsiteY2316" fmla="*/ 3189073 h 6407421"/>
              <a:gd name="connsiteX2317" fmla="*/ 797926 w 11701760"/>
              <a:gd name="connsiteY2317" fmla="*/ 3189073 h 6407421"/>
              <a:gd name="connsiteX2318" fmla="*/ 797926 w 11701760"/>
              <a:gd name="connsiteY2318" fmla="*/ 3218566 h 6407421"/>
              <a:gd name="connsiteX2319" fmla="*/ 768327 w 11701760"/>
              <a:gd name="connsiteY2319" fmla="*/ 3218566 h 6407421"/>
              <a:gd name="connsiteX2320" fmla="*/ 6349081 w 11701760"/>
              <a:gd name="connsiteY2320" fmla="*/ 3189072 h 6407421"/>
              <a:gd name="connsiteX2321" fmla="*/ 6378683 w 11701760"/>
              <a:gd name="connsiteY2321" fmla="*/ 3189072 h 6407421"/>
              <a:gd name="connsiteX2322" fmla="*/ 6378683 w 11701760"/>
              <a:gd name="connsiteY2322" fmla="*/ 3218566 h 6407421"/>
              <a:gd name="connsiteX2323" fmla="*/ 6349081 w 11701760"/>
              <a:gd name="connsiteY2323" fmla="*/ 3218566 h 6407421"/>
              <a:gd name="connsiteX2324" fmla="*/ 502236 w 11701760"/>
              <a:gd name="connsiteY2324" fmla="*/ 3189072 h 6407421"/>
              <a:gd name="connsiteX2325" fmla="*/ 531839 w 11701760"/>
              <a:gd name="connsiteY2325" fmla="*/ 3189072 h 6407421"/>
              <a:gd name="connsiteX2326" fmla="*/ 531839 w 11701760"/>
              <a:gd name="connsiteY2326" fmla="*/ 3218566 h 6407421"/>
              <a:gd name="connsiteX2327" fmla="*/ 502236 w 11701760"/>
              <a:gd name="connsiteY2327" fmla="*/ 3218566 h 6407421"/>
              <a:gd name="connsiteX2328" fmla="*/ 6082884 w 11701760"/>
              <a:gd name="connsiteY2328" fmla="*/ 3189071 h 6407421"/>
              <a:gd name="connsiteX2329" fmla="*/ 6112486 w 11701760"/>
              <a:gd name="connsiteY2329" fmla="*/ 3189071 h 6407421"/>
              <a:gd name="connsiteX2330" fmla="*/ 6112486 w 11701760"/>
              <a:gd name="connsiteY2330" fmla="*/ 3218566 h 6407421"/>
              <a:gd name="connsiteX2331" fmla="*/ 6082884 w 11701760"/>
              <a:gd name="connsiteY2331" fmla="*/ 3218566 h 6407421"/>
              <a:gd name="connsiteX2332" fmla="*/ 236037 w 11701760"/>
              <a:gd name="connsiteY2332" fmla="*/ 3189071 h 6407421"/>
              <a:gd name="connsiteX2333" fmla="*/ 265639 w 11701760"/>
              <a:gd name="connsiteY2333" fmla="*/ 3189071 h 6407421"/>
              <a:gd name="connsiteX2334" fmla="*/ 265639 w 11701760"/>
              <a:gd name="connsiteY2334" fmla="*/ 3218566 h 6407421"/>
              <a:gd name="connsiteX2335" fmla="*/ 236037 w 11701760"/>
              <a:gd name="connsiteY2335" fmla="*/ 3218566 h 6407421"/>
              <a:gd name="connsiteX2336" fmla="*/ 1 w 11701760"/>
              <a:gd name="connsiteY2336" fmla="*/ 3189071 h 6407421"/>
              <a:gd name="connsiteX2337" fmla="*/ 29603 w 11701760"/>
              <a:gd name="connsiteY2337" fmla="*/ 3189071 h 6407421"/>
              <a:gd name="connsiteX2338" fmla="*/ 29603 w 11701760"/>
              <a:gd name="connsiteY2338" fmla="*/ 3218566 h 6407421"/>
              <a:gd name="connsiteX2339" fmla="*/ 1 w 11701760"/>
              <a:gd name="connsiteY2339" fmla="*/ 3218566 h 6407421"/>
              <a:gd name="connsiteX2340" fmla="*/ 11672158 w 11701760"/>
              <a:gd name="connsiteY2340" fmla="*/ 2923329 h 6407421"/>
              <a:gd name="connsiteX2341" fmla="*/ 11701760 w 11701760"/>
              <a:gd name="connsiteY2341" fmla="*/ 2923329 h 6407421"/>
              <a:gd name="connsiteX2342" fmla="*/ 11701760 w 11701760"/>
              <a:gd name="connsiteY2342" fmla="*/ 2952824 h 6407421"/>
              <a:gd name="connsiteX2343" fmla="*/ 11672158 w 11701760"/>
              <a:gd name="connsiteY2343" fmla="*/ 2952824 h 6407421"/>
              <a:gd name="connsiteX2344" fmla="*/ 5825310 w 11701760"/>
              <a:gd name="connsiteY2344" fmla="*/ 2923329 h 6407421"/>
              <a:gd name="connsiteX2345" fmla="*/ 5854913 w 11701760"/>
              <a:gd name="connsiteY2345" fmla="*/ 2923329 h 6407421"/>
              <a:gd name="connsiteX2346" fmla="*/ 5854913 w 11701760"/>
              <a:gd name="connsiteY2346" fmla="*/ 2952824 h 6407421"/>
              <a:gd name="connsiteX2347" fmla="*/ 5825310 w 11701760"/>
              <a:gd name="connsiteY2347" fmla="*/ 2952824 h 6407421"/>
              <a:gd name="connsiteX2348" fmla="*/ 11405961 w 11701760"/>
              <a:gd name="connsiteY2348" fmla="*/ 2923328 h 6407421"/>
              <a:gd name="connsiteX2349" fmla="*/ 11435563 w 11701760"/>
              <a:gd name="connsiteY2349" fmla="*/ 2923328 h 6407421"/>
              <a:gd name="connsiteX2350" fmla="*/ 11435563 w 11701760"/>
              <a:gd name="connsiteY2350" fmla="*/ 2952823 h 6407421"/>
              <a:gd name="connsiteX2351" fmla="*/ 11405961 w 11701760"/>
              <a:gd name="connsiteY2351" fmla="*/ 2952823 h 6407421"/>
              <a:gd name="connsiteX2352" fmla="*/ 5559113 w 11701760"/>
              <a:gd name="connsiteY2352" fmla="*/ 2923328 h 6407421"/>
              <a:gd name="connsiteX2353" fmla="*/ 5588715 w 11701760"/>
              <a:gd name="connsiteY2353" fmla="*/ 2923328 h 6407421"/>
              <a:gd name="connsiteX2354" fmla="*/ 5588715 w 11701760"/>
              <a:gd name="connsiteY2354" fmla="*/ 2952823 h 6407421"/>
              <a:gd name="connsiteX2355" fmla="*/ 5559113 w 11701760"/>
              <a:gd name="connsiteY2355" fmla="*/ 2952823 h 6407421"/>
              <a:gd name="connsiteX2356" fmla="*/ 11139872 w 11701760"/>
              <a:gd name="connsiteY2356" fmla="*/ 2923327 h 6407421"/>
              <a:gd name="connsiteX2357" fmla="*/ 11169474 w 11701760"/>
              <a:gd name="connsiteY2357" fmla="*/ 2923327 h 6407421"/>
              <a:gd name="connsiteX2358" fmla="*/ 11169474 w 11701760"/>
              <a:gd name="connsiteY2358" fmla="*/ 2952822 h 6407421"/>
              <a:gd name="connsiteX2359" fmla="*/ 11139872 w 11701760"/>
              <a:gd name="connsiteY2359" fmla="*/ 2952822 h 6407421"/>
              <a:gd name="connsiteX2360" fmla="*/ 5293024 w 11701760"/>
              <a:gd name="connsiteY2360" fmla="*/ 2923327 h 6407421"/>
              <a:gd name="connsiteX2361" fmla="*/ 5322626 w 11701760"/>
              <a:gd name="connsiteY2361" fmla="*/ 2923327 h 6407421"/>
              <a:gd name="connsiteX2362" fmla="*/ 5322626 w 11701760"/>
              <a:gd name="connsiteY2362" fmla="*/ 2952822 h 6407421"/>
              <a:gd name="connsiteX2363" fmla="*/ 5293024 w 11701760"/>
              <a:gd name="connsiteY2363" fmla="*/ 2952822 h 6407421"/>
              <a:gd name="connsiteX2364" fmla="*/ 10873675 w 11701760"/>
              <a:gd name="connsiteY2364" fmla="*/ 2923326 h 6407421"/>
              <a:gd name="connsiteX2365" fmla="*/ 10903277 w 11701760"/>
              <a:gd name="connsiteY2365" fmla="*/ 2923326 h 6407421"/>
              <a:gd name="connsiteX2366" fmla="*/ 10903277 w 11701760"/>
              <a:gd name="connsiteY2366" fmla="*/ 2952821 h 6407421"/>
              <a:gd name="connsiteX2367" fmla="*/ 10873675 w 11701760"/>
              <a:gd name="connsiteY2367" fmla="*/ 2952821 h 6407421"/>
              <a:gd name="connsiteX2368" fmla="*/ 5026827 w 11701760"/>
              <a:gd name="connsiteY2368" fmla="*/ 2923326 h 6407421"/>
              <a:gd name="connsiteX2369" fmla="*/ 5056429 w 11701760"/>
              <a:gd name="connsiteY2369" fmla="*/ 2923326 h 6407421"/>
              <a:gd name="connsiteX2370" fmla="*/ 5056429 w 11701760"/>
              <a:gd name="connsiteY2370" fmla="*/ 2952821 h 6407421"/>
              <a:gd name="connsiteX2371" fmla="*/ 5026827 w 11701760"/>
              <a:gd name="connsiteY2371" fmla="*/ 2952821 h 6407421"/>
              <a:gd name="connsiteX2372" fmla="*/ 10607478 w 11701760"/>
              <a:gd name="connsiteY2372" fmla="*/ 2923325 h 6407421"/>
              <a:gd name="connsiteX2373" fmla="*/ 10637188 w 11701760"/>
              <a:gd name="connsiteY2373" fmla="*/ 2923325 h 6407421"/>
              <a:gd name="connsiteX2374" fmla="*/ 10637188 w 11701760"/>
              <a:gd name="connsiteY2374" fmla="*/ 2952820 h 6407421"/>
              <a:gd name="connsiteX2375" fmla="*/ 10607478 w 11701760"/>
              <a:gd name="connsiteY2375" fmla="*/ 2952820 h 6407421"/>
              <a:gd name="connsiteX2376" fmla="*/ 4760630 w 11701760"/>
              <a:gd name="connsiteY2376" fmla="*/ 2923325 h 6407421"/>
              <a:gd name="connsiteX2377" fmla="*/ 4790340 w 11701760"/>
              <a:gd name="connsiteY2377" fmla="*/ 2923325 h 6407421"/>
              <a:gd name="connsiteX2378" fmla="*/ 4790340 w 11701760"/>
              <a:gd name="connsiteY2378" fmla="*/ 2952820 h 6407421"/>
              <a:gd name="connsiteX2379" fmla="*/ 4760630 w 11701760"/>
              <a:gd name="connsiteY2379" fmla="*/ 2952820 h 6407421"/>
              <a:gd name="connsiteX2380" fmla="*/ 10341389 w 11701760"/>
              <a:gd name="connsiteY2380" fmla="*/ 2923323 h 6407421"/>
              <a:gd name="connsiteX2381" fmla="*/ 10370992 w 11701760"/>
              <a:gd name="connsiteY2381" fmla="*/ 2923323 h 6407421"/>
              <a:gd name="connsiteX2382" fmla="*/ 10370992 w 11701760"/>
              <a:gd name="connsiteY2382" fmla="*/ 2952819 h 6407421"/>
              <a:gd name="connsiteX2383" fmla="*/ 10341389 w 11701760"/>
              <a:gd name="connsiteY2383" fmla="*/ 2952819 h 6407421"/>
              <a:gd name="connsiteX2384" fmla="*/ 4494541 w 11701760"/>
              <a:gd name="connsiteY2384" fmla="*/ 2923323 h 6407421"/>
              <a:gd name="connsiteX2385" fmla="*/ 4524144 w 11701760"/>
              <a:gd name="connsiteY2385" fmla="*/ 2923323 h 6407421"/>
              <a:gd name="connsiteX2386" fmla="*/ 4524144 w 11701760"/>
              <a:gd name="connsiteY2386" fmla="*/ 2952819 h 6407421"/>
              <a:gd name="connsiteX2387" fmla="*/ 4494541 w 11701760"/>
              <a:gd name="connsiteY2387" fmla="*/ 2952819 h 6407421"/>
              <a:gd name="connsiteX2388" fmla="*/ 10075192 w 11701760"/>
              <a:gd name="connsiteY2388" fmla="*/ 2923322 h 6407421"/>
              <a:gd name="connsiteX2389" fmla="*/ 10104794 w 11701760"/>
              <a:gd name="connsiteY2389" fmla="*/ 2923322 h 6407421"/>
              <a:gd name="connsiteX2390" fmla="*/ 10104794 w 11701760"/>
              <a:gd name="connsiteY2390" fmla="*/ 2952818 h 6407421"/>
              <a:gd name="connsiteX2391" fmla="*/ 10075192 w 11701760"/>
              <a:gd name="connsiteY2391" fmla="*/ 2952818 h 6407421"/>
              <a:gd name="connsiteX2392" fmla="*/ 4228344 w 11701760"/>
              <a:gd name="connsiteY2392" fmla="*/ 2923322 h 6407421"/>
              <a:gd name="connsiteX2393" fmla="*/ 4257946 w 11701760"/>
              <a:gd name="connsiteY2393" fmla="*/ 2923322 h 6407421"/>
              <a:gd name="connsiteX2394" fmla="*/ 4257946 w 11701760"/>
              <a:gd name="connsiteY2394" fmla="*/ 2952818 h 6407421"/>
              <a:gd name="connsiteX2395" fmla="*/ 4228344 w 11701760"/>
              <a:gd name="connsiteY2395" fmla="*/ 2952818 h 6407421"/>
              <a:gd name="connsiteX2396" fmla="*/ 9809103 w 11701760"/>
              <a:gd name="connsiteY2396" fmla="*/ 2923321 h 6407421"/>
              <a:gd name="connsiteX2397" fmla="*/ 9838705 w 11701760"/>
              <a:gd name="connsiteY2397" fmla="*/ 2923321 h 6407421"/>
              <a:gd name="connsiteX2398" fmla="*/ 9838705 w 11701760"/>
              <a:gd name="connsiteY2398" fmla="*/ 2952817 h 6407421"/>
              <a:gd name="connsiteX2399" fmla="*/ 9809103 w 11701760"/>
              <a:gd name="connsiteY2399" fmla="*/ 2952817 h 6407421"/>
              <a:gd name="connsiteX2400" fmla="*/ 3962255 w 11701760"/>
              <a:gd name="connsiteY2400" fmla="*/ 2923321 h 6407421"/>
              <a:gd name="connsiteX2401" fmla="*/ 3991857 w 11701760"/>
              <a:gd name="connsiteY2401" fmla="*/ 2923321 h 6407421"/>
              <a:gd name="connsiteX2402" fmla="*/ 3991857 w 11701760"/>
              <a:gd name="connsiteY2402" fmla="*/ 2952817 h 6407421"/>
              <a:gd name="connsiteX2403" fmla="*/ 3962255 w 11701760"/>
              <a:gd name="connsiteY2403" fmla="*/ 2952817 h 6407421"/>
              <a:gd name="connsiteX2404" fmla="*/ 9542906 w 11701760"/>
              <a:gd name="connsiteY2404" fmla="*/ 2923320 h 6407421"/>
              <a:gd name="connsiteX2405" fmla="*/ 9572509 w 11701760"/>
              <a:gd name="connsiteY2405" fmla="*/ 2923320 h 6407421"/>
              <a:gd name="connsiteX2406" fmla="*/ 9572509 w 11701760"/>
              <a:gd name="connsiteY2406" fmla="*/ 2952815 h 6407421"/>
              <a:gd name="connsiteX2407" fmla="*/ 9542906 w 11701760"/>
              <a:gd name="connsiteY2407" fmla="*/ 2952815 h 6407421"/>
              <a:gd name="connsiteX2408" fmla="*/ 3696058 w 11701760"/>
              <a:gd name="connsiteY2408" fmla="*/ 2923320 h 6407421"/>
              <a:gd name="connsiteX2409" fmla="*/ 3725661 w 11701760"/>
              <a:gd name="connsiteY2409" fmla="*/ 2923320 h 6407421"/>
              <a:gd name="connsiteX2410" fmla="*/ 3725661 w 11701760"/>
              <a:gd name="connsiteY2410" fmla="*/ 2952815 h 6407421"/>
              <a:gd name="connsiteX2411" fmla="*/ 3696058 w 11701760"/>
              <a:gd name="connsiteY2411" fmla="*/ 2952815 h 6407421"/>
              <a:gd name="connsiteX2412" fmla="*/ 9276817 w 11701760"/>
              <a:gd name="connsiteY2412" fmla="*/ 2923319 h 6407421"/>
              <a:gd name="connsiteX2413" fmla="*/ 9306420 w 11701760"/>
              <a:gd name="connsiteY2413" fmla="*/ 2923319 h 6407421"/>
              <a:gd name="connsiteX2414" fmla="*/ 9306420 w 11701760"/>
              <a:gd name="connsiteY2414" fmla="*/ 2952814 h 6407421"/>
              <a:gd name="connsiteX2415" fmla="*/ 9276817 w 11701760"/>
              <a:gd name="connsiteY2415" fmla="*/ 2952814 h 6407421"/>
              <a:gd name="connsiteX2416" fmla="*/ 3429969 w 11701760"/>
              <a:gd name="connsiteY2416" fmla="*/ 2923319 h 6407421"/>
              <a:gd name="connsiteX2417" fmla="*/ 3459572 w 11701760"/>
              <a:gd name="connsiteY2417" fmla="*/ 2923319 h 6407421"/>
              <a:gd name="connsiteX2418" fmla="*/ 3459572 w 11701760"/>
              <a:gd name="connsiteY2418" fmla="*/ 2952814 h 6407421"/>
              <a:gd name="connsiteX2419" fmla="*/ 3429969 w 11701760"/>
              <a:gd name="connsiteY2419" fmla="*/ 2952814 h 6407421"/>
              <a:gd name="connsiteX2420" fmla="*/ 9010620 w 11701760"/>
              <a:gd name="connsiteY2420" fmla="*/ 2923318 h 6407421"/>
              <a:gd name="connsiteX2421" fmla="*/ 9040222 w 11701760"/>
              <a:gd name="connsiteY2421" fmla="*/ 2923318 h 6407421"/>
              <a:gd name="connsiteX2422" fmla="*/ 9040222 w 11701760"/>
              <a:gd name="connsiteY2422" fmla="*/ 2952813 h 6407421"/>
              <a:gd name="connsiteX2423" fmla="*/ 9010620 w 11701760"/>
              <a:gd name="connsiteY2423" fmla="*/ 2952813 h 6407421"/>
              <a:gd name="connsiteX2424" fmla="*/ 3163772 w 11701760"/>
              <a:gd name="connsiteY2424" fmla="*/ 2923318 h 6407421"/>
              <a:gd name="connsiteX2425" fmla="*/ 3193374 w 11701760"/>
              <a:gd name="connsiteY2425" fmla="*/ 2923318 h 6407421"/>
              <a:gd name="connsiteX2426" fmla="*/ 3193374 w 11701760"/>
              <a:gd name="connsiteY2426" fmla="*/ 2952813 h 6407421"/>
              <a:gd name="connsiteX2427" fmla="*/ 3163772 w 11701760"/>
              <a:gd name="connsiteY2427" fmla="*/ 2952813 h 6407421"/>
              <a:gd name="connsiteX2428" fmla="*/ 8744423 w 11701760"/>
              <a:gd name="connsiteY2428" fmla="*/ 2923317 h 6407421"/>
              <a:gd name="connsiteX2429" fmla="*/ 8774026 w 11701760"/>
              <a:gd name="connsiteY2429" fmla="*/ 2923317 h 6407421"/>
              <a:gd name="connsiteX2430" fmla="*/ 8774026 w 11701760"/>
              <a:gd name="connsiteY2430" fmla="*/ 2952812 h 6407421"/>
              <a:gd name="connsiteX2431" fmla="*/ 8744423 w 11701760"/>
              <a:gd name="connsiteY2431" fmla="*/ 2952812 h 6407421"/>
              <a:gd name="connsiteX2432" fmla="*/ 2897575 w 11701760"/>
              <a:gd name="connsiteY2432" fmla="*/ 2923317 h 6407421"/>
              <a:gd name="connsiteX2433" fmla="*/ 2927178 w 11701760"/>
              <a:gd name="connsiteY2433" fmla="*/ 2923317 h 6407421"/>
              <a:gd name="connsiteX2434" fmla="*/ 2927178 w 11701760"/>
              <a:gd name="connsiteY2434" fmla="*/ 2952812 h 6407421"/>
              <a:gd name="connsiteX2435" fmla="*/ 2897575 w 11701760"/>
              <a:gd name="connsiteY2435" fmla="*/ 2952812 h 6407421"/>
              <a:gd name="connsiteX2436" fmla="*/ 8478226 w 11701760"/>
              <a:gd name="connsiteY2436" fmla="*/ 2923316 h 6407421"/>
              <a:gd name="connsiteX2437" fmla="*/ 8507828 w 11701760"/>
              <a:gd name="connsiteY2437" fmla="*/ 2923316 h 6407421"/>
              <a:gd name="connsiteX2438" fmla="*/ 8507828 w 11701760"/>
              <a:gd name="connsiteY2438" fmla="*/ 2952811 h 6407421"/>
              <a:gd name="connsiteX2439" fmla="*/ 8478226 w 11701760"/>
              <a:gd name="connsiteY2439" fmla="*/ 2952811 h 6407421"/>
              <a:gd name="connsiteX2440" fmla="*/ 2631378 w 11701760"/>
              <a:gd name="connsiteY2440" fmla="*/ 2923316 h 6407421"/>
              <a:gd name="connsiteX2441" fmla="*/ 2660980 w 11701760"/>
              <a:gd name="connsiteY2441" fmla="*/ 2923316 h 6407421"/>
              <a:gd name="connsiteX2442" fmla="*/ 2660980 w 11701760"/>
              <a:gd name="connsiteY2442" fmla="*/ 2952811 h 6407421"/>
              <a:gd name="connsiteX2443" fmla="*/ 2631378 w 11701760"/>
              <a:gd name="connsiteY2443" fmla="*/ 2952811 h 6407421"/>
              <a:gd name="connsiteX2444" fmla="*/ 8212137 w 11701760"/>
              <a:gd name="connsiteY2444" fmla="*/ 2923315 h 6407421"/>
              <a:gd name="connsiteX2445" fmla="*/ 8241740 w 11701760"/>
              <a:gd name="connsiteY2445" fmla="*/ 2923315 h 6407421"/>
              <a:gd name="connsiteX2446" fmla="*/ 8241740 w 11701760"/>
              <a:gd name="connsiteY2446" fmla="*/ 2952810 h 6407421"/>
              <a:gd name="connsiteX2447" fmla="*/ 8212137 w 11701760"/>
              <a:gd name="connsiteY2447" fmla="*/ 2952810 h 6407421"/>
              <a:gd name="connsiteX2448" fmla="*/ 2365289 w 11701760"/>
              <a:gd name="connsiteY2448" fmla="*/ 2923315 h 6407421"/>
              <a:gd name="connsiteX2449" fmla="*/ 2394892 w 11701760"/>
              <a:gd name="connsiteY2449" fmla="*/ 2923315 h 6407421"/>
              <a:gd name="connsiteX2450" fmla="*/ 2394892 w 11701760"/>
              <a:gd name="connsiteY2450" fmla="*/ 2952810 h 6407421"/>
              <a:gd name="connsiteX2451" fmla="*/ 2365289 w 11701760"/>
              <a:gd name="connsiteY2451" fmla="*/ 2952810 h 6407421"/>
              <a:gd name="connsiteX2452" fmla="*/ 7945940 w 11701760"/>
              <a:gd name="connsiteY2452" fmla="*/ 2923314 h 6407421"/>
              <a:gd name="connsiteX2453" fmla="*/ 7975543 w 11701760"/>
              <a:gd name="connsiteY2453" fmla="*/ 2923314 h 6407421"/>
              <a:gd name="connsiteX2454" fmla="*/ 7975543 w 11701760"/>
              <a:gd name="connsiteY2454" fmla="*/ 2952809 h 6407421"/>
              <a:gd name="connsiteX2455" fmla="*/ 7945940 w 11701760"/>
              <a:gd name="connsiteY2455" fmla="*/ 2952809 h 6407421"/>
              <a:gd name="connsiteX2456" fmla="*/ 2099092 w 11701760"/>
              <a:gd name="connsiteY2456" fmla="*/ 2923314 h 6407421"/>
              <a:gd name="connsiteX2457" fmla="*/ 2128695 w 11701760"/>
              <a:gd name="connsiteY2457" fmla="*/ 2923314 h 6407421"/>
              <a:gd name="connsiteX2458" fmla="*/ 2128695 w 11701760"/>
              <a:gd name="connsiteY2458" fmla="*/ 2952809 h 6407421"/>
              <a:gd name="connsiteX2459" fmla="*/ 2099092 w 11701760"/>
              <a:gd name="connsiteY2459" fmla="*/ 2952809 h 6407421"/>
              <a:gd name="connsiteX2460" fmla="*/ 7679743 w 11701760"/>
              <a:gd name="connsiteY2460" fmla="*/ 2923313 h 6407421"/>
              <a:gd name="connsiteX2461" fmla="*/ 7709346 w 11701760"/>
              <a:gd name="connsiteY2461" fmla="*/ 2923313 h 6407421"/>
              <a:gd name="connsiteX2462" fmla="*/ 7709346 w 11701760"/>
              <a:gd name="connsiteY2462" fmla="*/ 2952808 h 6407421"/>
              <a:gd name="connsiteX2463" fmla="*/ 7679743 w 11701760"/>
              <a:gd name="connsiteY2463" fmla="*/ 2952808 h 6407421"/>
              <a:gd name="connsiteX2464" fmla="*/ 1832898 w 11701760"/>
              <a:gd name="connsiteY2464" fmla="*/ 2923313 h 6407421"/>
              <a:gd name="connsiteX2465" fmla="*/ 1862498 w 11701760"/>
              <a:gd name="connsiteY2465" fmla="*/ 2923313 h 6407421"/>
              <a:gd name="connsiteX2466" fmla="*/ 1862498 w 11701760"/>
              <a:gd name="connsiteY2466" fmla="*/ 2952808 h 6407421"/>
              <a:gd name="connsiteX2467" fmla="*/ 1832898 w 11701760"/>
              <a:gd name="connsiteY2467" fmla="*/ 2952808 h 6407421"/>
              <a:gd name="connsiteX2468" fmla="*/ 7413653 w 11701760"/>
              <a:gd name="connsiteY2468" fmla="*/ 2923312 h 6407421"/>
              <a:gd name="connsiteX2469" fmla="*/ 7443256 w 11701760"/>
              <a:gd name="connsiteY2469" fmla="*/ 2923312 h 6407421"/>
              <a:gd name="connsiteX2470" fmla="*/ 7443256 w 11701760"/>
              <a:gd name="connsiteY2470" fmla="*/ 2952807 h 6407421"/>
              <a:gd name="connsiteX2471" fmla="*/ 7413653 w 11701760"/>
              <a:gd name="connsiteY2471" fmla="*/ 2952807 h 6407421"/>
              <a:gd name="connsiteX2472" fmla="*/ 1566808 w 11701760"/>
              <a:gd name="connsiteY2472" fmla="*/ 2923312 h 6407421"/>
              <a:gd name="connsiteX2473" fmla="*/ 1596409 w 11701760"/>
              <a:gd name="connsiteY2473" fmla="*/ 2923312 h 6407421"/>
              <a:gd name="connsiteX2474" fmla="*/ 1596409 w 11701760"/>
              <a:gd name="connsiteY2474" fmla="*/ 2952807 h 6407421"/>
              <a:gd name="connsiteX2475" fmla="*/ 1566808 w 11701760"/>
              <a:gd name="connsiteY2475" fmla="*/ 2952807 h 6407421"/>
              <a:gd name="connsiteX2476" fmla="*/ 7147456 w 11701760"/>
              <a:gd name="connsiteY2476" fmla="*/ 2923311 h 6407421"/>
              <a:gd name="connsiteX2477" fmla="*/ 7177058 w 11701760"/>
              <a:gd name="connsiteY2477" fmla="*/ 2923311 h 6407421"/>
              <a:gd name="connsiteX2478" fmla="*/ 7177058 w 11701760"/>
              <a:gd name="connsiteY2478" fmla="*/ 2952806 h 6407421"/>
              <a:gd name="connsiteX2479" fmla="*/ 7147456 w 11701760"/>
              <a:gd name="connsiteY2479" fmla="*/ 2952806 h 6407421"/>
              <a:gd name="connsiteX2480" fmla="*/ 1300611 w 11701760"/>
              <a:gd name="connsiteY2480" fmla="*/ 2923311 h 6407421"/>
              <a:gd name="connsiteX2481" fmla="*/ 1330213 w 11701760"/>
              <a:gd name="connsiteY2481" fmla="*/ 2923311 h 6407421"/>
              <a:gd name="connsiteX2482" fmla="*/ 1330213 w 11701760"/>
              <a:gd name="connsiteY2482" fmla="*/ 2952806 h 6407421"/>
              <a:gd name="connsiteX2483" fmla="*/ 1300611 w 11701760"/>
              <a:gd name="connsiteY2483" fmla="*/ 2952806 h 6407421"/>
              <a:gd name="connsiteX2484" fmla="*/ 6881367 w 11701760"/>
              <a:gd name="connsiteY2484" fmla="*/ 2923310 h 6407421"/>
              <a:gd name="connsiteX2485" fmla="*/ 6910970 w 11701760"/>
              <a:gd name="connsiteY2485" fmla="*/ 2923310 h 6407421"/>
              <a:gd name="connsiteX2486" fmla="*/ 6910970 w 11701760"/>
              <a:gd name="connsiteY2486" fmla="*/ 2952805 h 6407421"/>
              <a:gd name="connsiteX2487" fmla="*/ 6881367 w 11701760"/>
              <a:gd name="connsiteY2487" fmla="*/ 2952805 h 6407421"/>
              <a:gd name="connsiteX2488" fmla="*/ 1034520 w 11701760"/>
              <a:gd name="connsiteY2488" fmla="*/ 2923310 h 6407421"/>
              <a:gd name="connsiteX2489" fmla="*/ 1064123 w 11701760"/>
              <a:gd name="connsiteY2489" fmla="*/ 2923310 h 6407421"/>
              <a:gd name="connsiteX2490" fmla="*/ 1064123 w 11701760"/>
              <a:gd name="connsiteY2490" fmla="*/ 2952805 h 6407421"/>
              <a:gd name="connsiteX2491" fmla="*/ 1034520 w 11701760"/>
              <a:gd name="connsiteY2491" fmla="*/ 2952805 h 6407421"/>
              <a:gd name="connsiteX2492" fmla="*/ 6615170 w 11701760"/>
              <a:gd name="connsiteY2492" fmla="*/ 2923309 h 6407421"/>
              <a:gd name="connsiteX2493" fmla="*/ 6644773 w 11701760"/>
              <a:gd name="connsiteY2493" fmla="*/ 2923309 h 6407421"/>
              <a:gd name="connsiteX2494" fmla="*/ 6644773 w 11701760"/>
              <a:gd name="connsiteY2494" fmla="*/ 2952804 h 6407421"/>
              <a:gd name="connsiteX2495" fmla="*/ 6615170 w 11701760"/>
              <a:gd name="connsiteY2495" fmla="*/ 2952804 h 6407421"/>
              <a:gd name="connsiteX2496" fmla="*/ 768327 w 11701760"/>
              <a:gd name="connsiteY2496" fmla="*/ 2923309 h 6407421"/>
              <a:gd name="connsiteX2497" fmla="*/ 797926 w 11701760"/>
              <a:gd name="connsiteY2497" fmla="*/ 2923309 h 6407421"/>
              <a:gd name="connsiteX2498" fmla="*/ 797926 w 11701760"/>
              <a:gd name="connsiteY2498" fmla="*/ 2952804 h 6407421"/>
              <a:gd name="connsiteX2499" fmla="*/ 768327 w 11701760"/>
              <a:gd name="connsiteY2499" fmla="*/ 2952804 h 6407421"/>
              <a:gd name="connsiteX2500" fmla="*/ 6349081 w 11701760"/>
              <a:gd name="connsiteY2500" fmla="*/ 2923308 h 6407421"/>
              <a:gd name="connsiteX2501" fmla="*/ 6378683 w 11701760"/>
              <a:gd name="connsiteY2501" fmla="*/ 2923308 h 6407421"/>
              <a:gd name="connsiteX2502" fmla="*/ 6378683 w 11701760"/>
              <a:gd name="connsiteY2502" fmla="*/ 2952803 h 6407421"/>
              <a:gd name="connsiteX2503" fmla="*/ 6349081 w 11701760"/>
              <a:gd name="connsiteY2503" fmla="*/ 2952803 h 6407421"/>
              <a:gd name="connsiteX2504" fmla="*/ 502236 w 11701760"/>
              <a:gd name="connsiteY2504" fmla="*/ 2923308 h 6407421"/>
              <a:gd name="connsiteX2505" fmla="*/ 531838 w 11701760"/>
              <a:gd name="connsiteY2505" fmla="*/ 2923308 h 6407421"/>
              <a:gd name="connsiteX2506" fmla="*/ 531838 w 11701760"/>
              <a:gd name="connsiteY2506" fmla="*/ 2952803 h 6407421"/>
              <a:gd name="connsiteX2507" fmla="*/ 502236 w 11701760"/>
              <a:gd name="connsiteY2507" fmla="*/ 2952803 h 6407421"/>
              <a:gd name="connsiteX2508" fmla="*/ 6082884 w 11701760"/>
              <a:gd name="connsiteY2508" fmla="*/ 2923307 h 6407421"/>
              <a:gd name="connsiteX2509" fmla="*/ 6112486 w 11701760"/>
              <a:gd name="connsiteY2509" fmla="*/ 2923307 h 6407421"/>
              <a:gd name="connsiteX2510" fmla="*/ 6112486 w 11701760"/>
              <a:gd name="connsiteY2510" fmla="*/ 2952802 h 6407421"/>
              <a:gd name="connsiteX2511" fmla="*/ 6082884 w 11701760"/>
              <a:gd name="connsiteY2511" fmla="*/ 2952802 h 6407421"/>
              <a:gd name="connsiteX2512" fmla="*/ 236037 w 11701760"/>
              <a:gd name="connsiteY2512" fmla="*/ 2923307 h 6407421"/>
              <a:gd name="connsiteX2513" fmla="*/ 265639 w 11701760"/>
              <a:gd name="connsiteY2513" fmla="*/ 2923307 h 6407421"/>
              <a:gd name="connsiteX2514" fmla="*/ 265639 w 11701760"/>
              <a:gd name="connsiteY2514" fmla="*/ 2952802 h 6407421"/>
              <a:gd name="connsiteX2515" fmla="*/ 236037 w 11701760"/>
              <a:gd name="connsiteY2515" fmla="*/ 2952802 h 6407421"/>
              <a:gd name="connsiteX2516" fmla="*/ 1 w 11701760"/>
              <a:gd name="connsiteY2516" fmla="*/ 2923307 h 6407421"/>
              <a:gd name="connsiteX2517" fmla="*/ 29603 w 11701760"/>
              <a:gd name="connsiteY2517" fmla="*/ 2923307 h 6407421"/>
              <a:gd name="connsiteX2518" fmla="*/ 29603 w 11701760"/>
              <a:gd name="connsiteY2518" fmla="*/ 2952802 h 6407421"/>
              <a:gd name="connsiteX2519" fmla="*/ 1 w 11701760"/>
              <a:gd name="connsiteY2519" fmla="*/ 2952802 h 6407421"/>
              <a:gd name="connsiteX2520" fmla="*/ 11672158 w 11701760"/>
              <a:gd name="connsiteY2520" fmla="*/ 2657500 h 6407421"/>
              <a:gd name="connsiteX2521" fmla="*/ 11701760 w 11701760"/>
              <a:gd name="connsiteY2521" fmla="*/ 2657500 h 6407421"/>
              <a:gd name="connsiteX2522" fmla="*/ 11701760 w 11701760"/>
              <a:gd name="connsiteY2522" fmla="*/ 2687101 h 6407421"/>
              <a:gd name="connsiteX2523" fmla="*/ 11672158 w 11701760"/>
              <a:gd name="connsiteY2523" fmla="*/ 2687101 h 6407421"/>
              <a:gd name="connsiteX2524" fmla="*/ 5825310 w 11701760"/>
              <a:gd name="connsiteY2524" fmla="*/ 2657500 h 6407421"/>
              <a:gd name="connsiteX2525" fmla="*/ 5854913 w 11701760"/>
              <a:gd name="connsiteY2525" fmla="*/ 2657500 h 6407421"/>
              <a:gd name="connsiteX2526" fmla="*/ 5854913 w 11701760"/>
              <a:gd name="connsiteY2526" fmla="*/ 2687101 h 6407421"/>
              <a:gd name="connsiteX2527" fmla="*/ 5825310 w 11701760"/>
              <a:gd name="connsiteY2527" fmla="*/ 2687101 h 6407421"/>
              <a:gd name="connsiteX2528" fmla="*/ 11405961 w 11701760"/>
              <a:gd name="connsiteY2528" fmla="*/ 2657497 h 6407421"/>
              <a:gd name="connsiteX2529" fmla="*/ 11435563 w 11701760"/>
              <a:gd name="connsiteY2529" fmla="*/ 2657497 h 6407421"/>
              <a:gd name="connsiteX2530" fmla="*/ 11435563 w 11701760"/>
              <a:gd name="connsiteY2530" fmla="*/ 2687099 h 6407421"/>
              <a:gd name="connsiteX2531" fmla="*/ 11405961 w 11701760"/>
              <a:gd name="connsiteY2531" fmla="*/ 2687099 h 6407421"/>
              <a:gd name="connsiteX2532" fmla="*/ 5559113 w 11701760"/>
              <a:gd name="connsiteY2532" fmla="*/ 2657497 h 6407421"/>
              <a:gd name="connsiteX2533" fmla="*/ 5588715 w 11701760"/>
              <a:gd name="connsiteY2533" fmla="*/ 2657497 h 6407421"/>
              <a:gd name="connsiteX2534" fmla="*/ 5588715 w 11701760"/>
              <a:gd name="connsiteY2534" fmla="*/ 2687099 h 6407421"/>
              <a:gd name="connsiteX2535" fmla="*/ 5559113 w 11701760"/>
              <a:gd name="connsiteY2535" fmla="*/ 2687099 h 6407421"/>
              <a:gd name="connsiteX2536" fmla="*/ 11139872 w 11701760"/>
              <a:gd name="connsiteY2536" fmla="*/ 2657494 h 6407421"/>
              <a:gd name="connsiteX2537" fmla="*/ 11169474 w 11701760"/>
              <a:gd name="connsiteY2537" fmla="*/ 2657494 h 6407421"/>
              <a:gd name="connsiteX2538" fmla="*/ 11169474 w 11701760"/>
              <a:gd name="connsiteY2538" fmla="*/ 2687096 h 6407421"/>
              <a:gd name="connsiteX2539" fmla="*/ 11139872 w 11701760"/>
              <a:gd name="connsiteY2539" fmla="*/ 2687096 h 6407421"/>
              <a:gd name="connsiteX2540" fmla="*/ 5293024 w 11701760"/>
              <a:gd name="connsiteY2540" fmla="*/ 2657494 h 6407421"/>
              <a:gd name="connsiteX2541" fmla="*/ 5322626 w 11701760"/>
              <a:gd name="connsiteY2541" fmla="*/ 2657494 h 6407421"/>
              <a:gd name="connsiteX2542" fmla="*/ 5322626 w 11701760"/>
              <a:gd name="connsiteY2542" fmla="*/ 2687096 h 6407421"/>
              <a:gd name="connsiteX2543" fmla="*/ 5293024 w 11701760"/>
              <a:gd name="connsiteY2543" fmla="*/ 2687096 h 6407421"/>
              <a:gd name="connsiteX2544" fmla="*/ 10873675 w 11701760"/>
              <a:gd name="connsiteY2544" fmla="*/ 2657491 h 6407421"/>
              <a:gd name="connsiteX2545" fmla="*/ 10903277 w 11701760"/>
              <a:gd name="connsiteY2545" fmla="*/ 2657491 h 6407421"/>
              <a:gd name="connsiteX2546" fmla="*/ 10903277 w 11701760"/>
              <a:gd name="connsiteY2546" fmla="*/ 2687093 h 6407421"/>
              <a:gd name="connsiteX2547" fmla="*/ 10873675 w 11701760"/>
              <a:gd name="connsiteY2547" fmla="*/ 2687093 h 6407421"/>
              <a:gd name="connsiteX2548" fmla="*/ 5026827 w 11701760"/>
              <a:gd name="connsiteY2548" fmla="*/ 2657491 h 6407421"/>
              <a:gd name="connsiteX2549" fmla="*/ 5056429 w 11701760"/>
              <a:gd name="connsiteY2549" fmla="*/ 2657491 h 6407421"/>
              <a:gd name="connsiteX2550" fmla="*/ 5056429 w 11701760"/>
              <a:gd name="connsiteY2550" fmla="*/ 2687093 h 6407421"/>
              <a:gd name="connsiteX2551" fmla="*/ 5026827 w 11701760"/>
              <a:gd name="connsiteY2551" fmla="*/ 2687093 h 6407421"/>
              <a:gd name="connsiteX2552" fmla="*/ 10607478 w 11701760"/>
              <a:gd name="connsiteY2552" fmla="*/ 2657488 h 6407421"/>
              <a:gd name="connsiteX2553" fmla="*/ 10637188 w 11701760"/>
              <a:gd name="connsiteY2553" fmla="*/ 2657488 h 6407421"/>
              <a:gd name="connsiteX2554" fmla="*/ 10637188 w 11701760"/>
              <a:gd name="connsiteY2554" fmla="*/ 2687090 h 6407421"/>
              <a:gd name="connsiteX2555" fmla="*/ 10607478 w 11701760"/>
              <a:gd name="connsiteY2555" fmla="*/ 2687090 h 6407421"/>
              <a:gd name="connsiteX2556" fmla="*/ 4760630 w 11701760"/>
              <a:gd name="connsiteY2556" fmla="*/ 2657488 h 6407421"/>
              <a:gd name="connsiteX2557" fmla="*/ 4790340 w 11701760"/>
              <a:gd name="connsiteY2557" fmla="*/ 2657488 h 6407421"/>
              <a:gd name="connsiteX2558" fmla="*/ 4790340 w 11701760"/>
              <a:gd name="connsiteY2558" fmla="*/ 2687090 h 6407421"/>
              <a:gd name="connsiteX2559" fmla="*/ 4760630 w 11701760"/>
              <a:gd name="connsiteY2559" fmla="*/ 2687090 h 6407421"/>
              <a:gd name="connsiteX2560" fmla="*/ 10341389 w 11701760"/>
              <a:gd name="connsiteY2560" fmla="*/ 2657485 h 6407421"/>
              <a:gd name="connsiteX2561" fmla="*/ 10370992 w 11701760"/>
              <a:gd name="connsiteY2561" fmla="*/ 2657485 h 6407421"/>
              <a:gd name="connsiteX2562" fmla="*/ 10370992 w 11701760"/>
              <a:gd name="connsiteY2562" fmla="*/ 2687087 h 6407421"/>
              <a:gd name="connsiteX2563" fmla="*/ 10341389 w 11701760"/>
              <a:gd name="connsiteY2563" fmla="*/ 2687087 h 6407421"/>
              <a:gd name="connsiteX2564" fmla="*/ 4494541 w 11701760"/>
              <a:gd name="connsiteY2564" fmla="*/ 2657485 h 6407421"/>
              <a:gd name="connsiteX2565" fmla="*/ 4524144 w 11701760"/>
              <a:gd name="connsiteY2565" fmla="*/ 2657485 h 6407421"/>
              <a:gd name="connsiteX2566" fmla="*/ 4524144 w 11701760"/>
              <a:gd name="connsiteY2566" fmla="*/ 2687087 h 6407421"/>
              <a:gd name="connsiteX2567" fmla="*/ 4494541 w 11701760"/>
              <a:gd name="connsiteY2567" fmla="*/ 2687087 h 6407421"/>
              <a:gd name="connsiteX2568" fmla="*/ 10075192 w 11701760"/>
              <a:gd name="connsiteY2568" fmla="*/ 2657482 h 6407421"/>
              <a:gd name="connsiteX2569" fmla="*/ 10104794 w 11701760"/>
              <a:gd name="connsiteY2569" fmla="*/ 2657482 h 6407421"/>
              <a:gd name="connsiteX2570" fmla="*/ 10104794 w 11701760"/>
              <a:gd name="connsiteY2570" fmla="*/ 2687083 h 6407421"/>
              <a:gd name="connsiteX2571" fmla="*/ 10075192 w 11701760"/>
              <a:gd name="connsiteY2571" fmla="*/ 2687083 h 6407421"/>
              <a:gd name="connsiteX2572" fmla="*/ 4228344 w 11701760"/>
              <a:gd name="connsiteY2572" fmla="*/ 2657482 h 6407421"/>
              <a:gd name="connsiteX2573" fmla="*/ 4257946 w 11701760"/>
              <a:gd name="connsiteY2573" fmla="*/ 2657482 h 6407421"/>
              <a:gd name="connsiteX2574" fmla="*/ 4257946 w 11701760"/>
              <a:gd name="connsiteY2574" fmla="*/ 2687083 h 6407421"/>
              <a:gd name="connsiteX2575" fmla="*/ 4228344 w 11701760"/>
              <a:gd name="connsiteY2575" fmla="*/ 2687083 h 6407421"/>
              <a:gd name="connsiteX2576" fmla="*/ 9809103 w 11701760"/>
              <a:gd name="connsiteY2576" fmla="*/ 2657478 h 6407421"/>
              <a:gd name="connsiteX2577" fmla="*/ 9838705 w 11701760"/>
              <a:gd name="connsiteY2577" fmla="*/ 2657478 h 6407421"/>
              <a:gd name="connsiteX2578" fmla="*/ 9838705 w 11701760"/>
              <a:gd name="connsiteY2578" fmla="*/ 2687080 h 6407421"/>
              <a:gd name="connsiteX2579" fmla="*/ 9809103 w 11701760"/>
              <a:gd name="connsiteY2579" fmla="*/ 2687080 h 6407421"/>
              <a:gd name="connsiteX2580" fmla="*/ 3962255 w 11701760"/>
              <a:gd name="connsiteY2580" fmla="*/ 2657478 h 6407421"/>
              <a:gd name="connsiteX2581" fmla="*/ 3991857 w 11701760"/>
              <a:gd name="connsiteY2581" fmla="*/ 2657478 h 6407421"/>
              <a:gd name="connsiteX2582" fmla="*/ 3991857 w 11701760"/>
              <a:gd name="connsiteY2582" fmla="*/ 2687080 h 6407421"/>
              <a:gd name="connsiteX2583" fmla="*/ 3962255 w 11701760"/>
              <a:gd name="connsiteY2583" fmla="*/ 2687080 h 6407421"/>
              <a:gd name="connsiteX2584" fmla="*/ 9542906 w 11701760"/>
              <a:gd name="connsiteY2584" fmla="*/ 2657475 h 6407421"/>
              <a:gd name="connsiteX2585" fmla="*/ 9572509 w 11701760"/>
              <a:gd name="connsiteY2585" fmla="*/ 2657475 h 6407421"/>
              <a:gd name="connsiteX2586" fmla="*/ 9572509 w 11701760"/>
              <a:gd name="connsiteY2586" fmla="*/ 2687077 h 6407421"/>
              <a:gd name="connsiteX2587" fmla="*/ 9542906 w 11701760"/>
              <a:gd name="connsiteY2587" fmla="*/ 2687077 h 6407421"/>
              <a:gd name="connsiteX2588" fmla="*/ 3696058 w 11701760"/>
              <a:gd name="connsiteY2588" fmla="*/ 2657475 h 6407421"/>
              <a:gd name="connsiteX2589" fmla="*/ 3725661 w 11701760"/>
              <a:gd name="connsiteY2589" fmla="*/ 2657475 h 6407421"/>
              <a:gd name="connsiteX2590" fmla="*/ 3725661 w 11701760"/>
              <a:gd name="connsiteY2590" fmla="*/ 2687077 h 6407421"/>
              <a:gd name="connsiteX2591" fmla="*/ 3696058 w 11701760"/>
              <a:gd name="connsiteY2591" fmla="*/ 2687077 h 6407421"/>
              <a:gd name="connsiteX2592" fmla="*/ 9276817 w 11701760"/>
              <a:gd name="connsiteY2592" fmla="*/ 2657472 h 6407421"/>
              <a:gd name="connsiteX2593" fmla="*/ 9306420 w 11701760"/>
              <a:gd name="connsiteY2593" fmla="*/ 2657472 h 6407421"/>
              <a:gd name="connsiteX2594" fmla="*/ 9306420 w 11701760"/>
              <a:gd name="connsiteY2594" fmla="*/ 2687074 h 6407421"/>
              <a:gd name="connsiteX2595" fmla="*/ 9276817 w 11701760"/>
              <a:gd name="connsiteY2595" fmla="*/ 2687074 h 6407421"/>
              <a:gd name="connsiteX2596" fmla="*/ 3429969 w 11701760"/>
              <a:gd name="connsiteY2596" fmla="*/ 2657472 h 6407421"/>
              <a:gd name="connsiteX2597" fmla="*/ 3459572 w 11701760"/>
              <a:gd name="connsiteY2597" fmla="*/ 2657472 h 6407421"/>
              <a:gd name="connsiteX2598" fmla="*/ 3459572 w 11701760"/>
              <a:gd name="connsiteY2598" fmla="*/ 2687074 h 6407421"/>
              <a:gd name="connsiteX2599" fmla="*/ 3429969 w 11701760"/>
              <a:gd name="connsiteY2599" fmla="*/ 2687074 h 6407421"/>
              <a:gd name="connsiteX2600" fmla="*/ 9010620 w 11701760"/>
              <a:gd name="connsiteY2600" fmla="*/ 2657469 h 6407421"/>
              <a:gd name="connsiteX2601" fmla="*/ 9040222 w 11701760"/>
              <a:gd name="connsiteY2601" fmla="*/ 2657469 h 6407421"/>
              <a:gd name="connsiteX2602" fmla="*/ 9040222 w 11701760"/>
              <a:gd name="connsiteY2602" fmla="*/ 2687071 h 6407421"/>
              <a:gd name="connsiteX2603" fmla="*/ 9010620 w 11701760"/>
              <a:gd name="connsiteY2603" fmla="*/ 2687071 h 6407421"/>
              <a:gd name="connsiteX2604" fmla="*/ 3163772 w 11701760"/>
              <a:gd name="connsiteY2604" fmla="*/ 2657469 h 6407421"/>
              <a:gd name="connsiteX2605" fmla="*/ 3193374 w 11701760"/>
              <a:gd name="connsiteY2605" fmla="*/ 2657469 h 6407421"/>
              <a:gd name="connsiteX2606" fmla="*/ 3193374 w 11701760"/>
              <a:gd name="connsiteY2606" fmla="*/ 2687071 h 6407421"/>
              <a:gd name="connsiteX2607" fmla="*/ 3163772 w 11701760"/>
              <a:gd name="connsiteY2607" fmla="*/ 2687071 h 6407421"/>
              <a:gd name="connsiteX2608" fmla="*/ 8744423 w 11701760"/>
              <a:gd name="connsiteY2608" fmla="*/ 2657466 h 6407421"/>
              <a:gd name="connsiteX2609" fmla="*/ 8774026 w 11701760"/>
              <a:gd name="connsiteY2609" fmla="*/ 2657466 h 6407421"/>
              <a:gd name="connsiteX2610" fmla="*/ 8774026 w 11701760"/>
              <a:gd name="connsiteY2610" fmla="*/ 2687068 h 6407421"/>
              <a:gd name="connsiteX2611" fmla="*/ 8744423 w 11701760"/>
              <a:gd name="connsiteY2611" fmla="*/ 2687068 h 6407421"/>
              <a:gd name="connsiteX2612" fmla="*/ 2897575 w 11701760"/>
              <a:gd name="connsiteY2612" fmla="*/ 2657466 h 6407421"/>
              <a:gd name="connsiteX2613" fmla="*/ 2927178 w 11701760"/>
              <a:gd name="connsiteY2613" fmla="*/ 2657466 h 6407421"/>
              <a:gd name="connsiteX2614" fmla="*/ 2927178 w 11701760"/>
              <a:gd name="connsiteY2614" fmla="*/ 2687068 h 6407421"/>
              <a:gd name="connsiteX2615" fmla="*/ 2897575 w 11701760"/>
              <a:gd name="connsiteY2615" fmla="*/ 2687068 h 6407421"/>
              <a:gd name="connsiteX2616" fmla="*/ 8478226 w 11701760"/>
              <a:gd name="connsiteY2616" fmla="*/ 2657462 h 6407421"/>
              <a:gd name="connsiteX2617" fmla="*/ 8507828 w 11701760"/>
              <a:gd name="connsiteY2617" fmla="*/ 2657462 h 6407421"/>
              <a:gd name="connsiteX2618" fmla="*/ 8507828 w 11701760"/>
              <a:gd name="connsiteY2618" fmla="*/ 2687064 h 6407421"/>
              <a:gd name="connsiteX2619" fmla="*/ 8478226 w 11701760"/>
              <a:gd name="connsiteY2619" fmla="*/ 2687064 h 6407421"/>
              <a:gd name="connsiteX2620" fmla="*/ 2631378 w 11701760"/>
              <a:gd name="connsiteY2620" fmla="*/ 2657462 h 6407421"/>
              <a:gd name="connsiteX2621" fmla="*/ 2660980 w 11701760"/>
              <a:gd name="connsiteY2621" fmla="*/ 2657462 h 6407421"/>
              <a:gd name="connsiteX2622" fmla="*/ 2660980 w 11701760"/>
              <a:gd name="connsiteY2622" fmla="*/ 2687064 h 6407421"/>
              <a:gd name="connsiteX2623" fmla="*/ 2631378 w 11701760"/>
              <a:gd name="connsiteY2623" fmla="*/ 2687064 h 6407421"/>
              <a:gd name="connsiteX2624" fmla="*/ 8212137 w 11701760"/>
              <a:gd name="connsiteY2624" fmla="*/ 2657459 h 6407421"/>
              <a:gd name="connsiteX2625" fmla="*/ 8241740 w 11701760"/>
              <a:gd name="connsiteY2625" fmla="*/ 2657459 h 6407421"/>
              <a:gd name="connsiteX2626" fmla="*/ 8241740 w 11701760"/>
              <a:gd name="connsiteY2626" fmla="*/ 2687061 h 6407421"/>
              <a:gd name="connsiteX2627" fmla="*/ 8212137 w 11701760"/>
              <a:gd name="connsiteY2627" fmla="*/ 2687061 h 6407421"/>
              <a:gd name="connsiteX2628" fmla="*/ 2365289 w 11701760"/>
              <a:gd name="connsiteY2628" fmla="*/ 2657459 h 6407421"/>
              <a:gd name="connsiteX2629" fmla="*/ 2394892 w 11701760"/>
              <a:gd name="connsiteY2629" fmla="*/ 2657459 h 6407421"/>
              <a:gd name="connsiteX2630" fmla="*/ 2394892 w 11701760"/>
              <a:gd name="connsiteY2630" fmla="*/ 2687061 h 6407421"/>
              <a:gd name="connsiteX2631" fmla="*/ 2365289 w 11701760"/>
              <a:gd name="connsiteY2631" fmla="*/ 2687061 h 6407421"/>
              <a:gd name="connsiteX2632" fmla="*/ 7945940 w 11701760"/>
              <a:gd name="connsiteY2632" fmla="*/ 2657456 h 6407421"/>
              <a:gd name="connsiteX2633" fmla="*/ 7975543 w 11701760"/>
              <a:gd name="connsiteY2633" fmla="*/ 2657456 h 6407421"/>
              <a:gd name="connsiteX2634" fmla="*/ 7975543 w 11701760"/>
              <a:gd name="connsiteY2634" fmla="*/ 2687058 h 6407421"/>
              <a:gd name="connsiteX2635" fmla="*/ 7945940 w 11701760"/>
              <a:gd name="connsiteY2635" fmla="*/ 2687058 h 6407421"/>
              <a:gd name="connsiteX2636" fmla="*/ 2099092 w 11701760"/>
              <a:gd name="connsiteY2636" fmla="*/ 2657456 h 6407421"/>
              <a:gd name="connsiteX2637" fmla="*/ 2128695 w 11701760"/>
              <a:gd name="connsiteY2637" fmla="*/ 2657456 h 6407421"/>
              <a:gd name="connsiteX2638" fmla="*/ 2128695 w 11701760"/>
              <a:gd name="connsiteY2638" fmla="*/ 2687058 h 6407421"/>
              <a:gd name="connsiteX2639" fmla="*/ 2099092 w 11701760"/>
              <a:gd name="connsiteY2639" fmla="*/ 2687058 h 6407421"/>
              <a:gd name="connsiteX2640" fmla="*/ 7679743 w 11701760"/>
              <a:gd name="connsiteY2640" fmla="*/ 2657453 h 6407421"/>
              <a:gd name="connsiteX2641" fmla="*/ 7709346 w 11701760"/>
              <a:gd name="connsiteY2641" fmla="*/ 2657453 h 6407421"/>
              <a:gd name="connsiteX2642" fmla="*/ 7709346 w 11701760"/>
              <a:gd name="connsiteY2642" fmla="*/ 2687055 h 6407421"/>
              <a:gd name="connsiteX2643" fmla="*/ 7679743 w 11701760"/>
              <a:gd name="connsiteY2643" fmla="*/ 2687055 h 6407421"/>
              <a:gd name="connsiteX2644" fmla="*/ 1832898 w 11701760"/>
              <a:gd name="connsiteY2644" fmla="*/ 2657453 h 6407421"/>
              <a:gd name="connsiteX2645" fmla="*/ 1862498 w 11701760"/>
              <a:gd name="connsiteY2645" fmla="*/ 2657453 h 6407421"/>
              <a:gd name="connsiteX2646" fmla="*/ 1862498 w 11701760"/>
              <a:gd name="connsiteY2646" fmla="*/ 2687055 h 6407421"/>
              <a:gd name="connsiteX2647" fmla="*/ 1832898 w 11701760"/>
              <a:gd name="connsiteY2647" fmla="*/ 2687055 h 6407421"/>
              <a:gd name="connsiteX2648" fmla="*/ 7413653 w 11701760"/>
              <a:gd name="connsiteY2648" fmla="*/ 2657450 h 6407421"/>
              <a:gd name="connsiteX2649" fmla="*/ 7443256 w 11701760"/>
              <a:gd name="connsiteY2649" fmla="*/ 2657450 h 6407421"/>
              <a:gd name="connsiteX2650" fmla="*/ 7443256 w 11701760"/>
              <a:gd name="connsiteY2650" fmla="*/ 2687052 h 6407421"/>
              <a:gd name="connsiteX2651" fmla="*/ 7413653 w 11701760"/>
              <a:gd name="connsiteY2651" fmla="*/ 2687052 h 6407421"/>
              <a:gd name="connsiteX2652" fmla="*/ 1566808 w 11701760"/>
              <a:gd name="connsiteY2652" fmla="*/ 2657450 h 6407421"/>
              <a:gd name="connsiteX2653" fmla="*/ 1596409 w 11701760"/>
              <a:gd name="connsiteY2653" fmla="*/ 2657450 h 6407421"/>
              <a:gd name="connsiteX2654" fmla="*/ 1596409 w 11701760"/>
              <a:gd name="connsiteY2654" fmla="*/ 2687052 h 6407421"/>
              <a:gd name="connsiteX2655" fmla="*/ 1566808 w 11701760"/>
              <a:gd name="connsiteY2655" fmla="*/ 2687052 h 6407421"/>
              <a:gd name="connsiteX2656" fmla="*/ 7147456 w 11701760"/>
              <a:gd name="connsiteY2656" fmla="*/ 2657447 h 6407421"/>
              <a:gd name="connsiteX2657" fmla="*/ 7177058 w 11701760"/>
              <a:gd name="connsiteY2657" fmla="*/ 2657447 h 6407421"/>
              <a:gd name="connsiteX2658" fmla="*/ 7177058 w 11701760"/>
              <a:gd name="connsiteY2658" fmla="*/ 2687049 h 6407421"/>
              <a:gd name="connsiteX2659" fmla="*/ 7147456 w 11701760"/>
              <a:gd name="connsiteY2659" fmla="*/ 2687049 h 6407421"/>
              <a:gd name="connsiteX2660" fmla="*/ 1300611 w 11701760"/>
              <a:gd name="connsiteY2660" fmla="*/ 2657447 h 6407421"/>
              <a:gd name="connsiteX2661" fmla="*/ 1330213 w 11701760"/>
              <a:gd name="connsiteY2661" fmla="*/ 2657447 h 6407421"/>
              <a:gd name="connsiteX2662" fmla="*/ 1330213 w 11701760"/>
              <a:gd name="connsiteY2662" fmla="*/ 2687049 h 6407421"/>
              <a:gd name="connsiteX2663" fmla="*/ 1300611 w 11701760"/>
              <a:gd name="connsiteY2663" fmla="*/ 2687049 h 6407421"/>
              <a:gd name="connsiteX2664" fmla="*/ 6881367 w 11701760"/>
              <a:gd name="connsiteY2664" fmla="*/ 2657443 h 6407421"/>
              <a:gd name="connsiteX2665" fmla="*/ 6910970 w 11701760"/>
              <a:gd name="connsiteY2665" fmla="*/ 2657443 h 6407421"/>
              <a:gd name="connsiteX2666" fmla="*/ 6910970 w 11701760"/>
              <a:gd name="connsiteY2666" fmla="*/ 2687045 h 6407421"/>
              <a:gd name="connsiteX2667" fmla="*/ 6881367 w 11701760"/>
              <a:gd name="connsiteY2667" fmla="*/ 2687045 h 6407421"/>
              <a:gd name="connsiteX2668" fmla="*/ 1034520 w 11701760"/>
              <a:gd name="connsiteY2668" fmla="*/ 2657443 h 6407421"/>
              <a:gd name="connsiteX2669" fmla="*/ 1064123 w 11701760"/>
              <a:gd name="connsiteY2669" fmla="*/ 2657443 h 6407421"/>
              <a:gd name="connsiteX2670" fmla="*/ 1064123 w 11701760"/>
              <a:gd name="connsiteY2670" fmla="*/ 2687045 h 6407421"/>
              <a:gd name="connsiteX2671" fmla="*/ 1034520 w 11701760"/>
              <a:gd name="connsiteY2671" fmla="*/ 2687045 h 6407421"/>
              <a:gd name="connsiteX2672" fmla="*/ 6615170 w 11701760"/>
              <a:gd name="connsiteY2672" fmla="*/ 2657440 h 6407421"/>
              <a:gd name="connsiteX2673" fmla="*/ 6644773 w 11701760"/>
              <a:gd name="connsiteY2673" fmla="*/ 2657440 h 6407421"/>
              <a:gd name="connsiteX2674" fmla="*/ 6644773 w 11701760"/>
              <a:gd name="connsiteY2674" fmla="*/ 2687042 h 6407421"/>
              <a:gd name="connsiteX2675" fmla="*/ 6615170 w 11701760"/>
              <a:gd name="connsiteY2675" fmla="*/ 2687042 h 6407421"/>
              <a:gd name="connsiteX2676" fmla="*/ 768327 w 11701760"/>
              <a:gd name="connsiteY2676" fmla="*/ 2657440 h 6407421"/>
              <a:gd name="connsiteX2677" fmla="*/ 797926 w 11701760"/>
              <a:gd name="connsiteY2677" fmla="*/ 2657440 h 6407421"/>
              <a:gd name="connsiteX2678" fmla="*/ 797926 w 11701760"/>
              <a:gd name="connsiteY2678" fmla="*/ 2687042 h 6407421"/>
              <a:gd name="connsiteX2679" fmla="*/ 768327 w 11701760"/>
              <a:gd name="connsiteY2679" fmla="*/ 2687042 h 6407421"/>
              <a:gd name="connsiteX2680" fmla="*/ 6349081 w 11701760"/>
              <a:gd name="connsiteY2680" fmla="*/ 2657437 h 6407421"/>
              <a:gd name="connsiteX2681" fmla="*/ 6378683 w 11701760"/>
              <a:gd name="connsiteY2681" fmla="*/ 2657437 h 6407421"/>
              <a:gd name="connsiteX2682" fmla="*/ 6378683 w 11701760"/>
              <a:gd name="connsiteY2682" fmla="*/ 2687039 h 6407421"/>
              <a:gd name="connsiteX2683" fmla="*/ 6349081 w 11701760"/>
              <a:gd name="connsiteY2683" fmla="*/ 2687039 h 6407421"/>
              <a:gd name="connsiteX2684" fmla="*/ 502236 w 11701760"/>
              <a:gd name="connsiteY2684" fmla="*/ 2657437 h 6407421"/>
              <a:gd name="connsiteX2685" fmla="*/ 531838 w 11701760"/>
              <a:gd name="connsiteY2685" fmla="*/ 2657437 h 6407421"/>
              <a:gd name="connsiteX2686" fmla="*/ 531838 w 11701760"/>
              <a:gd name="connsiteY2686" fmla="*/ 2687039 h 6407421"/>
              <a:gd name="connsiteX2687" fmla="*/ 502236 w 11701760"/>
              <a:gd name="connsiteY2687" fmla="*/ 2687039 h 6407421"/>
              <a:gd name="connsiteX2688" fmla="*/ 6082884 w 11701760"/>
              <a:gd name="connsiteY2688" fmla="*/ 2657434 h 6407421"/>
              <a:gd name="connsiteX2689" fmla="*/ 6112486 w 11701760"/>
              <a:gd name="connsiteY2689" fmla="*/ 2657434 h 6407421"/>
              <a:gd name="connsiteX2690" fmla="*/ 6112486 w 11701760"/>
              <a:gd name="connsiteY2690" fmla="*/ 2687036 h 6407421"/>
              <a:gd name="connsiteX2691" fmla="*/ 6082884 w 11701760"/>
              <a:gd name="connsiteY2691" fmla="*/ 2687036 h 6407421"/>
              <a:gd name="connsiteX2692" fmla="*/ 236037 w 11701760"/>
              <a:gd name="connsiteY2692" fmla="*/ 2657434 h 6407421"/>
              <a:gd name="connsiteX2693" fmla="*/ 265639 w 11701760"/>
              <a:gd name="connsiteY2693" fmla="*/ 2657434 h 6407421"/>
              <a:gd name="connsiteX2694" fmla="*/ 265639 w 11701760"/>
              <a:gd name="connsiteY2694" fmla="*/ 2687036 h 6407421"/>
              <a:gd name="connsiteX2695" fmla="*/ 236037 w 11701760"/>
              <a:gd name="connsiteY2695" fmla="*/ 2687036 h 6407421"/>
              <a:gd name="connsiteX2696" fmla="*/ 1 w 11701760"/>
              <a:gd name="connsiteY2696" fmla="*/ 2657434 h 6407421"/>
              <a:gd name="connsiteX2697" fmla="*/ 29603 w 11701760"/>
              <a:gd name="connsiteY2697" fmla="*/ 2657434 h 6407421"/>
              <a:gd name="connsiteX2698" fmla="*/ 29603 w 11701760"/>
              <a:gd name="connsiteY2698" fmla="*/ 2687036 h 6407421"/>
              <a:gd name="connsiteX2699" fmla="*/ 1 w 11701760"/>
              <a:gd name="connsiteY2699" fmla="*/ 2687036 h 6407421"/>
              <a:gd name="connsiteX2700" fmla="*/ 11672158 w 11701760"/>
              <a:gd name="connsiteY2700" fmla="*/ 2391735 h 6407421"/>
              <a:gd name="connsiteX2701" fmla="*/ 11701760 w 11701760"/>
              <a:gd name="connsiteY2701" fmla="*/ 2391735 h 6407421"/>
              <a:gd name="connsiteX2702" fmla="*/ 11701760 w 11701760"/>
              <a:gd name="connsiteY2702" fmla="*/ 2421368 h 6407421"/>
              <a:gd name="connsiteX2703" fmla="*/ 11672158 w 11701760"/>
              <a:gd name="connsiteY2703" fmla="*/ 2421368 h 6407421"/>
              <a:gd name="connsiteX2704" fmla="*/ 5825310 w 11701760"/>
              <a:gd name="connsiteY2704" fmla="*/ 2391735 h 6407421"/>
              <a:gd name="connsiteX2705" fmla="*/ 5854913 w 11701760"/>
              <a:gd name="connsiteY2705" fmla="*/ 2391735 h 6407421"/>
              <a:gd name="connsiteX2706" fmla="*/ 5854913 w 11701760"/>
              <a:gd name="connsiteY2706" fmla="*/ 2421368 h 6407421"/>
              <a:gd name="connsiteX2707" fmla="*/ 5825310 w 11701760"/>
              <a:gd name="connsiteY2707" fmla="*/ 2421368 h 6407421"/>
              <a:gd name="connsiteX2708" fmla="*/ 11405961 w 11701760"/>
              <a:gd name="connsiteY2708" fmla="*/ 2391732 h 6407421"/>
              <a:gd name="connsiteX2709" fmla="*/ 11435563 w 11701760"/>
              <a:gd name="connsiteY2709" fmla="*/ 2391732 h 6407421"/>
              <a:gd name="connsiteX2710" fmla="*/ 11435563 w 11701760"/>
              <a:gd name="connsiteY2710" fmla="*/ 2421368 h 6407421"/>
              <a:gd name="connsiteX2711" fmla="*/ 11405961 w 11701760"/>
              <a:gd name="connsiteY2711" fmla="*/ 2421368 h 6407421"/>
              <a:gd name="connsiteX2712" fmla="*/ 5559113 w 11701760"/>
              <a:gd name="connsiteY2712" fmla="*/ 2391732 h 6407421"/>
              <a:gd name="connsiteX2713" fmla="*/ 5588715 w 11701760"/>
              <a:gd name="connsiteY2713" fmla="*/ 2391732 h 6407421"/>
              <a:gd name="connsiteX2714" fmla="*/ 5588715 w 11701760"/>
              <a:gd name="connsiteY2714" fmla="*/ 2421368 h 6407421"/>
              <a:gd name="connsiteX2715" fmla="*/ 5559113 w 11701760"/>
              <a:gd name="connsiteY2715" fmla="*/ 2421368 h 6407421"/>
              <a:gd name="connsiteX2716" fmla="*/ 11139872 w 11701760"/>
              <a:gd name="connsiteY2716" fmla="*/ 2391729 h 6407421"/>
              <a:gd name="connsiteX2717" fmla="*/ 11169474 w 11701760"/>
              <a:gd name="connsiteY2717" fmla="*/ 2391729 h 6407421"/>
              <a:gd name="connsiteX2718" fmla="*/ 11169474 w 11701760"/>
              <a:gd name="connsiteY2718" fmla="*/ 2421364 h 6407421"/>
              <a:gd name="connsiteX2719" fmla="*/ 11139872 w 11701760"/>
              <a:gd name="connsiteY2719" fmla="*/ 2421364 h 6407421"/>
              <a:gd name="connsiteX2720" fmla="*/ 5293024 w 11701760"/>
              <a:gd name="connsiteY2720" fmla="*/ 2391729 h 6407421"/>
              <a:gd name="connsiteX2721" fmla="*/ 5322626 w 11701760"/>
              <a:gd name="connsiteY2721" fmla="*/ 2391729 h 6407421"/>
              <a:gd name="connsiteX2722" fmla="*/ 5322626 w 11701760"/>
              <a:gd name="connsiteY2722" fmla="*/ 2421364 h 6407421"/>
              <a:gd name="connsiteX2723" fmla="*/ 5293024 w 11701760"/>
              <a:gd name="connsiteY2723" fmla="*/ 2421364 h 6407421"/>
              <a:gd name="connsiteX2724" fmla="*/ 10873675 w 11701760"/>
              <a:gd name="connsiteY2724" fmla="*/ 2391726 h 6407421"/>
              <a:gd name="connsiteX2725" fmla="*/ 10903277 w 11701760"/>
              <a:gd name="connsiteY2725" fmla="*/ 2391726 h 6407421"/>
              <a:gd name="connsiteX2726" fmla="*/ 10903277 w 11701760"/>
              <a:gd name="connsiteY2726" fmla="*/ 2421359 h 6407421"/>
              <a:gd name="connsiteX2727" fmla="*/ 10873675 w 11701760"/>
              <a:gd name="connsiteY2727" fmla="*/ 2421359 h 6407421"/>
              <a:gd name="connsiteX2728" fmla="*/ 5026827 w 11701760"/>
              <a:gd name="connsiteY2728" fmla="*/ 2391726 h 6407421"/>
              <a:gd name="connsiteX2729" fmla="*/ 5056429 w 11701760"/>
              <a:gd name="connsiteY2729" fmla="*/ 2391726 h 6407421"/>
              <a:gd name="connsiteX2730" fmla="*/ 5056429 w 11701760"/>
              <a:gd name="connsiteY2730" fmla="*/ 2421359 h 6407421"/>
              <a:gd name="connsiteX2731" fmla="*/ 5026827 w 11701760"/>
              <a:gd name="connsiteY2731" fmla="*/ 2421359 h 6407421"/>
              <a:gd name="connsiteX2732" fmla="*/ 10607478 w 11701760"/>
              <a:gd name="connsiteY2732" fmla="*/ 2391725 h 6407421"/>
              <a:gd name="connsiteX2733" fmla="*/ 10637188 w 11701760"/>
              <a:gd name="connsiteY2733" fmla="*/ 2391725 h 6407421"/>
              <a:gd name="connsiteX2734" fmla="*/ 10637188 w 11701760"/>
              <a:gd name="connsiteY2734" fmla="*/ 2421354 h 6407421"/>
              <a:gd name="connsiteX2735" fmla="*/ 10607478 w 11701760"/>
              <a:gd name="connsiteY2735" fmla="*/ 2421354 h 6407421"/>
              <a:gd name="connsiteX2736" fmla="*/ 4760630 w 11701760"/>
              <a:gd name="connsiteY2736" fmla="*/ 2391725 h 6407421"/>
              <a:gd name="connsiteX2737" fmla="*/ 4790340 w 11701760"/>
              <a:gd name="connsiteY2737" fmla="*/ 2391725 h 6407421"/>
              <a:gd name="connsiteX2738" fmla="*/ 4790340 w 11701760"/>
              <a:gd name="connsiteY2738" fmla="*/ 2421354 h 6407421"/>
              <a:gd name="connsiteX2739" fmla="*/ 4760630 w 11701760"/>
              <a:gd name="connsiteY2739" fmla="*/ 2421354 h 6407421"/>
              <a:gd name="connsiteX2740" fmla="*/ 10341389 w 11701760"/>
              <a:gd name="connsiteY2740" fmla="*/ 2391720 h 6407421"/>
              <a:gd name="connsiteX2741" fmla="*/ 10370992 w 11701760"/>
              <a:gd name="connsiteY2741" fmla="*/ 2391720 h 6407421"/>
              <a:gd name="connsiteX2742" fmla="*/ 10370992 w 11701760"/>
              <a:gd name="connsiteY2742" fmla="*/ 2421349 h 6407421"/>
              <a:gd name="connsiteX2743" fmla="*/ 10341389 w 11701760"/>
              <a:gd name="connsiteY2743" fmla="*/ 2421349 h 6407421"/>
              <a:gd name="connsiteX2744" fmla="*/ 4494541 w 11701760"/>
              <a:gd name="connsiteY2744" fmla="*/ 2391720 h 6407421"/>
              <a:gd name="connsiteX2745" fmla="*/ 4524144 w 11701760"/>
              <a:gd name="connsiteY2745" fmla="*/ 2391720 h 6407421"/>
              <a:gd name="connsiteX2746" fmla="*/ 4524144 w 11701760"/>
              <a:gd name="connsiteY2746" fmla="*/ 2421349 h 6407421"/>
              <a:gd name="connsiteX2747" fmla="*/ 4494541 w 11701760"/>
              <a:gd name="connsiteY2747" fmla="*/ 2421349 h 6407421"/>
              <a:gd name="connsiteX2748" fmla="*/ 10075192 w 11701760"/>
              <a:gd name="connsiteY2748" fmla="*/ 2391716 h 6407421"/>
              <a:gd name="connsiteX2749" fmla="*/ 10104794 w 11701760"/>
              <a:gd name="connsiteY2749" fmla="*/ 2391716 h 6407421"/>
              <a:gd name="connsiteX2750" fmla="*/ 10104794 w 11701760"/>
              <a:gd name="connsiteY2750" fmla="*/ 2421345 h 6407421"/>
              <a:gd name="connsiteX2751" fmla="*/ 10075192 w 11701760"/>
              <a:gd name="connsiteY2751" fmla="*/ 2421345 h 6407421"/>
              <a:gd name="connsiteX2752" fmla="*/ 4228344 w 11701760"/>
              <a:gd name="connsiteY2752" fmla="*/ 2391716 h 6407421"/>
              <a:gd name="connsiteX2753" fmla="*/ 4257946 w 11701760"/>
              <a:gd name="connsiteY2753" fmla="*/ 2391716 h 6407421"/>
              <a:gd name="connsiteX2754" fmla="*/ 4257946 w 11701760"/>
              <a:gd name="connsiteY2754" fmla="*/ 2421345 h 6407421"/>
              <a:gd name="connsiteX2755" fmla="*/ 4228344 w 11701760"/>
              <a:gd name="connsiteY2755" fmla="*/ 2421345 h 6407421"/>
              <a:gd name="connsiteX2756" fmla="*/ 9809103 w 11701760"/>
              <a:gd name="connsiteY2756" fmla="*/ 2391713 h 6407421"/>
              <a:gd name="connsiteX2757" fmla="*/ 9838705 w 11701760"/>
              <a:gd name="connsiteY2757" fmla="*/ 2391713 h 6407421"/>
              <a:gd name="connsiteX2758" fmla="*/ 9838705 w 11701760"/>
              <a:gd name="connsiteY2758" fmla="*/ 2421340 h 6407421"/>
              <a:gd name="connsiteX2759" fmla="*/ 9809103 w 11701760"/>
              <a:gd name="connsiteY2759" fmla="*/ 2421340 h 6407421"/>
              <a:gd name="connsiteX2760" fmla="*/ 3962255 w 11701760"/>
              <a:gd name="connsiteY2760" fmla="*/ 2391713 h 6407421"/>
              <a:gd name="connsiteX2761" fmla="*/ 3991857 w 11701760"/>
              <a:gd name="connsiteY2761" fmla="*/ 2391713 h 6407421"/>
              <a:gd name="connsiteX2762" fmla="*/ 3991857 w 11701760"/>
              <a:gd name="connsiteY2762" fmla="*/ 2421340 h 6407421"/>
              <a:gd name="connsiteX2763" fmla="*/ 3962255 w 11701760"/>
              <a:gd name="connsiteY2763" fmla="*/ 2421340 h 6407421"/>
              <a:gd name="connsiteX2764" fmla="*/ 9542906 w 11701760"/>
              <a:gd name="connsiteY2764" fmla="*/ 2391710 h 6407421"/>
              <a:gd name="connsiteX2765" fmla="*/ 9572509 w 11701760"/>
              <a:gd name="connsiteY2765" fmla="*/ 2391710 h 6407421"/>
              <a:gd name="connsiteX2766" fmla="*/ 9572509 w 11701760"/>
              <a:gd name="connsiteY2766" fmla="*/ 2421336 h 6407421"/>
              <a:gd name="connsiteX2767" fmla="*/ 9542906 w 11701760"/>
              <a:gd name="connsiteY2767" fmla="*/ 2421336 h 6407421"/>
              <a:gd name="connsiteX2768" fmla="*/ 3696058 w 11701760"/>
              <a:gd name="connsiteY2768" fmla="*/ 2391710 h 6407421"/>
              <a:gd name="connsiteX2769" fmla="*/ 3725661 w 11701760"/>
              <a:gd name="connsiteY2769" fmla="*/ 2391710 h 6407421"/>
              <a:gd name="connsiteX2770" fmla="*/ 3725661 w 11701760"/>
              <a:gd name="connsiteY2770" fmla="*/ 2421336 h 6407421"/>
              <a:gd name="connsiteX2771" fmla="*/ 3696058 w 11701760"/>
              <a:gd name="connsiteY2771" fmla="*/ 2421336 h 6407421"/>
              <a:gd name="connsiteX2772" fmla="*/ 9276817 w 11701760"/>
              <a:gd name="connsiteY2772" fmla="*/ 2391707 h 6407421"/>
              <a:gd name="connsiteX2773" fmla="*/ 9306420 w 11701760"/>
              <a:gd name="connsiteY2773" fmla="*/ 2391707 h 6407421"/>
              <a:gd name="connsiteX2774" fmla="*/ 9306420 w 11701760"/>
              <a:gd name="connsiteY2774" fmla="*/ 2421331 h 6407421"/>
              <a:gd name="connsiteX2775" fmla="*/ 9276817 w 11701760"/>
              <a:gd name="connsiteY2775" fmla="*/ 2421331 h 6407421"/>
              <a:gd name="connsiteX2776" fmla="*/ 3429969 w 11701760"/>
              <a:gd name="connsiteY2776" fmla="*/ 2391707 h 6407421"/>
              <a:gd name="connsiteX2777" fmla="*/ 3459572 w 11701760"/>
              <a:gd name="connsiteY2777" fmla="*/ 2391707 h 6407421"/>
              <a:gd name="connsiteX2778" fmla="*/ 3459572 w 11701760"/>
              <a:gd name="connsiteY2778" fmla="*/ 2421331 h 6407421"/>
              <a:gd name="connsiteX2779" fmla="*/ 3429969 w 11701760"/>
              <a:gd name="connsiteY2779" fmla="*/ 2421331 h 6407421"/>
              <a:gd name="connsiteX2780" fmla="*/ 9010620 w 11701760"/>
              <a:gd name="connsiteY2780" fmla="*/ 2391706 h 6407421"/>
              <a:gd name="connsiteX2781" fmla="*/ 9040222 w 11701760"/>
              <a:gd name="connsiteY2781" fmla="*/ 2391706 h 6407421"/>
              <a:gd name="connsiteX2782" fmla="*/ 9040222 w 11701760"/>
              <a:gd name="connsiteY2782" fmla="*/ 2421326 h 6407421"/>
              <a:gd name="connsiteX2783" fmla="*/ 9010620 w 11701760"/>
              <a:gd name="connsiteY2783" fmla="*/ 2421326 h 6407421"/>
              <a:gd name="connsiteX2784" fmla="*/ 3163772 w 11701760"/>
              <a:gd name="connsiteY2784" fmla="*/ 2391706 h 6407421"/>
              <a:gd name="connsiteX2785" fmla="*/ 3193374 w 11701760"/>
              <a:gd name="connsiteY2785" fmla="*/ 2391706 h 6407421"/>
              <a:gd name="connsiteX2786" fmla="*/ 3193374 w 11701760"/>
              <a:gd name="connsiteY2786" fmla="*/ 2421326 h 6407421"/>
              <a:gd name="connsiteX2787" fmla="*/ 3163772 w 11701760"/>
              <a:gd name="connsiteY2787" fmla="*/ 2421326 h 6407421"/>
              <a:gd name="connsiteX2788" fmla="*/ 8744423 w 11701760"/>
              <a:gd name="connsiteY2788" fmla="*/ 2391701 h 6407421"/>
              <a:gd name="connsiteX2789" fmla="*/ 8774026 w 11701760"/>
              <a:gd name="connsiteY2789" fmla="*/ 2391701 h 6407421"/>
              <a:gd name="connsiteX2790" fmla="*/ 8774026 w 11701760"/>
              <a:gd name="connsiteY2790" fmla="*/ 2421321 h 6407421"/>
              <a:gd name="connsiteX2791" fmla="*/ 8744423 w 11701760"/>
              <a:gd name="connsiteY2791" fmla="*/ 2421321 h 6407421"/>
              <a:gd name="connsiteX2792" fmla="*/ 2897575 w 11701760"/>
              <a:gd name="connsiteY2792" fmla="*/ 2391701 h 6407421"/>
              <a:gd name="connsiteX2793" fmla="*/ 2927178 w 11701760"/>
              <a:gd name="connsiteY2793" fmla="*/ 2391701 h 6407421"/>
              <a:gd name="connsiteX2794" fmla="*/ 2927178 w 11701760"/>
              <a:gd name="connsiteY2794" fmla="*/ 2421321 h 6407421"/>
              <a:gd name="connsiteX2795" fmla="*/ 2897575 w 11701760"/>
              <a:gd name="connsiteY2795" fmla="*/ 2421321 h 6407421"/>
              <a:gd name="connsiteX2796" fmla="*/ 8478226 w 11701760"/>
              <a:gd name="connsiteY2796" fmla="*/ 2391697 h 6407421"/>
              <a:gd name="connsiteX2797" fmla="*/ 8507828 w 11701760"/>
              <a:gd name="connsiteY2797" fmla="*/ 2391697 h 6407421"/>
              <a:gd name="connsiteX2798" fmla="*/ 8507828 w 11701760"/>
              <a:gd name="connsiteY2798" fmla="*/ 2421317 h 6407421"/>
              <a:gd name="connsiteX2799" fmla="*/ 8478226 w 11701760"/>
              <a:gd name="connsiteY2799" fmla="*/ 2421317 h 6407421"/>
              <a:gd name="connsiteX2800" fmla="*/ 2631378 w 11701760"/>
              <a:gd name="connsiteY2800" fmla="*/ 2391697 h 6407421"/>
              <a:gd name="connsiteX2801" fmla="*/ 2660980 w 11701760"/>
              <a:gd name="connsiteY2801" fmla="*/ 2391697 h 6407421"/>
              <a:gd name="connsiteX2802" fmla="*/ 2660980 w 11701760"/>
              <a:gd name="connsiteY2802" fmla="*/ 2421317 h 6407421"/>
              <a:gd name="connsiteX2803" fmla="*/ 2631378 w 11701760"/>
              <a:gd name="connsiteY2803" fmla="*/ 2421317 h 6407421"/>
              <a:gd name="connsiteX2804" fmla="*/ 8212137 w 11701760"/>
              <a:gd name="connsiteY2804" fmla="*/ 2391694 h 6407421"/>
              <a:gd name="connsiteX2805" fmla="*/ 8241740 w 11701760"/>
              <a:gd name="connsiteY2805" fmla="*/ 2391694 h 6407421"/>
              <a:gd name="connsiteX2806" fmla="*/ 8241740 w 11701760"/>
              <a:gd name="connsiteY2806" fmla="*/ 2421312 h 6407421"/>
              <a:gd name="connsiteX2807" fmla="*/ 8212137 w 11701760"/>
              <a:gd name="connsiteY2807" fmla="*/ 2421312 h 6407421"/>
              <a:gd name="connsiteX2808" fmla="*/ 2365289 w 11701760"/>
              <a:gd name="connsiteY2808" fmla="*/ 2391694 h 6407421"/>
              <a:gd name="connsiteX2809" fmla="*/ 2394892 w 11701760"/>
              <a:gd name="connsiteY2809" fmla="*/ 2391694 h 6407421"/>
              <a:gd name="connsiteX2810" fmla="*/ 2394892 w 11701760"/>
              <a:gd name="connsiteY2810" fmla="*/ 2421312 h 6407421"/>
              <a:gd name="connsiteX2811" fmla="*/ 2365289 w 11701760"/>
              <a:gd name="connsiteY2811" fmla="*/ 2421312 h 6407421"/>
              <a:gd name="connsiteX2812" fmla="*/ 7945940 w 11701760"/>
              <a:gd name="connsiteY2812" fmla="*/ 2391691 h 6407421"/>
              <a:gd name="connsiteX2813" fmla="*/ 7975543 w 11701760"/>
              <a:gd name="connsiteY2813" fmla="*/ 2391691 h 6407421"/>
              <a:gd name="connsiteX2814" fmla="*/ 7975543 w 11701760"/>
              <a:gd name="connsiteY2814" fmla="*/ 2421307 h 6407421"/>
              <a:gd name="connsiteX2815" fmla="*/ 7945940 w 11701760"/>
              <a:gd name="connsiteY2815" fmla="*/ 2421307 h 6407421"/>
              <a:gd name="connsiteX2816" fmla="*/ 2099092 w 11701760"/>
              <a:gd name="connsiteY2816" fmla="*/ 2391691 h 6407421"/>
              <a:gd name="connsiteX2817" fmla="*/ 2128695 w 11701760"/>
              <a:gd name="connsiteY2817" fmla="*/ 2391691 h 6407421"/>
              <a:gd name="connsiteX2818" fmla="*/ 2128695 w 11701760"/>
              <a:gd name="connsiteY2818" fmla="*/ 2421307 h 6407421"/>
              <a:gd name="connsiteX2819" fmla="*/ 2099092 w 11701760"/>
              <a:gd name="connsiteY2819" fmla="*/ 2421307 h 6407421"/>
              <a:gd name="connsiteX2820" fmla="*/ 7679743 w 11701760"/>
              <a:gd name="connsiteY2820" fmla="*/ 2391688 h 6407421"/>
              <a:gd name="connsiteX2821" fmla="*/ 7709346 w 11701760"/>
              <a:gd name="connsiteY2821" fmla="*/ 2391688 h 6407421"/>
              <a:gd name="connsiteX2822" fmla="*/ 7709346 w 11701760"/>
              <a:gd name="connsiteY2822" fmla="*/ 2421302 h 6407421"/>
              <a:gd name="connsiteX2823" fmla="*/ 7679743 w 11701760"/>
              <a:gd name="connsiteY2823" fmla="*/ 2421302 h 6407421"/>
              <a:gd name="connsiteX2824" fmla="*/ 1832898 w 11701760"/>
              <a:gd name="connsiteY2824" fmla="*/ 2391688 h 6407421"/>
              <a:gd name="connsiteX2825" fmla="*/ 1862498 w 11701760"/>
              <a:gd name="connsiteY2825" fmla="*/ 2391688 h 6407421"/>
              <a:gd name="connsiteX2826" fmla="*/ 1862498 w 11701760"/>
              <a:gd name="connsiteY2826" fmla="*/ 2421302 h 6407421"/>
              <a:gd name="connsiteX2827" fmla="*/ 1832898 w 11701760"/>
              <a:gd name="connsiteY2827" fmla="*/ 2421302 h 6407421"/>
              <a:gd name="connsiteX2828" fmla="*/ 7413653 w 11701760"/>
              <a:gd name="connsiteY2828" fmla="*/ 2391687 h 6407421"/>
              <a:gd name="connsiteX2829" fmla="*/ 7443256 w 11701760"/>
              <a:gd name="connsiteY2829" fmla="*/ 2391687 h 6407421"/>
              <a:gd name="connsiteX2830" fmla="*/ 7443256 w 11701760"/>
              <a:gd name="connsiteY2830" fmla="*/ 2421298 h 6407421"/>
              <a:gd name="connsiteX2831" fmla="*/ 7413653 w 11701760"/>
              <a:gd name="connsiteY2831" fmla="*/ 2421298 h 6407421"/>
              <a:gd name="connsiteX2832" fmla="*/ 1566808 w 11701760"/>
              <a:gd name="connsiteY2832" fmla="*/ 2391687 h 6407421"/>
              <a:gd name="connsiteX2833" fmla="*/ 1596409 w 11701760"/>
              <a:gd name="connsiteY2833" fmla="*/ 2391687 h 6407421"/>
              <a:gd name="connsiteX2834" fmla="*/ 1596409 w 11701760"/>
              <a:gd name="connsiteY2834" fmla="*/ 2421298 h 6407421"/>
              <a:gd name="connsiteX2835" fmla="*/ 1566808 w 11701760"/>
              <a:gd name="connsiteY2835" fmla="*/ 2421298 h 6407421"/>
              <a:gd name="connsiteX2836" fmla="*/ 7147456 w 11701760"/>
              <a:gd name="connsiteY2836" fmla="*/ 2391682 h 6407421"/>
              <a:gd name="connsiteX2837" fmla="*/ 7177058 w 11701760"/>
              <a:gd name="connsiteY2837" fmla="*/ 2391682 h 6407421"/>
              <a:gd name="connsiteX2838" fmla="*/ 7177058 w 11701760"/>
              <a:gd name="connsiteY2838" fmla="*/ 2421293 h 6407421"/>
              <a:gd name="connsiteX2839" fmla="*/ 7147456 w 11701760"/>
              <a:gd name="connsiteY2839" fmla="*/ 2421293 h 6407421"/>
              <a:gd name="connsiteX2840" fmla="*/ 1300611 w 11701760"/>
              <a:gd name="connsiteY2840" fmla="*/ 2391682 h 6407421"/>
              <a:gd name="connsiteX2841" fmla="*/ 1330213 w 11701760"/>
              <a:gd name="connsiteY2841" fmla="*/ 2391682 h 6407421"/>
              <a:gd name="connsiteX2842" fmla="*/ 1330213 w 11701760"/>
              <a:gd name="connsiteY2842" fmla="*/ 2421293 h 6407421"/>
              <a:gd name="connsiteX2843" fmla="*/ 1300611 w 11701760"/>
              <a:gd name="connsiteY2843" fmla="*/ 2421293 h 6407421"/>
              <a:gd name="connsiteX2844" fmla="*/ 6881367 w 11701760"/>
              <a:gd name="connsiteY2844" fmla="*/ 2391678 h 6407421"/>
              <a:gd name="connsiteX2845" fmla="*/ 6910970 w 11701760"/>
              <a:gd name="connsiteY2845" fmla="*/ 2391678 h 6407421"/>
              <a:gd name="connsiteX2846" fmla="*/ 6910970 w 11701760"/>
              <a:gd name="connsiteY2846" fmla="*/ 2421288 h 6407421"/>
              <a:gd name="connsiteX2847" fmla="*/ 6881367 w 11701760"/>
              <a:gd name="connsiteY2847" fmla="*/ 2421288 h 6407421"/>
              <a:gd name="connsiteX2848" fmla="*/ 1034520 w 11701760"/>
              <a:gd name="connsiteY2848" fmla="*/ 2391678 h 6407421"/>
              <a:gd name="connsiteX2849" fmla="*/ 1064123 w 11701760"/>
              <a:gd name="connsiteY2849" fmla="*/ 2391678 h 6407421"/>
              <a:gd name="connsiteX2850" fmla="*/ 1064123 w 11701760"/>
              <a:gd name="connsiteY2850" fmla="*/ 2421288 h 6407421"/>
              <a:gd name="connsiteX2851" fmla="*/ 1034520 w 11701760"/>
              <a:gd name="connsiteY2851" fmla="*/ 2421288 h 6407421"/>
              <a:gd name="connsiteX2852" fmla="*/ 6615170 w 11701760"/>
              <a:gd name="connsiteY2852" fmla="*/ 2391675 h 6407421"/>
              <a:gd name="connsiteX2853" fmla="*/ 6644773 w 11701760"/>
              <a:gd name="connsiteY2853" fmla="*/ 2391675 h 6407421"/>
              <a:gd name="connsiteX2854" fmla="*/ 6644773 w 11701760"/>
              <a:gd name="connsiteY2854" fmla="*/ 2421283 h 6407421"/>
              <a:gd name="connsiteX2855" fmla="*/ 6615170 w 11701760"/>
              <a:gd name="connsiteY2855" fmla="*/ 2421283 h 6407421"/>
              <a:gd name="connsiteX2856" fmla="*/ 768327 w 11701760"/>
              <a:gd name="connsiteY2856" fmla="*/ 2391675 h 6407421"/>
              <a:gd name="connsiteX2857" fmla="*/ 797926 w 11701760"/>
              <a:gd name="connsiteY2857" fmla="*/ 2391675 h 6407421"/>
              <a:gd name="connsiteX2858" fmla="*/ 797926 w 11701760"/>
              <a:gd name="connsiteY2858" fmla="*/ 2421283 h 6407421"/>
              <a:gd name="connsiteX2859" fmla="*/ 768327 w 11701760"/>
              <a:gd name="connsiteY2859" fmla="*/ 2421283 h 6407421"/>
              <a:gd name="connsiteX2860" fmla="*/ 6349081 w 11701760"/>
              <a:gd name="connsiteY2860" fmla="*/ 2391672 h 6407421"/>
              <a:gd name="connsiteX2861" fmla="*/ 6378683 w 11701760"/>
              <a:gd name="connsiteY2861" fmla="*/ 2391672 h 6407421"/>
              <a:gd name="connsiteX2862" fmla="*/ 6378683 w 11701760"/>
              <a:gd name="connsiteY2862" fmla="*/ 2421278 h 6407421"/>
              <a:gd name="connsiteX2863" fmla="*/ 6349081 w 11701760"/>
              <a:gd name="connsiteY2863" fmla="*/ 2421278 h 6407421"/>
              <a:gd name="connsiteX2864" fmla="*/ 502236 w 11701760"/>
              <a:gd name="connsiteY2864" fmla="*/ 2391672 h 6407421"/>
              <a:gd name="connsiteX2865" fmla="*/ 531838 w 11701760"/>
              <a:gd name="connsiteY2865" fmla="*/ 2391672 h 6407421"/>
              <a:gd name="connsiteX2866" fmla="*/ 531838 w 11701760"/>
              <a:gd name="connsiteY2866" fmla="*/ 2421278 h 6407421"/>
              <a:gd name="connsiteX2867" fmla="*/ 502236 w 11701760"/>
              <a:gd name="connsiteY2867" fmla="*/ 2421278 h 6407421"/>
              <a:gd name="connsiteX2868" fmla="*/ 6082884 w 11701760"/>
              <a:gd name="connsiteY2868" fmla="*/ 2391669 h 6407421"/>
              <a:gd name="connsiteX2869" fmla="*/ 6112486 w 11701760"/>
              <a:gd name="connsiteY2869" fmla="*/ 2391669 h 6407421"/>
              <a:gd name="connsiteX2870" fmla="*/ 6112486 w 11701760"/>
              <a:gd name="connsiteY2870" fmla="*/ 2421272 h 6407421"/>
              <a:gd name="connsiteX2871" fmla="*/ 6082884 w 11701760"/>
              <a:gd name="connsiteY2871" fmla="*/ 2421272 h 6407421"/>
              <a:gd name="connsiteX2872" fmla="*/ 236037 w 11701760"/>
              <a:gd name="connsiteY2872" fmla="*/ 2391669 h 6407421"/>
              <a:gd name="connsiteX2873" fmla="*/ 265639 w 11701760"/>
              <a:gd name="connsiteY2873" fmla="*/ 2391669 h 6407421"/>
              <a:gd name="connsiteX2874" fmla="*/ 265639 w 11701760"/>
              <a:gd name="connsiteY2874" fmla="*/ 2421272 h 6407421"/>
              <a:gd name="connsiteX2875" fmla="*/ 236037 w 11701760"/>
              <a:gd name="connsiteY2875" fmla="*/ 2421272 h 6407421"/>
              <a:gd name="connsiteX2876" fmla="*/ 1 w 11701760"/>
              <a:gd name="connsiteY2876" fmla="*/ 2391669 h 6407421"/>
              <a:gd name="connsiteX2877" fmla="*/ 29603 w 11701760"/>
              <a:gd name="connsiteY2877" fmla="*/ 2391669 h 6407421"/>
              <a:gd name="connsiteX2878" fmla="*/ 29603 w 11701760"/>
              <a:gd name="connsiteY2878" fmla="*/ 2421272 h 6407421"/>
              <a:gd name="connsiteX2879" fmla="*/ 1 w 11701760"/>
              <a:gd name="connsiteY2879" fmla="*/ 2421272 h 6407421"/>
              <a:gd name="connsiteX2880" fmla="*/ 11672158 w 11701760"/>
              <a:gd name="connsiteY2880" fmla="*/ 2126064 h 6407421"/>
              <a:gd name="connsiteX2881" fmla="*/ 11701760 w 11701760"/>
              <a:gd name="connsiteY2881" fmla="*/ 2126064 h 6407421"/>
              <a:gd name="connsiteX2882" fmla="*/ 11701760 w 11701760"/>
              <a:gd name="connsiteY2882" fmla="*/ 2155577 h 6407421"/>
              <a:gd name="connsiteX2883" fmla="*/ 11672158 w 11701760"/>
              <a:gd name="connsiteY2883" fmla="*/ 2155577 h 6407421"/>
              <a:gd name="connsiteX2884" fmla="*/ 5825310 w 11701760"/>
              <a:gd name="connsiteY2884" fmla="*/ 2126064 h 6407421"/>
              <a:gd name="connsiteX2885" fmla="*/ 5854913 w 11701760"/>
              <a:gd name="connsiteY2885" fmla="*/ 2126064 h 6407421"/>
              <a:gd name="connsiteX2886" fmla="*/ 5854913 w 11701760"/>
              <a:gd name="connsiteY2886" fmla="*/ 2155577 h 6407421"/>
              <a:gd name="connsiteX2887" fmla="*/ 5825310 w 11701760"/>
              <a:gd name="connsiteY2887" fmla="*/ 2155577 h 6407421"/>
              <a:gd name="connsiteX2888" fmla="*/ 11405961 w 11701760"/>
              <a:gd name="connsiteY2888" fmla="*/ 2126062 h 6407421"/>
              <a:gd name="connsiteX2889" fmla="*/ 11435563 w 11701760"/>
              <a:gd name="connsiteY2889" fmla="*/ 2126062 h 6407421"/>
              <a:gd name="connsiteX2890" fmla="*/ 11435563 w 11701760"/>
              <a:gd name="connsiteY2890" fmla="*/ 2155575 h 6407421"/>
              <a:gd name="connsiteX2891" fmla="*/ 11405961 w 11701760"/>
              <a:gd name="connsiteY2891" fmla="*/ 2155575 h 6407421"/>
              <a:gd name="connsiteX2892" fmla="*/ 5559113 w 11701760"/>
              <a:gd name="connsiteY2892" fmla="*/ 2126062 h 6407421"/>
              <a:gd name="connsiteX2893" fmla="*/ 5588715 w 11701760"/>
              <a:gd name="connsiteY2893" fmla="*/ 2126062 h 6407421"/>
              <a:gd name="connsiteX2894" fmla="*/ 5588715 w 11701760"/>
              <a:gd name="connsiteY2894" fmla="*/ 2155575 h 6407421"/>
              <a:gd name="connsiteX2895" fmla="*/ 5559113 w 11701760"/>
              <a:gd name="connsiteY2895" fmla="*/ 2155575 h 6407421"/>
              <a:gd name="connsiteX2896" fmla="*/ 11139872 w 11701760"/>
              <a:gd name="connsiteY2896" fmla="*/ 2126061 h 6407421"/>
              <a:gd name="connsiteX2897" fmla="*/ 11169474 w 11701760"/>
              <a:gd name="connsiteY2897" fmla="*/ 2126061 h 6407421"/>
              <a:gd name="connsiteX2898" fmla="*/ 11169474 w 11701760"/>
              <a:gd name="connsiteY2898" fmla="*/ 2155572 h 6407421"/>
              <a:gd name="connsiteX2899" fmla="*/ 11139872 w 11701760"/>
              <a:gd name="connsiteY2899" fmla="*/ 2155572 h 6407421"/>
              <a:gd name="connsiteX2900" fmla="*/ 5293024 w 11701760"/>
              <a:gd name="connsiteY2900" fmla="*/ 2126061 h 6407421"/>
              <a:gd name="connsiteX2901" fmla="*/ 5322626 w 11701760"/>
              <a:gd name="connsiteY2901" fmla="*/ 2126061 h 6407421"/>
              <a:gd name="connsiteX2902" fmla="*/ 5322626 w 11701760"/>
              <a:gd name="connsiteY2902" fmla="*/ 2155572 h 6407421"/>
              <a:gd name="connsiteX2903" fmla="*/ 5293024 w 11701760"/>
              <a:gd name="connsiteY2903" fmla="*/ 2155572 h 6407421"/>
              <a:gd name="connsiteX2904" fmla="*/ 10873675 w 11701760"/>
              <a:gd name="connsiteY2904" fmla="*/ 2126058 h 6407421"/>
              <a:gd name="connsiteX2905" fmla="*/ 10903277 w 11701760"/>
              <a:gd name="connsiteY2905" fmla="*/ 2126058 h 6407421"/>
              <a:gd name="connsiteX2906" fmla="*/ 10903277 w 11701760"/>
              <a:gd name="connsiteY2906" fmla="*/ 2155569 h 6407421"/>
              <a:gd name="connsiteX2907" fmla="*/ 10873675 w 11701760"/>
              <a:gd name="connsiteY2907" fmla="*/ 2155569 h 6407421"/>
              <a:gd name="connsiteX2908" fmla="*/ 5026827 w 11701760"/>
              <a:gd name="connsiteY2908" fmla="*/ 2126058 h 6407421"/>
              <a:gd name="connsiteX2909" fmla="*/ 5056429 w 11701760"/>
              <a:gd name="connsiteY2909" fmla="*/ 2126058 h 6407421"/>
              <a:gd name="connsiteX2910" fmla="*/ 5056429 w 11701760"/>
              <a:gd name="connsiteY2910" fmla="*/ 2155569 h 6407421"/>
              <a:gd name="connsiteX2911" fmla="*/ 5026827 w 11701760"/>
              <a:gd name="connsiteY2911" fmla="*/ 2155569 h 6407421"/>
              <a:gd name="connsiteX2912" fmla="*/ 10607478 w 11701760"/>
              <a:gd name="connsiteY2912" fmla="*/ 2126055 h 6407421"/>
              <a:gd name="connsiteX2913" fmla="*/ 10637188 w 11701760"/>
              <a:gd name="connsiteY2913" fmla="*/ 2126055 h 6407421"/>
              <a:gd name="connsiteX2914" fmla="*/ 10637188 w 11701760"/>
              <a:gd name="connsiteY2914" fmla="*/ 2155565 h 6407421"/>
              <a:gd name="connsiteX2915" fmla="*/ 10607478 w 11701760"/>
              <a:gd name="connsiteY2915" fmla="*/ 2155565 h 6407421"/>
              <a:gd name="connsiteX2916" fmla="*/ 4760630 w 11701760"/>
              <a:gd name="connsiteY2916" fmla="*/ 2126055 h 6407421"/>
              <a:gd name="connsiteX2917" fmla="*/ 4790340 w 11701760"/>
              <a:gd name="connsiteY2917" fmla="*/ 2126055 h 6407421"/>
              <a:gd name="connsiteX2918" fmla="*/ 4790340 w 11701760"/>
              <a:gd name="connsiteY2918" fmla="*/ 2155565 h 6407421"/>
              <a:gd name="connsiteX2919" fmla="*/ 4760630 w 11701760"/>
              <a:gd name="connsiteY2919" fmla="*/ 2155565 h 6407421"/>
              <a:gd name="connsiteX2920" fmla="*/ 10341389 w 11701760"/>
              <a:gd name="connsiteY2920" fmla="*/ 2126052 h 6407421"/>
              <a:gd name="connsiteX2921" fmla="*/ 10370992 w 11701760"/>
              <a:gd name="connsiteY2921" fmla="*/ 2126052 h 6407421"/>
              <a:gd name="connsiteX2922" fmla="*/ 10370992 w 11701760"/>
              <a:gd name="connsiteY2922" fmla="*/ 2155561 h 6407421"/>
              <a:gd name="connsiteX2923" fmla="*/ 10341389 w 11701760"/>
              <a:gd name="connsiteY2923" fmla="*/ 2155561 h 6407421"/>
              <a:gd name="connsiteX2924" fmla="*/ 4494541 w 11701760"/>
              <a:gd name="connsiteY2924" fmla="*/ 2126052 h 6407421"/>
              <a:gd name="connsiteX2925" fmla="*/ 4524144 w 11701760"/>
              <a:gd name="connsiteY2925" fmla="*/ 2126052 h 6407421"/>
              <a:gd name="connsiteX2926" fmla="*/ 4524144 w 11701760"/>
              <a:gd name="connsiteY2926" fmla="*/ 2155561 h 6407421"/>
              <a:gd name="connsiteX2927" fmla="*/ 4494541 w 11701760"/>
              <a:gd name="connsiteY2927" fmla="*/ 2155561 h 6407421"/>
              <a:gd name="connsiteX2928" fmla="*/ 10075192 w 11701760"/>
              <a:gd name="connsiteY2928" fmla="*/ 2126049 h 6407421"/>
              <a:gd name="connsiteX2929" fmla="*/ 10104794 w 11701760"/>
              <a:gd name="connsiteY2929" fmla="*/ 2126049 h 6407421"/>
              <a:gd name="connsiteX2930" fmla="*/ 10104794 w 11701760"/>
              <a:gd name="connsiteY2930" fmla="*/ 2155558 h 6407421"/>
              <a:gd name="connsiteX2931" fmla="*/ 10075192 w 11701760"/>
              <a:gd name="connsiteY2931" fmla="*/ 2155558 h 6407421"/>
              <a:gd name="connsiteX2932" fmla="*/ 4228344 w 11701760"/>
              <a:gd name="connsiteY2932" fmla="*/ 2126049 h 6407421"/>
              <a:gd name="connsiteX2933" fmla="*/ 4257946 w 11701760"/>
              <a:gd name="connsiteY2933" fmla="*/ 2126049 h 6407421"/>
              <a:gd name="connsiteX2934" fmla="*/ 4257946 w 11701760"/>
              <a:gd name="connsiteY2934" fmla="*/ 2155558 h 6407421"/>
              <a:gd name="connsiteX2935" fmla="*/ 4228344 w 11701760"/>
              <a:gd name="connsiteY2935" fmla="*/ 2155558 h 6407421"/>
              <a:gd name="connsiteX2936" fmla="*/ 9809103 w 11701760"/>
              <a:gd name="connsiteY2936" fmla="*/ 2126047 h 6407421"/>
              <a:gd name="connsiteX2937" fmla="*/ 9838705 w 11701760"/>
              <a:gd name="connsiteY2937" fmla="*/ 2126047 h 6407421"/>
              <a:gd name="connsiteX2938" fmla="*/ 9838705 w 11701760"/>
              <a:gd name="connsiteY2938" fmla="*/ 2155554 h 6407421"/>
              <a:gd name="connsiteX2939" fmla="*/ 9809103 w 11701760"/>
              <a:gd name="connsiteY2939" fmla="*/ 2155554 h 6407421"/>
              <a:gd name="connsiteX2940" fmla="*/ 3962255 w 11701760"/>
              <a:gd name="connsiteY2940" fmla="*/ 2126047 h 6407421"/>
              <a:gd name="connsiteX2941" fmla="*/ 3991857 w 11701760"/>
              <a:gd name="connsiteY2941" fmla="*/ 2126047 h 6407421"/>
              <a:gd name="connsiteX2942" fmla="*/ 3991857 w 11701760"/>
              <a:gd name="connsiteY2942" fmla="*/ 2155554 h 6407421"/>
              <a:gd name="connsiteX2943" fmla="*/ 3962255 w 11701760"/>
              <a:gd name="connsiteY2943" fmla="*/ 2155554 h 6407421"/>
              <a:gd name="connsiteX2944" fmla="*/ 9542906 w 11701760"/>
              <a:gd name="connsiteY2944" fmla="*/ 2126044 h 6407421"/>
              <a:gd name="connsiteX2945" fmla="*/ 9572509 w 11701760"/>
              <a:gd name="connsiteY2945" fmla="*/ 2126044 h 6407421"/>
              <a:gd name="connsiteX2946" fmla="*/ 9572509 w 11701760"/>
              <a:gd name="connsiteY2946" fmla="*/ 2155551 h 6407421"/>
              <a:gd name="connsiteX2947" fmla="*/ 9542906 w 11701760"/>
              <a:gd name="connsiteY2947" fmla="*/ 2155551 h 6407421"/>
              <a:gd name="connsiteX2948" fmla="*/ 3696058 w 11701760"/>
              <a:gd name="connsiteY2948" fmla="*/ 2126044 h 6407421"/>
              <a:gd name="connsiteX2949" fmla="*/ 3725661 w 11701760"/>
              <a:gd name="connsiteY2949" fmla="*/ 2126044 h 6407421"/>
              <a:gd name="connsiteX2950" fmla="*/ 3725661 w 11701760"/>
              <a:gd name="connsiteY2950" fmla="*/ 2155551 h 6407421"/>
              <a:gd name="connsiteX2951" fmla="*/ 3696058 w 11701760"/>
              <a:gd name="connsiteY2951" fmla="*/ 2155551 h 6407421"/>
              <a:gd name="connsiteX2952" fmla="*/ 9276817 w 11701760"/>
              <a:gd name="connsiteY2952" fmla="*/ 2126042 h 6407421"/>
              <a:gd name="connsiteX2953" fmla="*/ 9306420 w 11701760"/>
              <a:gd name="connsiteY2953" fmla="*/ 2126042 h 6407421"/>
              <a:gd name="connsiteX2954" fmla="*/ 9306420 w 11701760"/>
              <a:gd name="connsiteY2954" fmla="*/ 2155548 h 6407421"/>
              <a:gd name="connsiteX2955" fmla="*/ 9276817 w 11701760"/>
              <a:gd name="connsiteY2955" fmla="*/ 2155548 h 6407421"/>
              <a:gd name="connsiteX2956" fmla="*/ 3429969 w 11701760"/>
              <a:gd name="connsiteY2956" fmla="*/ 2126042 h 6407421"/>
              <a:gd name="connsiteX2957" fmla="*/ 3459572 w 11701760"/>
              <a:gd name="connsiteY2957" fmla="*/ 2126042 h 6407421"/>
              <a:gd name="connsiteX2958" fmla="*/ 3459572 w 11701760"/>
              <a:gd name="connsiteY2958" fmla="*/ 2155548 h 6407421"/>
              <a:gd name="connsiteX2959" fmla="*/ 3429969 w 11701760"/>
              <a:gd name="connsiteY2959" fmla="*/ 2155548 h 6407421"/>
              <a:gd name="connsiteX2960" fmla="*/ 9010620 w 11701760"/>
              <a:gd name="connsiteY2960" fmla="*/ 2126039 h 6407421"/>
              <a:gd name="connsiteX2961" fmla="*/ 9040222 w 11701760"/>
              <a:gd name="connsiteY2961" fmla="*/ 2126039 h 6407421"/>
              <a:gd name="connsiteX2962" fmla="*/ 9040222 w 11701760"/>
              <a:gd name="connsiteY2962" fmla="*/ 2155544 h 6407421"/>
              <a:gd name="connsiteX2963" fmla="*/ 9010620 w 11701760"/>
              <a:gd name="connsiteY2963" fmla="*/ 2155544 h 6407421"/>
              <a:gd name="connsiteX2964" fmla="*/ 3163772 w 11701760"/>
              <a:gd name="connsiteY2964" fmla="*/ 2126039 h 6407421"/>
              <a:gd name="connsiteX2965" fmla="*/ 3193374 w 11701760"/>
              <a:gd name="connsiteY2965" fmla="*/ 2126039 h 6407421"/>
              <a:gd name="connsiteX2966" fmla="*/ 3193374 w 11701760"/>
              <a:gd name="connsiteY2966" fmla="*/ 2155544 h 6407421"/>
              <a:gd name="connsiteX2967" fmla="*/ 3163772 w 11701760"/>
              <a:gd name="connsiteY2967" fmla="*/ 2155544 h 6407421"/>
              <a:gd name="connsiteX2968" fmla="*/ 8744423 w 11701760"/>
              <a:gd name="connsiteY2968" fmla="*/ 2126036 h 6407421"/>
              <a:gd name="connsiteX2969" fmla="*/ 8774026 w 11701760"/>
              <a:gd name="connsiteY2969" fmla="*/ 2126036 h 6407421"/>
              <a:gd name="connsiteX2970" fmla="*/ 8774026 w 11701760"/>
              <a:gd name="connsiteY2970" fmla="*/ 2155541 h 6407421"/>
              <a:gd name="connsiteX2971" fmla="*/ 8744423 w 11701760"/>
              <a:gd name="connsiteY2971" fmla="*/ 2155541 h 6407421"/>
              <a:gd name="connsiteX2972" fmla="*/ 2897575 w 11701760"/>
              <a:gd name="connsiteY2972" fmla="*/ 2126036 h 6407421"/>
              <a:gd name="connsiteX2973" fmla="*/ 2927178 w 11701760"/>
              <a:gd name="connsiteY2973" fmla="*/ 2126036 h 6407421"/>
              <a:gd name="connsiteX2974" fmla="*/ 2927178 w 11701760"/>
              <a:gd name="connsiteY2974" fmla="*/ 2155541 h 6407421"/>
              <a:gd name="connsiteX2975" fmla="*/ 2897575 w 11701760"/>
              <a:gd name="connsiteY2975" fmla="*/ 2155541 h 6407421"/>
              <a:gd name="connsiteX2976" fmla="*/ 8478226 w 11701760"/>
              <a:gd name="connsiteY2976" fmla="*/ 2126033 h 6407421"/>
              <a:gd name="connsiteX2977" fmla="*/ 8507828 w 11701760"/>
              <a:gd name="connsiteY2977" fmla="*/ 2126033 h 6407421"/>
              <a:gd name="connsiteX2978" fmla="*/ 8507828 w 11701760"/>
              <a:gd name="connsiteY2978" fmla="*/ 2155537 h 6407421"/>
              <a:gd name="connsiteX2979" fmla="*/ 8478226 w 11701760"/>
              <a:gd name="connsiteY2979" fmla="*/ 2155537 h 6407421"/>
              <a:gd name="connsiteX2980" fmla="*/ 2631378 w 11701760"/>
              <a:gd name="connsiteY2980" fmla="*/ 2126033 h 6407421"/>
              <a:gd name="connsiteX2981" fmla="*/ 2660980 w 11701760"/>
              <a:gd name="connsiteY2981" fmla="*/ 2126033 h 6407421"/>
              <a:gd name="connsiteX2982" fmla="*/ 2660980 w 11701760"/>
              <a:gd name="connsiteY2982" fmla="*/ 2155537 h 6407421"/>
              <a:gd name="connsiteX2983" fmla="*/ 2631378 w 11701760"/>
              <a:gd name="connsiteY2983" fmla="*/ 2155537 h 6407421"/>
              <a:gd name="connsiteX2984" fmla="*/ 8212137 w 11701760"/>
              <a:gd name="connsiteY2984" fmla="*/ 2126031 h 6407421"/>
              <a:gd name="connsiteX2985" fmla="*/ 8241740 w 11701760"/>
              <a:gd name="connsiteY2985" fmla="*/ 2126031 h 6407421"/>
              <a:gd name="connsiteX2986" fmla="*/ 8241740 w 11701760"/>
              <a:gd name="connsiteY2986" fmla="*/ 2155534 h 6407421"/>
              <a:gd name="connsiteX2987" fmla="*/ 8212137 w 11701760"/>
              <a:gd name="connsiteY2987" fmla="*/ 2155534 h 6407421"/>
              <a:gd name="connsiteX2988" fmla="*/ 2365289 w 11701760"/>
              <a:gd name="connsiteY2988" fmla="*/ 2126031 h 6407421"/>
              <a:gd name="connsiteX2989" fmla="*/ 2394892 w 11701760"/>
              <a:gd name="connsiteY2989" fmla="*/ 2126031 h 6407421"/>
              <a:gd name="connsiteX2990" fmla="*/ 2394892 w 11701760"/>
              <a:gd name="connsiteY2990" fmla="*/ 2155534 h 6407421"/>
              <a:gd name="connsiteX2991" fmla="*/ 2365289 w 11701760"/>
              <a:gd name="connsiteY2991" fmla="*/ 2155534 h 6407421"/>
              <a:gd name="connsiteX2992" fmla="*/ 7945940 w 11701760"/>
              <a:gd name="connsiteY2992" fmla="*/ 2126030 h 6407421"/>
              <a:gd name="connsiteX2993" fmla="*/ 7975543 w 11701760"/>
              <a:gd name="connsiteY2993" fmla="*/ 2126030 h 6407421"/>
              <a:gd name="connsiteX2994" fmla="*/ 7975543 w 11701760"/>
              <a:gd name="connsiteY2994" fmla="*/ 2155531 h 6407421"/>
              <a:gd name="connsiteX2995" fmla="*/ 7945940 w 11701760"/>
              <a:gd name="connsiteY2995" fmla="*/ 2155531 h 6407421"/>
              <a:gd name="connsiteX2996" fmla="*/ 2099092 w 11701760"/>
              <a:gd name="connsiteY2996" fmla="*/ 2126030 h 6407421"/>
              <a:gd name="connsiteX2997" fmla="*/ 2128695 w 11701760"/>
              <a:gd name="connsiteY2997" fmla="*/ 2126030 h 6407421"/>
              <a:gd name="connsiteX2998" fmla="*/ 2128695 w 11701760"/>
              <a:gd name="connsiteY2998" fmla="*/ 2155531 h 6407421"/>
              <a:gd name="connsiteX2999" fmla="*/ 2099092 w 11701760"/>
              <a:gd name="connsiteY2999" fmla="*/ 2155531 h 6407421"/>
              <a:gd name="connsiteX3000" fmla="*/ 7679743 w 11701760"/>
              <a:gd name="connsiteY3000" fmla="*/ 2126028 h 6407421"/>
              <a:gd name="connsiteX3001" fmla="*/ 7709346 w 11701760"/>
              <a:gd name="connsiteY3001" fmla="*/ 2126028 h 6407421"/>
              <a:gd name="connsiteX3002" fmla="*/ 7709346 w 11701760"/>
              <a:gd name="connsiteY3002" fmla="*/ 2155527 h 6407421"/>
              <a:gd name="connsiteX3003" fmla="*/ 7679743 w 11701760"/>
              <a:gd name="connsiteY3003" fmla="*/ 2155527 h 6407421"/>
              <a:gd name="connsiteX3004" fmla="*/ 1832898 w 11701760"/>
              <a:gd name="connsiteY3004" fmla="*/ 2126028 h 6407421"/>
              <a:gd name="connsiteX3005" fmla="*/ 1862498 w 11701760"/>
              <a:gd name="connsiteY3005" fmla="*/ 2126028 h 6407421"/>
              <a:gd name="connsiteX3006" fmla="*/ 1862498 w 11701760"/>
              <a:gd name="connsiteY3006" fmla="*/ 2155527 h 6407421"/>
              <a:gd name="connsiteX3007" fmla="*/ 1832898 w 11701760"/>
              <a:gd name="connsiteY3007" fmla="*/ 2155527 h 6407421"/>
              <a:gd name="connsiteX3008" fmla="*/ 7413653 w 11701760"/>
              <a:gd name="connsiteY3008" fmla="*/ 2126025 h 6407421"/>
              <a:gd name="connsiteX3009" fmla="*/ 7443256 w 11701760"/>
              <a:gd name="connsiteY3009" fmla="*/ 2126025 h 6407421"/>
              <a:gd name="connsiteX3010" fmla="*/ 7443256 w 11701760"/>
              <a:gd name="connsiteY3010" fmla="*/ 2155523 h 6407421"/>
              <a:gd name="connsiteX3011" fmla="*/ 7413653 w 11701760"/>
              <a:gd name="connsiteY3011" fmla="*/ 2155523 h 6407421"/>
              <a:gd name="connsiteX3012" fmla="*/ 1566808 w 11701760"/>
              <a:gd name="connsiteY3012" fmla="*/ 2126025 h 6407421"/>
              <a:gd name="connsiteX3013" fmla="*/ 1596409 w 11701760"/>
              <a:gd name="connsiteY3013" fmla="*/ 2126025 h 6407421"/>
              <a:gd name="connsiteX3014" fmla="*/ 1596409 w 11701760"/>
              <a:gd name="connsiteY3014" fmla="*/ 2155523 h 6407421"/>
              <a:gd name="connsiteX3015" fmla="*/ 1566808 w 11701760"/>
              <a:gd name="connsiteY3015" fmla="*/ 2155523 h 6407421"/>
              <a:gd name="connsiteX3016" fmla="*/ 7147456 w 11701760"/>
              <a:gd name="connsiteY3016" fmla="*/ 2126023 h 6407421"/>
              <a:gd name="connsiteX3017" fmla="*/ 7177058 w 11701760"/>
              <a:gd name="connsiteY3017" fmla="*/ 2126023 h 6407421"/>
              <a:gd name="connsiteX3018" fmla="*/ 7177058 w 11701760"/>
              <a:gd name="connsiteY3018" fmla="*/ 2155520 h 6407421"/>
              <a:gd name="connsiteX3019" fmla="*/ 7147456 w 11701760"/>
              <a:gd name="connsiteY3019" fmla="*/ 2155520 h 6407421"/>
              <a:gd name="connsiteX3020" fmla="*/ 1300611 w 11701760"/>
              <a:gd name="connsiteY3020" fmla="*/ 2126023 h 6407421"/>
              <a:gd name="connsiteX3021" fmla="*/ 1330213 w 11701760"/>
              <a:gd name="connsiteY3021" fmla="*/ 2126023 h 6407421"/>
              <a:gd name="connsiteX3022" fmla="*/ 1330213 w 11701760"/>
              <a:gd name="connsiteY3022" fmla="*/ 2155520 h 6407421"/>
              <a:gd name="connsiteX3023" fmla="*/ 1300611 w 11701760"/>
              <a:gd name="connsiteY3023" fmla="*/ 2155520 h 6407421"/>
              <a:gd name="connsiteX3024" fmla="*/ 6881367 w 11701760"/>
              <a:gd name="connsiteY3024" fmla="*/ 2126020 h 6407421"/>
              <a:gd name="connsiteX3025" fmla="*/ 6910970 w 11701760"/>
              <a:gd name="connsiteY3025" fmla="*/ 2126020 h 6407421"/>
              <a:gd name="connsiteX3026" fmla="*/ 6910970 w 11701760"/>
              <a:gd name="connsiteY3026" fmla="*/ 2155517 h 6407421"/>
              <a:gd name="connsiteX3027" fmla="*/ 6881367 w 11701760"/>
              <a:gd name="connsiteY3027" fmla="*/ 2155517 h 6407421"/>
              <a:gd name="connsiteX3028" fmla="*/ 1034520 w 11701760"/>
              <a:gd name="connsiteY3028" fmla="*/ 2126020 h 6407421"/>
              <a:gd name="connsiteX3029" fmla="*/ 1064123 w 11701760"/>
              <a:gd name="connsiteY3029" fmla="*/ 2126020 h 6407421"/>
              <a:gd name="connsiteX3030" fmla="*/ 1064123 w 11701760"/>
              <a:gd name="connsiteY3030" fmla="*/ 2155517 h 6407421"/>
              <a:gd name="connsiteX3031" fmla="*/ 1034520 w 11701760"/>
              <a:gd name="connsiteY3031" fmla="*/ 2155517 h 6407421"/>
              <a:gd name="connsiteX3032" fmla="*/ 6615170 w 11701760"/>
              <a:gd name="connsiteY3032" fmla="*/ 2126017 h 6407421"/>
              <a:gd name="connsiteX3033" fmla="*/ 6644773 w 11701760"/>
              <a:gd name="connsiteY3033" fmla="*/ 2126017 h 6407421"/>
              <a:gd name="connsiteX3034" fmla="*/ 6644773 w 11701760"/>
              <a:gd name="connsiteY3034" fmla="*/ 2155513 h 6407421"/>
              <a:gd name="connsiteX3035" fmla="*/ 6615170 w 11701760"/>
              <a:gd name="connsiteY3035" fmla="*/ 2155513 h 6407421"/>
              <a:gd name="connsiteX3036" fmla="*/ 768327 w 11701760"/>
              <a:gd name="connsiteY3036" fmla="*/ 2126017 h 6407421"/>
              <a:gd name="connsiteX3037" fmla="*/ 797926 w 11701760"/>
              <a:gd name="connsiteY3037" fmla="*/ 2126017 h 6407421"/>
              <a:gd name="connsiteX3038" fmla="*/ 797926 w 11701760"/>
              <a:gd name="connsiteY3038" fmla="*/ 2155513 h 6407421"/>
              <a:gd name="connsiteX3039" fmla="*/ 768327 w 11701760"/>
              <a:gd name="connsiteY3039" fmla="*/ 2155513 h 6407421"/>
              <a:gd name="connsiteX3040" fmla="*/ 6349081 w 11701760"/>
              <a:gd name="connsiteY3040" fmla="*/ 2126014 h 6407421"/>
              <a:gd name="connsiteX3041" fmla="*/ 6378683 w 11701760"/>
              <a:gd name="connsiteY3041" fmla="*/ 2126014 h 6407421"/>
              <a:gd name="connsiteX3042" fmla="*/ 6378683 w 11701760"/>
              <a:gd name="connsiteY3042" fmla="*/ 2155510 h 6407421"/>
              <a:gd name="connsiteX3043" fmla="*/ 6349081 w 11701760"/>
              <a:gd name="connsiteY3043" fmla="*/ 2155510 h 6407421"/>
              <a:gd name="connsiteX3044" fmla="*/ 502236 w 11701760"/>
              <a:gd name="connsiteY3044" fmla="*/ 2126014 h 6407421"/>
              <a:gd name="connsiteX3045" fmla="*/ 531838 w 11701760"/>
              <a:gd name="connsiteY3045" fmla="*/ 2126014 h 6407421"/>
              <a:gd name="connsiteX3046" fmla="*/ 531838 w 11701760"/>
              <a:gd name="connsiteY3046" fmla="*/ 2155510 h 6407421"/>
              <a:gd name="connsiteX3047" fmla="*/ 502236 w 11701760"/>
              <a:gd name="connsiteY3047" fmla="*/ 2155510 h 6407421"/>
              <a:gd name="connsiteX3048" fmla="*/ 6082884 w 11701760"/>
              <a:gd name="connsiteY3048" fmla="*/ 2126012 h 6407421"/>
              <a:gd name="connsiteX3049" fmla="*/ 6112486 w 11701760"/>
              <a:gd name="connsiteY3049" fmla="*/ 2126012 h 6407421"/>
              <a:gd name="connsiteX3050" fmla="*/ 6112486 w 11701760"/>
              <a:gd name="connsiteY3050" fmla="*/ 2155506 h 6407421"/>
              <a:gd name="connsiteX3051" fmla="*/ 6082884 w 11701760"/>
              <a:gd name="connsiteY3051" fmla="*/ 2155506 h 6407421"/>
              <a:gd name="connsiteX3052" fmla="*/ 236037 w 11701760"/>
              <a:gd name="connsiteY3052" fmla="*/ 2126012 h 6407421"/>
              <a:gd name="connsiteX3053" fmla="*/ 265639 w 11701760"/>
              <a:gd name="connsiteY3053" fmla="*/ 2126012 h 6407421"/>
              <a:gd name="connsiteX3054" fmla="*/ 265639 w 11701760"/>
              <a:gd name="connsiteY3054" fmla="*/ 2155506 h 6407421"/>
              <a:gd name="connsiteX3055" fmla="*/ 236037 w 11701760"/>
              <a:gd name="connsiteY3055" fmla="*/ 2155506 h 6407421"/>
              <a:gd name="connsiteX3056" fmla="*/ 1 w 11701760"/>
              <a:gd name="connsiteY3056" fmla="*/ 2126012 h 6407421"/>
              <a:gd name="connsiteX3057" fmla="*/ 29603 w 11701760"/>
              <a:gd name="connsiteY3057" fmla="*/ 2126012 h 6407421"/>
              <a:gd name="connsiteX3058" fmla="*/ 29603 w 11701760"/>
              <a:gd name="connsiteY3058" fmla="*/ 2155506 h 6407421"/>
              <a:gd name="connsiteX3059" fmla="*/ 1 w 11701760"/>
              <a:gd name="connsiteY3059" fmla="*/ 2155506 h 6407421"/>
              <a:gd name="connsiteX3060" fmla="*/ 11672158 w 11701760"/>
              <a:gd name="connsiteY3060" fmla="*/ 1860298 h 6407421"/>
              <a:gd name="connsiteX3061" fmla="*/ 11701760 w 11701760"/>
              <a:gd name="connsiteY3061" fmla="*/ 1860298 h 6407421"/>
              <a:gd name="connsiteX3062" fmla="*/ 11701760 w 11701760"/>
              <a:gd name="connsiteY3062" fmla="*/ 1889774 h 6407421"/>
              <a:gd name="connsiteX3063" fmla="*/ 11672158 w 11701760"/>
              <a:gd name="connsiteY3063" fmla="*/ 1889774 h 6407421"/>
              <a:gd name="connsiteX3064" fmla="*/ 5825310 w 11701760"/>
              <a:gd name="connsiteY3064" fmla="*/ 1860298 h 6407421"/>
              <a:gd name="connsiteX3065" fmla="*/ 5854913 w 11701760"/>
              <a:gd name="connsiteY3065" fmla="*/ 1860298 h 6407421"/>
              <a:gd name="connsiteX3066" fmla="*/ 5854913 w 11701760"/>
              <a:gd name="connsiteY3066" fmla="*/ 1889774 h 6407421"/>
              <a:gd name="connsiteX3067" fmla="*/ 5825310 w 11701760"/>
              <a:gd name="connsiteY3067" fmla="*/ 1889774 h 6407421"/>
              <a:gd name="connsiteX3068" fmla="*/ 11405961 w 11701760"/>
              <a:gd name="connsiteY3068" fmla="*/ 1860296 h 6407421"/>
              <a:gd name="connsiteX3069" fmla="*/ 11435563 w 11701760"/>
              <a:gd name="connsiteY3069" fmla="*/ 1860296 h 6407421"/>
              <a:gd name="connsiteX3070" fmla="*/ 11435563 w 11701760"/>
              <a:gd name="connsiteY3070" fmla="*/ 1889774 h 6407421"/>
              <a:gd name="connsiteX3071" fmla="*/ 11405961 w 11701760"/>
              <a:gd name="connsiteY3071" fmla="*/ 1889774 h 6407421"/>
              <a:gd name="connsiteX3072" fmla="*/ 5559113 w 11701760"/>
              <a:gd name="connsiteY3072" fmla="*/ 1860296 h 6407421"/>
              <a:gd name="connsiteX3073" fmla="*/ 5588715 w 11701760"/>
              <a:gd name="connsiteY3073" fmla="*/ 1860296 h 6407421"/>
              <a:gd name="connsiteX3074" fmla="*/ 5588715 w 11701760"/>
              <a:gd name="connsiteY3074" fmla="*/ 1889774 h 6407421"/>
              <a:gd name="connsiteX3075" fmla="*/ 5559113 w 11701760"/>
              <a:gd name="connsiteY3075" fmla="*/ 1889774 h 6407421"/>
              <a:gd name="connsiteX3076" fmla="*/ 11139872 w 11701760"/>
              <a:gd name="connsiteY3076" fmla="*/ 1860293 h 6407421"/>
              <a:gd name="connsiteX3077" fmla="*/ 11169474 w 11701760"/>
              <a:gd name="connsiteY3077" fmla="*/ 1860293 h 6407421"/>
              <a:gd name="connsiteX3078" fmla="*/ 11169474 w 11701760"/>
              <a:gd name="connsiteY3078" fmla="*/ 1889772 h 6407421"/>
              <a:gd name="connsiteX3079" fmla="*/ 11139872 w 11701760"/>
              <a:gd name="connsiteY3079" fmla="*/ 1889772 h 6407421"/>
              <a:gd name="connsiteX3080" fmla="*/ 5293024 w 11701760"/>
              <a:gd name="connsiteY3080" fmla="*/ 1860293 h 6407421"/>
              <a:gd name="connsiteX3081" fmla="*/ 5322626 w 11701760"/>
              <a:gd name="connsiteY3081" fmla="*/ 1860293 h 6407421"/>
              <a:gd name="connsiteX3082" fmla="*/ 5322626 w 11701760"/>
              <a:gd name="connsiteY3082" fmla="*/ 1889772 h 6407421"/>
              <a:gd name="connsiteX3083" fmla="*/ 5293024 w 11701760"/>
              <a:gd name="connsiteY3083" fmla="*/ 1889772 h 6407421"/>
              <a:gd name="connsiteX3084" fmla="*/ 10873675 w 11701760"/>
              <a:gd name="connsiteY3084" fmla="*/ 1860291 h 6407421"/>
              <a:gd name="connsiteX3085" fmla="*/ 10903277 w 11701760"/>
              <a:gd name="connsiteY3085" fmla="*/ 1860291 h 6407421"/>
              <a:gd name="connsiteX3086" fmla="*/ 10903277 w 11701760"/>
              <a:gd name="connsiteY3086" fmla="*/ 1889770 h 6407421"/>
              <a:gd name="connsiteX3087" fmla="*/ 10873675 w 11701760"/>
              <a:gd name="connsiteY3087" fmla="*/ 1889770 h 6407421"/>
              <a:gd name="connsiteX3088" fmla="*/ 5026827 w 11701760"/>
              <a:gd name="connsiteY3088" fmla="*/ 1860291 h 6407421"/>
              <a:gd name="connsiteX3089" fmla="*/ 5056429 w 11701760"/>
              <a:gd name="connsiteY3089" fmla="*/ 1860291 h 6407421"/>
              <a:gd name="connsiteX3090" fmla="*/ 5056429 w 11701760"/>
              <a:gd name="connsiteY3090" fmla="*/ 1889770 h 6407421"/>
              <a:gd name="connsiteX3091" fmla="*/ 5026827 w 11701760"/>
              <a:gd name="connsiteY3091" fmla="*/ 1889770 h 6407421"/>
              <a:gd name="connsiteX3092" fmla="*/ 10607478 w 11701760"/>
              <a:gd name="connsiteY3092" fmla="*/ 1860288 h 6407421"/>
              <a:gd name="connsiteX3093" fmla="*/ 10637188 w 11701760"/>
              <a:gd name="connsiteY3093" fmla="*/ 1860288 h 6407421"/>
              <a:gd name="connsiteX3094" fmla="*/ 10637188 w 11701760"/>
              <a:gd name="connsiteY3094" fmla="*/ 1889769 h 6407421"/>
              <a:gd name="connsiteX3095" fmla="*/ 10607478 w 11701760"/>
              <a:gd name="connsiteY3095" fmla="*/ 1889769 h 6407421"/>
              <a:gd name="connsiteX3096" fmla="*/ 4760630 w 11701760"/>
              <a:gd name="connsiteY3096" fmla="*/ 1860288 h 6407421"/>
              <a:gd name="connsiteX3097" fmla="*/ 4790340 w 11701760"/>
              <a:gd name="connsiteY3097" fmla="*/ 1860288 h 6407421"/>
              <a:gd name="connsiteX3098" fmla="*/ 4790340 w 11701760"/>
              <a:gd name="connsiteY3098" fmla="*/ 1889769 h 6407421"/>
              <a:gd name="connsiteX3099" fmla="*/ 4760630 w 11701760"/>
              <a:gd name="connsiteY3099" fmla="*/ 1889769 h 6407421"/>
              <a:gd name="connsiteX3100" fmla="*/ 10341389 w 11701760"/>
              <a:gd name="connsiteY3100" fmla="*/ 1860286 h 6407421"/>
              <a:gd name="connsiteX3101" fmla="*/ 10370992 w 11701760"/>
              <a:gd name="connsiteY3101" fmla="*/ 1860286 h 6407421"/>
              <a:gd name="connsiteX3102" fmla="*/ 10370992 w 11701760"/>
              <a:gd name="connsiteY3102" fmla="*/ 1889767 h 6407421"/>
              <a:gd name="connsiteX3103" fmla="*/ 10341389 w 11701760"/>
              <a:gd name="connsiteY3103" fmla="*/ 1889767 h 6407421"/>
              <a:gd name="connsiteX3104" fmla="*/ 4494541 w 11701760"/>
              <a:gd name="connsiteY3104" fmla="*/ 1860286 h 6407421"/>
              <a:gd name="connsiteX3105" fmla="*/ 4524144 w 11701760"/>
              <a:gd name="connsiteY3105" fmla="*/ 1860286 h 6407421"/>
              <a:gd name="connsiteX3106" fmla="*/ 4524144 w 11701760"/>
              <a:gd name="connsiteY3106" fmla="*/ 1889767 h 6407421"/>
              <a:gd name="connsiteX3107" fmla="*/ 4494541 w 11701760"/>
              <a:gd name="connsiteY3107" fmla="*/ 1889767 h 6407421"/>
              <a:gd name="connsiteX3108" fmla="*/ 10075192 w 11701760"/>
              <a:gd name="connsiteY3108" fmla="*/ 1860283 h 6407421"/>
              <a:gd name="connsiteX3109" fmla="*/ 10104794 w 11701760"/>
              <a:gd name="connsiteY3109" fmla="*/ 1860283 h 6407421"/>
              <a:gd name="connsiteX3110" fmla="*/ 10104794 w 11701760"/>
              <a:gd name="connsiteY3110" fmla="*/ 1889766 h 6407421"/>
              <a:gd name="connsiteX3111" fmla="*/ 10075192 w 11701760"/>
              <a:gd name="connsiteY3111" fmla="*/ 1889766 h 6407421"/>
              <a:gd name="connsiteX3112" fmla="*/ 4228344 w 11701760"/>
              <a:gd name="connsiteY3112" fmla="*/ 1860283 h 6407421"/>
              <a:gd name="connsiteX3113" fmla="*/ 4257946 w 11701760"/>
              <a:gd name="connsiteY3113" fmla="*/ 1860283 h 6407421"/>
              <a:gd name="connsiteX3114" fmla="*/ 4257946 w 11701760"/>
              <a:gd name="connsiteY3114" fmla="*/ 1889766 h 6407421"/>
              <a:gd name="connsiteX3115" fmla="*/ 4228344 w 11701760"/>
              <a:gd name="connsiteY3115" fmla="*/ 1889766 h 6407421"/>
              <a:gd name="connsiteX3116" fmla="*/ 9809103 w 11701760"/>
              <a:gd name="connsiteY3116" fmla="*/ 1860281 h 6407421"/>
              <a:gd name="connsiteX3117" fmla="*/ 9838705 w 11701760"/>
              <a:gd name="connsiteY3117" fmla="*/ 1860281 h 6407421"/>
              <a:gd name="connsiteX3118" fmla="*/ 9838705 w 11701760"/>
              <a:gd name="connsiteY3118" fmla="*/ 1889764 h 6407421"/>
              <a:gd name="connsiteX3119" fmla="*/ 9809103 w 11701760"/>
              <a:gd name="connsiteY3119" fmla="*/ 1889764 h 6407421"/>
              <a:gd name="connsiteX3120" fmla="*/ 3962255 w 11701760"/>
              <a:gd name="connsiteY3120" fmla="*/ 1860281 h 6407421"/>
              <a:gd name="connsiteX3121" fmla="*/ 3991857 w 11701760"/>
              <a:gd name="connsiteY3121" fmla="*/ 1860281 h 6407421"/>
              <a:gd name="connsiteX3122" fmla="*/ 3991857 w 11701760"/>
              <a:gd name="connsiteY3122" fmla="*/ 1889764 h 6407421"/>
              <a:gd name="connsiteX3123" fmla="*/ 3962255 w 11701760"/>
              <a:gd name="connsiteY3123" fmla="*/ 1889764 h 6407421"/>
              <a:gd name="connsiteX3124" fmla="*/ 9542906 w 11701760"/>
              <a:gd name="connsiteY3124" fmla="*/ 1860278 h 6407421"/>
              <a:gd name="connsiteX3125" fmla="*/ 9572509 w 11701760"/>
              <a:gd name="connsiteY3125" fmla="*/ 1860278 h 6407421"/>
              <a:gd name="connsiteX3126" fmla="*/ 9572509 w 11701760"/>
              <a:gd name="connsiteY3126" fmla="*/ 1889763 h 6407421"/>
              <a:gd name="connsiteX3127" fmla="*/ 9542906 w 11701760"/>
              <a:gd name="connsiteY3127" fmla="*/ 1889763 h 6407421"/>
              <a:gd name="connsiteX3128" fmla="*/ 3696058 w 11701760"/>
              <a:gd name="connsiteY3128" fmla="*/ 1860278 h 6407421"/>
              <a:gd name="connsiteX3129" fmla="*/ 3725661 w 11701760"/>
              <a:gd name="connsiteY3129" fmla="*/ 1860278 h 6407421"/>
              <a:gd name="connsiteX3130" fmla="*/ 3725661 w 11701760"/>
              <a:gd name="connsiteY3130" fmla="*/ 1889763 h 6407421"/>
              <a:gd name="connsiteX3131" fmla="*/ 3696058 w 11701760"/>
              <a:gd name="connsiteY3131" fmla="*/ 1889763 h 6407421"/>
              <a:gd name="connsiteX3132" fmla="*/ 9276817 w 11701760"/>
              <a:gd name="connsiteY3132" fmla="*/ 1860276 h 6407421"/>
              <a:gd name="connsiteX3133" fmla="*/ 9306420 w 11701760"/>
              <a:gd name="connsiteY3133" fmla="*/ 1860276 h 6407421"/>
              <a:gd name="connsiteX3134" fmla="*/ 9306420 w 11701760"/>
              <a:gd name="connsiteY3134" fmla="*/ 1889762 h 6407421"/>
              <a:gd name="connsiteX3135" fmla="*/ 9276817 w 11701760"/>
              <a:gd name="connsiteY3135" fmla="*/ 1889762 h 6407421"/>
              <a:gd name="connsiteX3136" fmla="*/ 3429969 w 11701760"/>
              <a:gd name="connsiteY3136" fmla="*/ 1860276 h 6407421"/>
              <a:gd name="connsiteX3137" fmla="*/ 3459572 w 11701760"/>
              <a:gd name="connsiteY3137" fmla="*/ 1860276 h 6407421"/>
              <a:gd name="connsiteX3138" fmla="*/ 3459572 w 11701760"/>
              <a:gd name="connsiteY3138" fmla="*/ 1889762 h 6407421"/>
              <a:gd name="connsiteX3139" fmla="*/ 3429969 w 11701760"/>
              <a:gd name="connsiteY3139" fmla="*/ 1889762 h 6407421"/>
              <a:gd name="connsiteX3140" fmla="*/ 9010620 w 11701760"/>
              <a:gd name="connsiteY3140" fmla="*/ 1860273 h 6407421"/>
              <a:gd name="connsiteX3141" fmla="*/ 9040222 w 11701760"/>
              <a:gd name="connsiteY3141" fmla="*/ 1860273 h 6407421"/>
              <a:gd name="connsiteX3142" fmla="*/ 9040222 w 11701760"/>
              <a:gd name="connsiteY3142" fmla="*/ 1889761 h 6407421"/>
              <a:gd name="connsiteX3143" fmla="*/ 9010620 w 11701760"/>
              <a:gd name="connsiteY3143" fmla="*/ 1889761 h 6407421"/>
              <a:gd name="connsiteX3144" fmla="*/ 3163772 w 11701760"/>
              <a:gd name="connsiteY3144" fmla="*/ 1860273 h 6407421"/>
              <a:gd name="connsiteX3145" fmla="*/ 3193374 w 11701760"/>
              <a:gd name="connsiteY3145" fmla="*/ 1860273 h 6407421"/>
              <a:gd name="connsiteX3146" fmla="*/ 3193374 w 11701760"/>
              <a:gd name="connsiteY3146" fmla="*/ 1889761 h 6407421"/>
              <a:gd name="connsiteX3147" fmla="*/ 3163772 w 11701760"/>
              <a:gd name="connsiteY3147" fmla="*/ 1889761 h 6407421"/>
              <a:gd name="connsiteX3148" fmla="*/ 8744423 w 11701760"/>
              <a:gd name="connsiteY3148" fmla="*/ 1860271 h 6407421"/>
              <a:gd name="connsiteX3149" fmla="*/ 8774026 w 11701760"/>
              <a:gd name="connsiteY3149" fmla="*/ 1860271 h 6407421"/>
              <a:gd name="connsiteX3150" fmla="*/ 8774026 w 11701760"/>
              <a:gd name="connsiteY3150" fmla="*/ 1889759 h 6407421"/>
              <a:gd name="connsiteX3151" fmla="*/ 8744423 w 11701760"/>
              <a:gd name="connsiteY3151" fmla="*/ 1889759 h 6407421"/>
              <a:gd name="connsiteX3152" fmla="*/ 2897575 w 11701760"/>
              <a:gd name="connsiteY3152" fmla="*/ 1860271 h 6407421"/>
              <a:gd name="connsiteX3153" fmla="*/ 2927178 w 11701760"/>
              <a:gd name="connsiteY3153" fmla="*/ 1860271 h 6407421"/>
              <a:gd name="connsiteX3154" fmla="*/ 2927178 w 11701760"/>
              <a:gd name="connsiteY3154" fmla="*/ 1889759 h 6407421"/>
              <a:gd name="connsiteX3155" fmla="*/ 2897575 w 11701760"/>
              <a:gd name="connsiteY3155" fmla="*/ 1889759 h 6407421"/>
              <a:gd name="connsiteX3156" fmla="*/ 8478226 w 11701760"/>
              <a:gd name="connsiteY3156" fmla="*/ 1860268 h 6407421"/>
              <a:gd name="connsiteX3157" fmla="*/ 8507828 w 11701760"/>
              <a:gd name="connsiteY3157" fmla="*/ 1860268 h 6407421"/>
              <a:gd name="connsiteX3158" fmla="*/ 8507828 w 11701760"/>
              <a:gd name="connsiteY3158" fmla="*/ 1889757 h 6407421"/>
              <a:gd name="connsiteX3159" fmla="*/ 8478226 w 11701760"/>
              <a:gd name="connsiteY3159" fmla="*/ 1889757 h 6407421"/>
              <a:gd name="connsiteX3160" fmla="*/ 2631378 w 11701760"/>
              <a:gd name="connsiteY3160" fmla="*/ 1860268 h 6407421"/>
              <a:gd name="connsiteX3161" fmla="*/ 2660980 w 11701760"/>
              <a:gd name="connsiteY3161" fmla="*/ 1860268 h 6407421"/>
              <a:gd name="connsiteX3162" fmla="*/ 2660980 w 11701760"/>
              <a:gd name="connsiteY3162" fmla="*/ 1889757 h 6407421"/>
              <a:gd name="connsiteX3163" fmla="*/ 2631378 w 11701760"/>
              <a:gd name="connsiteY3163" fmla="*/ 1889757 h 6407421"/>
              <a:gd name="connsiteX3164" fmla="*/ 8212137 w 11701760"/>
              <a:gd name="connsiteY3164" fmla="*/ 1860266 h 6407421"/>
              <a:gd name="connsiteX3165" fmla="*/ 8241740 w 11701760"/>
              <a:gd name="connsiteY3165" fmla="*/ 1860266 h 6407421"/>
              <a:gd name="connsiteX3166" fmla="*/ 8241740 w 11701760"/>
              <a:gd name="connsiteY3166" fmla="*/ 1889755 h 6407421"/>
              <a:gd name="connsiteX3167" fmla="*/ 8212137 w 11701760"/>
              <a:gd name="connsiteY3167" fmla="*/ 1889755 h 6407421"/>
              <a:gd name="connsiteX3168" fmla="*/ 2365289 w 11701760"/>
              <a:gd name="connsiteY3168" fmla="*/ 1860266 h 6407421"/>
              <a:gd name="connsiteX3169" fmla="*/ 2394892 w 11701760"/>
              <a:gd name="connsiteY3169" fmla="*/ 1860266 h 6407421"/>
              <a:gd name="connsiteX3170" fmla="*/ 2394892 w 11701760"/>
              <a:gd name="connsiteY3170" fmla="*/ 1889755 h 6407421"/>
              <a:gd name="connsiteX3171" fmla="*/ 2365289 w 11701760"/>
              <a:gd name="connsiteY3171" fmla="*/ 1889755 h 6407421"/>
              <a:gd name="connsiteX3172" fmla="*/ 7945940 w 11701760"/>
              <a:gd name="connsiteY3172" fmla="*/ 1860264 h 6407421"/>
              <a:gd name="connsiteX3173" fmla="*/ 7975543 w 11701760"/>
              <a:gd name="connsiteY3173" fmla="*/ 1860264 h 6407421"/>
              <a:gd name="connsiteX3174" fmla="*/ 7975543 w 11701760"/>
              <a:gd name="connsiteY3174" fmla="*/ 1889753 h 6407421"/>
              <a:gd name="connsiteX3175" fmla="*/ 7945940 w 11701760"/>
              <a:gd name="connsiteY3175" fmla="*/ 1889753 h 6407421"/>
              <a:gd name="connsiteX3176" fmla="*/ 2099092 w 11701760"/>
              <a:gd name="connsiteY3176" fmla="*/ 1860264 h 6407421"/>
              <a:gd name="connsiteX3177" fmla="*/ 2128695 w 11701760"/>
              <a:gd name="connsiteY3177" fmla="*/ 1860264 h 6407421"/>
              <a:gd name="connsiteX3178" fmla="*/ 2128695 w 11701760"/>
              <a:gd name="connsiteY3178" fmla="*/ 1889753 h 6407421"/>
              <a:gd name="connsiteX3179" fmla="*/ 2099092 w 11701760"/>
              <a:gd name="connsiteY3179" fmla="*/ 1889753 h 6407421"/>
              <a:gd name="connsiteX3180" fmla="*/ 7679743 w 11701760"/>
              <a:gd name="connsiteY3180" fmla="*/ 1860261 h 6407421"/>
              <a:gd name="connsiteX3181" fmla="*/ 7709346 w 11701760"/>
              <a:gd name="connsiteY3181" fmla="*/ 1860261 h 6407421"/>
              <a:gd name="connsiteX3182" fmla="*/ 7709346 w 11701760"/>
              <a:gd name="connsiteY3182" fmla="*/ 1889751 h 6407421"/>
              <a:gd name="connsiteX3183" fmla="*/ 7679743 w 11701760"/>
              <a:gd name="connsiteY3183" fmla="*/ 1889751 h 6407421"/>
              <a:gd name="connsiteX3184" fmla="*/ 1832898 w 11701760"/>
              <a:gd name="connsiteY3184" fmla="*/ 1860261 h 6407421"/>
              <a:gd name="connsiteX3185" fmla="*/ 1862498 w 11701760"/>
              <a:gd name="connsiteY3185" fmla="*/ 1860261 h 6407421"/>
              <a:gd name="connsiteX3186" fmla="*/ 1862498 w 11701760"/>
              <a:gd name="connsiteY3186" fmla="*/ 1889751 h 6407421"/>
              <a:gd name="connsiteX3187" fmla="*/ 1832898 w 11701760"/>
              <a:gd name="connsiteY3187" fmla="*/ 1889751 h 6407421"/>
              <a:gd name="connsiteX3188" fmla="*/ 7413653 w 11701760"/>
              <a:gd name="connsiteY3188" fmla="*/ 1860259 h 6407421"/>
              <a:gd name="connsiteX3189" fmla="*/ 7443256 w 11701760"/>
              <a:gd name="connsiteY3189" fmla="*/ 1860259 h 6407421"/>
              <a:gd name="connsiteX3190" fmla="*/ 7443256 w 11701760"/>
              <a:gd name="connsiteY3190" fmla="*/ 1889750 h 6407421"/>
              <a:gd name="connsiteX3191" fmla="*/ 7413653 w 11701760"/>
              <a:gd name="connsiteY3191" fmla="*/ 1889750 h 6407421"/>
              <a:gd name="connsiteX3192" fmla="*/ 1566808 w 11701760"/>
              <a:gd name="connsiteY3192" fmla="*/ 1860259 h 6407421"/>
              <a:gd name="connsiteX3193" fmla="*/ 1596409 w 11701760"/>
              <a:gd name="connsiteY3193" fmla="*/ 1860259 h 6407421"/>
              <a:gd name="connsiteX3194" fmla="*/ 1596409 w 11701760"/>
              <a:gd name="connsiteY3194" fmla="*/ 1889750 h 6407421"/>
              <a:gd name="connsiteX3195" fmla="*/ 1566808 w 11701760"/>
              <a:gd name="connsiteY3195" fmla="*/ 1889750 h 6407421"/>
              <a:gd name="connsiteX3196" fmla="*/ 7147456 w 11701760"/>
              <a:gd name="connsiteY3196" fmla="*/ 1860256 h 6407421"/>
              <a:gd name="connsiteX3197" fmla="*/ 7177058 w 11701760"/>
              <a:gd name="connsiteY3197" fmla="*/ 1860256 h 6407421"/>
              <a:gd name="connsiteX3198" fmla="*/ 7177058 w 11701760"/>
              <a:gd name="connsiteY3198" fmla="*/ 1889748 h 6407421"/>
              <a:gd name="connsiteX3199" fmla="*/ 7147456 w 11701760"/>
              <a:gd name="connsiteY3199" fmla="*/ 1889748 h 6407421"/>
              <a:gd name="connsiteX3200" fmla="*/ 1300611 w 11701760"/>
              <a:gd name="connsiteY3200" fmla="*/ 1860256 h 6407421"/>
              <a:gd name="connsiteX3201" fmla="*/ 1330213 w 11701760"/>
              <a:gd name="connsiteY3201" fmla="*/ 1860256 h 6407421"/>
              <a:gd name="connsiteX3202" fmla="*/ 1330213 w 11701760"/>
              <a:gd name="connsiteY3202" fmla="*/ 1889748 h 6407421"/>
              <a:gd name="connsiteX3203" fmla="*/ 1300611 w 11701760"/>
              <a:gd name="connsiteY3203" fmla="*/ 1889748 h 6407421"/>
              <a:gd name="connsiteX3204" fmla="*/ 6881367 w 11701760"/>
              <a:gd name="connsiteY3204" fmla="*/ 1860254 h 6407421"/>
              <a:gd name="connsiteX3205" fmla="*/ 6910970 w 11701760"/>
              <a:gd name="connsiteY3205" fmla="*/ 1860254 h 6407421"/>
              <a:gd name="connsiteX3206" fmla="*/ 6910970 w 11701760"/>
              <a:gd name="connsiteY3206" fmla="*/ 1889747 h 6407421"/>
              <a:gd name="connsiteX3207" fmla="*/ 6881367 w 11701760"/>
              <a:gd name="connsiteY3207" fmla="*/ 1889747 h 6407421"/>
              <a:gd name="connsiteX3208" fmla="*/ 1034520 w 11701760"/>
              <a:gd name="connsiteY3208" fmla="*/ 1860254 h 6407421"/>
              <a:gd name="connsiteX3209" fmla="*/ 1064123 w 11701760"/>
              <a:gd name="connsiteY3209" fmla="*/ 1860254 h 6407421"/>
              <a:gd name="connsiteX3210" fmla="*/ 1064123 w 11701760"/>
              <a:gd name="connsiteY3210" fmla="*/ 1889747 h 6407421"/>
              <a:gd name="connsiteX3211" fmla="*/ 1034520 w 11701760"/>
              <a:gd name="connsiteY3211" fmla="*/ 1889747 h 6407421"/>
              <a:gd name="connsiteX3212" fmla="*/ 6615170 w 11701760"/>
              <a:gd name="connsiteY3212" fmla="*/ 1860252 h 6407421"/>
              <a:gd name="connsiteX3213" fmla="*/ 6644773 w 11701760"/>
              <a:gd name="connsiteY3213" fmla="*/ 1860252 h 6407421"/>
              <a:gd name="connsiteX3214" fmla="*/ 6644773 w 11701760"/>
              <a:gd name="connsiteY3214" fmla="*/ 1889745 h 6407421"/>
              <a:gd name="connsiteX3215" fmla="*/ 6615170 w 11701760"/>
              <a:gd name="connsiteY3215" fmla="*/ 1889745 h 6407421"/>
              <a:gd name="connsiteX3216" fmla="*/ 768327 w 11701760"/>
              <a:gd name="connsiteY3216" fmla="*/ 1860252 h 6407421"/>
              <a:gd name="connsiteX3217" fmla="*/ 797926 w 11701760"/>
              <a:gd name="connsiteY3217" fmla="*/ 1860252 h 6407421"/>
              <a:gd name="connsiteX3218" fmla="*/ 797926 w 11701760"/>
              <a:gd name="connsiteY3218" fmla="*/ 1889745 h 6407421"/>
              <a:gd name="connsiteX3219" fmla="*/ 768327 w 11701760"/>
              <a:gd name="connsiteY3219" fmla="*/ 1889745 h 6407421"/>
              <a:gd name="connsiteX3220" fmla="*/ 6349081 w 11701760"/>
              <a:gd name="connsiteY3220" fmla="*/ 1860249 h 6407421"/>
              <a:gd name="connsiteX3221" fmla="*/ 6378683 w 11701760"/>
              <a:gd name="connsiteY3221" fmla="*/ 1860249 h 6407421"/>
              <a:gd name="connsiteX3222" fmla="*/ 6378683 w 11701760"/>
              <a:gd name="connsiteY3222" fmla="*/ 1889744 h 6407421"/>
              <a:gd name="connsiteX3223" fmla="*/ 6349081 w 11701760"/>
              <a:gd name="connsiteY3223" fmla="*/ 1889744 h 6407421"/>
              <a:gd name="connsiteX3224" fmla="*/ 502236 w 11701760"/>
              <a:gd name="connsiteY3224" fmla="*/ 1860249 h 6407421"/>
              <a:gd name="connsiteX3225" fmla="*/ 531838 w 11701760"/>
              <a:gd name="connsiteY3225" fmla="*/ 1860249 h 6407421"/>
              <a:gd name="connsiteX3226" fmla="*/ 531838 w 11701760"/>
              <a:gd name="connsiteY3226" fmla="*/ 1889744 h 6407421"/>
              <a:gd name="connsiteX3227" fmla="*/ 502236 w 11701760"/>
              <a:gd name="connsiteY3227" fmla="*/ 1889744 h 6407421"/>
              <a:gd name="connsiteX3228" fmla="*/ 6082884 w 11701760"/>
              <a:gd name="connsiteY3228" fmla="*/ 1860247 h 6407421"/>
              <a:gd name="connsiteX3229" fmla="*/ 6112486 w 11701760"/>
              <a:gd name="connsiteY3229" fmla="*/ 1860247 h 6407421"/>
              <a:gd name="connsiteX3230" fmla="*/ 6112486 w 11701760"/>
              <a:gd name="connsiteY3230" fmla="*/ 1889742 h 6407421"/>
              <a:gd name="connsiteX3231" fmla="*/ 6082884 w 11701760"/>
              <a:gd name="connsiteY3231" fmla="*/ 1889742 h 6407421"/>
              <a:gd name="connsiteX3232" fmla="*/ 236037 w 11701760"/>
              <a:gd name="connsiteY3232" fmla="*/ 1860247 h 6407421"/>
              <a:gd name="connsiteX3233" fmla="*/ 265639 w 11701760"/>
              <a:gd name="connsiteY3233" fmla="*/ 1860247 h 6407421"/>
              <a:gd name="connsiteX3234" fmla="*/ 265639 w 11701760"/>
              <a:gd name="connsiteY3234" fmla="*/ 1889742 h 6407421"/>
              <a:gd name="connsiteX3235" fmla="*/ 236037 w 11701760"/>
              <a:gd name="connsiteY3235" fmla="*/ 1889742 h 6407421"/>
              <a:gd name="connsiteX3236" fmla="*/ 1 w 11701760"/>
              <a:gd name="connsiteY3236" fmla="*/ 1860247 h 6407421"/>
              <a:gd name="connsiteX3237" fmla="*/ 29603 w 11701760"/>
              <a:gd name="connsiteY3237" fmla="*/ 1860247 h 6407421"/>
              <a:gd name="connsiteX3238" fmla="*/ 29603 w 11701760"/>
              <a:gd name="connsiteY3238" fmla="*/ 1889742 h 6407421"/>
              <a:gd name="connsiteX3239" fmla="*/ 1 w 11701760"/>
              <a:gd name="connsiteY3239" fmla="*/ 1889742 h 6407421"/>
              <a:gd name="connsiteX3240" fmla="*/ 11672158 w 11701760"/>
              <a:gd name="connsiteY3240" fmla="*/ 1594533 h 6407421"/>
              <a:gd name="connsiteX3241" fmla="*/ 11701760 w 11701760"/>
              <a:gd name="connsiteY3241" fmla="*/ 1594533 h 6407421"/>
              <a:gd name="connsiteX3242" fmla="*/ 11701760 w 11701760"/>
              <a:gd name="connsiteY3242" fmla="*/ 1624136 h 6407421"/>
              <a:gd name="connsiteX3243" fmla="*/ 11672158 w 11701760"/>
              <a:gd name="connsiteY3243" fmla="*/ 1624136 h 6407421"/>
              <a:gd name="connsiteX3244" fmla="*/ 5825310 w 11701760"/>
              <a:gd name="connsiteY3244" fmla="*/ 1594533 h 6407421"/>
              <a:gd name="connsiteX3245" fmla="*/ 5854913 w 11701760"/>
              <a:gd name="connsiteY3245" fmla="*/ 1594533 h 6407421"/>
              <a:gd name="connsiteX3246" fmla="*/ 5854913 w 11701760"/>
              <a:gd name="connsiteY3246" fmla="*/ 1624136 h 6407421"/>
              <a:gd name="connsiteX3247" fmla="*/ 5825310 w 11701760"/>
              <a:gd name="connsiteY3247" fmla="*/ 1624136 h 6407421"/>
              <a:gd name="connsiteX3248" fmla="*/ 11405961 w 11701760"/>
              <a:gd name="connsiteY3248" fmla="*/ 1594531 h 6407421"/>
              <a:gd name="connsiteX3249" fmla="*/ 11435563 w 11701760"/>
              <a:gd name="connsiteY3249" fmla="*/ 1594531 h 6407421"/>
              <a:gd name="connsiteX3250" fmla="*/ 11435563 w 11701760"/>
              <a:gd name="connsiteY3250" fmla="*/ 1624134 h 6407421"/>
              <a:gd name="connsiteX3251" fmla="*/ 11405961 w 11701760"/>
              <a:gd name="connsiteY3251" fmla="*/ 1624134 h 6407421"/>
              <a:gd name="connsiteX3252" fmla="*/ 5559113 w 11701760"/>
              <a:gd name="connsiteY3252" fmla="*/ 1594531 h 6407421"/>
              <a:gd name="connsiteX3253" fmla="*/ 5588715 w 11701760"/>
              <a:gd name="connsiteY3253" fmla="*/ 1594531 h 6407421"/>
              <a:gd name="connsiteX3254" fmla="*/ 5588715 w 11701760"/>
              <a:gd name="connsiteY3254" fmla="*/ 1624134 h 6407421"/>
              <a:gd name="connsiteX3255" fmla="*/ 5559113 w 11701760"/>
              <a:gd name="connsiteY3255" fmla="*/ 1624134 h 6407421"/>
              <a:gd name="connsiteX3256" fmla="*/ 11139872 w 11701760"/>
              <a:gd name="connsiteY3256" fmla="*/ 1594528 h 6407421"/>
              <a:gd name="connsiteX3257" fmla="*/ 11169474 w 11701760"/>
              <a:gd name="connsiteY3257" fmla="*/ 1594528 h 6407421"/>
              <a:gd name="connsiteX3258" fmla="*/ 11169474 w 11701760"/>
              <a:gd name="connsiteY3258" fmla="*/ 1624131 h 6407421"/>
              <a:gd name="connsiteX3259" fmla="*/ 11139872 w 11701760"/>
              <a:gd name="connsiteY3259" fmla="*/ 1624131 h 6407421"/>
              <a:gd name="connsiteX3260" fmla="*/ 5293024 w 11701760"/>
              <a:gd name="connsiteY3260" fmla="*/ 1594528 h 6407421"/>
              <a:gd name="connsiteX3261" fmla="*/ 5322626 w 11701760"/>
              <a:gd name="connsiteY3261" fmla="*/ 1594528 h 6407421"/>
              <a:gd name="connsiteX3262" fmla="*/ 5322626 w 11701760"/>
              <a:gd name="connsiteY3262" fmla="*/ 1624131 h 6407421"/>
              <a:gd name="connsiteX3263" fmla="*/ 5293024 w 11701760"/>
              <a:gd name="connsiteY3263" fmla="*/ 1624131 h 6407421"/>
              <a:gd name="connsiteX3264" fmla="*/ 10873675 w 11701760"/>
              <a:gd name="connsiteY3264" fmla="*/ 1594526 h 6407421"/>
              <a:gd name="connsiteX3265" fmla="*/ 10903277 w 11701760"/>
              <a:gd name="connsiteY3265" fmla="*/ 1594526 h 6407421"/>
              <a:gd name="connsiteX3266" fmla="*/ 10903277 w 11701760"/>
              <a:gd name="connsiteY3266" fmla="*/ 1624129 h 6407421"/>
              <a:gd name="connsiteX3267" fmla="*/ 10873675 w 11701760"/>
              <a:gd name="connsiteY3267" fmla="*/ 1624129 h 6407421"/>
              <a:gd name="connsiteX3268" fmla="*/ 5026827 w 11701760"/>
              <a:gd name="connsiteY3268" fmla="*/ 1594526 h 6407421"/>
              <a:gd name="connsiteX3269" fmla="*/ 5056429 w 11701760"/>
              <a:gd name="connsiteY3269" fmla="*/ 1594526 h 6407421"/>
              <a:gd name="connsiteX3270" fmla="*/ 5056429 w 11701760"/>
              <a:gd name="connsiteY3270" fmla="*/ 1624129 h 6407421"/>
              <a:gd name="connsiteX3271" fmla="*/ 5026827 w 11701760"/>
              <a:gd name="connsiteY3271" fmla="*/ 1624129 h 6407421"/>
              <a:gd name="connsiteX3272" fmla="*/ 10607478 w 11701760"/>
              <a:gd name="connsiteY3272" fmla="*/ 1594523 h 6407421"/>
              <a:gd name="connsiteX3273" fmla="*/ 10637188 w 11701760"/>
              <a:gd name="connsiteY3273" fmla="*/ 1594523 h 6407421"/>
              <a:gd name="connsiteX3274" fmla="*/ 10637188 w 11701760"/>
              <a:gd name="connsiteY3274" fmla="*/ 1624127 h 6407421"/>
              <a:gd name="connsiteX3275" fmla="*/ 10607478 w 11701760"/>
              <a:gd name="connsiteY3275" fmla="*/ 1624127 h 6407421"/>
              <a:gd name="connsiteX3276" fmla="*/ 4760630 w 11701760"/>
              <a:gd name="connsiteY3276" fmla="*/ 1594523 h 6407421"/>
              <a:gd name="connsiteX3277" fmla="*/ 4790340 w 11701760"/>
              <a:gd name="connsiteY3277" fmla="*/ 1594523 h 6407421"/>
              <a:gd name="connsiteX3278" fmla="*/ 4790340 w 11701760"/>
              <a:gd name="connsiteY3278" fmla="*/ 1624127 h 6407421"/>
              <a:gd name="connsiteX3279" fmla="*/ 4760630 w 11701760"/>
              <a:gd name="connsiteY3279" fmla="*/ 1624127 h 6407421"/>
              <a:gd name="connsiteX3280" fmla="*/ 10341389 w 11701760"/>
              <a:gd name="connsiteY3280" fmla="*/ 1594521 h 6407421"/>
              <a:gd name="connsiteX3281" fmla="*/ 10370992 w 11701760"/>
              <a:gd name="connsiteY3281" fmla="*/ 1594521 h 6407421"/>
              <a:gd name="connsiteX3282" fmla="*/ 10370992 w 11701760"/>
              <a:gd name="connsiteY3282" fmla="*/ 1624124 h 6407421"/>
              <a:gd name="connsiteX3283" fmla="*/ 10341389 w 11701760"/>
              <a:gd name="connsiteY3283" fmla="*/ 1624124 h 6407421"/>
              <a:gd name="connsiteX3284" fmla="*/ 4494541 w 11701760"/>
              <a:gd name="connsiteY3284" fmla="*/ 1594521 h 6407421"/>
              <a:gd name="connsiteX3285" fmla="*/ 4524144 w 11701760"/>
              <a:gd name="connsiteY3285" fmla="*/ 1594521 h 6407421"/>
              <a:gd name="connsiteX3286" fmla="*/ 4524144 w 11701760"/>
              <a:gd name="connsiteY3286" fmla="*/ 1624124 h 6407421"/>
              <a:gd name="connsiteX3287" fmla="*/ 4494541 w 11701760"/>
              <a:gd name="connsiteY3287" fmla="*/ 1624124 h 6407421"/>
              <a:gd name="connsiteX3288" fmla="*/ 10075192 w 11701760"/>
              <a:gd name="connsiteY3288" fmla="*/ 1594518 h 6407421"/>
              <a:gd name="connsiteX3289" fmla="*/ 10104794 w 11701760"/>
              <a:gd name="connsiteY3289" fmla="*/ 1594518 h 6407421"/>
              <a:gd name="connsiteX3290" fmla="*/ 10104794 w 11701760"/>
              <a:gd name="connsiteY3290" fmla="*/ 1624122 h 6407421"/>
              <a:gd name="connsiteX3291" fmla="*/ 10075192 w 11701760"/>
              <a:gd name="connsiteY3291" fmla="*/ 1624122 h 6407421"/>
              <a:gd name="connsiteX3292" fmla="*/ 4228344 w 11701760"/>
              <a:gd name="connsiteY3292" fmla="*/ 1594518 h 6407421"/>
              <a:gd name="connsiteX3293" fmla="*/ 4257946 w 11701760"/>
              <a:gd name="connsiteY3293" fmla="*/ 1594518 h 6407421"/>
              <a:gd name="connsiteX3294" fmla="*/ 4257946 w 11701760"/>
              <a:gd name="connsiteY3294" fmla="*/ 1624122 h 6407421"/>
              <a:gd name="connsiteX3295" fmla="*/ 4228344 w 11701760"/>
              <a:gd name="connsiteY3295" fmla="*/ 1624122 h 6407421"/>
              <a:gd name="connsiteX3296" fmla="*/ 9809103 w 11701760"/>
              <a:gd name="connsiteY3296" fmla="*/ 1594516 h 6407421"/>
              <a:gd name="connsiteX3297" fmla="*/ 9838705 w 11701760"/>
              <a:gd name="connsiteY3297" fmla="*/ 1594516 h 6407421"/>
              <a:gd name="connsiteX3298" fmla="*/ 9838705 w 11701760"/>
              <a:gd name="connsiteY3298" fmla="*/ 1624120 h 6407421"/>
              <a:gd name="connsiteX3299" fmla="*/ 9809103 w 11701760"/>
              <a:gd name="connsiteY3299" fmla="*/ 1624120 h 6407421"/>
              <a:gd name="connsiteX3300" fmla="*/ 3962255 w 11701760"/>
              <a:gd name="connsiteY3300" fmla="*/ 1594516 h 6407421"/>
              <a:gd name="connsiteX3301" fmla="*/ 3991857 w 11701760"/>
              <a:gd name="connsiteY3301" fmla="*/ 1594516 h 6407421"/>
              <a:gd name="connsiteX3302" fmla="*/ 3991857 w 11701760"/>
              <a:gd name="connsiteY3302" fmla="*/ 1624120 h 6407421"/>
              <a:gd name="connsiteX3303" fmla="*/ 3962255 w 11701760"/>
              <a:gd name="connsiteY3303" fmla="*/ 1624120 h 6407421"/>
              <a:gd name="connsiteX3304" fmla="*/ 9542906 w 11701760"/>
              <a:gd name="connsiteY3304" fmla="*/ 1594514 h 6407421"/>
              <a:gd name="connsiteX3305" fmla="*/ 9572509 w 11701760"/>
              <a:gd name="connsiteY3305" fmla="*/ 1594514 h 6407421"/>
              <a:gd name="connsiteX3306" fmla="*/ 9572509 w 11701760"/>
              <a:gd name="connsiteY3306" fmla="*/ 1624117 h 6407421"/>
              <a:gd name="connsiteX3307" fmla="*/ 9542906 w 11701760"/>
              <a:gd name="connsiteY3307" fmla="*/ 1624117 h 6407421"/>
              <a:gd name="connsiteX3308" fmla="*/ 3696058 w 11701760"/>
              <a:gd name="connsiteY3308" fmla="*/ 1594514 h 6407421"/>
              <a:gd name="connsiteX3309" fmla="*/ 3725661 w 11701760"/>
              <a:gd name="connsiteY3309" fmla="*/ 1594514 h 6407421"/>
              <a:gd name="connsiteX3310" fmla="*/ 3725661 w 11701760"/>
              <a:gd name="connsiteY3310" fmla="*/ 1624117 h 6407421"/>
              <a:gd name="connsiteX3311" fmla="*/ 3696058 w 11701760"/>
              <a:gd name="connsiteY3311" fmla="*/ 1624117 h 6407421"/>
              <a:gd name="connsiteX3312" fmla="*/ 9276817 w 11701760"/>
              <a:gd name="connsiteY3312" fmla="*/ 1594511 h 6407421"/>
              <a:gd name="connsiteX3313" fmla="*/ 9306420 w 11701760"/>
              <a:gd name="connsiteY3313" fmla="*/ 1594511 h 6407421"/>
              <a:gd name="connsiteX3314" fmla="*/ 9306420 w 11701760"/>
              <a:gd name="connsiteY3314" fmla="*/ 1624114 h 6407421"/>
              <a:gd name="connsiteX3315" fmla="*/ 9276817 w 11701760"/>
              <a:gd name="connsiteY3315" fmla="*/ 1624114 h 6407421"/>
              <a:gd name="connsiteX3316" fmla="*/ 3429969 w 11701760"/>
              <a:gd name="connsiteY3316" fmla="*/ 1594511 h 6407421"/>
              <a:gd name="connsiteX3317" fmla="*/ 3459572 w 11701760"/>
              <a:gd name="connsiteY3317" fmla="*/ 1594511 h 6407421"/>
              <a:gd name="connsiteX3318" fmla="*/ 3459572 w 11701760"/>
              <a:gd name="connsiteY3318" fmla="*/ 1624114 h 6407421"/>
              <a:gd name="connsiteX3319" fmla="*/ 3429969 w 11701760"/>
              <a:gd name="connsiteY3319" fmla="*/ 1624114 h 6407421"/>
              <a:gd name="connsiteX3320" fmla="*/ 9010620 w 11701760"/>
              <a:gd name="connsiteY3320" fmla="*/ 1594509 h 6407421"/>
              <a:gd name="connsiteX3321" fmla="*/ 9040222 w 11701760"/>
              <a:gd name="connsiteY3321" fmla="*/ 1594509 h 6407421"/>
              <a:gd name="connsiteX3322" fmla="*/ 9040222 w 11701760"/>
              <a:gd name="connsiteY3322" fmla="*/ 1624112 h 6407421"/>
              <a:gd name="connsiteX3323" fmla="*/ 9010620 w 11701760"/>
              <a:gd name="connsiteY3323" fmla="*/ 1624112 h 6407421"/>
              <a:gd name="connsiteX3324" fmla="*/ 3163772 w 11701760"/>
              <a:gd name="connsiteY3324" fmla="*/ 1594509 h 6407421"/>
              <a:gd name="connsiteX3325" fmla="*/ 3193374 w 11701760"/>
              <a:gd name="connsiteY3325" fmla="*/ 1594509 h 6407421"/>
              <a:gd name="connsiteX3326" fmla="*/ 3193374 w 11701760"/>
              <a:gd name="connsiteY3326" fmla="*/ 1624112 h 6407421"/>
              <a:gd name="connsiteX3327" fmla="*/ 3163772 w 11701760"/>
              <a:gd name="connsiteY3327" fmla="*/ 1624112 h 6407421"/>
              <a:gd name="connsiteX3328" fmla="*/ 8744423 w 11701760"/>
              <a:gd name="connsiteY3328" fmla="*/ 1594506 h 6407421"/>
              <a:gd name="connsiteX3329" fmla="*/ 8774026 w 11701760"/>
              <a:gd name="connsiteY3329" fmla="*/ 1594506 h 6407421"/>
              <a:gd name="connsiteX3330" fmla="*/ 8774026 w 11701760"/>
              <a:gd name="connsiteY3330" fmla="*/ 1624110 h 6407421"/>
              <a:gd name="connsiteX3331" fmla="*/ 8744423 w 11701760"/>
              <a:gd name="connsiteY3331" fmla="*/ 1624110 h 6407421"/>
              <a:gd name="connsiteX3332" fmla="*/ 2897575 w 11701760"/>
              <a:gd name="connsiteY3332" fmla="*/ 1594506 h 6407421"/>
              <a:gd name="connsiteX3333" fmla="*/ 2927178 w 11701760"/>
              <a:gd name="connsiteY3333" fmla="*/ 1594506 h 6407421"/>
              <a:gd name="connsiteX3334" fmla="*/ 2927178 w 11701760"/>
              <a:gd name="connsiteY3334" fmla="*/ 1624110 h 6407421"/>
              <a:gd name="connsiteX3335" fmla="*/ 2897575 w 11701760"/>
              <a:gd name="connsiteY3335" fmla="*/ 1624110 h 6407421"/>
              <a:gd name="connsiteX3336" fmla="*/ 8478226 w 11701760"/>
              <a:gd name="connsiteY3336" fmla="*/ 1594504 h 6407421"/>
              <a:gd name="connsiteX3337" fmla="*/ 8507828 w 11701760"/>
              <a:gd name="connsiteY3337" fmla="*/ 1594504 h 6407421"/>
              <a:gd name="connsiteX3338" fmla="*/ 8507828 w 11701760"/>
              <a:gd name="connsiteY3338" fmla="*/ 1624107 h 6407421"/>
              <a:gd name="connsiteX3339" fmla="*/ 8478226 w 11701760"/>
              <a:gd name="connsiteY3339" fmla="*/ 1624107 h 6407421"/>
              <a:gd name="connsiteX3340" fmla="*/ 2631378 w 11701760"/>
              <a:gd name="connsiteY3340" fmla="*/ 1594504 h 6407421"/>
              <a:gd name="connsiteX3341" fmla="*/ 2660980 w 11701760"/>
              <a:gd name="connsiteY3341" fmla="*/ 1594504 h 6407421"/>
              <a:gd name="connsiteX3342" fmla="*/ 2660980 w 11701760"/>
              <a:gd name="connsiteY3342" fmla="*/ 1624107 h 6407421"/>
              <a:gd name="connsiteX3343" fmla="*/ 2631378 w 11701760"/>
              <a:gd name="connsiteY3343" fmla="*/ 1624107 h 6407421"/>
              <a:gd name="connsiteX3344" fmla="*/ 8212137 w 11701760"/>
              <a:gd name="connsiteY3344" fmla="*/ 1594502 h 6407421"/>
              <a:gd name="connsiteX3345" fmla="*/ 8241740 w 11701760"/>
              <a:gd name="connsiteY3345" fmla="*/ 1594502 h 6407421"/>
              <a:gd name="connsiteX3346" fmla="*/ 8241740 w 11701760"/>
              <a:gd name="connsiteY3346" fmla="*/ 1624105 h 6407421"/>
              <a:gd name="connsiteX3347" fmla="*/ 8212137 w 11701760"/>
              <a:gd name="connsiteY3347" fmla="*/ 1624105 h 6407421"/>
              <a:gd name="connsiteX3348" fmla="*/ 2365289 w 11701760"/>
              <a:gd name="connsiteY3348" fmla="*/ 1594502 h 6407421"/>
              <a:gd name="connsiteX3349" fmla="*/ 2394892 w 11701760"/>
              <a:gd name="connsiteY3349" fmla="*/ 1594502 h 6407421"/>
              <a:gd name="connsiteX3350" fmla="*/ 2394892 w 11701760"/>
              <a:gd name="connsiteY3350" fmla="*/ 1624105 h 6407421"/>
              <a:gd name="connsiteX3351" fmla="*/ 2365289 w 11701760"/>
              <a:gd name="connsiteY3351" fmla="*/ 1624105 h 6407421"/>
              <a:gd name="connsiteX3352" fmla="*/ 7945940 w 11701760"/>
              <a:gd name="connsiteY3352" fmla="*/ 1594499 h 6407421"/>
              <a:gd name="connsiteX3353" fmla="*/ 7975543 w 11701760"/>
              <a:gd name="connsiteY3353" fmla="*/ 1594499 h 6407421"/>
              <a:gd name="connsiteX3354" fmla="*/ 7975543 w 11701760"/>
              <a:gd name="connsiteY3354" fmla="*/ 1624102 h 6407421"/>
              <a:gd name="connsiteX3355" fmla="*/ 7945940 w 11701760"/>
              <a:gd name="connsiteY3355" fmla="*/ 1624102 h 6407421"/>
              <a:gd name="connsiteX3356" fmla="*/ 2099092 w 11701760"/>
              <a:gd name="connsiteY3356" fmla="*/ 1594499 h 6407421"/>
              <a:gd name="connsiteX3357" fmla="*/ 2128695 w 11701760"/>
              <a:gd name="connsiteY3357" fmla="*/ 1594499 h 6407421"/>
              <a:gd name="connsiteX3358" fmla="*/ 2128695 w 11701760"/>
              <a:gd name="connsiteY3358" fmla="*/ 1624102 h 6407421"/>
              <a:gd name="connsiteX3359" fmla="*/ 2099092 w 11701760"/>
              <a:gd name="connsiteY3359" fmla="*/ 1624102 h 6407421"/>
              <a:gd name="connsiteX3360" fmla="*/ 7679743 w 11701760"/>
              <a:gd name="connsiteY3360" fmla="*/ 1594496 h 6407421"/>
              <a:gd name="connsiteX3361" fmla="*/ 7709346 w 11701760"/>
              <a:gd name="connsiteY3361" fmla="*/ 1594496 h 6407421"/>
              <a:gd name="connsiteX3362" fmla="*/ 7709346 w 11701760"/>
              <a:gd name="connsiteY3362" fmla="*/ 1624100 h 6407421"/>
              <a:gd name="connsiteX3363" fmla="*/ 7679743 w 11701760"/>
              <a:gd name="connsiteY3363" fmla="*/ 1624100 h 6407421"/>
              <a:gd name="connsiteX3364" fmla="*/ 1832898 w 11701760"/>
              <a:gd name="connsiteY3364" fmla="*/ 1594496 h 6407421"/>
              <a:gd name="connsiteX3365" fmla="*/ 1862498 w 11701760"/>
              <a:gd name="connsiteY3365" fmla="*/ 1594496 h 6407421"/>
              <a:gd name="connsiteX3366" fmla="*/ 1862498 w 11701760"/>
              <a:gd name="connsiteY3366" fmla="*/ 1624100 h 6407421"/>
              <a:gd name="connsiteX3367" fmla="*/ 1832898 w 11701760"/>
              <a:gd name="connsiteY3367" fmla="*/ 1624100 h 6407421"/>
              <a:gd name="connsiteX3368" fmla="*/ 7413653 w 11701760"/>
              <a:gd name="connsiteY3368" fmla="*/ 1594494 h 6407421"/>
              <a:gd name="connsiteX3369" fmla="*/ 7443256 w 11701760"/>
              <a:gd name="connsiteY3369" fmla="*/ 1594494 h 6407421"/>
              <a:gd name="connsiteX3370" fmla="*/ 7443256 w 11701760"/>
              <a:gd name="connsiteY3370" fmla="*/ 1624097 h 6407421"/>
              <a:gd name="connsiteX3371" fmla="*/ 7413653 w 11701760"/>
              <a:gd name="connsiteY3371" fmla="*/ 1624097 h 6407421"/>
              <a:gd name="connsiteX3372" fmla="*/ 1566808 w 11701760"/>
              <a:gd name="connsiteY3372" fmla="*/ 1594494 h 6407421"/>
              <a:gd name="connsiteX3373" fmla="*/ 1596409 w 11701760"/>
              <a:gd name="connsiteY3373" fmla="*/ 1594494 h 6407421"/>
              <a:gd name="connsiteX3374" fmla="*/ 1596409 w 11701760"/>
              <a:gd name="connsiteY3374" fmla="*/ 1624097 h 6407421"/>
              <a:gd name="connsiteX3375" fmla="*/ 1566808 w 11701760"/>
              <a:gd name="connsiteY3375" fmla="*/ 1624097 h 6407421"/>
              <a:gd name="connsiteX3376" fmla="*/ 7147456 w 11701760"/>
              <a:gd name="connsiteY3376" fmla="*/ 1594491 h 6407421"/>
              <a:gd name="connsiteX3377" fmla="*/ 7177058 w 11701760"/>
              <a:gd name="connsiteY3377" fmla="*/ 1594491 h 6407421"/>
              <a:gd name="connsiteX3378" fmla="*/ 7177058 w 11701760"/>
              <a:gd name="connsiteY3378" fmla="*/ 1624095 h 6407421"/>
              <a:gd name="connsiteX3379" fmla="*/ 7147456 w 11701760"/>
              <a:gd name="connsiteY3379" fmla="*/ 1624095 h 6407421"/>
              <a:gd name="connsiteX3380" fmla="*/ 1300611 w 11701760"/>
              <a:gd name="connsiteY3380" fmla="*/ 1594491 h 6407421"/>
              <a:gd name="connsiteX3381" fmla="*/ 1330213 w 11701760"/>
              <a:gd name="connsiteY3381" fmla="*/ 1594491 h 6407421"/>
              <a:gd name="connsiteX3382" fmla="*/ 1330213 w 11701760"/>
              <a:gd name="connsiteY3382" fmla="*/ 1624095 h 6407421"/>
              <a:gd name="connsiteX3383" fmla="*/ 1300611 w 11701760"/>
              <a:gd name="connsiteY3383" fmla="*/ 1624095 h 6407421"/>
              <a:gd name="connsiteX3384" fmla="*/ 6881367 w 11701760"/>
              <a:gd name="connsiteY3384" fmla="*/ 1594489 h 6407421"/>
              <a:gd name="connsiteX3385" fmla="*/ 6910970 w 11701760"/>
              <a:gd name="connsiteY3385" fmla="*/ 1594489 h 6407421"/>
              <a:gd name="connsiteX3386" fmla="*/ 6910970 w 11701760"/>
              <a:gd name="connsiteY3386" fmla="*/ 1624092 h 6407421"/>
              <a:gd name="connsiteX3387" fmla="*/ 6881367 w 11701760"/>
              <a:gd name="connsiteY3387" fmla="*/ 1624092 h 6407421"/>
              <a:gd name="connsiteX3388" fmla="*/ 1034520 w 11701760"/>
              <a:gd name="connsiteY3388" fmla="*/ 1594489 h 6407421"/>
              <a:gd name="connsiteX3389" fmla="*/ 1064123 w 11701760"/>
              <a:gd name="connsiteY3389" fmla="*/ 1594489 h 6407421"/>
              <a:gd name="connsiteX3390" fmla="*/ 1064123 w 11701760"/>
              <a:gd name="connsiteY3390" fmla="*/ 1624092 h 6407421"/>
              <a:gd name="connsiteX3391" fmla="*/ 1034520 w 11701760"/>
              <a:gd name="connsiteY3391" fmla="*/ 1624092 h 6407421"/>
              <a:gd name="connsiteX3392" fmla="*/ 6615170 w 11701760"/>
              <a:gd name="connsiteY3392" fmla="*/ 1594486 h 6407421"/>
              <a:gd name="connsiteX3393" fmla="*/ 6644773 w 11701760"/>
              <a:gd name="connsiteY3393" fmla="*/ 1594486 h 6407421"/>
              <a:gd name="connsiteX3394" fmla="*/ 6644773 w 11701760"/>
              <a:gd name="connsiteY3394" fmla="*/ 1624090 h 6407421"/>
              <a:gd name="connsiteX3395" fmla="*/ 6615170 w 11701760"/>
              <a:gd name="connsiteY3395" fmla="*/ 1624090 h 6407421"/>
              <a:gd name="connsiteX3396" fmla="*/ 768327 w 11701760"/>
              <a:gd name="connsiteY3396" fmla="*/ 1594486 h 6407421"/>
              <a:gd name="connsiteX3397" fmla="*/ 797926 w 11701760"/>
              <a:gd name="connsiteY3397" fmla="*/ 1594486 h 6407421"/>
              <a:gd name="connsiteX3398" fmla="*/ 797926 w 11701760"/>
              <a:gd name="connsiteY3398" fmla="*/ 1624090 h 6407421"/>
              <a:gd name="connsiteX3399" fmla="*/ 768327 w 11701760"/>
              <a:gd name="connsiteY3399" fmla="*/ 1624090 h 6407421"/>
              <a:gd name="connsiteX3400" fmla="*/ 6349081 w 11701760"/>
              <a:gd name="connsiteY3400" fmla="*/ 1594484 h 6407421"/>
              <a:gd name="connsiteX3401" fmla="*/ 6378683 w 11701760"/>
              <a:gd name="connsiteY3401" fmla="*/ 1594484 h 6407421"/>
              <a:gd name="connsiteX3402" fmla="*/ 6378683 w 11701760"/>
              <a:gd name="connsiteY3402" fmla="*/ 1624087 h 6407421"/>
              <a:gd name="connsiteX3403" fmla="*/ 6349081 w 11701760"/>
              <a:gd name="connsiteY3403" fmla="*/ 1624087 h 6407421"/>
              <a:gd name="connsiteX3404" fmla="*/ 502236 w 11701760"/>
              <a:gd name="connsiteY3404" fmla="*/ 1594484 h 6407421"/>
              <a:gd name="connsiteX3405" fmla="*/ 531838 w 11701760"/>
              <a:gd name="connsiteY3405" fmla="*/ 1594484 h 6407421"/>
              <a:gd name="connsiteX3406" fmla="*/ 531838 w 11701760"/>
              <a:gd name="connsiteY3406" fmla="*/ 1624087 h 6407421"/>
              <a:gd name="connsiteX3407" fmla="*/ 502236 w 11701760"/>
              <a:gd name="connsiteY3407" fmla="*/ 1624087 h 6407421"/>
              <a:gd name="connsiteX3408" fmla="*/ 6082884 w 11701760"/>
              <a:gd name="connsiteY3408" fmla="*/ 1594482 h 6407421"/>
              <a:gd name="connsiteX3409" fmla="*/ 6112486 w 11701760"/>
              <a:gd name="connsiteY3409" fmla="*/ 1594482 h 6407421"/>
              <a:gd name="connsiteX3410" fmla="*/ 6112486 w 11701760"/>
              <a:gd name="connsiteY3410" fmla="*/ 1624085 h 6407421"/>
              <a:gd name="connsiteX3411" fmla="*/ 6082884 w 11701760"/>
              <a:gd name="connsiteY3411" fmla="*/ 1624085 h 6407421"/>
              <a:gd name="connsiteX3412" fmla="*/ 236037 w 11701760"/>
              <a:gd name="connsiteY3412" fmla="*/ 1594482 h 6407421"/>
              <a:gd name="connsiteX3413" fmla="*/ 265639 w 11701760"/>
              <a:gd name="connsiteY3413" fmla="*/ 1594482 h 6407421"/>
              <a:gd name="connsiteX3414" fmla="*/ 265639 w 11701760"/>
              <a:gd name="connsiteY3414" fmla="*/ 1624085 h 6407421"/>
              <a:gd name="connsiteX3415" fmla="*/ 236037 w 11701760"/>
              <a:gd name="connsiteY3415" fmla="*/ 1624085 h 6407421"/>
              <a:gd name="connsiteX3416" fmla="*/ 1 w 11701760"/>
              <a:gd name="connsiteY3416" fmla="*/ 1594482 h 6407421"/>
              <a:gd name="connsiteX3417" fmla="*/ 29603 w 11701760"/>
              <a:gd name="connsiteY3417" fmla="*/ 1594482 h 6407421"/>
              <a:gd name="connsiteX3418" fmla="*/ 29603 w 11701760"/>
              <a:gd name="connsiteY3418" fmla="*/ 1624085 h 6407421"/>
              <a:gd name="connsiteX3419" fmla="*/ 1 w 11701760"/>
              <a:gd name="connsiteY3419" fmla="*/ 1624085 h 6407421"/>
              <a:gd name="connsiteX3420" fmla="*/ 11672158 w 11701760"/>
              <a:gd name="connsiteY3420" fmla="*/ 1328772 h 6407421"/>
              <a:gd name="connsiteX3421" fmla="*/ 11701760 w 11701760"/>
              <a:gd name="connsiteY3421" fmla="*/ 1328772 h 6407421"/>
              <a:gd name="connsiteX3422" fmla="*/ 11701760 w 11701760"/>
              <a:gd name="connsiteY3422" fmla="*/ 1358375 h 6407421"/>
              <a:gd name="connsiteX3423" fmla="*/ 11672158 w 11701760"/>
              <a:gd name="connsiteY3423" fmla="*/ 1358375 h 6407421"/>
              <a:gd name="connsiteX3424" fmla="*/ 5825310 w 11701760"/>
              <a:gd name="connsiteY3424" fmla="*/ 1328772 h 6407421"/>
              <a:gd name="connsiteX3425" fmla="*/ 5854913 w 11701760"/>
              <a:gd name="connsiteY3425" fmla="*/ 1328772 h 6407421"/>
              <a:gd name="connsiteX3426" fmla="*/ 5854913 w 11701760"/>
              <a:gd name="connsiteY3426" fmla="*/ 1358375 h 6407421"/>
              <a:gd name="connsiteX3427" fmla="*/ 5825310 w 11701760"/>
              <a:gd name="connsiteY3427" fmla="*/ 1358375 h 6407421"/>
              <a:gd name="connsiteX3428" fmla="*/ 11405961 w 11701760"/>
              <a:gd name="connsiteY3428" fmla="*/ 1328769 h 6407421"/>
              <a:gd name="connsiteX3429" fmla="*/ 11435563 w 11701760"/>
              <a:gd name="connsiteY3429" fmla="*/ 1328769 h 6407421"/>
              <a:gd name="connsiteX3430" fmla="*/ 11435563 w 11701760"/>
              <a:gd name="connsiteY3430" fmla="*/ 1358372 h 6407421"/>
              <a:gd name="connsiteX3431" fmla="*/ 11405961 w 11701760"/>
              <a:gd name="connsiteY3431" fmla="*/ 1358372 h 6407421"/>
              <a:gd name="connsiteX3432" fmla="*/ 5559113 w 11701760"/>
              <a:gd name="connsiteY3432" fmla="*/ 1328769 h 6407421"/>
              <a:gd name="connsiteX3433" fmla="*/ 5588715 w 11701760"/>
              <a:gd name="connsiteY3433" fmla="*/ 1328769 h 6407421"/>
              <a:gd name="connsiteX3434" fmla="*/ 5588715 w 11701760"/>
              <a:gd name="connsiteY3434" fmla="*/ 1358372 h 6407421"/>
              <a:gd name="connsiteX3435" fmla="*/ 5559113 w 11701760"/>
              <a:gd name="connsiteY3435" fmla="*/ 1358372 h 6407421"/>
              <a:gd name="connsiteX3436" fmla="*/ 11139872 w 11701760"/>
              <a:gd name="connsiteY3436" fmla="*/ 1328766 h 6407421"/>
              <a:gd name="connsiteX3437" fmla="*/ 11169474 w 11701760"/>
              <a:gd name="connsiteY3437" fmla="*/ 1328766 h 6407421"/>
              <a:gd name="connsiteX3438" fmla="*/ 11169474 w 11701760"/>
              <a:gd name="connsiteY3438" fmla="*/ 1358370 h 6407421"/>
              <a:gd name="connsiteX3439" fmla="*/ 11139872 w 11701760"/>
              <a:gd name="connsiteY3439" fmla="*/ 1358370 h 6407421"/>
              <a:gd name="connsiteX3440" fmla="*/ 5293024 w 11701760"/>
              <a:gd name="connsiteY3440" fmla="*/ 1328766 h 6407421"/>
              <a:gd name="connsiteX3441" fmla="*/ 5322626 w 11701760"/>
              <a:gd name="connsiteY3441" fmla="*/ 1328766 h 6407421"/>
              <a:gd name="connsiteX3442" fmla="*/ 5322626 w 11701760"/>
              <a:gd name="connsiteY3442" fmla="*/ 1358370 h 6407421"/>
              <a:gd name="connsiteX3443" fmla="*/ 5293024 w 11701760"/>
              <a:gd name="connsiteY3443" fmla="*/ 1358370 h 6407421"/>
              <a:gd name="connsiteX3444" fmla="*/ 10873675 w 11701760"/>
              <a:gd name="connsiteY3444" fmla="*/ 1328764 h 6407421"/>
              <a:gd name="connsiteX3445" fmla="*/ 10903277 w 11701760"/>
              <a:gd name="connsiteY3445" fmla="*/ 1328764 h 6407421"/>
              <a:gd name="connsiteX3446" fmla="*/ 10903277 w 11701760"/>
              <a:gd name="connsiteY3446" fmla="*/ 1358367 h 6407421"/>
              <a:gd name="connsiteX3447" fmla="*/ 10873675 w 11701760"/>
              <a:gd name="connsiteY3447" fmla="*/ 1358367 h 6407421"/>
              <a:gd name="connsiteX3448" fmla="*/ 5026827 w 11701760"/>
              <a:gd name="connsiteY3448" fmla="*/ 1328764 h 6407421"/>
              <a:gd name="connsiteX3449" fmla="*/ 5056429 w 11701760"/>
              <a:gd name="connsiteY3449" fmla="*/ 1328764 h 6407421"/>
              <a:gd name="connsiteX3450" fmla="*/ 5056429 w 11701760"/>
              <a:gd name="connsiteY3450" fmla="*/ 1358367 h 6407421"/>
              <a:gd name="connsiteX3451" fmla="*/ 5026827 w 11701760"/>
              <a:gd name="connsiteY3451" fmla="*/ 1358367 h 6407421"/>
              <a:gd name="connsiteX3452" fmla="*/ 10607478 w 11701760"/>
              <a:gd name="connsiteY3452" fmla="*/ 1328761 h 6407421"/>
              <a:gd name="connsiteX3453" fmla="*/ 10637188 w 11701760"/>
              <a:gd name="connsiteY3453" fmla="*/ 1328761 h 6407421"/>
              <a:gd name="connsiteX3454" fmla="*/ 10637188 w 11701760"/>
              <a:gd name="connsiteY3454" fmla="*/ 1358365 h 6407421"/>
              <a:gd name="connsiteX3455" fmla="*/ 10607478 w 11701760"/>
              <a:gd name="connsiteY3455" fmla="*/ 1358365 h 6407421"/>
              <a:gd name="connsiteX3456" fmla="*/ 4760630 w 11701760"/>
              <a:gd name="connsiteY3456" fmla="*/ 1328761 h 6407421"/>
              <a:gd name="connsiteX3457" fmla="*/ 4790340 w 11701760"/>
              <a:gd name="connsiteY3457" fmla="*/ 1328761 h 6407421"/>
              <a:gd name="connsiteX3458" fmla="*/ 4790340 w 11701760"/>
              <a:gd name="connsiteY3458" fmla="*/ 1358365 h 6407421"/>
              <a:gd name="connsiteX3459" fmla="*/ 4760630 w 11701760"/>
              <a:gd name="connsiteY3459" fmla="*/ 1358365 h 6407421"/>
              <a:gd name="connsiteX3460" fmla="*/ 10341389 w 11701760"/>
              <a:gd name="connsiteY3460" fmla="*/ 1328759 h 6407421"/>
              <a:gd name="connsiteX3461" fmla="*/ 10370992 w 11701760"/>
              <a:gd name="connsiteY3461" fmla="*/ 1328759 h 6407421"/>
              <a:gd name="connsiteX3462" fmla="*/ 10370992 w 11701760"/>
              <a:gd name="connsiteY3462" fmla="*/ 1358362 h 6407421"/>
              <a:gd name="connsiteX3463" fmla="*/ 10341389 w 11701760"/>
              <a:gd name="connsiteY3463" fmla="*/ 1358362 h 6407421"/>
              <a:gd name="connsiteX3464" fmla="*/ 4494541 w 11701760"/>
              <a:gd name="connsiteY3464" fmla="*/ 1328759 h 6407421"/>
              <a:gd name="connsiteX3465" fmla="*/ 4524144 w 11701760"/>
              <a:gd name="connsiteY3465" fmla="*/ 1328759 h 6407421"/>
              <a:gd name="connsiteX3466" fmla="*/ 4524144 w 11701760"/>
              <a:gd name="connsiteY3466" fmla="*/ 1358362 h 6407421"/>
              <a:gd name="connsiteX3467" fmla="*/ 4494541 w 11701760"/>
              <a:gd name="connsiteY3467" fmla="*/ 1358362 h 6407421"/>
              <a:gd name="connsiteX3468" fmla="*/ 10075192 w 11701760"/>
              <a:gd name="connsiteY3468" fmla="*/ 1328756 h 6407421"/>
              <a:gd name="connsiteX3469" fmla="*/ 10104794 w 11701760"/>
              <a:gd name="connsiteY3469" fmla="*/ 1328756 h 6407421"/>
              <a:gd name="connsiteX3470" fmla="*/ 10104794 w 11701760"/>
              <a:gd name="connsiteY3470" fmla="*/ 1358359 h 6407421"/>
              <a:gd name="connsiteX3471" fmla="*/ 10075192 w 11701760"/>
              <a:gd name="connsiteY3471" fmla="*/ 1358359 h 6407421"/>
              <a:gd name="connsiteX3472" fmla="*/ 4228344 w 11701760"/>
              <a:gd name="connsiteY3472" fmla="*/ 1328756 h 6407421"/>
              <a:gd name="connsiteX3473" fmla="*/ 4257946 w 11701760"/>
              <a:gd name="connsiteY3473" fmla="*/ 1328756 h 6407421"/>
              <a:gd name="connsiteX3474" fmla="*/ 4257946 w 11701760"/>
              <a:gd name="connsiteY3474" fmla="*/ 1358359 h 6407421"/>
              <a:gd name="connsiteX3475" fmla="*/ 4228344 w 11701760"/>
              <a:gd name="connsiteY3475" fmla="*/ 1358359 h 6407421"/>
              <a:gd name="connsiteX3476" fmla="*/ 9809103 w 11701760"/>
              <a:gd name="connsiteY3476" fmla="*/ 1328753 h 6407421"/>
              <a:gd name="connsiteX3477" fmla="*/ 9838705 w 11701760"/>
              <a:gd name="connsiteY3477" fmla="*/ 1328753 h 6407421"/>
              <a:gd name="connsiteX3478" fmla="*/ 9838705 w 11701760"/>
              <a:gd name="connsiteY3478" fmla="*/ 1358357 h 6407421"/>
              <a:gd name="connsiteX3479" fmla="*/ 9809103 w 11701760"/>
              <a:gd name="connsiteY3479" fmla="*/ 1358357 h 6407421"/>
              <a:gd name="connsiteX3480" fmla="*/ 3962255 w 11701760"/>
              <a:gd name="connsiteY3480" fmla="*/ 1328753 h 6407421"/>
              <a:gd name="connsiteX3481" fmla="*/ 3991857 w 11701760"/>
              <a:gd name="connsiteY3481" fmla="*/ 1328753 h 6407421"/>
              <a:gd name="connsiteX3482" fmla="*/ 3991857 w 11701760"/>
              <a:gd name="connsiteY3482" fmla="*/ 1358357 h 6407421"/>
              <a:gd name="connsiteX3483" fmla="*/ 3962255 w 11701760"/>
              <a:gd name="connsiteY3483" fmla="*/ 1358357 h 6407421"/>
              <a:gd name="connsiteX3484" fmla="*/ 9542906 w 11701760"/>
              <a:gd name="connsiteY3484" fmla="*/ 1328751 h 6407421"/>
              <a:gd name="connsiteX3485" fmla="*/ 9572509 w 11701760"/>
              <a:gd name="connsiteY3485" fmla="*/ 1328751 h 6407421"/>
              <a:gd name="connsiteX3486" fmla="*/ 9572509 w 11701760"/>
              <a:gd name="connsiteY3486" fmla="*/ 1358354 h 6407421"/>
              <a:gd name="connsiteX3487" fmla="*/ 9542906 w 11701760"/>
              <a:gd name="connsiteY3487" fmla="*/ 1358354 h 6407421"/>
              <a:gd name="connsiteX3488" fmla="*/ 3696058 w 11701760"/>
              <a:gd name="connsiteY3488" fmla="*/ 1328751 h 6407421"/>
              <a:gd name="connsiteX3489" fmla="*/ 3725661 w 11701760"/>
              <a:gd name="connsiteY3489" fmla="*/ 1328751 h 6407421"/>
              <a:gd name="connsiteX3490" fmla="*/ 3725661 w 11701760"/>
              <a:gd name="connsiteY3490" fmla="*/ 1358354 h 6407421"/>
              <a:gd name="connsiteX3491" fmla="*/ 3696058 w 11701760"/>
              <a:gd name="connsiteY3491" fmla="*/ 1358354 h 6407421"/>
              <a:gd name="connsiteX3492" fmla="*/ 9276817 w 11701760"/>
              <a:gd name="connsiteY3492" fmla="*/ 1328748 h 6407421"/>
              <a:gd name="connsiteX3493" fmla="*/ 9306420 w 11701760"/>
              <a:gd name="connsiteY3493" fmla="*/ 1328748 h 6407421"/>
              <a:gd name="connsiteX3494" fmla="*/ 9306420 w 11701760"/>
              <a:gd name="connsiteY3494" fmla="*/ 1358351 h 6407421"/>
              <a:gd name="connsiteX3495" fmla="*/ 9276817 w 11701760"/>
              <a:gd name="connsiteY3495" fmla="*/ 1358351 h 6407421"/>
              <a:gd name="connsiteX3496" fmla="*/ 3429969 w 11701760"/>
              <a:gd name="connsiteY3496" fmla="*/ 1328748 h 6407421"/>
              <a:gd name="connsiteX3497" fmla="*/ 3459572 w 11701760"/>
              <a:gd name="connsiteY3497" fmla="*/ 1328748 h 6407421"/>
              <a:gd name="connsiteX3498" fmla="*/ 3459572 w 11701760"/>
              <a:gd name="connsiteY3498" fmla="*/ 1358351 h 6407421"/>
              <a:gd name="connsiteX3499" fmla="*/ 3429969 w 11701760"/>
              <a:gd name="connsiteY3499" fmla="*/ 1358351 h 6407421"/>
              <a:gd name="connsiteX3500" fmla="*/ 9010620 w 11701760"/>
              <a:gd name="connsiteY3500" fmla="*/ 1328745 h 6407421"/>
              <a:gd name="connsiteX3501" fmla="*/ 9040222 w 11701760"/>
              <a:gd name="connsiteY3501" fmla="*/ 1328745 h 6407421"/>
              <a:gd name="connsiteX3502" fmla="*/ 9040222 w 11701760"/>
              <a:gd name="connsiteY3502" fmla="*/ 1358349 h 6407421"/>
              <a:gd name="connsiteX3503" fmla="*/ 9010620 w 11701760"/>
              <a:gd name="connsiteY3503" fmla="*/ 1358349 h 6407421"/>
              <a:gd name="connsiteX3504" fmla="*/ 3163772 w 11701760"/>
              <a:gd name="connsiteY3504" fmla="*/ 1328745 h 6407421"/>
              <a:gd name="connsiteX3505" fmla="*/ 3193374 w 11701760"/>
              <a:gd name="connsiteY3505" fmla="*/ 1328745 h 6407421"/>
              <a:gd name="connsiteX3506" fmla="*/ 3193374 w 11701760"/>
              <a:gd name="connsiteY3506" fmla="*/ 1358349 h 6407421"/>
              <a:gd name="connsiteX3507" fmla="*/ 3163772 w 11701760"/>
              <a:gd name="connsiteY3507" fmla="*/ 1358349 h 6407421"/>
              <a:gd name="connsiteX3508" fmla="*/ 8744423 w 11701760"/>
              <a:gd name="connsiteY3508" fmla="*/ 1328743 h 6407421"/>
              <a:gd name="connsiteX3509" fmla="*/ 8774026 w 11701760"/>
              <a:gd name="connsiteY3509" fmla="*/ 1328743 h 6407421"/>
              <a:gd name="connsiteX3510" fmla="*/ 8774026 w 11701760"/>
              <a:gd name="connsiteY3510" fmla="*/ 1358346 h 6407421"/>
              <a:gd name="connsiteX3511" fmla="*/ 8744423 w 11701760"/>
              <a:gd name="connsiteY3511" fmla="*/ 1358346 h 6407421"/>
              <a:gd name="connsiteX3512" fmla="*/ 2897575 w 11701760"/>
              <a:gd name="connsiteY3512" fmla="*/ 1328743 h 6407421"/>
              <a:gd name="connsiteX3513" fmla="*/ 2927178 w 11701760"/>
              <a:gd name="connsiteY3513" fmla="*/ 1328743 h 6407421"/>
              <a:gd name="connsiteX3514" fmla="*/ 2927178 w 11701760"/>
              <a:gd name="connsiteY3514" fmla="*/ 1358346 h 6407421"/>
              <a:gd name="connsiteX3515" fmla="*/ 2897575 w 11701760"/>
              <a:gd name="connsiteY3515" fmla="*/ 1358346 h 6407421"/>
              <a:gd name="connsiteX3516" fmla="*/ 8478226 w 11701760"/>
              <a:gd name="connsiteY3516" fmla="*/ 1328740 h 6407421"/>
              <a:gd name="connsiteX3517" fmla="*/ 8507828 w 11701760"/>
              <a:gd name="connsiteY3517" fmla="*/ 1328740 h 6407421"/>
              <a:gd name="connsiteX3518" fmla="*/ 8507828 w 11701760"/>
              <a:gd name="connsiteY3518" fmla="*/ 1358344 h 6407421"/>
              <a:gd name="connsiteX3519" fmla="*/ 8478226 w 11701760"/>
              <a:gd name="connsiteY3519" fmla="*/ 1358344 h 6407421"/>
              <a:gd name="connsiteX3520" fmla="*/ 2631378 w 11701760"/>
              <a:gd name="connsiteY3520" fmla="*/ 1328740 h 6407421"/>
              <a:gd name="connsiteX3521" fmla="*/ 2660980 w 11701760"/>
              <a:gd name="connsiteY3521" fmla="*/ 1328740 h 6407421"/>
              <a:gd name="connsiteX3522" fmla="*/ 2660980 w 11701760"/>
              <a:gd name="connsiteY3522" fmla="*/ 1358344 h 6407421"/>
              <a:gd name="connsiteX3523" fmla="*/ 2631378 w 11701760"/>
              <a:gd name="connsiteY3523" fmla="*/ 1358344 h 6407421"/>
              <a:gd name="connsiteX3524" fmla="*/ 8212137 w 11701760"/>
              <a:gd name="connsiteY3524" fmla="*/ 1328738 h 6407421"/>
              <a:gd name="connsiteX3525" fmla="*/ 8241740 w 11701760"/>
              <a:gd name="connsiteY3525" fmla="*/ 1328738 h 6407421"/>
              <a:gd name="connsiteX3526" fmla="*/ 8241740 w 11701760"/>
              <a:gd name="connsiteY3526" fmla="*/ 1358341 h 6407421"/>
              <a:gd name="connsiteX3527" fmla="*/ 8212137 w 11701760"/>
              <a:gd name="connsiteY3527" fmla="*/ 1358341 h 6407421"/>
              <a:gd name="connsiteX3528" fmla="*/ 2365289 w 11701760"/>
              <a:gd name="connsiteY3528" fmla="*/ 1328738 h 6407421"/>
              <a:gd name="connsiteX3529" fmla="*/ 2394892 w 11701760"/>
              <a:gd name="connsiteY3529" fmla="*/ 1328738 h 6407421"/>
              <a:gd name="connsiteX3530" fmla="*/ 2394892 w 11701760"/>
              <a:gd name="connsiteY3530" fmla="*/ 1358341 h 6407421"/>
              <a:gd name="connsiteX3531" fmla="*/ 2365289 w 11701760"/>
              <a:gd name="connsiteY3531" fmla="*/ 1358341 h 6407421"/>
              <a:gd name="connsiteX3532" fmla="*/ 7945940 w 11701760"/>
              <a:gd name="connsiteY3532" fmla="*/ 1328735 h 6407421"/>
              <a:gd name="connsiteX3533" fmla="*/ 7975543 w 11701760"/>
              <a:gd name="connsiteY3533" fmla="*/ 1328735 h 6407421"/>
              <a:gd name="connsiteX3534" fmla="*/ 7975543 w 11701760"/>
              <a:gd name="connsiteY3534" fmla="*/ 1358338 h 6407421"/>
              <a:gd name="connsiteX3535" fmla="*/ 7945940 w 11701760"/>
              <a:gd name="connsiteY3535" fmla="*/ 1358338 h 6407421"/>
              <a:gd name="connsiteX3536" fmla="*/ 2099092 w 11701760"/>
              <a:gd name="connsiteY3536" fmla="*/ 1328735 h 6407421"/>
              <a:gd name="connsiteX3537" fmla="*/ 2128695 w 11701760"/>
              <a:gd name="connsiteY3537" fmla="*/ 1328735 h 6407421"/>
              <a:gd name="connsiteX3538" fmla="*/ 2128695 w 11701760"/>
              <a:gd name="connsiteY3538" fmla="*/ 1358338 h 6407421"/>
              <a:gd name="connsiteX3539" fmla="*/ 2099092 w 11701760"/>
              <a:gd name="connsiteY3539" fmla="*/ 1358338 h 6407421"/>
              <a:gd name="connsiteX3540" fmla="*/ 7679743 w 11701760"/>
              <a:gd name="connsiteY3540" fmla="*/ 1328732 h 6407421"/>
              <a:gd name="connsiteX3541" fmla="*/ 7709346 w 11701760"/>
              <a:gd name="connsiteY3541" fmla="*/ 1328732 h 6407421"/>
              <a:gd name="connsiteX3542" fmla="*/ 7709346 w 11701760"/>
              <a:gd name="connsiteY3542" fmla="*/ 1358336 h 6407421"/>
              <a:gd name="connsiteX3543" fmla="*/ 7679743 w 11701760"/>
              <a:gd name="connsiteY3543" fmla="*/ 1358336 h 6407421"/>
              <a:gd name="connsiteX3544" fmla="*/ 1832898 w 11701760"/>
              <a:gd name="connsiteY3544" fmla="*/ 1328732 h 6407421"/>
              <a:gd name="connsiteX3545" fmla="*/ 1862498 w 11701760"/>
              <a:gd name="connsiteY3545" fmla="*/ 1328732 h 6407421"/>
              <a:gd name="connsiteX3546" fmla="*/ 1862498 w 11701760"/>
              <a:gd name="connsiteY3546" fmla="*/ 1358336 h 6407421"/>
              <a:gd name="connsiteX3547" fmla="*/ 1832898 w 11701760"/>
              <a:gd name="connsiteY3547" fmla="*/ 1358336 h 6407421"/>
              <a:gd name="connsiteX3548" fmla="*/ 7413653 w 11701760"/>
              <a:gd name="connsiteY3548" fmla="*/ 1328730 h 6407421"/>
              <a:gd name="connsiteX3549" fmla="*/ 7443256 w 11701760"/>
              <a:gd name="connsiteY3549" fmla="*/ 1328730 h 6407421"/>
              <a:gd name="connsiteX3550" fmla="*/ 7443256 w 11701760"/>
              <a:gd name="connsiteY3550" fmla="*/ 1358333 h 6407421"/>
              <a:gd name="connsiteX3551" fmla="*/ 7413653 w 11701760"/>
              <a:gd name="connsiteY3551" fmla="*/ 1358333 h 6407421"/>
              <a:gd name="connsiteX3552" fmla="*/ 1566808 w 11701760"/>
              <a:gd name="connsiteY3552" fmla="*/ 1328730 h 6407421"/>
              <a:gd name="connsiteX3553" fmla="*/ 1596409 w 11701760"/>
              <a:gd name="connsiteY3553" fmla="*/ 1328730 h 6407421"/>
              <a:gd name="connsiteX3554" fmla="*/ 1596409 w 11701760"/>
              <a:gd name="connsiteY3554" fmla="*/ 1358333 h 6407421"/>
              <a:gd name="connsiteX3555" fmla="*/ 1566808 w 11701760"/>
              <a:gd name="connsiteY3555" fmla="*/ 1358333 h 6407421"/>
              <a:gd name="connsiteX3556" fmla="*/ 7147456 w 11701760"/>
              <a:gd name="connsiteY3556" fmla="*/ 1328727 h 6407421"/>
              <a:gd name="connsiteX3557" fmla="*/ 7177058 w 11701760"/>
              <a:gd name="connsiteY3557" fmla="*/ 1328727 h 6407421"/>
              <a:gd name="connsiteX3558" fmla="*/ 7177058 w 11701760"/>
              <a:gd name="connsiteY3558" fmla="*/ 1358330 h 6407421"/>
              <a:gd name="connsiteX3559" fmla="*/ 7147456 w 11701760"/>
              <a:gd name="connsiteY3559" fmla="*/ 1358330 h 6407421"/>
              <a:gd name="connsiteX3560" fmla="*/ 1300611 w 11701760"/>
              <a:gd name="connsiteY3560" fmla="*/ 1328727 h 6407421"/>
              <a:gd name="connsiteX3561" fmla="*/ 1330213 w 11701760"/>
              <a:gd name="connsiteY3561" fmla="*/ 1328727 h 6407421"/>
              <a:gd name="connsiteX3562" fmla="*/ 1330213 w 11701760"/>
              <a:gd name="connsiteY3562" fmla="*/ 1358330 h 6407421"/>
              <a:gd name="connsiteX3563" fmla="*/ 1300611 w 11701760"/>
              <a:gd name="connsiteY3563" fmla="*/ 1358330 h 6407421"/>
              <a:gd name="connsiteX3564" fmla="*/ 6881367 w 11701760"/>
              <a:gd name="connsiteY3564" fmla="*/ 1328724 h 6407421"/>
              <a:gd name="connsiteX3565" fmla="*/ 6910970 w 11701760"/>
              <a:gd name="connsiteY3565" fmla="*/ 1328724 h 6407421"/>
              <a:gd name="connsiteX3566" fmla="*/ 6910970 w 11701760"/>
              <a:gd name="connsiteY3566" fmla="*/ 1358328 h 6407421"/>
              <a:gd name="connsiteX3567" fmla="*/ 6881367 w 11701760"/>
              <a:gd name="connsiteY3567" fmla="*/ 1358328 h 6407421"/>
              <a:gd name="connsiteX3568" fmla="*/ 1034520 w 11701760"/>
              <a:gd name="connsiteY3568" fmla="*/ 1328724 h 6407421"/>
              <a:gd name="connsiteX3569" fmla="*/ 1064123 w 11701760"/>
              <a:gd name="connsiteY3569" fmla="*/ 1328724 h 6407421"/>
              <a:gd name="connsiteX3570" fmla="*/ 1064123 w 11701760"/>
              <a:gd name="connsiteY3570" fmla="*/ 1358328 h 6407421"/>
              <a:gd name="connsiteX3571" fmla="*/ 1034520 w 11701760"/>
              <a:gd name="connsiteY3571" fmla="*/ 1358328 h 6407421"/>
              <a:gd name="connsiteX3572" fmla="*/ 6615170 w 11701760"/>
              <a:gd name="connsiteY3572" fmla="*/ 1328722 h 6407421"/>
              <a:gd name="connsiteX3573" fmla="*/ 6644773 w 11701760"/>
              <a:gd name="connsiteY3573" fmla="*/ 1328722 h 6407421"/>
              <a:gd name="connsiteX3574" fmla="*/ 6644773 w 11701760"/>
              <a:gd name="connsiteY3574" fmla="*/ 1358325 h 6407421"/>
              <a:gd name="connsiteX3575" fmla="*/ 6615170 w 11701760"/>
              <a:gd name="connsiteY3575" fmla="*/ 1358325 h 6407421"/>
              <a:gd name="connsiteX3576" fmla="*/ 768327 w 11701760"/>
              <a:gd name="connsiteY3576" fmla="*/ 1328722 h 6407421"/>
              <a:gd name="connsiteX3577" fmla="*/ 797926 w 11701760"/>
              <a:gd name="connsiteY3577" fmla="*/ 1328722 h 6407421"/>
              <a:gd name="connsiteX3578" fmla="*/ 797926 w 11701760"/>
              <a:gd name="connsiteY3578" fmla="*/ 1358325 h 6407421"/>
              <a:gd name="connsiteX3579" fmla="*/ 768327 w 11701760"/>
              <a:gd name="connsiteY3579" fmla="*/ 1358325 h 6407421"/>
              <a:gd name="connsiteX3580" fmla="*/ 6349081 w 11701760"/>
              <a:gd name="connsiteY3580" fmla="*/ 1328719 h 6407421"/>
              <a:gd name="connsiteX3581" fmla="*/ 6378683 w 11701760"/>
              <a:gd name="connsiteY3581" fmla="*/ 1328719 h 6407421"/>
              <a:gd name="connsiteX3582" fmla="*/ 6378683 w 11701760"/>
              <a:gd name="connsiteY3582" fmla="*/ 1358323 h 6407421"/>
              <a:gd name="connsiteX3583" fmla="*/ 6349081 w 11701760"/>
              <a:gd name="connsiteY3583" fmla="*/ 1358323 h 6407421"/>
              <a:gd name="connsiteX3584" fmla="*/ 502236 w 11701760"/>
              <a:gd name="connsiteY3584" fmla="*/ 1328719 h 6407421"/>
              <a:gd name="connsiteX3585" fmla="*/ 531838 w 11701760"/>
              <a:gd name="connsiteY3585" fmla="*/ 1328719 h 6407421"/>
              <a:gd name="connsiteX3586" fmla="*/ 531838 w 11701760"/>
              <a:gd name="connsiteY3586" fmla="*/ 1358323 h 6407421"/>
              <a:gd name="connsiteX3587" fmla="*/ 502236 w 11701760"/>
              <a:gd name="connsiteY3587" fmla="*/ 1358323 h 6407421"/>
              <a:gd name="connsiteX3588" fmla="*/ 6082884 w 11701760"/>
              <a:gd name="connsiteY3588" fmla="*/ 1328717 h 6407421"/>
              <a:gd name="connsiteX3589" fmla="*/ 6112486 w 11701760"/>
              <a:gd name="connsiteY3589" fmla="*/ 1328717 h 6407421"/>
              <a:gd name="connsiteX3590" fmla="*/ 6112486 w 11701760"/>
              <a:gd name="connsiteY3590" fmla="*/ 1358320 h 6407421"/>
              <a:gd name="connsiteX3591" fmla="*/ 6082884 w 11701760"/>
              <a:gd name="connsiteY3591" fmla="*/ 1358320 h 6407421"/>
              <a:gd name="connsiteX3592" fmla="*/ 236036 w 11701760"/>
              <a:gd name="connsiteY3592" fmla="*/ 1328717 h 6407421"/>
              <a:gd name="connsiteX3593" fmla="*/ 265639 w 11701760"/>
              <a:gd name="connsiteY3593" fmla="*/ 1328717 h 6407421"/>
              <a:gd name="connsiteX3594" fmla="*/ 265639 w 11701760"/>
              <a:gd name="connsiteY3594" fmla="*/ 1358320 h 6407421"/>
              <a:gd name="connsiteX3595" fmla="*/ 236036 w 11701760"/>
              <a:gd name="connsiteY3595" fmla="*/ 1358320 h 6407421"/>
              <a:gd name="connsiteX3596" fmla="*/ 1 w 11701760"/>
              <a:gd name="connsiteY3596" fmla="*/ 1328717 h 6407421"/>
              <a:gd name="connsiteX3597" fmla="*/ 29602 w 11701760"/>
              <a:gd name="connsiteY3597" fmla="*/ 1328717 h 6407421"/>
              <a:gd name="connsiteX3598" fmla="*/ 29602 w 11701760"/>
              <a:gd name="connsiteY3598" fmla="*/ 1358320 h 6407421"/>
              <a:gd name="connsiteX3599" fmla="*/ 1 w 11701760"/>
              <a:gd name="connsiteY3599" fmla="*/ 1358320 h 6407421"/>
              <a:gd name="connsiteX3600" fmla="*/ 11672158 w 11701760"/>
              <a:gd name="connsiteY3600" fmla="*/ 1063123 h 6407421"/>
              <a:gd name="connsiteX3601" fmla="*/ 11701760 w 11701760"/>
              <a:gd name="connsiteY3601" fmla="*/ 1063123 h 6407421"/>
              <a:gd name="connsiteX3602" fmla="*/ 11701760 w 11701760"/>
              <a:gd name="connsiteY3602" fmla="*/ 1092617 h 6407421"/>
              <a:gd name="connsiteX3603" fmla="*/ 11672158 w 11701760"/>
              <a:gd name="connsiteY3603" fmla="*/ 1092617 h 6407421"/>
              <a:gd name="connsiteX3604" fmla="*/ 5825310 w 11701760"/>
              <a:gd name="connsiteY3604" fmla="*/ 1063123 h 6407421"/>
              <a:gd name="connsiteX3605" fmla="*/ 5854913 w 11701760"/>
              <a:gd name="connsiteY3605" fmla="*/ 1063123 h 6407421"/>
              <a:gd name="connsiteX3606" fmla="*/ 5854913 w 11701760"/>
              <a:gd name="connsiteY3606" fmla="*/ 1092617 h 6407421"/>
              <a:gd name="connsiteX3607" fmla="*/ 5825310 w 11701760"/>
              <a:gd name="connsiteY3607" fmla="*/ 1092617 h 6407421"/>
              <a:gd name="connsiteX3608" fmla="*/ 11405961 w 11701760"/>
              <a:gd name="connsiteY3608" fmla="*/ 1063120 h 6407421"/>
              <a:gd name="connsiteX3609" fmla="*/ 11435563 w 11701760"/>
              <a:gd name="connsiteY3609" fmla="*/ 1063120 h 6407421"/>
              <a:gd name="connsiteX3610" fmla="*/ 11435563 w 11701760"/>
              <a:gd name="connsiteY3610" fmla="*/ 1092615 h 6407421"/>
              <a:gd name="connsiteX3611" fmla="*/ 11405961 w 11701760"/>
              <a:gd name="connsiteY3611" fmla="*/ 1092615 h 6407421"/>
              <a:gd name="connsiteX3612" fmla="*/ 5559113 w 11701760"/>
              <a:gd name="connsiteY3612" fmla="*/ 1063120 h 6407421"/>
              <a:gd name="connsiteX3613" fmla="*/ 5588715 w 11701760"/>
              <a:gd name="connsiteY3613" fmla="*/ 1063120 h 6407421"/>
              <a:gd name="connsiteX3614" fmla="*/ 5588715 w 11701760"/>
              <a:gd name="connsiteY3614" fmla="*/ 1092615 h 6407421"/>
              <a:gd name="connsiteX3615" fmla="*/ 5559113 w 11701760"/>
              <a:gd name="connsiteY3615" fmla="*/ 1092615 h 6407421"/>
              <a:gd name="connsiteX3616" fmla="*/ 11139872 w 11701760"/>
              <a:gd name="connsiteY3616" fmla="*/ 1063117 h 6407421"/>
              <a:gd name="connsiteX3617" fmla="*/ 11169474 w 11701760"/>
              <a:gd name="connsiteY3617" fmla="*/ 1063117 h 6407421"/>
              <a:gd name="connsiteX3618" fmla="*/ 11169474 w 11701760"/>
              <a:gd name="connsiteY3618" fmla="*/ 1092612 h 6407421"/>
              <a:gd name="connsiteX3619" fmla="*/ 11139872 w 11701760"/>
              <a:gd name="connsiteY3619" fmla="*/ 1092612 h 6407421"/>
              <a:gd name="connsiteX3620" fmla="*/ 5293024 w 11701760"/>
              <a:gd name="connsiteY3620" fmla="*/ 1063117 h 6407421"/>
              <a:gd name="connsiteX3621" fmla="*/ 5322626 w 11701760"/>
              <a:gd name="connsiteY3621" fmla="*/ 1063117 h 6407421"/>
              <a:gd name="connsiteX3622" fmla="*/ 5322626 w 11701760"/>
              <a:gd name="connsiteY3622" fmla="*/ 1092612 h 6407421"/>
              <a:gd name="connsiteX3623" fmla="*/ 5293024 w 11701760"/>
              <a:gd name="connsiteY3623" fmla="*/ 1092612 h 6407421"/>
              <a:gd name="connsiteX3624" fmla="*/ 10873675 w 11701760"/>
              <a:gd name="connsiteY3624" fmla="*/ 1063114 h 6407421"/>
              <a:gd name="connsiteX3625" fmla="*/ 10903277 w 11701760"/>
              <a:gd name="connsiteY3625" fmla="*/ 1063114 h 6407421"/>
              <a:gd name="connsiteX3626" fmla="*/ 10903277 w 11701760"/>
              <a:gd name="connsiteY3626" fmla="*/ 1092608 h 6407421"/>
              <a:gd name="connsiteX3627" fmla="*/ 10873675 w 11701760"/>
              <a:gd name="connsiteY3627" fmla="*/ 1092608 h 6407421"/>
              <a:gd name="connsiteX3628" fmla="*/ 5026827 w 11701760"/>
              <a:gd name="connsiteY3628" fmla="*/ 1063114 h 6407421"/>
              <a:gd name="connsiteX3629" fmla="*/ 5056429 w 11701760"/>
              <a:gd name="connsiteY3629" fmla="*/ 1063114 h 6407421"/>
              <a:gd name="connsiteX3630" fmla="*/ 5056429 w 11701760"/>
              <a:gd name="connsiteY3630" fmla="*/ 1092608 h 6407421"/>
              <a:gd name="connsiteX3631" fmla="*/ 5026827 w 11701760"/>
              <a:gd name="connsiteY3631" fmla="*/ 1092608 h 6407421"/>
              <a:gd name="connsiteX3632" fmla="*/ 10607478 w 11701760"/>
              <a:gd name="connsiteY3632" fmla="*/ 1063111 h 6407421"/>
              <a:gd name="connsiteX3633" fmla="*/ 10637188 w 11701760"/>
              <a:gd name="connsiteY3633" fmla="*/ 1063111 h 6407421"/>
              <a:gd name="connsiteX3634" fmla="*/ 10637188 w 11701760"/>
              <a:gd name="connsiteY3634" fmla="*/ 1092605 h 6407421"/>
              <a:gd name="connsiteX3635" fmla="*/ 10607478 w 11701760"/>
              <a:gd name="connsiteY3635" fmla="*/ 1092605 h 6407421"/>
              <a:gd name="connsiteX3636" fmla="*/ 4760630 w 11701760"/>
              <a:gd name="connsiteY3636" fmla="*/ 1063111 h 6407421"/>
              <a:gd name="connsiteX3637" fmla="*/ 4790340 w 11701760"/>
              <a:gd name="connsiteY3637" fmla="*/ 1063111 h 6407421"/>
              <a:gd name="connsiteX3638" fmla="*/ 4790340 w 11701760"/>
              <a:gd name="connsiteY3638" fmla="*/ 1092605 h 6407421"/>
              <a:gd name="connsiteX3639" fmla="*/ 4760630 w 11701760"/>
              <a:gd name="connsiteY3639" fmla="*/ 1092605 h 6407421"/>
              <a:gd name="connsiteX3640" fmla="*/ 10341389 w 11701760"/>
              <a:gd name="connsiteY3640" fmla="*/ 1063108 h 6407421"/>
              <a:gd name="connsiteX3641" fmla="*/ 10370992 w 11701760"/>
              <a:gd name="connsiteY3641" fmla="*/ 1063108 h 6407421"/>
              <a:gd name="connsiteX3642" fmla="*/ 10370992 w 11701760"/>
              <a:gd name="connsiteY3642" fmla="*/ 1092602 h 6407421"/>
              <a:gd name="connsiteX3643" fmla="*/ 10341389 w 11701760"/>
              <a:gd name="connsiteY3643" fmla="*/ 1092602 h 6407421"/>
              <a:gd name="connsiteX3644" fmla="*/ 4494541 w 11701760"/>
              <a:gd name="connsiteY3644" fmla="*/ 1063108 h 6407421"/>
              <a:gd name="connsiteX3645" fmla="*/ 4524144 w 11701760"/>
              <a:gd name="connsiteY3645" fmla="*/ 1063108 h 6407421"/>
              <a:gd name="connsiteX3646" fmla="*/ 4524144 w 11701760"/>
              <a:gd name="connsiteY3646" fmla="*/ 1092602 h 6407421"/>
              <a:gd name="connsiteX3647" fmla="*/ 4494541 w 11701760"/>
              <a:gd name="connsiteY3647" fmla="*/ 1092602 h 6407421"/>
              <a:gd name="connsiteX3648" fmla="*/ 10075192 w 11701760"/>
              <a:gd name="connsiteY3648" fmla="*/ 1063105 h 6407421"/>
              <a:gd name="connsiteX3649" fmla="*/ 10104794 w 11701760"/>
              <a:gd name="connsiteY3649" fmla="*/ 1063105 h 6407421"/>
              <a:gd name="connsiteX3650" fmla="*/ 10104794 w 11701760"/>
              <a:gd name="connsiteY3650" fmla="*/ 1092599 h 6407421"/>
              <a:gd name="connsiteX3651" fmla="*/ 10075192 w 11701760"/>
              <a:gd name="connsiteY3651" fmla="*/ 1092599 h 6407421"/>
              <a:gd name="connsiteX3652" fmla="*/ 4228344 w 11701760"/>
              <a:gd name="connsiteY3652" fmla="*/ 1063105 h 6407421"/>
              <a:gd name="connsiteX3653" fmla="*/ 4257946 w 11701760"/>
              <a:gd name="connsiteY3653" fmla="*/ 1063105 h 6407421"/>
              <a:gd name="connsiteX3654" fmla="*/ 4257946 w 11701760"/>
              <a:gd name="connsiteY3654" fmla="*/ 1092599 h 6407421"/>
              <a:gd name="connsiteX3655" fmla="*/ 4228344 w 11701760"/>
              <a:gd name="connsiteY3655" fmla="*/ 1092599 h 6407421"/>
              <a:gd name="connsiteX3656" fmla="*/ 9809103 w 11701760"/>
              <a:gd name="connsiteY3656" fmla="*/ 1063102 h 6407421"/>
              <a:gd name="connsiteX3657" fmla="*/ 9838705 w 11701760"/>
              <a:gd name="connsiteY3657" fmla="*/ 1063102 h 6407421"/>
              <a:gd name="connsiteX3658" fmla="*/ 9838705 w 11701760"/>
              <a:gd name="connsiteY3658" fmla="*/ 1092596 h 6407421"/>
              <a:gd name="connsiteX3659" fmla="*/ 9809103 w 11701760"/>
              <a:gd name="connsiteY3659" fmla="*/ 1092596 h 6407421"/>
              <a:gd name="connsiteX3660" fmla="*/ 3962255 w 11701760"/>
              <a:gd name="connsiteY3660" fmla="*/ 1063102 h 6407421"/>
              <a:gd name="connsiteX3661" fmla="*/ 3991857 w 11701760"/>
              <a:gd name="connsiteY3661" fmla="*/ 1063102 h 6407421"/>
              <a:gd name="connsiteX3662" fmla="*/ 3991857 w 11701760"/>
              <a:gd name="connsiteY3662" fmla="*/ 1092596 h 6407421"/>
              <a:gd name="connsiteX3663" fmla="*/ 3962255 w 11701760"/>
              <a:gd name="connsiteY3663" fmla="*/ 1092596 h 6407421"/>
              <a:gd name="connsiteX3664" fmla="*/ 9542906 w 11701760"/>
              <a:gd name="connsiteY3664" fmla="*/ 1063099 h 6407421"/>
              <a:gd name="connsiteX3665" fmla="*/ 9572509 w 11701760"/>
              <a:gd name="connsiteY3665" fmla="*/ 1063099 h 6407421"/>
              <a:gd name="connsiteX3666" fmla="*/ 9572509 w 11701760"/>
              <a:gd name="connsiteY3666" fmla="*/ 1092593 h 6407421"/>
              <a:gd name="connsiteX3667" fmla="*/ 9542906 w 11701760"/>
              <a:gd name="connsiteY3667" fmla="*/ 1092593 h 6407421"/>
              <a:gd name="connsiteX3668" fmla="*/ 3696058 w 11701760"/>
              <a:gd name="connsiteY3668" fmla="*/ 1063099 h 6407421"/>
              <a:gd name="connsiteX3669" fmla="*/ 3725661 w 11701760"/>
              <a:gd name="connsiteY3669" fmla="*/ 1063099 h 6407421"/>
              <a:gd name="connsiteX3670" fmla="*/ 3725661 w 11701760"/>
              <a:gd name="connsiteY3670" fmla="*/ 1092593 h 6407421"/>
              <a:gd name="connsiteX3671" fmla="*/ 3696058 w 11701760"/>
              <a:gd name="connsiteY3671" fmla="*/ 1092593 h 6407421"/>
              <a:gd name="connsiteX3672" fmla="*/ 9276817 w 11701760"/>
              <a:gd name="connsiteY3672" fmla="*/ 1063096 h 6407421"/>
              <a:gd name="connsiteX3673" fmla="*/ 9306420 w 11701760"/>
              <a:gd name="connsiteY3673" fmla="*/ 1063096 h 6407421"/>
              <a:gd name="connsiteX3674" fmla="*/ 9306420 w 11701760"/>
              <a:gd name="connsiteY3674" fmla="*/ 1092590 h 6407421"/>
              <a:gd name="connsiteX3675" fmla="*/ 9276817 w 11701760"/>
              <a:gd name="connsiteY3675" fmla="*/ 1092590 h 6407421"/>
              <a:gd name="connsiteX3676" fmla="*/ 3429969 w 11701760"/>
              <a:gd name="connsiteY3676" fmla="*/ 1063096 h 6407421"/>
              <a:gd name="connsiteX3677" fmla="*/ 3459572 w 11701760"/>
              <a:gd name="connsiteY3677" fmla="*/ 1063096 h 6407421"/>
              <a:gd name="connsiteX3678" fmla="*/ 3459572 w 11701760"/>
              <a:gd name="connsiteY3678" fmla="*/ 1092590 h 6407421"/>
              <a:gd name="connsiteX3679" fmla="*/ 3429969 w 11701760"/>
              <a:gd name="connsiteY3679" fmla="*/ 1092590 h 6407421"/>
              <a:gd name="connsiteX3680" fmla="*/ 9010620 w 11701760"/>
              <a:gd name="connsiteY3680" fmla="*/ 1063093 h 6407421"/>
              <a:gd name="connsiteX3681" fmla="*/ 9040222 w 11701760"/>
              <a:gd name="connsiteY3681" fmla="*/ 1063093 h 6407421"/>
              <a:gd name="connsiteX3682" fmla="*/ 9040222 w 11701760"/>
              <a:gd name="connsiteY3682" fmla="*/ 1092587 h 6407421"/>
              <a:gd name="connsiteX3683" fmla="*/ 9010620 w 11701760"/>
              <a:gd name="connsiteY3683" fmla="*/ 1092587 h 6407421"/>
              <a:gd name="connsiteX3684" fmla="*/ 3163772 w 11701760"/>
              <a:gd name="connsiteY3684" fmla="*/ 1063093 h 6407421"/>
              <a:gd name="connsiteX3685" fmla="*/ 3193374 w 11701760"/>
              <a:gd name="connsiteY3685" fmla="*/ 1063093 h 6407421"/>
              <a:gd name="connsiteX3686" fmla="*/ 3193374 w 11701760"/>
              <a:gd name="connsiteY3686" fmla="*/ 1092587 h 6407421"/>
              <a:gd name="connsiteX3687" fmla="*/ 3163772 w 11701760"/>
              <a:gd name="connsiteY3687" fmla="*/ 1092587 h 6407421"/>
              <a:gd name="connsiteX3688" fmla="*/ 8744423 w 11701760"/>
              <a:gd name="connsiteY3688" fmla="*/ 1063090 h 6407421"/>
              <a:gd name="connsiteX3689" fmla="*/ 8774026 w 11701760"/>
              <a:gd name="connsiteY3689" fmla="*/ 1063090 h 6407421"/>
              <a:gd name="connsiteX3690" fmla="*/ 8774026 w 11701760"/>
              <a:gd name="connsiteY3690" fmla="*/ 1092584 h 6407421"/>
              <a:gd name="connsiteX3691" fmla="*/ 8744423 w 11701760"/>
              <a:gd name="connsiteY3691" fmla="*/ 1092584 h 6407421"/>
              <a:gd name="connsiteX3692" fmla="*/ 2897575 w 11701760"/>
              <a:gd name="connsiteY3692" fmla="*/ 1063090 h 6407421"/>
              <a:gd name="connsiteX3693" fmla="*/ 2927178 w 11701760"/>
              <a:gd name="connsiteY3693" fmla="*/ 1063090 h 6407421"/>
              <a:gd name="connsiteX3694" fmla="*/ 2927178 w 11701760"/>
              <a:gd name="connsiteY3694" fmla="*/ 1092584 h 6407421"/>
              <a:gd name="connsiteX3695" fmla="*/ 2897575 w 11701760"/>
              <a:gd name="connsiteY3695" fmla="*/ 1092584 h 6407421"/>
              <a:gd name="connsiteX3696" fmla="*/ 8478226 w 11701760"/>
              <a:gd name="connsiteY3696" fmla="*/ 1063087 h 6407421"/>
              <a:gd name="connsiteX3697" fmla="*/ 8507828 w 11701760"/>
              <a:gd name="connsiteY3697" fmla="*/ 1063087 h 6407421"/>
              <a:gd name="connsiteX3698" fmla="*/ 8507828 w 11701760"/>
              <a:gd name="connsiteY3698" fmla="*/ 1092581 h 6407421"/>
              <a:gd name="connsiteX3699" fmla="*/ 8478226 w 11701760"/>
              <a:gd name="connsiteY3699" fmla="*/ 1092581 h 6407421"/>
              <a:gd name="connsiteX3700" fmla="*/ 2631378 w 11701760"/>
              <a:gd name="connsiteY3700" fmla="*/ 1063087 h 6407421"/>
              <a:gd name="connsiteX3701" fmla="*/ 2660980 w 11701760"/>
              <a:gd name="connsiteY3701" fmla="*/ 1063087 h 6407421"/>
              <a:gd name="connsiteX3702" fmla="*/ 2660980 w 11701760"/>
              <a:gd name="connsiteY3702" fmla="*/ 1092581 h 6407421"/>
              <a:gd name="connsiteX3703" fmla="*/ 2631378 w 11701760"/>
              <a:gd name="connsiteY3703" fmla="*/ 1092581 h 6407421"/>
              <a:gd name="connsiteX3704" fmla="*/ 8212137 w 11701760"/>
              <a:gd name="connsiteY3704" fmla="*/ 1063084 h 6407421"/>
              <a:gd name="connsiteX3705" fmla="*/ 8241740 w 11701760"/>
              <a:gd name="connsiteY3705" fmla="*/ 1063084 h 6407421"/>
              <a:gd name="connsiteX3706" fmla="*/ 8241740 w 11701760"/>
              <a:gd name="connsiteY3706" fmla="*/ 1092578 h 6407421"/>
              <a:gd name="connsiteX3707" fmla="*/ 8212137 w 11701760"/>
              <a:gd name="connsiteY3707" fmla="*/ 1092578 h 6407421"/>
              <a:gd name="connsiteX3708" fmla="*/ 2365289 w 11701760"/>
              <a:gd name="connsiteY3708" fmla="*/ 1063084 h 6407421"/>
              <a:gd name="connsiteX3709" fmla="*/ 2394892 w 11701760"/>
              <a:gd name="connsiteY3709" fmla="*/ 1063084 h 6407421"/>
              <a:gd name="connsiteX3710" fmla="*/ 2394892 w 11701760"/>
              <a:gd name="connsiteY3710" fmla="*/ 1092578 h 6407421"/>
              <a:gd name="connsiteX3711" fmla="*/ 2365289 w 11701760"/>
              <a:gd name="connsiteY3711" fmla="*/ 1092578 h 6407421"/>
              <a:gd name="connsiteX3712" fmla="*/ 7945940 w 11701760"/>
              <a:gd name="connsiteY3712" fmla="*/ 1063081 h 6407421"/>
              <a:gd name="connsiteX3713" fmla="*/ 7975543 w 11701760"/>
              <a:gd name="connsiteY3713" fmla="*/ 1063081 h 6407421"/>
              <a:gd name="connsiteX3714" fmla="*/ 7975543 w 11701760"/>
              <a:gd name="connsiteY3714" fmla="*/ 1092575 h 6407421"/>
              <a:gd name="connsiteX3715" fmla="*/ 7945940 w 11701760"/>
              <a:gd name="connsiteY3715" fmla="*/ 1092575 h 6407421"/>
              <a:gd name="connsiteX3716" fmla="*/ 2099092 w 11701760"/>
              <a:gd name="connsiteY3716" fmla="*/ 1063081 h 6407421"/>
              <a:gd name="connsiteX3717" fmla="*/ 2128695 w 11701760"/>
              <a:gd name="connsiteY3717" fmla="*/ 1063081 h 6407421"/>
              <a:gd name="connsiteX3718" fmla="*/ 2128695 w 11701760"/>
              <a:gd name="connsiteY3718" fmla="*/ 1092575 h 6407421"/>
              <a:gd name="connsiteX3719" fmla="*/ 2099092 w 11701760"/>
              <a:gd name="connsiteY3719" fmla="*/ 1092575 h 6407421"/>
              <a:gd name="connsiteX3720" fmla="*/ 7679743 w 11701760"/>
              <a:gd name="connsiteY3720" fmla="*/ 1063078 h 6407421"/>
              <a:gd name="connsiteX3721" fmla="*/ 7709346 w 11701760"/>
              <a:gd name="connsiteY3721" fmla="*/ 1063078 h 6407421"/>
              <a:gd name="connsiteX3722" fmla="*/ 7709346 w 11701760"/>
              <a:gd name="connsiteY3722" fmla="*/ 1092572 h 6407421"/>
              <a:gd name="connsiteX3723" fmla="*/ 7679743 w 11701760"/>
              <a:gd name="connsiteY3723" fmla="*/ 1092572 h 6407421"/>
              <a:gd name="connsiteX3724" fmla="*/ 1832898 w 11701760"/>
              <a:gd name="connsiteY3724" fmla="*/ 1063078 h 6407421"/>
              <a:gd name="connsiteX3725" fmla="*/ 1862498 w 11701760"/>
              <a:gd name="connsiteY3725" fmla="*/ 1063078 h 6407421"/>
              <a:gd name="connsiteX3726" fmla="*/ 1862498 w 11701760"/>
              <a:gd name="connsiteY3726" fmla="*/ 1092572 h 6407421"/>
              <a:gd name="connsiteX3727" fmla="*/ 1832898 w 11701760"/>
              <a:gd name="connsiteY3727" fmla="*/ 1092572 h 6407421"/>
              <a:gd name="connsiteX3728" fmla="*/ 7413653 w 11701760"/>
              <a:gd name="connsiteY3728" fmla="*/ 1063075 h 6407421"/>
              <a:gd name="connsiteX3729" fmla="*/ 7443256 w 11701760"/>
              <a:gd name="connsiteY3729" fmla="*/ 1063075 h 6407421"/>
              <a:gd name="connsiteX3730" fmla="*/ 7443256 w 11701760"/>
              <a:gd name="connsiteY3730" fmla="*/ 1092569 h 6407421"/>
              <a:gd name="connsiteX3731" fmla="*/ 7413653 w 11701760"/>
              <a:gd name="connsiteY3731" fmla="*/ 1092569 h 6407421"/>
              <a:gd name="connsiteX3732" fmla="*/ 1566808 w 11701760"/>
              <a:gd name="connsiteY3732" fmla="*/ 1063075 h 6407421"/>
              <a:gd name="connsiteX3733" fmla="*/ 1596409 w 11701760"/>
              <a:gd name="connsiteY3733" fmla="*/ 1063075 h 6407421"/>
              <a:gd name="connsiteX3734" fmla="*/ 1596409 w 11701760"/>
              <a:gd name="connsiteY3734" fmla="*/ 1092569 h 6407421"/>
              <a:gd name="connsiteX3735" fmla="*/ 1566808 w 11701760"/>
              <a:gd name="connsiteY3735" fmla="*/ 1092569 h 6407421"/>
              <a:gd name="connsiteX3736" fmla="*/ 7147456 w 11701760"/>
              <a:gd name="connsiteY3736" fmla="*/ 1063072 h 6407421"/>
              <a:gd name="connsiteX3737" fmla="*/ 7177058 w 11701760"/>
              <a:gd name="connsiteY3737" fmla="*/ 1063072 h 6407421"/>
              <a:gd name="connsiteX3738" fmla="*/ 7177058 w 11701760"/>
              <a:gd name="connsiteY3738" fmla="*/ 1092566 h 6407421"/>
              <a:gd name="connsiteX3739" fmla="*/ 7147456 w 11701760"/>
              <a:gd name="connsiteY3739" fmla="*/ 1092566 h 6407421"/>
              <a:gd name="connsiteX3740" fmla="*/ 1300611 w 11701760"/>
              <a:gd name="connsiteY3740" fmla="*/ 1063072 h 6407421"/>
              <a:gd name="connsiteX3741" fmla="*/ 1330213 w 11701760"/>
              <a:gd name="connsiteY3741" fmla="*/ 1063072 h 6407421"/>
              <a:gd name="connsiteX3742" fmla="*/ 1330213 w 11701760"/>
              <a:gd name="connsiteY3742" fmla="*/ 1092566 h 6407421"/>
              <a:gd name="connsiteX3743" fmla="*/ 1300611 w 11701760"/>
              <a:gd name="connsiteY3743" fmla="*/ 1092566 h 6407421"/>
              <a:gd name="connsiteX3744" fmla="*/ 6881367 w 11701760"/>
              <a:gd name="connsiteY3744" fmla="*/ 1063069 h 6407421"/>
              <a:gd name="connsiteX3745" fmla="*/ 6910970 w 11701760"/>
              <a:gd name="connsiteY3745" fmla="*/ 1063069 h 6407421"/>
              <a:gd name="connsiteX3746" fmla="*/ 6910970 w 11701760"/>
              <a:gd name="connsiteY3746" fmla="*/ 1092563 h 6407421"/>
              <a:gd name="connsiteX3747" fmla="*/ 6881367 w 11701760"/>
              <a:gd name="connsiteY3747" fmla="*/ 1092563 h 6407421"/>
              <a:gd name="connsiteX3748" fmla="*/ 1034520 w 11701760"/>
              <a:gd name="connsiteY3748" fmla="*/ 1063069 h 6407421"/>
              <a:gd name="connsiteX3749" fmla="*/ 1064123 w 11701760"/>
              <a:gd name="connsiteY3749" fmla="*/ 1063069 h 6407421"/>
              <a:gd name="connsiteX3750" fmla="*/ 1064123 w 11701760"/>
              <a:gd name="connsiteY3750" fmla="*/ 1092563 h 6407421"/>
              <a:gd name="connsiteX3751" fmla="*/ 1034520 w 11701760"/>
              <a:gd name="connsiteY3751" fmla="*/ 1092563 h 6407421"/>
              <a:gd name="connsiteX3752" fmla="*/ 6615170 w 11701760"/>
              <a:gd name="connsiteY3752" fmla="*/ 1063066 h 6407421"/>
              <a:gd name="connsiteX3753" fmla="*/ 6644773 w 11701760"/>
              <a:gd name="connsiteY3753" fmla="*/ 1063066 h 6407421"/>
              <a:gd name="connsiteX3754" fmla="*/ 6644773 w 11701760"/>
              <a:gd name="connsiteY3754" fmla="*/ 1092560 h 6407421"/>
              <a:gd name="connsiteX3755" fmla="*/ 6615170 w 11701760"/>
              <a:gd name="connsiteY3755" fmla="*/ 1092560 h 6407421"/>
              <a:gd name="connsiteX3756" fmla="*/ 768326 w 11701760"/>
              <a:gd name="connsiteY3756" fmla="*/ 1063066 h 6407421"/>
              <a:gd name="connsiteX3757" fmla="*/ 797926 w 11701760"/>
              <a:gd name="connsiteY3757" fmla="*/ 1063066 h 6407421"/>
              <a:gd name="connsiteX3758" fmla="*/ 797926 w 11701760"/>
              <a:gd name="connsiteY3758" fmla="*/ 1092560 h 6407421"/>
              <a:gd name="connsiteX3759" fmla="*/ 768326 w 11701760"/>
              <a:gd name="connsiteY3759" fmla="*/ 1092560 h 6407421"/>
              <a:gd name="connsiteX3760" fmla="*/ 6349081 w 11701760"/>
              <a:gd name="connsiteY3760" fmla="*/ 1063063 h 6407421"/>
              <a:gd name="connsiteX3761" fmla="*/ 6378683 w 11701760"/>
              <a:gd name="connsiteY3761" fmla="*/ 1063063 h 6407421"/>
              <a:gd name="connsiteX3762" fmla="*/ 6378683 w 11701760"/>
              <a:gd name="connsiteY3762" fmla="*/ 1092557 h 6407421"/>
              <a:gd name="connsiteX3763" fmla="*/ 6349081 w 11701760"/>
              <a:gd name="connsiteY3763" fmla="*/ 1092557 h 6407421"/>
              <a:gd name="connsiteX3764" fmla="*/ 502235 w 11701760"/>
              <a:gd name="connsiteY3764" fmla="*/ 1063063 h 6407421"/>
              <a:gd name="connsiteX3765" fmla="*/ 531838 w 11701760"/>
              <a:gd name="connsiteY3765" fmla="*/ 1063063 h 6407421"/>
              <a:gd name="connsiteX3766" fmla="*/ 531838 w 11701760"/>
              <a:gd name="connsiteY3766" fmla="*/ 1092557 h 6407421"/>
              <a:gd name="connsiteX3767" fmla="*/ 502235 w 11701760"/>
              <a:gd name="connsiteY3767" fmla="*/ 1092557 h 6407421"/>
              <a:gd name="connsiteX3768" fmla="*/ 6082884 w 11701760"/>
              <a:gd name="connsiteY3768" fmla="*/ 1063059 h 6407421"/>
              <a:gd name="connsiteX3769" fmla="*/ 6112486 w 11701760"/>
              <a:gd name="connsiteY3769" fmla="*/ 1063059 h 6407421"/>
              <a:gd name="connsiteX3770" fmla="*/ 6112486 w 11701760"/>
              <a:gd name="connsiteY3770" fmla="*/ 1092554 h 6407421"/>
              <a:gd name="connsiteX3771" fmla="*/ 6082884 w 11701760"/>
              <a:gd name="connsiteY3771" fmla="*/ 1092554 h 6407421"/>
              <a:gd name="connsiteX3772" fmla="*/ 236036 w 11701760"/>
              <a:gd name="connsiteY3772" fmla="*/ 1063059 h 6407421"/>
              <a:gd name="connsiteX3773" fmla="*/ 265639 w 11701760"/>
              <a:gd name="connsiteY3773" fmla="*/ 1063059 h 6407421"/>
              <a:gd name="connsiteX3774" fmla="*/ 265639 w 11701760"/>
              <a:gd name="connsiteY3774" fmla="*/ 1092554 h 6407421"/>
              <a:gd name="connsiteX3775" fmla="*/ 236036 w 11701760"/>
              <a:gd name="connsiteY3775" fmla="*/ 1092554 h 6407421"/>
              <a:gd name="connsiteX3776" fmla="*/ 0 w 11701760"/>
              <a:gd name="connsiteY3776" fmla="*/ 1063059 h 6407421"/>
              <a:gd name="connsiteX3777" fmla="*/ 29602 w 11701760"/>
              <a:gd name="connsiteY3777" fmla="*/ 1063059 h 6407421"/>
              <a:gd name="connsiteX3778" fmla="*/ 29602 w 11701760"/>
              <a:gd name="connsiteY3778" fmla="*/ 1092554 h 6407421"/>
              <a:gd name="connsiteX3779" fmla="*/ 0 w 11701760"/>
              <a:gd name="connsiteY3779" fmla="*/ 1092554 h 6407421"/>
              <a:gd name="connsiteX3780" fmla="*/ 11672158 w 11701760"/>
              <a:gd name="connsiteY3780" fmla="*/ 797337 h 6407421"/>
              <a:gd name="connsiteX3781" fmla="*/ 11701760 w 11701760"/>
              <a:gd name="connsiteY3781" fmla="*/ 797337 h 6407421"/>
              <a:gd name="connsiteX3782" fmla="*/ 11701760 w 11701760"/>
              <a:gd name="connsiteY3782" fmla="*/ 826844 h 6407421"/>
              <a:gd name="connsiteX3783" fmla="*/ 11672158 w 11701760"/>
              <a:gd name="connsiteY3783" fmla="*/ 826844 h 6407421"/>
              <a:gd name="connsiteX3784" fmla="*/ 5825310 w 11701760"/>
              <a:gd name="connsiteY3784" fmla="*/ 797337 h 6407421"/>
              <a:gd name="connsiteX3785" fmla="*/ 5854913 w 11701760"/>
              <a:gd name="connsiteY3785" fmla="*/ 797337 h 6407421"/>
              <a:gd name="connsiteX3786" fmla="*/ 5854913 w 11701760"/>
              <a:gd name="connsiteY3786" fmla="*/ 826844 h 6407421"/>
              <a:gd name="connsiteX3787" fmla="*/ 5825310 w 11701760"/>
              <a:gd name="connsiteY3787" fmla="*/ 826844 h 6407421"/>
              <a:gd name="connsiteX3788" fmla="*/ 11405961 w 11701760"/>
              <a:gd name="connsiteY3788" fmla="*/ 797335 h 6407421"/>
              <a:gd name="connsiteX3789" fmla="*/ 11435563 w 11701760"/>
              <a:gd name="connsiteY3789" fmla="*/ 797335 h 6407421"/>
              <a:gd name="connsiteX3790" fmla="*/ 11435563 w 11701760"/>
              <a:gd name="connsiteY3790" fmla="*/ 826841 h 6407421"/>
              <a:gd name="connsiteX3791" fmla="*/ 11405961 w 11701760"/>
              <a:gd name="connsiteY3791" fmla="*/ 826841 h 6407421"/>
              <a:gd name="connsiteX3792" fmla="*/ 5559113 w 11701760"/>
              <a:gd name="connsiteY3792" fmla="*/ 797335 h 6407421"/>
              <a:gd name="connsiteX3793" fmla="*/ 5588715 w 11701760"/>
              <a:gd name="connsiteY3793" fmla="*/ 797335 h 6407421"/>
              <a:gd name="connsiteX3794" fmla="*/ 5588715 w 11701760"/>
              <a:gd name="connsiteY3794" fmla="*/ 826841 h 6407421"/>
              <a:gd name="connsiteX3795" fmla="*/ 5559113 w 11701760"/>
              <a:gd name="connsiteY3795" fmla="*/ 826841 h 6407421"/>
              <a:gd name="connsiteX3796" fmla="*/ 11139872 w 11701760"/>
              <a:gd name="connsiteY3796" fmla="*/ 797333 h 6407421"/>
              <a:gd name="connsiteX3797" fmla="*/ 11169474 w 11701760"/>
              <a:gd name="connsiteY3797" fmla="*/ 797333 h 6407421"/>
              <a:gd name="connsiteX3798" fmla="*/ 11169474 w 11701760"/>
              <a:gd name="connsiteY3798" fmla="*/ 826839 h 6407421"/>
              <a:gd name="connsiteX3799" fmla="*/ 11139872 w 11701760"/>
              <a:gd name="connsiteY3799" fmla="*/ 826839 h 6407421"/>
              <a:gd name="connsiteX3800" fmla="*/ 5293024 w 11701760"/>
              <a:gd name="connsiteY3800" fmla="*/ 797333 h 6407421"/>
              <a:gd name="connsiteX3801" fmla="*/ 5322626 w 11701760"/>
              <a:gd name="connsiteY3801" fmla="*/ 797333 h 6407421"/>
              <a:gd name="connsiteX3802" fmla="*/ 5322626 w 11701760"/>
              <a:gd name="connsiteY3802" fmla="*/ 826839 h 6407421"/>
              <a:gd name="connsiteX3803" fmla="*/ 5293024 w 11701760"/>
              <a:gd name="connsiteY3803" fmla="*/ 826839 h 6407421"/>
              <a:gd name="connsiteX3804" fmla="*/ 10873675 w 11701760"/>
              <a:gd name="connsiteY3804" fmla="*/ 797331 h 6407421"/>
              <a:gd name="connsiteX3805" fmla="*/ 10903277 w 11701760"/>
              <a:gd name="connsiteY3805" fmla="*/ 797331 h 6407421"/>
              <a:gd name="connsiteX3806" fmla="*/ 10903277 w 11701760"/>
              <a:gd name="connsiteY3806" fmla="*/ 826836 h 6407421"/>
              <a:gd name="connsiteX3807" fmla="*/ 10873675 w 11701760"/>
              <a:gd name="connsiteY3807" fmla="*/ 826836 h 6407421"/>
              <a:gd name="connsiteX3808" fmla="*/ 5026827 w 11701760"/>
              <a:gd name="connsiteY3808" fmla="*/ 797331 h 6407421"/>
              <a:gd name="connsiteX3809" fmla="*/ 5056429 w 11701760"/>
              <a:gd name="connsiteY3809" fmla="*/ 797331 h 6407421"/>
              <a:gd name="connsiteX3810" fmla="*/ 5056429 w 11701760"/>
              <a:gd name="connsiteY3810" fmla="*/ 826836 h 6407421"/>
              <a:gd name="connsiteX3811" fmla="*/ 5026827 w 11701760"/>
              <a:gd name="connsiteY3811" fmla="*/ 826836 h 6407421"/>
              <a:gd name="connsiteX3812" fmla="*/ 10607478 w 11701760"/>
              <a:gd name="connsiteY3812" fmla="*/ 797329 h 6407421"/>
              <a:gd name="connsiteX3813" fmla="*/ 10637188 w 11701760"/>
              <a:gd name="connsiteY3813" fmla="*/ 797329 h 6407421"/>
              <a:gd name="connsiteX3814" fmla="*/ 10637188 w 11701760"/>
              <a:gd name="connsiteY3814" fmla="*/ 826833 h 6407421"/>
              <a:gd name="connsiteX3815" fmla="*/ 10607478 w 11701760"/>
              <a:gd name="connsiteY3815" fmla="*/ 826833 h 6407421"/>
              <a:gd name="connsiteX3816" fmla="*/ 4760630 w 11701760"/>
              <a:gd name="connsiteY3816" fmla="*/ 797329 h 6407421"/>
              <a:gd name="connsiteX3817" fmla="*/ 4790340 w 11701760"/>
              <a:gd name="connsiteY3817" fmla="*/ 797329 h 6407421"/>
              <a:gd name="connsiteX3818" fmla="*/ 4790340 w 11701760"/>
              <a:gd name="connsiteY3818" fmla="*/ 826833 h 6407421"/>
              <a:gd name="connsiteX3819" fmla="*/ 4760630 w 11701760"/>
              <a:gd name="connsiteY3819" fmla="*/ 826833 h 6407421"/>
              <a:gd name="connsiteX3820" fmla="*/ 10341389 w 11701760"/>
              <a:gd name="connsiteY3820" fmla="*/ 797327 h 6407421"/>
              <a:gd name="connsiteX3821" fmla="*/ 10370992 w 11701760"/>
              <a:gd name="connsiteY3821" fmla="*/ 797327 h 6407421"/>
              <a:gd name="connsiteX3822" fmla="*/ 10370992 w 11701760"/>
              <a:gd name="connsiteY3822" fmla="*/ 826831 h 6407421"/>
              <a:gd name="connsiteX3823" fmla="*/ 10341389 w 11701760"/>
              <a:gd name="connsiteY3823" fmla="*/ 826831 h 6407421"/>
              <a:gd name="connsiteX3824" fmla="*/ 4494541 w 11701760"/>
              <a:gd name="connsiteY3824" fmla="*/ 797327 h 6407421"/>
              <a:gd name="connsiteX3825" fmla="*/ 4524144 w 11701760"/>
              <a:gd name="connsiteY3825" fmla="*/ 797327 h 6407421"/>
              <a:gd name="connsiteX3826" fmla="*/ 4524144 w 11701760"/>
              <a:gd name="connsiteY3826" fmla="*/ 826831 h 6407421"/>
              <a:gd name="connsiteX3827" fmla="*/ 4494541 w 11701760"/>
              <a:gd name="connsiteY3827" fmla="*/ 826831 h 6407421"/>
              <a:gd name="connsiteX3828" fmla="*/ 10075192 w 11701760"/>
              <a:gd name="connsiteY3828" fmla="*/ 797325 h 6407421"/>
              <a:gd name="connsiteX3829" fmla="*/ 10104794 w 11701760"/>
              <a:gd name="connsiteY3829" fmla="*/ 797325 h 6407421"/>
              <a:gd name="connsiteX3830" fmla="*/ 10104794 w 11701760"/>
              <a:gd name="connsiteY3830" fmla="*/ 826828 h 6407421"/>
              <a:gd name="connsiteX3831" fmla="*/ 10075192 w 11701760"/>
              <a:gd name="connsiteY3831" fmla="*/ 826828 h 6407421"/>
              <a:gd name="connsiteX3832" fmla="*/ 4228344 w 11701760"/>
              <a:gd name="connsiteY3832" fmla="*/ 797325 h 6407421"/>
              <a:gd name="connsiteX3833" fmla="*/ 4257946 w 11701760"/>
              <a:gd name="connsiteY3833" fmla="*/ 797325 h 6407421"/>
              <a:gd name="connsiteX3834" fmla="*/ 4257946 w 11701760"/>
              <a:gd name="connsiteY3834" fmla="*/ 826828 h 6407421"/>
              <a:gd name="connsiteX3835" fmla="*/ 4228344 w 11701760"/>
              <a:gd name="connsiteY3835" fmla="*/ 826828 h 6407421"/>
              <a:gd name="connsiteX3836" fmla="*/ 9809103 w 11701760"/>
              <a:gd name="connsiteY3836" fmla="*/ 797323 h 6407421"/>
              <a:gd name="connsiteX3837" fmla="*/ 9838705 w 11701760"/>
              <a:gd name="connsiteY3837" fmla="*/ 797323 h 6407421"/>
              <a:gd name="connsiteX3838" fmla="*/ 9838705 w 11701760"/>
              <a:gd name="connsiteY3838" fmla="*/ 826826 h 6407421"/>
              <a:gd name="connsiteX3839" fmla="*/ 9809103 w 11701760"/>
              <a:gd name="connsiteY3839" fmla="*/ 826826 h 6407421"/>
              <a:gd name="connsiteX3840" fmla="*/ 3962255 w 11701760"/>
              <a:gd name="connsiteY3840" fmla="*/ 797323 h 6407421"/>
              <a:gd name="connsiteX3841" fmla="*/ 3991857 w 11701760"/>
              <a:gd name="connsiteY3841" fmla="*/ 797323 h 6407421"/>
              <a:gd name="connsiteX3842" fmla="*/ 3991857 w 11701760"/>
              <a:gd name="connsiteY3842" fmla="*/ 826826 h 6407421"/>
              <a:gd name="connsiteX3843" fmla="*/ 3962255 w 11701760"/>
              <a:gd name="connsiteY3843" fmla="*/ 826826 h 6407421"/>
              <a:gd name="connsiteX3844" fmla="*/ 9542906 w 11701760"/>
              <a:gd name="connsiteY3844" fmla="*/ 797321 h 6407421"/>
              <a:gd name="connsiteX3845" fmla="*/ 9572509 w 11701760"/>
              <a:gd name="connsiteY3845" fmla="*/ 797321 h 6407421"/>
              <a:gd name="connsiteX3846" fmla="*/ 9572509 w 11701760"/>
              <a:gd name="connsiteY3846" fmla="*/ 826823 h 6407421"/>
              <a:gd name="connsiteX3847" fmla="*/ 9542906 w 11701760"/>
              <a:gd name="connsiteY3847" fmla="*/ 826823 h 6407421"/>
              <a:gd name="connsiteX3848" fmla="*/ 3696058 w 11701760"/>
              <a:gd name="connsiteY3848" fmla="*/ 797321 h 6407421"/>
              <a:gd name="connsiteX3849" fmla="*/ 3725661 w 11701760"/>
              <a:gd name="connsiteY3849" fmla="*/ 797321 h 6407421"/>
              <a:gd name="connsiteX3850" fmla="*/ 3725661 w 11701760"/>
              <a:gd name="connsiteY3850" fmla="*/ 826823 h 6407421"/>
              <a:gd name="connsiteX3851" fmla="*/ 3696058 w 11701760"/>
              <a:gd name="connsiteY3851" fmla="*/ 826823 h 6407421"/>
              <a:gd name="connsiteX3852" fmla="*/ 9276817 w 11701760"/>
              <a:gd name="connsiteY3852" fmla="*/ 797319 h 6407421"/>
              <a:gd name="connsiteX3853" fmla="*/ 9306420 w 11701760"/>
              <a:gd name="connsiteY3853" fmla="*/ 797319 h 6407421"/>
              <a:gd name="connsiteX3854" fmla="*/ 9306420 w 11701760"/>
              <a:gd name="connsiteY3854" fmla="*/ 826820 h 6407421"/>
              <a:gd name="connsiteX3855" fmla="*/ 9276817 w 11701760"/>
              <a:gd name="connsiteY3855" fmla="*/ 826820 h 6407421"/>
              <a:gd name="connsiteX3856" fmla="*/ 3429969 w 11701760"/>
              <a:gd name="connsiteY3856" fmla="*/ 797319 h 6407421"/>
              <a:gd name="connsiteX3857" fmla="*/ 3459572 w 11701760"/>
              <a:gd name="connsiteY3857" fmla="*/ 797319 h 6407421"/>
              <a:gd name="connsiteX3858" fmla="*/ 3459572 w 11701760"/>
              <a:gd name="connsiteY3858" fmla="*/ 826820 h 6407421"/>
              <a:gd name="connsiteX3859" fmla="*/ 3429969 w 11701760"/>
              <a:gd name="connsiteY3859" fmla="*/ 826820 h 6407421"/>
              <a:gd name="connsiteX3860" fmla="*/ 9010620 w 11701760"/>
              <a:gd name="connsiteY3860" fmla="*/ 797317 h 6407421"/>
              <a:gd name="connsiteX3861" fmla="*/ 9040222 w 11701760"/>
              <a:gd name="connsiteY3861" fmla="*/ 797317 h 6407421"/>
              <a:gd name="connsiteX3862" fmla="*/ 9040222 w 11701760"/>
              <a:gd name="connsiteY3862" fmla="*/ 826818 h 6407421"/>
              <a:gd name="connsiteX3863" fmla="*/ 9010620 w 11701760"/>
              <a:gd name="connsiteY3863" fmla="*/ 826818 h 6407421"/>
              <a:gd name="connsiteX3864" fmla="*/ 3163772 w 11701760"/>
              <a:gd name="connsiteY3864" fmla="*/ 797317 h 6407421"/>
              <a:gd name="connsiteX3865" fmla="*/ 3193374 w 11701760"/>
              <a:gd name="connsiteY3865" fmla="*/ 797317 h 6407421"/>
              <a:gd name="connsiteX3866" fmla="*/ 3193374 w 11701760"/>
              <a:gd name="connsiteY3866" fmla="*/ 826818 h 6407421"/>
              <a:gd name="connsiteX3867" fmla="*/ 3163772 w 11701760"/>
              <a:gd name="connsiteY3867" fmla="*/ 826818 h 6407421"/>
              <a:gd name="connsiteX3868" fmla="*/ 8744423 w 11701760"/>
              <a:gd name="connsiteY3868" fmla="*/ 797315 h 6407421"/>
              <a:gd name="connsiteX3869" fmla="*/ 8774026 w 11701760"/>
              <a:gd name="connsiteY3869" fmla="*/ 797315 h 6407421"/>
              <a:gd name="connsiteX3870" fmla="*/ 8774026 w 11701760"/>
              <a:gd name="connsiteY3870" fmla="*/ 826815 h 6407421"/>
              <a:gd name="connsiteX3871" fmla="*/ 8744423 w 11701760"/>
              <a:gd name="connsiteY3871" fmla="*/ 826815 h 6407421"/>
              <a:gd name="connsiteX3872" fmla="*/ 2897575 w 11701760"/>
              <a:gd name="connsiteY3872" fmla="*/ 797315 h 6407421"/>
              <a:gd name="connsiteX3873" fmla="*/ 2927178 w 11701760"/>
              <a:gd name="connsiteY3873" fmla="*/ 797315 h 6407421"/>
              <a:gd name="connsiteX3874" fmla="*/ 2927178 w 11701760"/>
              <a:gd name="connsiteY3874" fmla="*/ 826815 h 6407421"/>
              <a:gd name="connsiteX3875" fmla="*/ 2897575 w 11701760"/>
              <a:gd name="connsiteY3875" fmla="*/ 826815 h 6407421"/>
              <a:gd name="connsiteX3876" fmla="*/ 8478226 w 11701760"/>
              <a:gd name="connsiteY3876" fmla="*/ 797312 h 6407421"/>
              <a:gd name="connsiteX3877" fmla="*/ 8507828 w 11701760"/>
              <a:gd name="connsiteY3877" fmla="*/ 797312 h 6407421"/>
              <a:gd name="connsiteX3878" fmla="*/ 8507828 w 11701760"/>
              <a:gd name="connsiteY3878" fmla="*/ 826812 h 6407421"/>
              <a:gd name="connsiteX3879" fmla="*/ 8478226 w 11701760"/>
              <a:gd name="connsiteY3879" fmla="*/ 826812 h 6407421"/>
              <a:gd name="connsiteX3880" fmla="*/ 2631378 w 11701760"/>
              <a:gd name="connsiteY3880" fmla="*/ 797312 h 6407421"/>
              <a:gd name="connsiteX3881" fmla="*/ 2660980 w 11701760"/>
              <a:gd name="connsiteY3881" fmla="*/ 797312 h 6407421"/>
              <a:gd name="connsiteX3882" fmla="*/ 2660980 w 11701760"/>
              <a:gd name="connsiteY3882" fmla="*/ 826812 h 6407421"/>
              <a:gd name="connsiteX3883" fmla="*/ 2631378 w 11701760"/>
              <a:gd name="connsiteY3883" fmla="*/ 826812 h 6407421"/>
              <a:gd name="connsiteX3884" fmla="*/ 8212137 w 11701760"/>
              <a:gd name="connsiteY3884" fmla="*/ 797310 h 6407421"/>
              <a:gd name="connsiteX3885" fmla="*/ 8241740 w 11701760"/>
              <a:gd name="connsiteY3885" fmla="*/ 797310 h 6407421"/>
              <a:gd name="connsiteX3886" fmla="*/ 8241740 w 11701760"/>
              <a:gd name="connsiteY3886" fmla="*/ 826810 h 6407421"/>
              <a:gd name="connsiteX3887" fmla="*/ 8212137 w 11701760"/>
              <a:gd name="connsiteY3887" fmla="*/ 826810 h 6407421"/>
              <a:gd name="connsiteX3888" fmla="*/ 2365289 w 11701760"/>
              <a:gd name="connsiteY3888" fmla="*/ 797310 h 6407421"/>
              <a:gd name="connsiteX3889" fmla="*/ 2394892 w 11701760"/>
              <a:gd name="connsiteY3889" fmla="*/ 797310 h 6407421"/>
              <a:gd name="connsiteX3890" fmla="*/ 2394892 w 11701760"/>
              <a:gd name="connsiteY3890" fmla="*/ 826810 h 6407421"/>
              <a:gd name="connsiteX3891" fmla="*/ 2365289 w 11701760"/>
              <a:gd name="connsiteY3891" fmla="*/ 826810 h 6407421"/>
              <a:gd name="connsiteX3892" fmla="*/ 7945940 w 11701760"/>
              <a:gd name="connsiteY3892" fmla="*/ 797308 h 6407421"/>
              <a:gd name="connsiteX3893" fmla="*/ 7975543 w 11701760"/>
              <a:gd name="connsiteY3893" fmla="*/ 797308 h 6407421"/>
              <a:gd name="connsiteX3894" fmla="*/ 7975543 w 11701760"/>
              <a:gd name="connsiteY3894" fmla="*/ 826807 h 6407421"/>
              <a:gd name="connsiteX3895" fmla="*/ 7945940 w 11701760"/>
              <a:gd name="connsiteY3895" fmla="*/ 826807 h 6407421"/>
              <a:gd name="connsiteX3896" fmla="*/ 2099092 w 11701760"/>
              <a:gd name="connsiteY3896" fmla="*/ 797308 h 6407421"/>
              <a:gd name="connsiteX3897" fmla="*/ 2128695 w 11701760"/>
              <a:gd name="connsiteY3897" fmla="*/ 797308 h 6407421"/>
              <a:gd name="connsiteX3898" fmla="*/ 2128695 w 11701760"/>
              <a:gd name="connsiteY3898" fmla="*/ 826807 h 6407421"/>
              <a:gd name="connsiteX3899" fmla="*/ 2099092 w 11701760"/>
              <a:gd name="connsiteY3899" fmla="*/ 826807 h 6407421"/>
              <a:gd name="connsiteX3900" fmla="*/ 7679743 w 11701760"/>
              <a:gd name="connsiteY3900" fmla="*/ 797306 h 6407421"/>
              <a:gd name="connsiteX3901" fmla="*/ 7709346 w 11701760"/>
              <a:gd name="connsiteY3901" fmla="*/ 797306 h 6407421"/>
              <a:gd name="connsiteX3902" fmla="*/ 7709346 w 11701760"/>
              <a:gd name="connsiteY3902" fmla="*/ 826805 h 6407421"/>
              <a:gd name="connsiteX3903" fmla="*/ 7679743 w 11701760"/>
              <a:gd name="connsiteY3903" fmla="*/ 826805 h 6407421"/>
              <a:gd name="connsiteX3904" fmla="*/ 1832898 w 11701760"/>
              <a:gd name="connsiteY3904" fmla="*/ 797306 h 6407421"/>
              <a:gd name="connsiteX3905" fmla="*/ 1862498 w 11701760"/>
              <a:gd name="connsiteY3905" fmla="*/ 797306 h 6407421"/>
              <a:gd name="connsiteX3906" fmla="*/ 1862498 w 11701760"/>
              <a:gd name="connsiteY3906" fmla="*/ 826805 h 6407421"/>
              <a:gd name="connsiteX3907" fmla="*/ 1832898 w 11701760"/>
              <a:gd name="connsiteY3907" fmla="*/ 826805 h 6407421"/>
              <a:gd name="connsiteX3908" fmla="*/ 7413653 w 11701760"/>
              <a:gd name="connsiteY3908" fmla="*/ 797304 h 6407421"/>
              <a:gd name="connsiteX3909" fmla="*/ 7443256 w 11701760"/>
              <a:gd name="connsiteY3909" fmla="*/ 797304 h 6407421"/>
              <a:gd name="connsiteX3910" fmla="*/ 7443256 w 11701760"/>
              <a:gd name="connsiteY3910" fmla="*/ 826802 h 6407421"/>
              <a:gd name="connsiteX3911" fmla="*/ 7413653 w 11701760"/>
              <a:gd name="connsiteY3911" fmla="*/ 826802 h 6407421"/>
              <a:gd name="connsiteX3912" fmla="*/ 1566808 w 11701760"/>
              <a:gd name="connsiteY3912" fmla="*/ 797304 h 6407421"/>
              <a:gd name="connsiteX3913" fmla="*/ 1596409 w 11701760"/>
              <a:gd name="connsiteY3913" fmla="*/ 797304 h 6407421"/>
              <a:gd name="connsiteX3914" fmla="*/ 1596409 w 11701760"/>
              <a:gd name="connsiteY3914" fmla="*/ 826802 h 6407421"/>
              <a:gd name="connsiteX3915" fmla="*/ 1566808 w 11701760"/>
              <a:gd name="connsiteY3915" fmla="*/ 826802 h 6407421"/>
              <a:gd name="connsiteX3916" fmla="*/ 7147456 w 11701760"/>
              <a:gd name="connsiteY3916" fmla="*/ 797302 h 6407421"/>
              <a:gd name="connsiteX3917" fmla="*/ 7177058 w 11701760"/>
              <a:gd name="connsiteY3917" fmla="*/ 797302 h 6407421"/>
              <a:gd name="connsiteX3918" fmla="*/ 7177058 w 11701760"/>
              <a:gd name="connsiteY3918" fmla="*/ 826799 h 6407421"/>
              <a:gd name="connsiteX3919" fmla="*/ 7147456 w 11701760"/>
              <a:gd name="connsiteY3919" fmla="*/ 826799 h 6407421"/>
              <a:gd name="connsiteX3920" fmla="*/ 1300611 w 11701760"/>
              <a:gd name="connsiteY3920" fmla="*/ 797302 h 6407421"/>
              <a:gd name="connsiteX3921" fmla="*/ 1330213 w 11701760"/>
              <a:gd name="connsiteY3921" fmla="*/ 797302 h 6407421"/>
              <a:gd name="connsiteX3922" fmla="*/ 1330213 w 11701760"/>
              <a:gd name="connsiteY3922" fmla="*/ 826799 h 6407421"/>
              <a:gd name="connsiteX3923" fmla="*/ 1300611 w 11701760"/>
              <a:gd name="connsiteY3923" fmla="*/ 826799 h 6407421"/>
              <a:gd name="connsiteX3924" fmla="*/ 6881367 w 11701760"/>
              <a:gd name="connsiteY3924" fmla="*/ 797300 h 6407421"/>
              <a:gd name="connsiteX3925" fmla="*/ 6910970 w 11701760"/>
              <a:gd name="connsiteY3925" fmla="*/ 797300 h 6407421"/>
              <a:gd name="connsiteX3926" fmla="*/ 6910970 w 11701760"/>
              <a:gd name="connsiteY3926" fmla="*/ 826797 h 6407421"/>
              <a:gd name="connsiteX3927" fmla="*/ 6881367 w 11701760"/>
              <a:gd name="connsiteY3927" fmla="*/ 826797 h 6407421"/>
              <a:gd name="connsiteX3928" fmla="*/ 1034520 w 11701760"/>
              <a:gd name="connsiteY3928" fmla="*/ 797300 h 6407421"/>
              <a:gd name="connsiteX3929" fmla="*/ 1064123 w 11701760"/>
              <a:gd name="connsiteY3929" fmla="*/ 797300 h 6407421"/>
              <a:gd name="connsiteX3930" fmla="*/ 1064123 w 11701760"/>
              <a:gd name="connsiteY3930" fmla="*/ 826797 h 6407421"/>
              <a:gd name="connsiteX3931" fmla="*/ 1034520 w 11701760"/>
              <a:gd name="connsiteY3931" fmla="*/ 826797 h 6407421"/>
              <a:gd name="connsiteX3932" fmla="*/ 6615170 w 11701760"/>
              <a:gd name="connsiteY3932" fmla="*/ 797298 h 6407421"/>
              <a:gd name="connsiteX3933" fmla="*/ 6644773 w 11701760"/>
              <a:gd name="connsiteY3933" fmla="*/ 797298 h 6407421"/>
              <a:gd name="connsiteX3934" fmla="*/ 6644773 w 11701760"/>
              <a:gd name="connsiteY3934" fmla="*/ 826794 h 6407421"/>
              <a:gd name="connsiteX3935" fmla="*/ 6615170 w 11701760"/>
              <a:gd name="connsiteY3935" fmla="*/ 826794 h 6407421"/>
              <a:gd name="connsiteX3936" fmla="*/ 768326 w 11701760"/>
              <a:gd name="connsiteY3936" fmla="*/ 797298 h 6407421"/>
              <a:gd name="connsiteX3937" fmla="*/ 797926 w 11701760"/>
              <a:gd name="connsiteY3937" fmla="*/ 797298 h 6407421"/>
              <a:gd name="connsiteX3938" fmla="*/ 797926 w 11701760"/>
              <a:gd name="connsiteY3938" fmla="*/ 826794 h 6407421"/>
              <a:gd name="connsiteX3939" fmla="*/ 768326 w 11701760"/>
              <a:gd name="connsiteY3939" fmla="*/ 826794 h 6407421"/>
              <a:gd name="connsiteX3940" fmla="*/ 6349081 w 11701760"/>
              <a:gd name="connsiteY3940" fmla="*/ 797296 h 6407421"/>
              <a:gd name="connsiteX3941" fmla="*/ 6378683 w 11701760"/>
              <a:gd name="connsiteY3941" fmla="*/ 797296 h 6407421"/>
              <a:gd name="connsiteX3942" fmla="*/ 6378683 w 11701760"/>
              <a:gd name="connsiteY3942" fmla="*/ 826792 h 6407421"/>
              <a:gd name="connsiteX3943" fmla="*/ 6349081 w 11701760"/>
              <a:gd name="connsiteY3943" fmla="*/ 826792 h 6407421"/>
              <a:gd name="connsiteX3944" fmla="*/ 502235 w 11701760"/>
              <a:gd name="connsiteY3944" fmla="*/ 797296 h 6407421"/>
              <a:gd name="connsiteX3945" fmla="*/ 531838 w 11701760"/>
              <a:gd name="connsiteY3945" fmla="*/ 797296 h 6407421"/>
              <a:gd name="connsiteX3946" fmla="*/ 531838 w 11701760"/>
              <a:gd name="connsiteY3946" fmla="*/ 826792 h 6407421"/>
              <a:gd name="connsiteX3947" fmla="*/ 502235 w 11701760"/>
              <a:gd name="connsiteY3947" fmla="*/ 826792 h 6407421"/>
              <a:gd name="connsiteX3948" fmla="*/ 6082884 w 11701760"/>
              <a:gd name="connsiteY3948" fmla="*/ 797294 h 6407421"/>
              <a:gd name="connsiteX3949" fmla="*/ 6112486 w 11701760"/>
              <a:gd name="connsiteY3949" fmla="*/ 797294 h 6407421"/>
              <a:gd name="connsiteX3950" fmla="*/ 6112486 w 11701760"/>
              <a:gd name="connsiteY3950" fmla="*/ 826789 h 6407421"/>
              <a:gd name="connsiteX3951" fmla="*/ 6082884 w 11701760"/>
              <a:gd name="connsiteY3951" fmla="*/ 826789 h 6407421"/>
              <a:gd name="connsiteX3952" fmla="*/ 236036 w 11701760"/>
              <a:gd name="connsiteY3952" fmla="*/ 797294 h 6407421"/>
              <a:gd name="connsiteX3953" fmla="*/ 265639 w 11701760"/>
              <a:gd name="connsiteY3953" fmla="*/ 797294 h 6407421"/>
              <a:gd name="connsiteX3954" fmla="*/ 265639 w 11701760"/>
              <a:gd name="connsiteY3954" fmla="*/ 826789 h 6407421"/>
              <a:gd name="connsiteX3955" fmla="*/ 236036 w 11701760"/>
              <a:gd name="connsiteY3955" fmla="*/ 826789 h 6407421"/>
              <a:gd name="connsiteX3956" fmla="*/ 0 w 11701760"/>
              <a:gd name="connsiteY3956" fmla="*/ 797294 h 6407421"/>
              <a:gd name="connsiteX3957" fmla="*/ 29602 w 11701760"/>
              <a:gd name="connsiteY3957" fmla="*/ 797294 h 6407421"/>
              <a:gd name="connsiteX3958" fmla="*/ 29602 w 11701760"/>
              <a:gd name="connsiteY3958" fmla="*/ 826789 h 6407421"/>
              <a:gd name="connsiteX3959" fmla="*/ 0 w 11701760"/>
              <a:gd name="connsiteY3959" fmla="*/ 826789 h 6407421"/>
              <a:gd name="connsiteX3960" fmla="*/ 11672158 w 11701760"/>
              <a:gd name="connsiteY3960" fmla="*/ 531575 h 6407421"/>
              <a:gd name="connsiteX3961" fmla="*/ 11701760 w 11701760"/>
              <a:gd name="connsiteY3961" fmla="*/ 531575 h 6407421"/>
              <a:gd name="connsiteX3962" fmla="*/ 11701760 w 11701760"/>
              <a:gd name="connsiteY3962" fmla="*/ 561177 h 6407421"/>
              <a:gd name="connsiteX3963" fmla="*/ 11672158 w 11701760"/>
              <a:gd name="connsiteY3963" fmla="*/ 561177 h 6407421"/>
              <a:gd name="connsiteX3964" fmla="*/ 5825310 w 11701760"/>
              <a:gd name="connsiteY3964" fmla="*/ 531575 h 6407421"/>
              <a:gd name="connsiteX3965" fmla="*/ 5854913 w 11701760"/>
              <a:gd name="connsiteY3965" fmla="*/ 531575 h 6407421"/>
              <a:gd name="connsiteX3966" fmla="*/ 5854913 w 11701760"/>
              <a:gd name="connsiteY3966" fmla="*/ 561177 h 6407421"/>
              <a:gd name="connsiteX3967" fmla="*/ 5825310 w 11701760"/>
              <a:gd name="connsiteY3967" fmla="*/ 561177 h 6407421"/>
              <a:gd name="connsiteX3968" fmla="*/ 11405961 w 11701760"/>
              <a:gd name="connsiteY3968" fmla="*/ 531573 h 6407421"/>
              <a:gd name="connsiteX3969" fmla="*/ 11435563 w 11701760"/>
              <a:gd name="connsiteY3969" fmla="*/ 531573 h 6407421"/>
              <a:gd name="connsiteX3970" fmla="*/ 11435563 w 11701760"/>
              <a:gd name="connsiteY3970" fmla="*/ 561175 h 6407421"/>
              <a:gd name="connsiteX3971" fmla="*/ 11405961 w 11701760"/>
              <a:gd name="connsiteY3971" fmla="*/ 561175 h 6407421"/>
              <a:gd name="connsiteX3972" fmla="*/ 5559113 w 11701760"/>
              <a:gd name="connsiteY3972" fmla="*/ 531573 h 6407421"/>
              <a:gd name="connsiteX3973" fmla="*/ 5588715 w 11701760"/>
              <a:gd name="connsiteY3973" fmla="*/ 531573 h 6407421"/>
              <a:gd name="connsiteX3974" fmla="*/ 5588715 w 11701760"/>
              <a:gd name="connsiteY3974" fmla="*/ 561175 h 6407421"/>
              <a:gd name="connsiteX3975" fmla="*/ 5559113 w 11701760"/>
              <a:gd name="connsiteY3975" fmla="*/ 561175 h 6407421"/>
              <a:gd name="connsiteX3976" fmla="*/ 11139872 w 11701760"/>
              <a:gd name="connsiteY3976" fmla="*/ 531571 h 6407421"/>
              <a:gd name="connsiteX3977" fmla="*/ 11169474 w 11701760"/>
              <a:gd name="connsiteY3977" fmla="*/ 531571 h 6407421"/>
              <a:gd name="connsiteX3978" fmla="*/ 11169474 w 11701760"/>
              <a:gd name="connsiteY3978" fmla="*/ 561173 h 6407421"/>
              <a:gd name="connsiteX3979" fmla="*/ 11139872 w 11701760"/>
              <a:gd name="connsiteY3979" fmla="*/ 561173 h 6407421"/>
              <a:gd name="connsiteX3980" fmla="*/ 5293024 w 11701760"/>
              <a:gd name="connsiteY3980" fmla="*/ 531571 h 6407421"/>
              <a:gd name="connsiteX3981" fmla="*/ 5322626 w 11701760"/>
              <a:gd name="connsiteY3981" fmla="*/ 531571 h 6407421"/>
              <a:gd name="connsiteX3982" fmla="*/ 5322626 w 11701760"/>
              <a:gd name="connsiteY3982" fmla="*/ 561173 h 6407421"/>
              <a:gd name="connsiteX3983" fmla="*/ 5293024 w 11701760"/>
              <a:gd name="connsiteY3983" fmla="*/ 561173 h 6407421"/>
              <a:gd name="connsiteX3984" fmla="*/ 10873675 w 11701760"/>
              <a:gd name="connsiteY3984" fmla="*/ 531568 h 6407421"/>
              <a:gd name="connsiteX3985" fmla="*/ 10903277 w 11701760"/>
              <a:gd name="connsiteY3985" fmla="*/ 531568 h 6407421"/>
              <a:gd name="connsiteX3986" fmla="*/ 10903277 w 11701760"/>
              <a:gd name="connsiteY3986" fmla="*/ 561170 h 6407421"/>
              <a:gd name="connsiteX3987" fmla="*/ 10873675 w 11701760"/>
              <a:gd name="connsiteY3987" fmla="*/ 561170 h 6407421"/>
              <a:gd name="connsiteX3988" fmla="*/ 5026827 w 11701760"/>
              <a:gd name="connsiteY3988" fmla="*/ 531568 h 6407421"/>
              <a:gd name="connsiteX3989" fmla="*/ 5056429 w 11701760"/>
              <a:gd name="connsiteY3989" fmla="*/ 531568 h 6407421"/>
              <a:gd name="connsiteX3990" fmla="*/ 5056429 w 11701760"/>
              <a:gd name="connsiteY3990" fmla="*/ 561170 h 6407421"/>
              <a:gd name="connsiteX3991" fmla="*/ 5026827 w 11701760"/>
              <a:gd name="connsiteY3991" fmla="*/ 561170 h 6407421"/>
              <a:gd name="connsiteX3992" fmla="*/ 10607478 w 11701760"/>
              <a:gd name="connsiteY3992" fmla="*/ 531566 h 6407421"/>
              <a:gd name="connsiteX3993" fmla="*/ 10637188 w 11701760"/>
              <a:gd name="connsiteY3993" fmla="*/ 531566 h 6407421"/>
              <a:gd name="connsiteX3994" fmla="*/ 10637188 w 11701760"/>
              <a:gd name="connsiteY3994" fmla="*/ 561168 h 6407421"/>
              <a:gd name="connsiteX3995" fmla="*/ 10607478 w 11701760"/>
              <a:gd name="connsiteY3995" fmla="*/ 561168 h 6407421"/>
              <a:gd name="connsiteX3996" fmla="*/ 4760630 w 11701760"/>
              <a:gd name="connsiteY3996" fmla="*/ 531566 h 6407421"/>
              <a:gd name="connsiteX3997" fmla="*/ 4790340 w 11701760"/>
              <a:gd name="connsiteY3997" fmla="*/ 531566 h 6407421"/>
              <a:gd name="connsiteX3998" fmla="*/ 4790340 w 11701760"/>
              <a:gd name="connsiteY3998" fmla="*/ 561168 h 6407421"/>
              <a:gd name="connsiteX3999" fmla="*/ 4760630 w 11701760"/>
              <a:gd name="connsiteY3999" fmla="*/ 561168 h 6407421"/>
              <a:gd name="connsiteX4000" fmla="*/ 10341389 w 11701760"/>
              <a:gd name="connsiteY4000" fmla="*/ 531564 h 6407421"/>
              <a:gd name="connsiteX4001" fmla="*/ 10370992 w 11701760"/>
              <a:gd name="connsiteY4001" fmla="*/ 531564 h 6407421"/>
              <a:gd name="connsiteX4002" fmla="*/ 10370992 w 11701760"/>
              <a:gd name="connsiteY4002" fmla="*/ 561166 h 6407421"/>
              <a:gd name="connsiteX4003" fmla="*/ 10341389 w 11701760"/>
              <a:gd name="connsiteY4003" fmla="*/ 561166 h 6407421"/>
              <a:gd name="connsiteX4004" fmla="*/ 4494541 w 11701760"/>
              <a:gd name="connsiteY4004" fmla="*/ 531564 h 6407421"/>
              <a:gd name="connsiteX4005" fmla="*/ 4524144 w 11701760"/>
              <a:gd name="connsiteY4005" fmla="*/ 531564 h 6407421"/>
              <a:gd name="connsiteX4006" fmla="*/ 4524144 w 11701760"/>
              <a:gd name="connsiteY4006" fmla="*/ 561166 h 6407421"/>
              <a:gd name="connsiteX4007" fmla="*/ 4494541 w 11701760"/>
              <a:gd name="connsiteY4007" fmla="*/ 561166 h 6407421"/>
              <a:gd name="connsiteX4008" fmla="*/ 10075192 w 11701760"/>
              <a:gd name="connsiteY4008" fmla="*/ 531562 h 6407421"/>
              <a:gd name="connsiteX4009" fmla="*/ 10104794 w 11701760"/>
              <a:gd name="connsiteY4009" fmla="*/ 531562 h 6407421"/>
              <a:gd name="connsiteX4010" fmla="*/ 10104794 w 11701760"/>
              <a:gd name="connsiteY4010" fmla="*/ 561164 h 6407421"/>
              <a:gd name="connsiteX4011" fmla="*/ 10075192 w 11701760"/>
              <a:gd name="connsiteY4011" fmla="*/ 561164 h 6407421"/>
              <a:gd name="connsiteX4012" fmla="*/ 4228344 w 11701760"/>
              <a:gd name="connsiteY4012" fmla="*/ 531562 h 6407421"/>
              <a:gd name="connsiteX4013" fmla="*/ 4257946 w 11701760"/>
              <a:gd name="connsiteY4013" fmla="*/ 531562 h 6407421"/>
              <a:gd name="connsiteX4014" fmla="*/ 4257946 w 11701760"/>
              <a:gd name="connsiteY4014" fmla="*/ 561164 h 6407421"/>
              <a:gd name="connsiteX4015" fmla="*/ 4228344 w 11701760"/>
              <a:gd name="connsiteY4015" fmla="*/ 561164 h 6407421"/>
              <a:gd name="connsiteX4016" fmla="*/ 9809103 w 11701760"/>
              <a:gd name="connsiteY4016" fmla="*/ 531560 h 6407421"/>
              <a:gd name="connsiteX4017" fmla="*/ 9838705 w 11701760"/>
              <a:gd name="connsiteY4017" fmla="*/ 531560 h 6407421"/>
              <a:gd name="connsiteX4018" fmla="*/ 9838705 w 11701760"/>
              <a:gd name="connsiteY4018" fmla="*/ 561162 h 6407421"/>
              <a:gd name="connsiteX4019" fmla="*/ 9809103 w 11701760"/>
              <a:gd name="connsiteY4019" fmla="*/ 561162 h 6407421"/>
              <a:gd name="connsiteX4020" fmla="*/ 3962255 w 11701760"/>
              <a:gd name="connsiteY4020" fmla="*/ 531560 h 6407421"/>
              <a:gd name="connsiteX4021" fmla="*/ 3991857 w 11701760"/>
              <a:gd name="connsiteY4021" fmla="*/ 531560 h 6407421"/>
              <a:gd name="connsiteX4022" fmla="*/ 3991857 w 11701760"/>
              <a:gd name="connsiteY4022" fmla="*/ 561162 h 6407421"/>
              <a:gd name="connsiteX4023" fmla="*/ 3962255 w 11701760"/>
              <a:gd name="connsiteY4023" fmla="*/ 561162 h 6407421"/>
              <a:gd name="connsiteX4024" fmla="*/ 9542906 w 11701760"/>
              <a:gd name="connsiteY4024" fmla="*/ 531558 h 6407421"/>
              <a:gd name="connsiteX4025" fmla="*/ 9572509 w 11701760"/>
              <a:gd name="connsiteY4025" fmla="*/ 531558 h 6407421"/>
              <a:gd name="connsiteX4026" fmla="*/ 9572509 w 11701760"/>
              <a:gd name="connsiteY4026" fmla="*/ 561160 h 6407421"/>
              <a:gd name="connsiteX4027" fmla="*/ 9542906 w 11701760"/>
              <a:gd name="connsiteY4027" fmla="*/ 561160 h 6407421"/>
              <a:gd name="connsiteX4028" fmla="*/ 3696058 w 11701760"/>
              <a:gd name="connsiteY4028" fmla="*/ 531558 h 6407421"/>
              <a:gd name="connsiteX4029" fmla="*/ 3725661 w 11701760"/>
              <a:gd name="connsiteY4029" fmla="*/ 531558 h 6407421"/>
              <a:gd name="connsiteX4030" fmla="*/ 3725661 w 11701760"/>
              <a:gd name="connsiteY4030" fmla="*/ 561160 h 6407421"/>
              <a:gd name="connsiteX4031" fmla="*/ 3696058 w 11701760"/>
              <a:gd name="connsiteY4031" fmla="*/ 561160 h 6407421"/>
              <a:gd name="connsiteX4032" fmla="*/ 9276817 w 11701760"/>
              <a:gd name="connsiteY4032" fmla="*/ 531556 h 6407421"/>
              <a:gd name="connsiteX4033" fmla="*/ 9306420 w 11701760"/>
              <a:gd name="connsiteY4033" fmla="*/ 531556 h 6407421"/>
              <a:gd name="connsiteX4034" fmla="*/ 9306420 w 11701760"/>
              <a:gd name="connsiteY4034" fmla="*/ 561158 h 6407421"/>
              <a:gd name="connsiteX4035" fmla="*/ 9276817 w 11701760"/>
              <a:gd name="connsiteY4035" fmla="*/ 561158 h 6407421"/>
              <a:gd name="connsiteX4036" fmla="*/ 3429969 w 11701760"/>
              <a:gd name="connsiteY4036" fmla="*/ 531556 h 6407421"/>
              <a:gd name="connsiteX4037" fmla="*/ 3459572 w 11701760"/>
              <a:gd name="connsiteY4037" fmla="*/ 531556 h 6407421"/>
              <a:gd name="connsiteX4038" fmla="*/ 3459572 w 11701760"/>
              <a:gd name="connsiteY4038" fmla="*/ 561158 h 6407421"/>
              <a:gd name="connsiteX4039" fmla="*/ 3429969 w 11701760"/>
              <a:gd name="connsiteY4039" fmla="*/ 561158 h 6407421"/>
              <a:gd name="connsiteX4040" fmla="*/ 9010620 w 11701760"/>
              <a:gd name="connsiteY4040" fmla="*/ 531554 h 6407421"/>
              <a:gd name="connsiteX4041" fmla="*/ 9040222 w 11701760"/>
              <a:gd name="connsiteY4041" fmla="*/ 531554 h 6407421"/>
              <a:gd name="connsiteX4042" fmla="*/ 9040222 w 11701760"/>
              <a:gd name="connsiteY4042" fmla="*/ 561156 h 6407421"/>
              <a:gd name="connsiteX4043" fmla="*/ 9010620 w 11701760"/>
              <a:gd name="connsiteY4043" fmla="*/ 561156 h 6407421"/>
              <a:gd name="connsiteX4044" fmla="*/ 3163772 w 11701760"/>
              <a:gd name="connsiteY4044" fmla="*/ 531554 h 6407421"/>
              <a:gd name="connsiteX4045" fmla="*/ 3193374 w 11701760"/>
              <a:gd name="connsiteY4045" fmla="*/ 531554 h 6407421"/>
              <a:gd name="connsiteX4046" fmla="*/ 3193374 w 11701760"/>
              <a:gd name="connsiteY4046" fmla="*/ 561156 h 6407421"/>
              <a:gd name="connsiteX4047" fmla="*/ 3163772 w 11701760"/>
              <a:gd name="connsiteY4047" fmla="*/ 561156 h 6407421"/>
              <a:gd name="connsiteX4048" fmla="*/ 8744423 w 11701760"/>
              <a:gd name="connsiteY4048" fmla="*/ 531551 h 6407421"/>
              <a:gd name="connsiteX4049" fmla="*/ 8774026 w 11701760"/>
              <a:gd name="connsiteY4049" fmla="*/ 531551 h 6407421"/>
              <a:gd name="connsiteX4050" fmla="*/ 8774026 w 11701760"/>
              <a:gd name="connsiteY4050" fmla="*/ 561154 h 6407421"/>
              <a:gd name="connsiteX4051" fmla="*/ 8744423 w 11701760"/>
              <a:gd name="connsiteY4051" fmla="*/ 561154 h 6407421"/>
              <a:gd name="connsiteX4052" fmla="*/ 2897575 w 11701760"/>
              <a:gd name="connsiteY4052" fmla="*/ 531551 h 6407421"/>
              <a:gd name="connsiteX4053" fmla="*/ 2927178 w 11701760"/>
              <a:gd name="connsiteY4053" fmla="*/ 531551 h 6407421"/>
              <a:gd name="connsiteX4054" fmla="*/ 2927178 w 11701760"/>
              <a:gd name="connsiteY4054" fmla="*/ 561154 h 6407421"/>
              <a:gd name="connsiteX4055" fmla="*/ 2897575 w 11701760"/>
              <a:gd name="connsiteY4055" fmla="*/ 561154 h 6407421"/>
              <a:gd name="connsiteX4056" fmla="*/ 8478226 w 11701760"/>
              <a:gd name="connsiteY4056" fmla="*/ 531549 h 6407421"/>
              <a:gd name="connsiteX4057" fmla="*/ 8507828 w 11701760"/>
              <a:gd name="connsiteY4057" fmla="*/ 531549 h 6407421"/>
              <a:gd name="connsiteX4058" fmla="*/ 8507828 w 11701760"/>
              <a:gd name="connsiteY4058" fmla="*/ 561152 h 6407421"/>
              <a:gd name="connsiteX4059" fmla="*/ 8478226 w 11701760"/>
              <a:gd name="connsiteY4059" fmla="*/ 561152 h 6407421"/>
              <a:gd name="connsiteX4060" fmla="*/ 2631378 w 11701760"/>
              <a:gd name="connsiteY4060" fmla="*/ 531549 h 6407421"/>
              <a:gd name="connsiteX4061" fmla="*/ 2660980 w 11701760"/>
              <a:gd name="connsiteY4061" fmla="*/ 531549 h 6407421"/>
              <a:gd name="connsiteX4062" fmla="*/ 2660980 w 11701760"/>
              <a:gd name="connsiteY4062" fmla="*/ 561152 h 6407421"/>
              <a:gd name="connsiteX4063" fmla="*/ 2631378 w 11701760"/>
              <a:gd name="connsiteY4063" fmla="*/ 561152 h 6407421"/>
              <a:gd name="connsiteX4064" fmla="*/ 8212137 w 11701760"/>
              <a:gd name="connsiteY4064" fmla="*/ 531547 h 6407421"/>
              <a:gd name="connsiteX4065" fmla="*/ 8241740 w 11701760"/>
              <a:gd name="connsiteY4065" fmla="*/ 531547 h 6407421"/>
              <a:gd name="connsiteX4066" fmla="*/ 8241740 w 11701760"/>
              <a:gd name="connsiteY4066" fmla="*/ 561149 h 6407421"/>
              <a:gd name="connsiteX4067" fmla="*/ 8212137 w 11701760"/>
              <a:gd name="connsiteY4067" fmla="*/ 561149 h 6407421"/>
              <a:gd name="connsiteX4068" fmla="*/ 2365289 w 11701760"/>
              <a:gd name="connsiteY4068" fmla="*/ 531547 h 6407421"/>
              <a:gd name="connsiteX4069" fmla="*/ 2394892 w 11701760"/>
              <a:gd name="connsiteY4069" fmla="*/ 531547 h 6407421"/>
              <a:gd name="connsiteX4070" fmla="*/ 2394892 w 11701760"/>
              <a:gd name="connsiteY4070" fmla="*/ 561149 h 6407421"/>
              <a:gd name="connsiteX4071" fmla="*/ 2365289 w 11701760"/>
              <a:gd name="connsiteY4071" fmla="*/ 561149 h 6407421"/>
              <a:gd name="connsiteX4072" fmla="*/ 7945940 w 11701760"/>
              <a:gd name="connsiteY4072" fmla="*/ 531545 h 6407421"/>
              <a:gd name="connsiteX4073" fmla="*/ 7975543 w 11701760"/>
              <a:gd name="connsiteY4073" fmla="*/ 531545 h 6407421"/>
              <a:gd name="connsiteX4074" fmla="*/ 7975543 w 11701760"/>
              <a:gd name="connsiteY4074" fmla="*/ 561147 h 6407421"/>
              <a:gd name="connsiteX4075" fmla="*/ 7945940 w 11701760"/>
              <a:gd name="connsiteY4075" fmla="*/ 561147 h 6407421"/>
              <a:gd name="connsiteX4076" fmla="*/ 2099092 w 11701760"/>
              <a:gd name="connsiteY4076" fmla="*/ 531545 h 6407421"/>
              <a:gd name="connsiteX4077" fmla="*/ 2128695 w 11701760"/>
              <a:gd name="connsiteY4077" fmla="*/ 531545 h 6407421"/>
              <a:gd name="connsiteX4078" fmla="*/ 2128695 w 11701760"/>
              <a:gd name="connsiteY4078" fmla="*/ 561147 h 6407421"/>
              <a:gd name="connsiteX4079" fmla="*/ 2099092 w 11701760"/>
              <a:gd name="connsiteY4079" fmla="*/ 561147 h 6407421"/>
              <a:gd name="connsiteX4080" fmla="*/ 7679743 w 11701760"/>
              <a:gd name="connsiteY4080" fmla="*/ 531543 h 6407421"/>
              <a:gd name="connsiteX4081" fmla="*/ 7709346 w 11701760"/>
              <a:gd name="connsiteY4081" fmla="*/ 531543 h 6407421"/>
              <a:gd name="connsiteX4082" fmla="*/ 7709346 w 11701760"/>
              <a:gd name="connsiteY4082" fmla="*/ 561145 h 6407421"/>
              <a:gd name="connsiteX4083" fmla="*/ 7679743 w 11701760"/>
              <a:gd name="connsiteY4083" fmla="*/ 561145 h 6407421"/>
              <a:gd name="connsiteX4084" fmla="*/ 1832898 w 11701760"/>
              <a:gd name="connsiteY4084" fmla="*/ 531543 h 6407421"/>
              <a:gd name="connsiteX4085" fmla="*/ 1862498 w 11701760"/>
              <a:gd name="connsiteY4085" fmla="*/ 531543 h 6407421"/>
              <a:gd name="connsiteX4086" fmla="*/ 1862498 w 11701760"/>
              <a:gd name="connsiteY4086" fmla="*/ 561145 h 6407421"/>
              <a:gd name="connsiteX4087" fmla="*/ 1832898 w 11701760"/>
              <a:gd name="connsiteY4087" fmla="*/ 561145 h 6407421"/>
              <a:gd name="connsiteX4088" fmla="*/ 7413653 w 11701760"/>
              <a:gd name="connsiteY4088" fmla="*/ 531541 h 6407421"/>
              <a:gd name="connsiteX4089" fmla="*/ 7443256 w 11701760"/>
              <a:gd name="connsiteY4089" fmla="*/ 531541 h 6407421"/>
              <a:gd name="connsiteX4090" fmla="*/ 7443256 w 11701760"/>
              <a:gd name="connsiteY4090" fmla="*/ 561143 h 6407421"/>
              <a:gd name="connsiteX4091" fmla="*/ 7413653 w 11701760"/>
              <a:gd name="connsiteY4091" fmla="*/ 561143 h 6407421"/>
              <a:gd name="connsiteX4092" fmla="*/ 1566808 w 11701760"/>
              <a:gd name="connsiteY4092" fmla="*/ 531541 h 6407421"/>
              <a:gd name="connsiteX4093" fmla="*/ 1596409 w 11701760"/>
              <a:gd name="connsiteY4093" fmla="*/ 531541 h 6407421"/>
              <a:gd name="connsiteX4094" fmla="*/ 1596409 w 11701760"/>
              <a:gd name="connsiteY4094" fmla="*/ 561143 h 6407421"/>
              <a:gd name="connsiteX4095" fmla="*/ 1566808 w 11701760"/>
              <a:gd name="connsiteY4095" fmla="*/ 561143 h 6407421"/>
              <a:gd name="connsiteX4096" fmla="*/ 7147456 w 11701760"/>
              <a:gd name="connsiteY4096" fmla="*/ 531539 h 6407421"/>
              <a:gd name="connsiteX4097" fmla="*/ 7177058 w 11701760"/>
              <a:gd name="connsiteY4097" fmla="*/ 531539 h 6407421"/>
              <a:gd name="connsiteX4098" fmla="*/ 7177058 w 11701760"/>
              <a:gd name="connsiteY4098" fmla="*/ 561141 h 6407421"/>
              <a:gd name="connsiteX4099" fmla="*/ 7147456 w 11701760"/>
              <a:gd name="connsiteY4099" fmla="*/ 561141 h 6407421"/>
              <a:gd name="connsiteX4100" fmla="*/ 1300611 w 11701760"/>
              <a:gd name="connsiteY4100" fmla="*/ 531539 h 6407421"/>
              <a:gd name="connsiteX4101" fmla="*/ 1330213 w 11701760"/>
              <a:gd name="connsiteY4101" fmla="*/ 531539 h 6407421"/>
              <a:gd name="connsiteX4102" fmla="*/ 1330213 w 11701760"/>
              <a:gd name="connsiteY4102" fmla="*/ 561141 h 6407421"/>
              <a:gd name="connsiteX4103" fmla="*/ 1300611 w 11701760"/>
              <a:gd name="connsiteY4103" fmla="*/ 561141 h 6407421"/>
              <a:gd name="connsiteX4104" fmla="*/ 6881367 w 11701760"/>
              <a:gd name="connsiteY4104" fmla="*/ 531537 h 6407421"/>
              <a:gd name="connsiteX4105" fmla="*/ 6910970 w 11701760"/>
              <a:gd name="connsiteY4105" fmla="*/ 531537 h 6407421"/>
              <a:gd name="connsiteX4106" fmla="*/ 6910970 w 11701760"/>
              <a:gd name="connsiteY4106" fmla="*/ 561139 h 6407421"/>
              <a:gd name="connsiteX4107" fmla="*/ 6881367 w 11701760"/>
              <a:gd name="connsiteY4107" fmla="*/ 561139 h 6407421"/>
              <a:gd name="connsiteX4108" fmla="*/ 1034520 w 11701760"/>
              <a:gd name="connsiteY4108" fmla="*/ 531537 h 6407421"/>
              <a:gd name="connsiteX4109" fmla="*/ 1064123 w 11701760"/>
              <a:gd name="connsiteY4109" fmla="*/ 531537 h 6407421"/>
              <a:gd name="connsiteX4110" fmla="*/ 1064123 w 11701760"/>
              <a:gd name="connsiteY4110" fmla="*/ 561139 h 6407421"/>
              <a:gd name="connsiteX4111" fmla="*/ 1034520 w 11701760"/>
              <a:gd name="connsiteY4111" fmla="*/ 561139 h 6407421"/>
              <a:gd name="connsiteX4112" fmla="*/ 6615170 w 11701760"/>
              <a:gd name="connsiteY4112" fmla="*/ 531534 h 6407421"/>
              <a:gd name="connsiteX4113" fmla="*/ 6644773 w 11701760"/>
              <a:gd name="connsiteY4113" fmla="*/ 531534 h 6407421"/>
              <a:gd name="connsiteX4114" fmla="*/ 6644773 w 11701760"/>
              <a:gd name="connsiteY4114" fmla="*/ 561137 h 6407421"/>
              <a:gd name="connsiteX4115" fmla="*/ 6615170 w 11701760"/>
              <a:gd name="connsiteY4115" fmla="*/ 561137 h 6407421"/>
              <a:gd name="connsiteX4116" fmla="*/ 768326 w 11701760"/>
              <a:gd name="connsiteY4116" fmla="*/ 531534 h 6407421"/>
              <a:gd name="connsiteX4117" fmla="*/ 797926 w 11701760"/>
              <a:gd name="connsiteY4117" fmla="*/ 531534 h 6407421"/>
              <a:gd name="connsiteX4118" fmla="*/ 797926 w 11701760"/>
              <a:gd name="connsiteY4118" fmla="*/ 561137 h 6407421"/>
              <a:gd name="connsiteX4119" fmla="*/ 768326 w 11701760"/>
              <a:gd name="connsiteY4119" fmla="*/ 561137 h 6407421"/>
              <a:gd name="connsiteX4120" fmla="*/ 6349081 w 11701760"/>
              <a:gd name="connsiteY4120" fmla="*/ 531532 h 6407421"/>
              <a:gd name="connsiteX4121" fmla="*/ 6378683 w 11701760"/>
              <a:gd name="connsiteY4121" fmla="*/ 531532 h 6407421"/>
              <a:gd name="connsiteX4122" fmla="*/ 6378683 w 11701760"/>
              <a:gd name="connsiteY4122" fmla="*/ 561135 h 6407421"/>
              <a:gd name="connsiteX4123" fmla="*/ 6349081 w 11701760"/>
              <a:gd name="connsiteY4123" fmla="*/ 561135 h 6407421"/>
              <a:gd name="connsiteX4124" fmla="*/ 502235 w 11701760"/>
              <a:gd name="connsiteY4124" fmla="*/ 531532 h 6407421"/>
              <a:gd name="connsiteX4125" fmla="*/ 531838 w 11701760"/>
              <a:gd name="connsiteY4125" fmla="*/ 531532 h 6407421"/>
              <a:gd name="connsiteX4126" fmla="*/ 531838 w 11701760"/>
              <a:gd name="connsiteY4126" fmla="*/ 561135 h 6407421"/>
              <a:gd name="connsiteX4127" fmla="*/ 502235 w 11701760"/>
              <a:gd name="connsiteY4127" fmla="*/ 561135 h 6407421"/>
              <a:gd name="connsiteX4128" fmla="*/ 6082884 w 11701760"/>
              <a:gd name="connsiteY4128" fmla="*/ 531530 h 6407421"/>
              <a:gd name="connsiteX4129" fmla="*/ 6112486 w 11701760"/>
              <a:gd name="connsiteY4129" fmla="*/ 531530 h 6407421"/>
              <a:gd name="connsiteX4130" fmla="*/ 6112486 w 11701760"/>
              <a:gd name="connsiteY4130" fmla="*/ 561133 h 6407421"/>
              <a:gd name="connsiteX4131" fmla="*/ 6082884 w 11701760"/>
              <a:gd name="connsiteY4131" fmla="*/ 561133 h 6407421"/>
              <a:gd name="connsiteX4132" fmla="*/ 236036 w 11701760"/>
              <a:gd name="connsiteY4132" fmla="*/ 531530 h 6407421"/>
              <a:gd name="connsiteX4133" fmla="*/ 265639 w 11701760"/>
              <a:gd name="connsiteY4133" fmla="*/ 531530 h 6407421"/>
              <a:gd name="connsiteX4134" fmla="*/ 265639 w 11701760"/>
              <a:gd name="connsiteY4134" fmla="*/ 561133 h 6407421"/>
              <a:gd name="connsiteX4135" fmla="*/ 236036 w 11701760"/>
              <a:gd name="connsiteY4135" fmla="*/ 561133 h 6407421"/>
              <a:gd name="connsiteX4136" fmla="*/ 0 w 11701760"/>
              <a:gd name="connsiteY4136" fmla="*/ 531530 h 6407421"/>
              <a:gd name="connsiteX4137" fmla="*/ 29602 w 11701760"/>
              <a:gd name="connsiteY4137" fmla="*/ 531530 h 6407421"/>
              <a:gd name="connsiteX4138" fmla="*/ 29602 w 11701760"/>
              <a:gd name="connsiteY4138" fmla="*/ 561133 h 6407421"/>
              <a:gd name="connsiteX4139" fmla="*/ 0 w 11701760"/>
              <a:gd name="connsiteY4139" fmla="*/ 561133 h 6407421"/>
              <a:gd name="connsiteX4140" fmla="*/ 11672158 w 11701760"/>
              <a:gd name="connsiteY4140" fmla="*/ 265811 h 6407421"/>
              <a:gd name="connsiteX4141" fmla="*/ 11701760 w 11701760"/>
              <a:gd name="connsiteY4141" fmla="*/ 265811 h 6407421"/>
              <a:gd name="connsiteX4142" fmla="*/ 11701760 w 11701760"/>
              <a:gd name="connsiteY4142" fmla="*/ 295414 h 6407421"/>
              <a:gd name="connsiteX4143" fmla="*/ 11672158 w 11701760"/>
              <a:gd name="connsiteY4143" fmla="*/ 295414 h 6407421"/>
              <a:gd name="connsiteX4144" fmla="*/ 5825310 w 11701760"/>
              <a:gd name="connsiteY4144" fmla="*/ 265811 h 6407421"/>
              <a:gd name="connsiteX4145" fmla="*/ 5854913 w 11701760"/>
              <a:gd name="connsiteY4145" fmla="*/ 265811 h 6407421"/>
              <a:gd name="connsiteX4146" fmla="*/ 5854913 w 11701760"/>
              <a:gd name="connsiteY4146" fmla="*/ 295414 h 6407421"/>
              <a:gd name="connsiteX4147" fmla="*/ 5825310 w 11701760"/>
              <a:gd name="connsiteY4147" fmla="*/ 295414 h 6407421"/>
              <a:gd name="connsiteX4148" fmla="*/ 11405961 w 11701760"/>
              <a:gd name="connsiteY4148" fmla="*/ 265809 h 6407421"/>
              <a:gd name="connsiteX4149" fmla="*/ 11435563 w 11701760"/>
              <a:gd name="connsiteY4149" fmla="*/ 265809 h 6407421"/>
              <a:gd name="connsiteX4150" fmla="*/ 11435563 w 11701760"/>
              <a:gd name="connsiteY4150" fmla="*/ 295412 h 6407421"/>
              <a:gd name="connsiteX4151" fmla="*/ 11405961 w 11701760"/>
              <a:gd name="connsiteY4151" fmla="*/ 295412 h 6407421"/>
              <a:gd name="connsiteX4152" fmla="*/ 5559113 w 11701760"/>
              <a:gd name="connsiteY4152" fmla="*/ 265809 h 6407421"/>
              <a:gd name="connsiteX4153" fmla="*/ 5588715 w 11701760"/>
              <a:gd name="connsiteY4153" fmla="*/ 265809 h 6407421"/>
              <a:gd name="connsiteX4154" fmla="*/ 5588715 w 11701760"/>
              <a:gd name="connsiteY4154" fmla="*/ 295412 h 6407421"/>
              <a:gd name="connsiteX4155" fmla="*/ 5559113 w 11701760"/>
              <a:gd name="connsiteY4155" fmla="*/ 295412 h 6407421"/>
              <a:gd name="connsiteX4156" fmla="*/ 11139872 w 11701760"/>
              <a:gd name="connsiteY4156" fmla="*/ 265807 h 6407421"/>
              <a:gd name="connsiteX4157" fmla="*/ 11169474 w 11701760"/>
              <a:gd name="connsiteY4157" fmla="*/ 265807 h 6407421"/>
              <a:gd name="connsiteX4158" fmla="*/ 11169474 w 11701760"/>
              <a:gd name="connsiteY4158" fmla="*/ 295409 h 6407421"/>
              <a:gd name="connsiteX4159" fmla="*/ 11139872 w 11701760"/>
              <a:gd name="connsiteY4159" fmla="*/ 295409 h 6407421"/>
              <a:gd name="connsiteX4160" fmla="*/ 5293024 w 11701760"/>
              <a:gd name="connsiteY4160" fmla="*/ 265807 h 6407421"/>
              <a:gd name="connsiteX4161" fmla="*/ 5322626 w 11701760"/>
              <a:gd name="connsiteY4161" fmla="*/ 265807 h 6407421"/>
              <a:gd name="connsiteX4162" fmla="*/ 5322626 w 11701760"/>
              <a:gd name="connsiteY4162" fmla="*/ 295409 h 6407421"/>
              <a:gd name="connsiteX4163" fmla="*/ 5293024 w 11701760"/>
              <a:gd name="connsiteY4163" fmla="*/ 295409 h 6407421"/>
              <a:gd name="connsiteX4164" fmla="*/ 10873675 w 11701760"/>
              <a:gd name="connsiteY4164" fmla="*/ 265805 h 6407421"/>
              <a:gd name="connsiteX4165" fmla="*/ 10903277 w 11701760"/>
              <a:gd name="connsiteY4165" fmla="*/ 265805 h 6407421"/>
              <a:gd name="connsiteX4166" fmla="*/ 10903277 w 11701760"/>
              <a:gd name="connsiteY4166" fmla="*/ 295407 h 6407421"/>
              <a:gd name="connsiteX4167" fmla="*/ 10873675 w 11701760"/>
              <a:gd name="connsiteY4167" fmla="*/ 295407 h 6407421"/>
              <a:gd name="connsiteX4168" fmla="*/ 5026827 w 11701760"/>
              <a:gd name="connsiteY4168" fmla="*/ 265805 h 6407421"/>
              <a:gd name="connsiteX4169" fmla="*/ 5056429 w 11701760"/>
              <a:gd name="connsiteY4169" fmla="*/ 265805 h 6407421"/>
              <a:gd name="connsiteX4170" fmla="*/ 5056429 w 11701760"/>
              <a:gd name="connsiteY4170" fmla="*/ 295407 h 6407421"/>
              <a:gd name="connsiteX4171" fmla="*/ 5026827 w 11701760"/>
              <a:gd name="connsiteY4171" fmla="*/ 295407 h 6407421"/>
              <a:gd name="connsiteX4172" fmla="*/ 10607478 w 11701760"/>
              <a:gd name="connsiteY4172" fmla="*/ 265803 h 6407421"/>
              <a:gd name="connsiteX4173" fmla="*/ 10637188 w 11701760"/>
              <a:gd name="connsiteY4173" fmla="*/ 265803 h 6407421"/>
              <a:gd name="connsiteX4174" fmla="*/ 10637188 w 11701760"/>
              <a:gd name="connsiteY4174" fmla="*/ 295405 h 6407421"/>
              <a:gd name="connsiteX4175" fmla="*/ 10607478 w 11701760"/>
              <a:gd name="connsiteY4175" fmla="*/ 295405 h 6407421"/>
              <a:gd name="connsiteX4176" fmla="*/ 4760630 w 11701760"/>
              <a:gd name="connsiteY4176" fmla="*/ 265803 h 6407421"/>
              <a:gd name="connsiteX4177" fmla="*/ 4790340 w 11701760"/>
              <a:gd name="connsiteY4177" fmla="*/ 265803 h 6407421"/>
              <a:gd name="connsiteX4178" fmla="*/ 4790340 w 11701760"/>
              <a:gd name="connsiteY4178" fmla="*/ 295405 h 6407421"/>
              <a:gd name="connsiteX4179" fmla="*/ 4760630 w 11701760"/>
              <a:gd name="connsiteY4179" fmla="*/ 295405 h 6407421"/>
              <a:gd name="connsiteX4180" fmla="*/ 10341389 w 11701760"/>
              <a:gd name="connsiteY4180" fmla="*/ 265800 h 6407421"/>
              <a:gd name="connsiteX4181" fmla="*/ 10370992 w 11701760"/>
              <a:gd name="connsiteY4181" fmla="*/ 265800 h 6407421"/>
              <a:gd name="connsiteX4182" fmla="*/ 10370992 w 11701760"/>
              <a:gd name="connsiteY4182" fmla="*/ 295403 h 6407421"/>
              <a:gd name="connsiteX4183" fmla="*/ 10341389 w 11701760"/>
              <a:gd name="connsiteY4183" fmla="*/ 295403 h 6407421"/>
              <a:gd name="connsiteX4184" fmla="*/ 4494541 w 11701760"/>
              <a:gd name="connsiteY4184" fmla="*/ 265800 h 6407421"/>
              <a:gd name="connsiteX4185" fmla="*/ 4524144 w 11701760"/>
              <a:gd name="connsiteY4185" fmla="*/ 265800 h 6407421"/>
              <a:gd name="connsiteX4186" fmla="*/ 4524144 w 11701760"/>
              <a:gd name="connsiteY4186" fmla="*/ 295403 h 6407421"/>
              <a:gd name="connsiteX4187" fmla="*/ 4494541 w 11701760"/>
              <a:gd name="connsiteY4187" fmla="*/ 295403 h 6407421"/>
              <a:gd name="connsiteX4188" fmla="*/ 10075192 w 11701760"/>
              <a:gd name="connsiteY4188" fmla="*/ 265798 h 6407421"/>
              <a:gd name="connsiteX4189" fmla="*/ 10104794 w 11701760"/>
              <a:gd name="connsiteY4189" fmla="*/ 265798 h 6407421"/>
              <a:gd name="connsiteX4190" fmla="*/ 10104794 w 11701760"/>
              <a:gd name="connsiteY4190" fmla="*/ 295401 h 6407421"/>
              <a:gd name="connsiteX4191" fmla="*/ 10075192 w 11701760"/>
              <a:gd name="connsiteY4191" fmla="*/ 295401 h 6407421"/>
              <a:gd name="connsiteX4192" fmla="*/ 4228344 w 11701760"/>
              <a:gd name="connsiteY4192" fmla="*/ 265798 h 6407421"/>
              <a:gd name="connsiteX4193" fmla="*/ 4257946 w 11701760"/>
              <a:gd name="connsiteY4193" fmla="*/ 265798 h 6407421"/>
              <a:gd name="connsiteX4194" fmla="*/ 4257946 w 11701760"/>
              <a:gd name="connsiteY4194" fmla="*/ 295401 h 6407421"/>
              <a:gd name="connsiteX4195" fmla="*/ 4228344 w 11701760"/>
              <a:gd name="connsiteY4195" fmla="*/ 295401 h 6407421"/>
              <a:gd name="connsiteX4196" fmla="*/ 9809103 w 11701760"/>
              <a:gd name="connsiteY4196" fmla="*/ 265796 h 6407421"/>
              <a:gd name="connsiteX4197" fmla="*/ 9838705 w 11701760"/>
              <a:gd name="connsiteY4197" fmla="*/ 265796 h 6407421"/>
              <a:gd name="connsiteX4198" fmla="*/ 9838705 w 11701760"/>
              <a:gd name="connsiteY4198" fmla="*/ 295398 h 6407421"/>
              <a:gd name="connsiteX4199" fmla="*/ 9809103 w 11701760"/>
              <a:gd name="connsiteY4199" fmla="*/ 295398 h 6407421"/>
              <a:gd name="connsiteX4200" fmla="*/ 3962255 w 11701760"/>
              <a:gd name="connsiteY4200" fmla="*/ 265796 h 6407421"/>
              <a:gd name="connsiteX4201" fmla="*/ 3991857 w 11701760"/>
              <a:gd name="connsiteY4201" fmla="*/ 265796 h 6407421"/>
              <a:gd name="connsiteX4202" fmla="*/ 3991857 w 11701760"/>
              <a:gd name="connsiteY4202" fmla="*/ 295398 h 6407421"/>
              <a:gd name="connsiteX4203" fmla="*/ 3962255 w 11701760"/>
              <a:gd name="connsiteY4203" fmla="*/ 295398 h 6407421"/>
              <a:gd name="connsiteX4204" fmla="*/ 9542906 w 11701760"/>
              <a:gd name="connsiteY4204" fmla="*/ 265794 h 6407421"/>
              <a:gd name="connsiteX4205" fmla="*/ 9572509 w 11701760"/>
              <a:gd name="connsiteY4205" fmla="*/ 265794 h 6407421"/>
              <a:gd name="connsiteX4206" fmla="*/ 9572509 w 11701760"/>
              <a:gd name="connsiteY4206" fmla="*/ 295396 h 6407421"/>
              <a:gd name="connsiteX4207" fmla="*/ 9542906 w 11701760"/>
              <a:gd name="connsiteY4207" fmla="*/ 295396 h 6407421"/>
              <a:gd name="connsiteX4208" fmla="*/ 3696058 w 11701760"/>
              <a:gd name="connsiteY4208" fmla="*/ 265794 h 6407421"/>
              <a:gd name="connsiteX4209" fmla="*/ 3725661 w 11701760"/>
              <a:gd name="connsiteY4209" fmla="*/ 265794 h 6407421"/>
              <a:gd name="connsiteX4210" fmla="*/ 3725661 w 11701760"/>
              <a:gd name="connsiteY4210" fmla="*/ 295396 h 6407421"/>
              <a:gd name="connsiteX4211" fmla="*/ 3696058 w 11701760"/>
              <a:gd name="connsiteY4211" fmla="*/ 295396 h 6407421"/>
              <a:gd name="connsiteX4212" fmla="*/ 9276817 w 11701760"/>
              <a:gd name="connsiteY4212" fmla="*/ 265792 h 6407421"/>
              <a:gd name="connsiteX4213" fmla="*/ 9306420 w 11701760"/>
              <a:gd name="connsiteY4213" fmla="*/ 265792 h 6407421"/>
              <a:gd name="connsiteX4214" fmla="*/ 9306420 w 11701760"/>
              <a:gd name="connsiteY4214" fmla="*/ 295394 h 6407421"/>
              <a:gd name="connsiteX4215" fmla="*/ 9276817 w 11701760"/>
              <a:gd name="connsiteY4215" fmla="*/ 295394 h 6407421"/>
              <a:gd name="connsiteX4216" fmla="*/ 3429969 w 11701760"/>
              <a:gd name="connsiteY4216" fmla="*/ 265792 h 6407421"/>
              <a:gd name="connsiteX4217" fmla="*/ 3459572 w 11701760"/>
              <a:gd name="connsiteY4217" fmla="*/ 265792 h 6407421"/>
              <a:gd name="connsiteX4218" fmla="*/ 3459572 w 11701760"/>
              <a:gd name="connsiteY4218" fmla="*/ 295394 h 6407421"/>
              <a:gd name="connsiteX4219" fmla="*/ 3429969 w 11701760"/>
              <a:gd name="connsiteY4219" fmla="*/ 295394 h 6407421"/>
              <a:gd name="connsiteX4220" fmla="*/ 9010620 w 11701760"/>
              <a:gd name="connsiteY4220" fmla="*/ 265789 h 6407421"/>
              <a:gd name="connsiteX4221" fmla="*/ 9040222 w 11701760"/>
              <a:gd name="connsiteY4221" fmla="*/ 265789 h 6407421"/>
              <a:gd name="connsiteX4222" fmla="*/ 9040222 w 11701760"/>
              <a:gd name="connsiteY4222" fmla="*/ 295392 h 6407421"/>
              <a:gd name="connsiteX4223" fmla="*/ 9010620 w 11701760"/>
              <a:gd name="connsiteY4223" fmla="*/ 295392 h 6407421"/>
              <a:gd name="connsiteX4224" fmla="*/ 3163772 w 11701760"/>
              <a:gd name="connsiteY4224" fmla="*/ 265789 h 6407421"/>
              <a:gd name="connsiteX4225" fmla="*/ 3193374 w 11701760"/>
              <a:gd name="connsiteY4225" fmla="*/ 265789 h 6407421"/>
              <a:gd name="connsiteX4226" fmla="*/ 3193374 w 11701760"/>
              <a:gd name="connsiteY4226" fmla="*/ 295392 h 6407421"/>
              <a:gd name="connsiteX4227" fmla="*/ 3163772 w 11701760"/>
              <a:gd name="connsiteY4227" fmla="*/ 295392 h 6407421"/>
              <a:gd name="connsiteX4228" fmla="*/ 8744423 w 11701760"/>
              <a:gd name="connsiteY4228" fmla="*/ 265787 h 6407421"/>
              <a:gd name="connsiteX4229" fmla="*/ 8774026 w 11701760"/>
              <a:gd name="connsiteY4229" fmla="*/ 265787 h 6407421"/>
              <a:gd name="connsiteX4230" fmla="*/ 8774026 w 11701760"/>
              <a:gd name="connsiteY4230" fmla="*/ 295390 h 6407421"/>
              <a:gd name="connsiteX4231" fmla="*/ 8744423 w 11701760"/>
              <a:gd name="connsiteY4231" fmla="*/ 295390 h 6407421"/>
              <a:gd name="connsiteX4232" fmla="*/ 2897575 w 11701760"/>
              <a:gd name="connsiteY4232" fmla="*/ 265787 h 6407421"/>
              <a:gd name="connsiteX4233" fmla="*/ 2927178 w 11701760"/>
              <a:gd name="connsiteY4233" fmla="*/ 265787 h 6407421"/>
              <a:gd name="connsiteX4234" fmla="*/ 2927178 w 11701760"/>
              <a:gd name="connsiteY4234" fmla="*/ 295390 h 6407421"/>
              <a:gd name="connsiteX4235" fmla="*/ 2897575 w 11701760"/>
              <a:gd name="connsiteY4235" fmla="*/ 295390 h 6407421"/>
              <a:gd name="connsiteX4236" fmla="*/ 8478226 w 11701760"/>
              <a:gd name="connsiteY4236" fmla="*/ 265785 h 6407421"/>
              <a:gd name="connsiteX4237" fmla="*/ 8507828 w 11701760"/>
              <a:gd name="connsiteY4237" fmla="*/ 265785 h 6407421"/>
              <a:gd name="connsiteX4238" fmla="*/ 8507828 w 11701760"/>
              <a:gd name="connsiteY4238" fmla="*/ 295387 h 6407421"/>
              <a:gd name="connsiteX4239" fmla="*/ 8478226 w 11701760"/>
              <a:gd name="connsiteY4239" fmla="*/ 295387 h 6407421"/>
              <a:gd name="connsiteX4240" fmla="*/ 2631378 w 11701760"/>
              <a:gd name="connsiteY4240" fmla="*/ 265785 h 6407421"/>
              <a:gd name="connsiteX4241" fmla="*/ 2660980 w 11701760"/>
              <a:gd name="connsiteY4241" fmla="*/ 265785 h 6407421"/>
              <a:gd name="connsiteX4242" fmla="*/ 2660980 w 11701760"/>
              <a:gd name="connsiteY4242" fmla="*/ 295387 h 6407421"/>
              <a:gd name="connsiteX4243" fmla="*/ 2631378 w 11701760"/>
              <a:gd name="connsiteY4243" fmla="*/ 295387 h 6407421"/>
              <a:gd name="connsiteX4244" fmla="*/ 8212137 w 11701760"/>
              <a:gd name="connsiteY4244" fmla="*/ 265783 h 6407421"/>
              <a:gd name="connsiteX4245" fmla="*/ 8241740 w 11701760"/>
              <a:gd name="connsiteY4245" fmla="*/ 265783 h 6407421"/>
              <a:gd name="connsiteX4246" fmla="*/ 8241740 w 11701760"/>
              <a:gd name="connsiteY4246" fmla="*/ 295385 h 6407421"/>
              <a:gd name="connsiteX4247" fmla="*/ 8212137 w 11701760"/>
              <a:gd name="connsiteY4247" fmla="*/ 295385 h 6407421"/>
              <a:gd name="connsiteX4248" fmla="*/ 2365289 w 11701760"/>
              <a:gd name="connsiteY4248" fmla="*/ 265783 h 6407421"/>
              <a:gd name="connsiteX4249" fmla="*/ 2394892 w 11701760"/>
              <a:gd name="connsiteY4249" fmla="*/ 265783 h 6407421"/>
              <a:gd name="connsiteX4250" fmla="*/ 2394892 w 11701760"/>
              <a:gd name="connsiteY4250" fmla="*/ 295385 h 6407421"/>
              <a:gd name="connsiteX4251" fmla="*/ 2365289 w 11701760"/>
              <a:gd name="connsiteY4251" fmla="*/ 295385 h 6407421"/>
              <a:gd name="connsiteX4252" fmla="*/ 7945940 w 11701760"/>
              <a:gd name="connsiteY4252" fmla="*/ 265781 h 6407421"/>
              <a:gd name="connsiteX4253" fmla="*/ 7975543 w 11701760"/>
              <a:gd name="connsiteY4253" fmla="*/ 265781 h 6407421"/>
              <a:gd name="connsiteX4254" fmla="*/ 7975543 w 11701760"/>
              <a:gd name="connsiteY4254" fmla="*/ 295383 h 6407421"/>
              <a:gd name="connsiteX4255" fmla="*/ 7945940 w 11701760"/>
              <a:gd name="connsiteY4255" fmla="*/ 295383 h 6407421"/>
              <a:gd name="connsiteX4256" fmla="*/ 2099092 w 11701760"/>
              <a:gd name="connsiteY4256" fmla="*/ 265781 h 6407421"/>
              <a:gd name="connsiteX4257" fmla="*/ 2128695 w 11701760"/>
              <a:gd name="connsiteY4257" fmla="*/ 265781 h 6407421"/>
              <a:gd name="connsiteX4258" fmla="*/ 2128695 w 11701760"/>
              <a:gd name="connsiteY4258" fmla="*/ 295383 h 6407421"/>
              <a:gd name="connsiteX4259" fmla="*/ 2099092 w 11701760"/>
              <a:gd name="connsiteY4259" fmla="*/ 295383 h 6407421"/>
              <a:gd name="connsiteX4260" fmla="*/ 7679743 w 11701760"/>
              <a:gd name="connsiteY4260" fmla="*/ 265778 h 6407421"/>
              <a:gd name="connsiteX4261" fmla="*/ 7709346 w 11701760"/>
              <a:gd name="connsiteY4261" fmla="*/ 265778 h 6407421"/>
              <a:gd name="connsiteX4262" fmla="*/ 7709346 w 11701760"/>
              <a:gd name="connsiteY4262" fmla="*/ 295381 h 6407421"/>
              <a:gd name="connsiteX4263" fmla="*/ 7679743 w 11701760"/>
              <a:gd name="connsiteY4263" fmla="*/ 295381 h 6407421"/>
              <a:gd name="connsiteX4264" fmla="*/ 1832898 w 11701760"/>
              <a:gd name="connsiteY4264" fmla="*/ 265778 h 6407421"/>
              <a:gd name="connsiteX4265" fmla="*/ 1862498 w 11701760"/>
              <a:gd name="connsiteY4265" fmla="*/ 265778 h 6407421"/>
              <a:gd name="connsiteX4266" fmla="*/ 1862498 w 11701760"/>
              <a:gd name="connsiteY4266" fmla="*/ 295381 h 6407421"/>
              <a:gd name="connsiteX4267" fmla="*/ 1832898 w 11701760"/>
              <a:gd name="connsiteY4267" fmla="*/ 295381 h 6407421"/>
              <a:gd name="connsiteX4268" fmla="*/ 7413653 w 11701760"/>
              <a:gd name="connsiteY4268" fmla="*/ 265776 h 6407421"/>
              <a:gd name="connsiteX4269" fmla="*/ 7443256 w 11701760"/>
              <a:gd name="connsiteY4269" fmla="*/ 265776 h 6407421"/>
              <a:gd name="connsiteX4270" fmla="*/ 7443256 w 11701760"/>
              <a:gd name="connsiteY4270" fmla="*/ 295379 h 6407421"/>
              <a:gd name="connsiteX4271" fmla="*/ 7413653 w 11701760"/>
              <a:gd name="connsiteY4271" fmla="*/ 295379 h 6407421"/>
              <a:gd name="connsiteX4272" fmla="*/ 1566808 w 11701760"/>
              <a:gd name="connsiteY4272" fmla="*/ 265776 h 6407421"/>
              <a:gd name="connsiteX4273" fmla="*/ 1596409 w 11701760"/>
              <a:gd name="connsiteY4273" fmla="*/ 265776 h 6407421"/>
              <a:gd name="connsiteX4274" fmla="*/ 1596409 w 11701760"/>
              <a:gd name="connsiteY4274" fmla="*/ 295379 h 6407421"/>
              <a:gd name="connsiteX4275" fmla="*/ 1566808 w 11701760"/>
              <a:gd name="connsiteY4275" fmla="*/ 295379 h 6407421"/>
              <a:gd name="connsiteX4276" fmla="*/ 7147456 w 11701760"/>
              <a:gd name="connsiteY4276" fmla="*/ 265774 h 6407421"/>
              <a:gd name="connsiteX4277" fmla="*/ 7177058 w 11701760"/>
              <a:gd name="connsiteY4277" fmla="*/ 265774 h 6407421"/>
              <a:gd name="connsiteX4278" fmla="*/ 7177058 w 11701760"/>
              <a:gd name="connsiteY4278" fmla="*/ 295376 h 6407421"/>
              <a:gd name="connsiteX4279" fmla="*/ 7147456 w 11701760"/>
              <a:gd name="connsiteY4279" fmla="*/ 295376 h 6407421"/>
              <a:gd name="connsiteX4280" fmla="*/ 1300611 w 11701760"/>
              <a:gd name="connsiteY4280" fmla="*/ 265774 h 6407421"/>
              <a:gd name="connsiteX4281" fmla="*/ 1330213 w 11701760"/>
              <a:gd name="connsiteY4281" fmla="*/ 265774 h 6407421"/>
              <a:gd name="connsiteX4282" fmla="*/ 1330213 w 11701760"/>
              <a:gd name="connsiteY4282" fmla="*/ 295376 h 6407421"/>
              <a:gd name="connsiteX4283" fmla="*/ 1300611 w 11701760"/>
              <a:gd name="connsiteY4283" fmla="*/ 295376 h 6407421"/>
              <a:gd name="connsiteX4284" fmla="*/ 6881367 w 11701760"/>
              <a:gd name="connsiteY4284" fmla="*/ 265772 h 6407421"/>
              <a:gd name="connsiteX4285" fmla="*/ 6910970 w 11701760"/>
              <a:gd name="connsiteY4285" fmla="*/ 265772 h 6407421"/>
              <a:gd name="connsiteX4286" fmla="*/ 6910970 w 11701760"/>
              <a:gd name="connsiteY4286" fmla="*/ 295374 h 6407421"/>
              <a:gd name="connsiteX4287" fmla="*/ 6881367 w 11701760"/>
              <a:gd name="connsiteY4287" fmla="*/ 295374 h 6407421"/>
              <a:gd name="connsiteX4288" fmla="*/ 1034520 w 11701760"/>
              <a:gd name="connsiteY4288" fmla="*/ 265772 h 6407421"/>
              <a:gd name="connsiteX4289" fmla="*/ 1064123 w 11701760"/>
              <a:gd name="connsiteY4289" fmla="*/ 265772 h 6407421"/>
              <a:gd name="connsiteX4290" fmla="*/ 1064123 w 11701760"/>
              <a:gd name="connsiteY4290" fmla="*/ 295374 h 6407421"/>
              <a:gd name="connsiteX4291" fmla="*/ 1034520 w 11701760"/>
              <a:gd name="connsiteY4291" fmla="*/ 295374 h 6407421"/>
              <a:gd name="connsiteX4292" fmla="*/ 6615170 w 11701760"/>
              <a:gd name="connsiteY4292" fmla="*/ 265770 h 6407421"/>
              <a:gd name="connsiteX4293" fmla="*/ 6644773 w 11701760"/>
              <a:gd name="connsiteY4293" fmla="*/ 265770 h 6407421"/>
              <a:gd name="connsiteX4294" fmla="*/ 6644773 w 11701760"/>
              <a:gd name="connsiteY4294" fmla="*/ 295372 h 6407421"/>
              <a:gd name="connsiteX4295" fmla="*/ 6615170 w 11701760"/>
              <a:gd name="connsiteY4295" fmla="*/ 295372 h 6407421"/>
              <a:gd name="connsiteX4296" fmla="*/ 768326 w 11701760"/>
              <a:gd name="connsiteY4296" fmla="*/ 265770 h 6407421"/>
              <a:gd name="connsiteX4297" fmla="*/ 797926 w 11701760"/>
              <a:gd name="connsiteY4297" fmla="*/ 265770 h 6407421"/>
              <a:gd name="connsiteX4298" fmla="*/ 797926 w 11701760"/>
              <a:gd name="connsiteY4298" fmla="*/ 295372 h 6407421"/>
              <a:gd name="connsiteX4299" fmla="*/ 768326 w 11701760"/>
              <a:gd name="connsiteY4299" fmla="*/ 295372 h 6407421"/>
              <a:gd name="connsiteX4300" fmla="*/ 6349081 w 11701760"/>
              <a:gd name="connsiteY4300" fmla="*/ 265767 h 6407421"/>
              <a:gd name="connsiteX4301" fmla="*/ 6378683 w 11701760"/>
              <a:gd name="connsiteY4301" fmla="*/ 265767 h 6407421"/>
              <a:gd name="connsiteX4302" fmla="*/ 6378683 w 11701760"/>
              <a:gd name="connsiteY4302" fmla="*/ 295370 h 6407421"/>
              <a:gd name="connsiteX4303" fmla="*/ 6349081 w 11701760"/>
              <a:gd name="connsiteY4303" fmla="*/ 295370 h 6407421"/>
              <a:gd name="connsiteX4304" fmla="*/ 502235 w 11701760"/>
              <a:gd name="connsiteY4304" fmla="*/ 265767 h 6407421"/>
              <a:gd name="connsiteX4305" fmla="*/ 531838 w 11701760"/>
              <a:gd name="connsiteY4305" fmla="*/ 265767 h 6407421"/>
              <a:gd name="connsiteX4306" fmla="*/ 531838 w 11701760"/>
              <a:gd name="connsiteY4306" fmla="*/ 295370 h 6407421"/>
              <a:gd name="connsiteX4307" fmla="*/ 502235 w 11701760"/>
              <a:gd name="connsiteY4307" fmla="*/ 295370 h 6407421"/>
              <a:gd name="connsiteX4308" fmla="*/ 6082884 w 11701760"/>
              <a:gd name="connsiteY4308" fmla="*/ 265765 h 6407421"/>
              <a:gd name="connsiteX4309" fmla="*/ 6112486 w 11701760"/>
              <a:gd name="connsiteY4309" fmla="*/ 265765 h 6407421"/>
              <a:gd name="connsiteX4310" fmla="*/ 6112486 w 11701760"/>
              <a:gd name="connsiteY4310" fmla="*/ 295368 h 6407421"/>
              <a:gd name="connsiteX4311" fmla="*/ 6082884 w 11701760"/>
              <a:gd name="connsiteY4311" fmla="*/ 295368 h 6407421"/>
              <a:gd name="connsiteX4312" fmla="*/ 236036 w 11701760"/>
              <a:gd name="connsiteY4312" fmla="*/ 265765 h 6407421"/>
              <a:gd name="connsiteX4313" fmla="*/ 265639 w 11701760"/>
              <a:gd name="connsiteY4313" fmla="*/ 265765 h 6407421"/>
              <a:gd name="connsiteX4314" fmla="*/ 265639 w 11701760"/>
              <a:gd name="connsiteY4314" fmla="*/ 295368 h 6407421"/>
              <a:gd name="connsiteX4315" fmla="*/ 236036 w 11701760"/>
              <a:gd name="connsiteY4315" fmla="*/ 295368 h 6407421"/>
              <a:gd name="connsiteX4316" fmla="*/ 0 w 11701760"/>
              <a:gd name="connsiteY4316" fmla="*/ 265765 h 6407421"/>
              <a:gd name="connsiteX4317" fmla="*/ 29602 w 11701760"/>
              <a:gd name="connsiteY4317" fmla="*/ 265765 h 6407421"/>
              <a:gd name="connsiteX4318" fmla="*/ 29602 w 11701760"/>
              <a:gd name="connsiteY4318" fmla="*/ 295368 h 6407421"/>
              <a:gd name="connsiteX4319" fmla="*/ 0 w 11701760"/>
              <a:gd name="connsiteY4319" fmla="*/ 295368 h 6407421"/>
              <a:gd name="connsiteX4320" fmla="*/ 11672158 w 11701760"/>
              <a:gd name="connsiteY4320" fmla="*/ 48 h 6407421"/>
              <a:gd name="connsiteX4321" fmla="*/ 11701760 w 11701760"/>
              <a:gd name="connsiteY4321" fmla="*/ 48 h 6407421"/>
              <a:gd name="connsiteX4322" fmla="*/ 11701760 w 11701760"/>
              <a:gd name="connsiteY4322" fmla="*/ 29651 h 6407421"/>
              <a:gd name="connsiteX4323" fmla="*/ 11672158 w 11701760"/>
              <a:gd name="connsiteY4323" fmla="*/ 29651 h 6407421"/>
              <a:gd name="connsiteX4324" fmla="*/ 5825310 w 11701760"/>
              <a:gd name="connsiteY4324" fmla="*/ 48 h 6407421"/>
              <a:gd name="connsiteX4325" fmla="*/ 5854913 w 11701760"/>
              <a:gd name="connsiteY4325" fmla="*/ 48 h 6407421"/>
              <a:gd name="connsiteX4326" fmla="*/ 5854913 w 11701760"/>
              <a:gd name="connsiteY4326" fmla="*/ 29651 h 6407421"/>
              <a:gd name="connsiteX4327" fmla="*/ 5825310 w 11701760"/>
              <a:gd name="connsiteY4327" fmla="*/ 29651 h 6407421"/>
              <a:gd name="connsiteX4328" fmla="*/ 11405961 w 11701760"/>
              <a:gd name="connsiteY4328" fmla="*/ 46 h 6407421"/>
              <a:gd name="connsiteX4329" fmla="*/ 11435563 w 11701760"/>
              <a:gd name="connsiteY4329" fmla="*/ 46 h 6407421"/>
              <a:gd name="connsiteX4330" fmla="*/ 11435563 w 11701760"/>
              <a:gd name="connsiteY4330" fmla="*/ 29648 h 6407421"/>
              <a:gd name="connsiteX4331" fmla="*/ 11405961 w 11701760"/>
              <a:gd name="connsiteY4331" fmla="*/ 29648 h 6407421"/>
              <a:gd name="connsiteX4332" fmla="*/ 5559113 w 11701760"/>
              <a:gd name="connsiteY4332" fmla="*/ 46 h 6407421"/>
              <a:gd name="connsiteX4333" fmla="*/ 5588715 w 11701760"/>
              <a:gd name="connsiteY4333" fmla="*/ 46 h 6407421"/>
              <a:gd name="connsiteX4334" fmla="*/ 5588715 w 11701760"/>
              <a:gd name="connsiteY4334" fmla="*/ 29648 h 6407421"/>
              <a:gd name="connsiteX4335" fmla="*/ 5559113 w 11701760"/>
              <a:gd name="connsiteY4335" fmla="*/ 29648 h 6407421"/>
              <a:gd name="connsiteX4336" fmla="*/ 11139872 w 11701760"/>
              <a:gd name="connsiteY4336" fmla="*/ 44 h 6407421"/>
              <a:gd name="connsiteX4337" fmla="*/ 11169474 w 11701760"/>
              <a:gd name="connsiteY4337" fmla="*/ 44 h 6407421"/>
              <a:gd name="connsiteX4338" fmla="*/ 11169474 w 11701760"/>
              <a:gd name="connsiteY4338" fmla="*/ 29646 h 6407421"/>
              <a:gd name="connsiteX4339" fmla="*/ 11139872 w 11701760"/>
              <a:gd name="connsiteY4339" fmla="*/ 29646 h 6407421"/>
              <a:gd name="connsiteX4340" fmla="*/ 5293024 w 11701760"/>
              <a:gd name="connsiteY4340" fmla="*/ 44 h 6407421"/>
              <a:gd name="connsiteX4341" fmla="*/ 5322626 w 11701760"/>
              <a:gd name="connsiteY4341" fmla="*/ 44 h 6407421"/>
              <a:gd name="connsiteX4342" fmla="*/ 5322626 w 11701760"/>
              <a:gd name="connsiteY4342" fmla="*/ 29646 h 6407421"/>
              <a:gd name="connsiteX4343" fmla="*/ 5293024 w 11701760"/>
              <a:gd name="connsiteY4343" fmla="*/ 29646 h 6407421"/>
              <a:gd name="connsiteX4344" fmla="*/ 10873675 w 11701760"/>
              <a:gd name="connsiteY4344" fmla="*/ 41 h 6407421"/>
              <a:gd name="connsiteX4345" fmla="*/ 10903277 w 11701760"/>
              <a:gd name="connsiteY4345" fmla="*/ 41 h 6407421"/>
              <a:gd name="connsiteX4346" fmla="*/ 10903277 w 11701760"/>
              <a:gd name="connsiteY4346" fmla="*/ 29644 h 6407421"/>
              <a:gd name="connsiteX4347" fmla="*/ 10873675 w 11701760"/>
              <a:gd name="connsiteY4347" fmla="*/ 29644 h 6407421"/>
              <a:gd name="connsiteX4348" fmla="*/ 5026827 w 11701760"/>
              <a:gd name="connsiteY4348" fmla="*/ 41 h 6407421"/>
              <a:gd name="connsiteX4349" fmla="*/ 5056429 w 11701760"/>
              <a:gd name="connsiteY4349" fmla="*/ 41 h 6407421"/>
              <a:gd name="connsiteX4350" fmla="*/ 5056429 w 11701760"/>
              <a:gd name="connsiteY4350" fmla="*/ 29644 h 6407421"/>
              <a:gd name="connsiteX4351" fmla="*/ 5026827 w 11701760"/>
              <a:gd name="connsiteY4351" fmla="*/ 29644 h 6407421"/>
              <a:gd name="connsiteX4352" fmla="*/ 10607478 w 11701760"/>
              <a:gd name="connsiteY4352" fmla="*/ 39 h 6407421"/>
              <a:gd name="connsiteX4353" fmla="*/ 10637188 w 11701760"/>
              <a:gd name="connsiteY4353" fmla="*/ 39 h 6407421"/>
              <a:gd name="connsiteX4354" fmla="*/ 10637188 w 11701760"/>
              <a:gd name="connsiteY4354" fmla="*/ 29641 h 6407421"/>
              <a:gd name="connsiteX4355" fmla="*/ 10607478 w 11701760"/>
              <a:gd name="connsiteY4355" fmla="*/ 29641 h 6407421"/>
              <a:gd name="connsiteX4356" fmla="*/ 4760630 w 11701760"/>
              <a:gd name="connsiteY4356" fmla="*/ 39 h 6407421"/>
              <a:gd name="connsiteX4357" fmla="*/ 4790340 w 11701760"/>
              <a:gd name="connsiteY4357" fmla="*/ 39 h 6407421"/>
              <a:gd name="connsiteX4358" fmla="*/ 4790340 w 11701760"/>
              <a:gd name="connsiteY4358" fmla="*/ 29641 h 6407421"/>
              <a:gd name="connsiteX4359" fmla="*/ 4760630 w 11701760"/>
              <a:gd name="connsiteY4359" fmla="*/ 29641 h 6407421"/>
              <a:gd name="connsiteX4360" fmla="*/ 10341389 w 11701760"/>
              <a:gd name="connsiteY4360" fmla="*/ 37 h 6407421"/>
              <a:gd name="connsiteX4361" fmla="*/ 10370992 w 11701760"/>
              <a:gd name="connsiteY4361" fmla="*/ 37 h 6407421"/>
              <a:gd name="connsiteX4362" fmla="*/ 10370992 w 11701760"/>
              <a:gd name="connsiteY4362" fmla="*/ 29639 h 6407421"/>
              <a:gd name="connsiteX4363" fmla="*/ 10341389 w 11701760"/>
              <a:gd name="connsiteY4363" fmla="*/ 29639 h 6407421"/>
              <a:gd name="connsiteX4364" fmla="*/ 4494541 w 11701760"/>
              <a:gd name="connsiteY4364" fmla="*/ 37 h 6407421"/>
              <a:gd name="connsiteX4365" fmla="*/ 4524144 w 11701760"/>
              <a:gd name="connsiteY4365" fmla="*/ 37 h 6407421"/>
              <a:gd name="connsiteX4366" fmla="*/ 4524144 w 11701760"/>
              <a:gd name="connsiteY4366" fmla="*/ 29639 h 6407421"/>
              <a:gd name="connsiteX4367" fmla="*/ 4494541 w 11701760"/>
              <a:gd name="connsiteY4367" fmla="*/ 29639 h 6407421"/>
              <a:gd name="connsiteX4368" fmla="*/ 10075192 w 11701760"/>
              <a:gd name="connsiteY4368" fmla="*/ 34 h 6407421"/>
              <a:gd name="connsiteX4369" fmla="*/ 10104794 w 11701760"/>
              <a:gd name="connsiteY4369" fmla="*/ 34 h 6407421"/>
              <a:gd name="connsiteX4370" fmla="*/ 10104794 w 11701760"/>
              <a:gd name="connsiteY4370" fmla="*/ 29637 h 6407421"/>
              <a:gd name="connsiteX4371" fmla="*/ 10075192 w 11701760"/>
              <a:gd name="connsiteY4371" fmla="*/ 29637 h 6407421"/>
              <a:gd name="connsiteX4372" fmla="*/ 4228344 w 11701760"/>
              <a:gd name="connsiteY4372" fmla="*/ 34 h 6407421"/>
              <a:gd name="connsiteX4373" fmla="*/ 4257946 w 11701760"/>
              <a:gd name="connsiteY4373" fmla="*/ 34 h 6407421"/>
              <a:gd name="connsiteX4374" fmla="*/ 4257946 w 11701760"/>
              <a:gd name="connsiteY4374" fmla="*/ 29637 h 6407421"/>
              <a:gd name="connsiteX4375" fmla="*/ 4228344 w 11701760"/>
              <a:gd name="connsiteY4375" fmla="*/ 29637 h 6407421"/>
              <a:gd name="connsiteX4376" fmla="*/ 9809103 w 11701760"/>
              <a:gd name="connsiteY4376" fmla="*/ 32 h 6407421"/>
              <a:gd name="connsiteX4377" fmla="*/ 9838705 w 11701760"/>
              <a:gd name="connsiteY4377" fmla="*/ 32 h 6407421"/>
              <a:gd name="connsiteX4378" fmla="*/ 9838705 w 11701760"/>
              <a:gd name="connsiteY4378" fmla="*/ 29635 h 6407421"/>
              <a:gd name="connsiteX4379" fmla="*/ 9809103 w 11701760"/>
              <a:gd name="connsiteY4379" fmla="*/ 29635 h 6407421"/>
              <a:gd name="connsiteX4380" fmla="*/ 3962255 w 11701760"/>
              <a:gd name="connsiteY4380" fmla="*/ 32 h 6407421"/>
              <a:gd name="connsiteX4381" fmla="*/ 3991857 w 11701760"/>
              <a:gd name="connsiteY4381" fmla="*/ 32 h 6407421"/>
              <a:gd name="connsiteX4382" fmla="*/ 3991857 w 11701760"/>
              <a:gd name="connsiteY4382" fmla="*/ 29635 h 6407421"/>
              <a:gd name="connsiteX4383" fmla="*/ 3962255 w 11701760"/>
              <a:gd name="connsiteY4383" fmla="*/ 29635 h 6407421"/>
              <a:gd name="connsiteX4384" fmla="*/ 9542906 w 11701760"/>
              <a:gd name="connsiteY4384" fmla="*/ 30 h 6407421"/>
              <a:gd name="connsiteX4385" fmla="*/ 9572509 w 11701760"/>
              <a:gd name="connsiteY4385" fmla="*/ 30 h 6407421"/>
              <a:gd name="connsiteX4386" fmla="*/ 9572509 w 11701760"/>
              <a:gd name="connsiteY4386" fmla="*/ 29632 h 6407421"/>
              <a:gd name="connsiteX4387" fmla="*/ 9542906 w 11701760"/>
              <a:gd name="connsiteY4387" fmla="*/ 29632 h 6407421"/>
              <a:gd name="connsiteX4388" fmla="*/ 3696058 w 11701760"/>
              <a:gd name="connsiteY4388" fmla="*/ 30 h 6407421"/>
              <a:gd name="connsiteX4389" fmla="*/ 3725661 w 11701760"/>
              <a:gd name="connsiteY4389" fmla="*/ 30 h 6407421"/>
              <a:gd name="connsiteX4390" fmla="*/ 3725661 w 11701760"/>
              <a:gd name="connsiteY4390" fmla="*/ 29632 h 6407421"/>
              <a:gd name="connsiteX4391" fmla="*/ 3696058 w 11701760"/>
              <a:gd name="connsiteY4391" fmla="*/ 29632 h 6407421"/>
              <a:gd name="connsiteX4392" fmla="*/ 9276817 w 11701760"/>
              <a:gd name="connsiteY4392" fmla="*/ 28 h 6407421"/>
              <a:gd name="connsiteX4393" fmla="*/ 9306420 w 11701760"/>
              <a:gd name="connsiteY4393" fmla="*/ 28 h 6407421"/>
              <a:gd name="connsiteX4394" fmla="*/ 9306420 w 11701760"/>
              <a:gd name="connsiteY4394" fmla="*/ 29630 h 6407421"/>
              <a:gd name="connsiteX4395" fmla="*/ 9276817 w 11701760"/>
              <a:gd name="connsiteY4395" fmla="*/ 29630 h 6407421"/>
              <a:gd name="connsiteX4396" fmla="*/ 3429969 w 11701760"/>
              <a:gd name="connsiteY4396" fmla="*/ 28 h 6407421"/>
              <a:gd name="connsiteX4397" fmla="*/ 3459572 w 11701760"/>
              <a:gd name="connsiteY4397" fmla="*/ 28 h 6407421"/>
              <a:gd name="connsiteX4398" fmla="*/ 3459572 w 11701760"/>
              <a:gd name="connsiteY4398" fmla="*/ 29630 h 6407421"/>
              <a:gd name="connsiteX4399" fmla="*/ 3429969 w 11701760"/>
              <a:gd name="connsiteY4399" fmla="*/ 29630 h 6407421"/>
              <a:gd name="connsiteX4400" fmla="*/ 9010620 w 11701760"/>
              <a:gd name="connsiteY4400" fmla="*/ 25 h 6407421"/>
              <a:gd name="connsiteX4401" fmla="*/ 9040222 w 11701760"/>
              <a:gd name="connsiteY4401" fmla="*/ 25 h 6407421"/>
              <a:gd name="connsiteX4402" fmla="*/ 9040222 w 11701760"/>
              <a:gd name="connsiteY4402" fmla="*/ 29628 h 6407421"/>
              <a:gd name="connsiteX4403" fmla="*/ 9010620 w 11701760"/>
              <a:gd name="connsiteY4403" fmla="*/ 29628 h 6407421"/>
              <a:gd name="connsiteX4404" fmla="*/ 3163772 w 11701760"/>
              <a:gd name="connsiteY4404" fmla="*/ 25 h 6407421"/>
              <a:gd name="connsiteX4405" fmla="*/ 3193374 w 11701760"/>
              <a:gd name="connsiteY4405" fmla="*/ 25 h 6407421"/>
              <a:gd name="connsiteX4406" fmla="*/ 3193374 w 11701760"/>
              <a:gd name="connsiteY4406" fmla="*/ 29628 h 6407421"/>
              <a:gd name="connsiteX4407" fmla="*/ 3163772 w 11701760"/>
              <a:gd name="connsiteY4407" fmla="*/ 29628 h 6407421"/>
              <a:gd name="connsiteX4408" fmla="*/ 8744423 w 11701760"/>
              <a:gd name="connsiteY4408" fmla="*/ 23 h 6407421"/>
              <a:gd name="connsiteX4409" fmla="*/ 8774026 w 11701760"/>
              <a:gd name="connsiteY4409" fmla="*/ 23 h 6407421"/>
              <a:gd name="connsiteX4410" fmla="*/ 8774026 w 11701760"/>
              <a:gd name="connsiteY4410" fmla="*/ 29625 h 6407421"/>
              <a:gd name="connsiteX4411" fmla="*/ 8744423 w 11701760"/>
              <a:gd name="connsiteY4411" fmla="*/ 29625 h 6407421"/>
              <a:gd name="connsiteX4412" fmla="*/ 2897575 w 11701760"/>
              <a:gd name="connsiteY4412" fmla="*/ 23 h 6407421"/>
              <a:gd name="connsiteX4413" fmla="*/ 2927178 w 11701760"/>
              <a:gd name="connsiteY4413" fmla="*/ 23 h 6407421"/>
              <a:gd name="connsiteX4414" fmla="*/ 2927178 w 11701760"/>
              <a:gd name="connsiteY4414" fmla="*/ 29625 h 6407421"/>
              <a:gd name="connsiteX4415" fmla="*/ 2897575 w 11701760"/>
              <a:gd name="connsiteY4415" fmla="*/ 29625 h 6407421"/>
              <a:gd name="connsiteX4416" fmla="*/ 8478226 w 11701760"/>
              <a:gd name="connsiteY4416" fmla="*/ 21 h 6407421"/>
              <a:gd name="connsiteX4417" fmla="*/ 8507828 w 11701760"/>
              <a:gd name="connsiteY4417" fmla="*/ 21 h 6407421"/>
              <a:gd name="connsiteX4418" fmla="*/ 8507828 w 11701760"/>
              <a:gd name="connsiteY4418" fmla="*/ 29623 h 6407421"/>
              <a:gd name="connsiteX4419" fmla="*/ 8478226 w 11701760"/>
              <a:gd name="connsiteY4419" fmla="*/ 29623 h 6407421"/>
              <a:gd name="connsiteX4420" fmla="*/ 2631378 w 11701760"/>
              <a:gd name="connsiteY4420" fmla="*/ 21 h 6407421"/>
              <a:gd name="connsiteX4421" fmla="*/ 2660980 w 11701760"/>
              <a:gd name="connsiteY4421" fmla="*/ 21 h 6407421"/>
              <a:gd name="connsiteX4422" fmla="*/ 2660980 w 11701760"/>
              <a:gd name="connsiteY4422" fmla="*/ 29623 h 6407421"/>
              <a:gd name="connsiteX4423" fmla="*/ 2631378 w 11701760"/>
              <a:gd name="connsiteY4423" fmla="*/ 29623 h 6407421"/>
              <a:gd name="connsiteX4424" fmla="*/ 8212137 w 11701760"/>
              <a:gd name="connsiteY4424" fmla="*/ 18 h 6407421"/>
              <a:gd name="connsiteX4425" fmla="*/ 8241740 w 11701760"/>
              <a:gd name="connsiteY4425" fmla="*/ 18 h 6407421"/>
              <a:gd name="connsiteX4426" fmla="*/ 8241740 w 11701760"/>
              <a:gd name="connsiteY4426" fmla="*/ 29621 h 6407421"/>
              <a:gd name="connsiteX4427" fmla="*/ 8212137 w 11701760"/>
              <a:gd name="connsiteY4427" fmla="*/ 29621 h 6407421"/>
              <a:gd name="connsiteX4428" fmla="*/ 2365289 w 11701760"/>
              <a:gd name="connsiteY4428" fmla="*/ 18 h 6407421"/>
              <a:gd name="connsiteX4429" fmla="*/ 2394892 w 11701760"/>
              <a:gd name="connsiteY4429" fmla="*/ 18 h 6407421"/>
              <a:gd name="connsiteX4430" fmla="*/ 2394892 w 11701760"/>
              <a:gd name="connsiteY4430" fmla="*/ 29621 h 6407421"/>
              <a:gd name="connsiteX4431" fmla="*/ 2365289 w 11701760"/>
              <a:gd name="connsiteY4431" fmla="*/ 29621 h 6407421"/>
              <a:gd name="connsiteX4432" fmla="*/ 7945940 w 11701760"/>
              <a:gd name="connsiteY4432" fmla="*/ 16 h 6407421"/>
              <a:gd name="connsiteX4433" fmla="*/ 7975543 w 11701760"/>
              <a:gd name="connsiteY4433" fmla="*/ 16 h 6407421"/>
              <a:gd name="connsiteX4434" fmla="*/ 7975543 w 11701760"/>
              <a:gd name="connsiteY4434" fmla="*/ 29618 h 6407421"/>
              <a:gd name="connsiteX4435" fmla="*/ 7945940 w 11701760"/>
              <a:gd name="connsiteY4435" fmla="*/ 29618 h 6407421"/>
              <a:gd name="connsiteX4436" fmla="*/ 2099092 w 11701760"/>
              <a:gd name="connsiteY4436" fmla="*/ 16 h 6407421"/>
              <a:gd name="connsiteX4437" fmla="*/ 2128695 w 11701760"/>
              <a:gd name="connsiteY4437" fmla="*/ 16 h 6407421"/>
              <a:gd name="connsiteX4438" fmla="*/ 2128695 w 11701760"/>
              <a:gd name="connsiteY4438" fmla="*/ 29618 h 6407421"/>
              <a:gd name="connsiteX4439" fmla="*/ 2099092 w 11701760"/>
              <a:gd name="connsiteY4439" fmla="*/ 29618 h 6407421"/>
              <a:gd name="connsiteX4440" fmla="*/ 7679743 w 11701760"/>
              <a:gd name="connsiteY4440" fmla="*/ 14 h 6407421"/>
              <a:gd name="connsiteX4441" fmla="*/ 7709346 w 11701760"/>
              <a:gd name="connsiteY4441" fmla="*/ 14 h 6407421"/>
              <a:gd name="connsiteX4442" fmla="*/ 7709346 w 11701760"/>
              <a:gd name="connsiteY4442" fmla="*/ 29616 h 6407421"/>
              <a:gd name="connsiteX4443" fmla="*/ 7679743 w 11701760"/>
              <a:gd name="connsiteY4443" fmla="*/ 29616 h 6407421"/>
              <a:gd name="connsiteX4444" fmla="*/ 1832898 w 11701760"/>
              <a:gd name="connsiteY4444" fmla="*/ 14 h 6407421"/>
              <a:gd name="connsiteX4445" fmla="*/ 1862498 w 11701760"/>
              <a:gd name="connsiteY4445" fmla="*/ 14 h 6407421"/>
              <a:gd name="connsiteX4446" fmla="*/ 1862498 w 11701760"/>
              <a:gd name="connsiteY4446" fmla="*/ 29616 h 6407421"/>
              <a:gd name="connsiteX4447" fmla="*/ 1832898 w 11701760"/>
              <a:gd name="connsiteY4447" fmla="*/ 29616 h 6407421"/>
              <a:gd name="connsiteX4448" fmla="*/ 7413653 w 11701760"/>
              <a:gd name="connsiteY4448" fmla="*/ 12 h 6407421"/>
              <a:gd name="connsiteX4449" fmla="*/ 7443256 w 11701760"/>
              <a:gd name="connsiteY4449" fmla="*/ 12 h 6407421"/>
              <a:gd name="connsiteX4450" fmla="*/ 7443256 w 11701760"/>
              <a:gd name="connsiteY4450" fmla="*/ 29614 h 6407421"/>
              <a:gd name="connsiteX4451" fmla="*/ 7413653 w 11701760"/>
              <a:gd name="connsiteY4451" fmla="*/ 29614 h 6407421"/>
              <a:gd name="connsiteX4452" fmla="*/ 1566808 w 11701760"/>
              <a:gd name="connsiteY4452" fmla="*/ 12 h 6407421"/>
              <a:gd name="connsiteX4453" fmla="*/ 1596409 w 11701760"/>
              <a:gd name="connsiteY4453" fmla="*/ 12 h 6407421"/>
              <a:gd name="connsiteX4454" fmla="*/ 1596409 w 11701760"/>
              <a:gd name="connsiteY4454" fmla="*/ 29614 h 6407421"/>
              <a:gd name="connsiteX4455" fmla="*/ 1566808 w 11701760"/>
              <a:gd name="connsiteY4455" fmla="*/ 29614 h 6407421"/>
              <a:gd name="connsiteX4456" fmla="*/ 7147456 w 11701760"/>
              <a:gd name="connsiteY4456" fmla="*/ 9 h 6407421"/>
              <a:gd name="connsiteX4457" fmla="*/ 7177058 w 11701760"/>
              <a:gd name="connsiteY4457" fmla="*/ 9 h 6407421"/>
              <a:gd name="connsiteX4458" fmla="*/ 7177058 w 11701760"/>
              <a:gd name="connsiteY4458" fmla="*/ 29612 h 6407421"/>
              <a:gd name="connsiteX4459" fmla="*/ 7147456 w 11701760"/>
              <a:gd name="connsiteY4459" fmla="*/ 29612 h 6407421"/>
              <a:gd name="connsiteX4460" fmla="*/ 1300611 w 11701760"/>
              <a:gd name="connsiteY4460" fmla="*/ 9 h 6407421"/>
              <a:gd name="connsiteX4461" fmla="*/ 1330213 w 11701760"/>
              <a:gd name="connsiteY4461" fmla="*/ 9 h 6407421"/>
              <a:gd name="connsiteX4462" fmla="*/ 1330213 w 11701760"/>
              <a:gd name="connsiteY4462" fmla="*/ 29612 h 6407421"/>
              <a:gd name="connsiteX4463" fmla="*/ 1300611 w 11701760"/>
              <a:gd name="connsiteY4463" fmla="*/ 29612 h 6407421"/>
              <a:gd name="connsiteX4464" fmla="*/ 6881367 w 11701760"/>
              <a:gd name="connsiteY4464" fmla="*/ 7 h 6407421"/>
              <a:gd name="connsiteX4465" fmla="*/ 6910970 w 11701760"/>
              <a:gd name="connsiteY4465" fmla="*/ 7 h 6407421"/>
              <a:gd name="connsiteX4466" fmla="*/ 6910970 w 11701760"/>
              <a:gd name="connsiteY4466" fmla="*/ 29609 h 6407421"/>
              <a:gd name="connsiteX4467" fmla="*/ 6881367 w 11701760"/>
              <a:gd name="connsiteY4467" fmla="*/ 29609 h 6407421"/>
              <a:gd name="connsiteX4468" fmla="*/ 1034520 w 11701760"/>
              <a:gd name="connsiteY4468" fmla="*/ 7 h 6407421"/>
              <a:gd name="connsiteX4469" fmla="*/ 1064123 w 11701760"/>
              <a:gd name="connsiteY4469" fmla="*/ 7 h 6407421"/>
              <a:gd name="connsiteX4470" fmla="*/ 1064123 w 11701760"/>
              <a:gd name="connsiteY4470" fmla="*/ 29609 h 6407421"/>
              <a:gd name="connsiteX4471" fmla="*/ 1034520 w 11701760"/>
              <a:gd name="connsiteY4471" fmla="*/ 29609 h 6407421"/>
              <a:gd name="connsiteX4472" fmla="*/ 6615170 w 11701760"/>
              <a:gd name="connsiteY4472" fmla="*/ 5 h 6407421"/>
              <a:gd name="connsiteX4473" fmla="*/ 6644773 w 11701760"/>
              <a:gd name="connsiteY4473" fmla="*/ 5 h 6407421"/>
              <a:gd name="connsiteX4474" fmla="*/ 6644773 w 11701760"/>
              <a:gd name="connsiteY4474" fmla="*/ 29607 h 6407421"/>
              <a:gd name="connsiteX4475" fmla="*/ 6615170 w 11701760"/>
              <a:gd name="connsiteY4475" fmla="*/ 29607 h 6407421"/>
              <a:gd name="connsiteX4476" fmla="*/ 768326 w 11701760"/>
              <a:gd name="connsiteY4476" fmla="*/ 5 h 6407421"/>
              <a:gd name="connsiteX4477" fmla="*/ 797926 w 11701760"/>
              <a:gd name="connsiteY4477" fmla="*/ 5 h 6407421"/>
              <a:gd name="connsiteX4478" fmla="*/ 797926 w 11701760"/>
              <a:gd name="connsiteY4478" fmla="*/ 29607 h 6407421"/>
              <a:gd name="connsiteX4479" fmla="*/ 768326 w 11701760"/>
              <a:gd name="connsiteY4479" fmla="*/ 29607 h 6407421"/>
              <a:gd name="connsiteX4480" fmla="*/ 6349081 w 11701760"/>
              <a:gd name="connsiteY4480" fmla="*/ 2 h 6407421"/>
              <a:gd name="connsiteX4481" fmla="*/ 6378683 w 11701760"/>
              <a:gd name="connsiteY4481" fmla="*/ 2 h 6407421"/>
              <a:gd name="connsiteX4482" fmla="*/ 6378683 w 11701760"/>
              <a:gd name="connsiteY4482" fmla="*/ 29605 h 6407421"/>
              <a:gd name="connsiteX4483" fmla="*/ 6349081 w 11701760"/>
              <a:gd name="connsiteY4483" fmla="*/ 29605 h 6407421"/>
              <a:gd name="connsiteX4484" fmla="*/ 502235 w 11701760"/>
              <a:gd name="connsiteY4484" fmla="*/ 2 h 6407421"/>
              <a:gd name="connsiteX4485" fmla="*/ 531838 w 11701760"/>
              <a:gd name="connsiteY4485" fmla="*/ 2 h 6407421"/>
              <a:gd name="connsiteX4486" fmla="*/ 531838 w 11701760"/>
              <a:gd name="connsiteY4486" fmla="*/ 29605 h 6407421"/>
              <a:gd name="connsiteX4487" fmla="*/ 502235 w 11701760"/>
              <a:gd name="connsiteY4487" fmla="*/ 29605 h 6407421"/>
              <a:gd name="connsiteX4488" fmla="*/ 6082884 w 11701760"/>
              <a:gd name="connsiteY4488" fmla="*/ 0 h 6407421"/>
              <a:gd name="connsiteX4489" fmla="*/ 6112486 w 11701760"/>
              <a:gd name="connsiteY4489" fmla="*/ 0 h 6407421"/>
              <a:gd name="connsiteX4490" fmla="*/ 6112486 w 11701760"/>
              <a:gd name="connsiteY4490" fmla="*/ 29602 h 6407421"/>
              <a:gd name="connsiteX4491" fmla="*/ 6082884 w 11701760"/>
              <a:gd name="connsiteY4491" fmla="*/ 29602 h 6407421"/>
              <a:gd name="connsiteX4492" fmla="*/ 236036 w 11701760"/>
              <a:gd name="connsiteY4492" fmla="*/ 0 h 6407421"/>
              <a:gd name="connsiteX4493" fmla="*/ 265638 w 11701760"/>
              <a:gd name="connsiteY4493" fmla="*/ 0 h 6407421"/>
              <a:gd name="connsiteX4494" fmla="*/ 265638 w 11701760"/>
              <a:gd name="connsiteY4494" fmla="*/ 29602 h 6407421"/>
              <a:gd name="connsiteX4495" fmla="*/ 236036 w 11701760"/>
              <a:gd name="connsiteY4495" fmla="*/ 29602 h 6407421"/>
              <a:gd name="connsiteX4496" fmla="*/ 0 w 11701760"/>
              <a:gd name="connsiteY4496" fmla="*/ 0 h 6407421"/>
              <a:gd name="connsiteX4497" fmla="*/ 29602 w 11701760"/>
              <a:gd name="connsiteY4497" fmla="*/ 0 h 6407421"/>
              <a:gd name="connsiteX4498" fmla="*/ 29602 w 11701760"/>
              <a:gd name="connsiteY4498" fmla="*/ 29602 h 6407421"/>
              <a:gd name="connsiteX4499" fmla="*/ 0 w 11701760"/>
              <a:gd name="connsiteY449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Lst>
            <a:rect l="l" t="t" r="r" b="b"/>
            <a:pathLst>
              <a:path w="11701760" h="6407421">
                <a:moveTo>
                  <a:pt x="11672158" y="6377925"/>
                </a:moveTo>
                <a:lnTo>
                  <a:pt x="11701760" y="6377925"/>
                </a:lnTo>
                <a:lnTo>
                  <a:pt x="11701760" y="6407421"/>
                </a:lnTo>
                <a:lnTo>
                  <a:pt x="11672158" y="6407421"/>
                </a:lnTo>
                <a:close/>
                <a:moveTo>
                  <a:pt x="11405961" y="6377925"/>
                </a:moveTo>
                <a:lnTo>
                  <a:pt x="11435563" y="6377925"/>
                </a:lnTo>
                <a:lnTo>
                  <a:pt x="11435563" y="6407421"/>
                </a:lnTo>
                <a:lnTo>
                  <a:pt x="11405961" y="6407421"/>
                </a:lnTo>
                <a:close/>
                <a:moveTo>
                  <a:pt x="11139872" y="6377925"/>
                </a:moveTo>
                <a:lnTo>
                  <a:pt x="11169474" y="6377925"/>
                </a:lnTo>
                <a:lnTo>
                  <a:pt x="11169474" y="6407421"/>
                </a:lnTo>
                <a:lnTo>
                  <a:pt x="11139872" y="6407421"/>
                </a:lnTo>
                <a:close/>
                <a:moveTo>
                  <a:pt x="10873675" y="6377925"/>
                </a:moveTo>
                <a:lnTo>
                  <a:pt x="10903277" y="6377925"/>
                </a:lnTo>
                <a:lnTo>
                  <a:pt x="10903277" y="6407421"/>
                </a:lnTo>
                <a:lnTo>
                  <a:pt x="10873675" y="6407421"/>
                </a:lnTo>
                <a:close/>
                <a:moveTo>
                  <a:pt x="10607478" y="6377925"/>
                </a:moveTo>
                <a:lnTo>
                  <a:pt x="10637188" y="6377925"/>
                </a:lnTo>
                <a:lnTo>
                  <a:pt x="10637188" y="6407421"/>
                </a:lnTo>
                <a:lnTo>
                  <a:pt x="10607478" y="6407421"/>
                </a:lnTo>
                <a:close/>
                <a:moveTo>
                  <a:pt x="10341389" y="6377925"/>
                </a:moveTo>
                <a:lnTo>
                  <a:pt x="10370992" y="6377925"/>
                </a:lnTo>
                <a:lnTo>
                  <a:pt x="10370992" y="6407421"/>
                </a:lnTo>
                <a:lnTo>
                  <a:pt x="10341389" y="6407421"/>
                </a:lnTo>
                <a:close/>
                <a:moveTo>
                  <a:pt x="10075192" y="6377925"/>
                </a:moveTo>
                <a:lnTo>
                  <a:pt x="10104794" y="6377925"/>
                </a:lnTo>
                <a:lnTo>
                  <a:pt x="10104794" y="6407421"/>
                </a:lnTo>
                <a:lnTo>
                  <a:pt x="10075192" y="6407421"/>
                </a:lnTo>
                <a:close/>
                <a:moveTo>
                  <a:pt x="9809103" y="6377925"/>
                </a:moveTo>
                <a:lnTo>
                  <a:pt x="9838705" y="6377925"/>
                </a:lnTo>
                <a:lnTo>
                  <a:pt x="9838705" y="6407421"/>
                </a:lnTo>
                <a:lnTo>
                  <a:pt x="9809103" y="6407421"/>
                </a:lnTo>
                <a:close/>
                <a:moveTo>
                  <a:pt x="9542906" y="6377925"/>
                </a:moveTo>
                <a:lnTo>
                  <a:pt x="9572509" y="6377925"/>
                </a:lnTo>
                <a:lnTo>
                  <a:pt x="9572509" y="6407421"/>
                </a:lnTo>
                <a:lnTo>
                  <a:pt x="9542906" y="6407421"/>
                </a:lnTo>
                <a:close/>
                <a:moveTo>
                  <a:pt x="9276817" y="6377925"/>
                </a:moveTo>
                <a:lnTo>
                  <a:pt x="9306420" y="6377925"/>
                </a:lnTo>
                <a:lnTo>
                  <a:pt x="9306420" y="6407421"/>
                </a:lnTo>
                <a:lnTo>
                  <a:pt x="9276817" y="6407421"/>
                </a:lnTo>
                <a:close/>
                <a:moveTo>
                  <a:pt x="9010620" y="6377925"/>
                </a:moveTo>
                <a:lnTo>
                  <a:pt x="9040222" y="6377925"/>
                </a:lnTo>
                <a:lnTo>
                  <a:pt x="9040222" y="6407421"/>
                </a:lnTo>
                <a:lnTo>
                  <a:pt x="9010620" y="6407421"/>
                </a:lnTo>
                <a:close/>
                <a:moveTo>
                  <a:pt x="8744423" y="6377925"/>
                </a:moveTo>
                <a:lnTo>
                  <a:pt x="8774026" y="6377925"/>
                </a:lnTo>
                <a:lnTo>
                  <a:pt x="8774026" y="6407421"/>
                </a:lnTo>
                <a:lnTo>
                  <a:pt x="8744423" y="6407421"/>
                </a:lnTo>
                <a:close/>
                <a:moveTo>
                  <a:pt x="8478226" y="6377925"/>
                </a:moveTo>
                <a:lnTo>
                  <a:pt x="8507828" y="6377925"/>
                </a:lnTo>
                <a:lnTo>
                  <a:pt x="8507828" y="6407421"/>
                </a:lnTo>
                <a:lnTo>
                  <a:pt x="8478226" y="6407421"/>
                </a:lnTo>
                <a:close/>
                <a:moveTo>
                  <a:pt x="8212137" y="6377925"/>
                </a:moveTo>
                <a:lnTo>
                  <a:pt x="8241740" y="6377925"/>
                </a:lnTo>
                <a:lnTo>
                  <a:pt x="8241740" y="6407421"/>
                </a:lnTo>
                <a:lnTo>
                  <a:pt x="8212137" y="6407421"/>
                </a:lnTo>
                <a:close/>
                <a:moveTo>
                  <a:pt x="7945940" y="6377925"/>
                </a:moveTo>
                <a:lnTo>
                  <a:pt x="7975543" y="6377925"/>
                </a:lnTo>
                <a:lnTo>
                  <a:pt x="7975543" y="6407421"/>
                </a:lnTo>
                <a:lnTo>
                  <a:pt x="7945940" y="6407421"/>
                </a:lnTo>
                <a:close/>
                <a:moveTo>
                  <a:pt x="7679743" y="6377925"/>
                </a:moveTo>
                <a:lnTo>
                  <a:pt x="7709346" y="6377925"/>
                </a:lnTo>
                <a:lnTo>
                  <a:pt x="7709346" y="6407421"/>
                </a:lnTo>
                <a:lnTo>
                  <a:pt x="7679743" y="6407421"/>
                </a:lnTo>
                <a:close/>
                <a:moveTo>
                  <a:pt x="7413653" y="6377925"/>
                </a:moveTo>
                <a:lnTo>
                  <a:pt x="7443256" y="6377925"/>
                </a:lnTo>
                <a:lnTo>
                  <a:pt x="7443256" y="6407421"/>
                </a:lnTo>
                <a:lnTo>
                  <a:pt x="7413653" y="6407421"/>
                </a:lnTo>
                <a:close/>
                <a:moveTo>
                  <a:pt x="7147456" y="6377925"/>
                </a:moveTo>
                <a:lnTo>
                  <a:pt x="7177058" y="6377925"/>
                </a:lnTo>
                <a:lnTo>
                  <a:pt x="7177058" y="6407421"/>
                </a:lnTo>
                <a:lnTo>
                  <a:pt x="7147456" y="6407421"/>
                </a:lnTo>
                <a:close/>
                <a:moveTo>
                  <a:pt x="6881367" y="6377925"/>
                </a:moveTo>
                <a:lnTo>
                  <a:pt x="6910970" y="6377925"/>
                </a:lnTo>
                <a:lnTo>
                  <a:pt x="6910970" y="6407421"/>
                </a:lnTo>
                <a:lnTo>
                  <a:pt x="6881367" y="6407421"/>
                </a:lnTo>
                <a:close/>
                <a:moveTo>
                  <a:pt x="6615170" y="6377925"/>
                </a:moveTo>
                <a:lnTo>
                  <a:pt x="6644773" y="6377925"/>
                </a:lnTo>
                <a:lnTo>
                  <a:pt x="6644773" y="6407421"/>
                </a:lnTo>
                <a:lnTo>
                  <a:pt x="6615170" y="6407421"/>
                </a:lnTo>
                <a:close/>
                <a:moveTo>
                  <a:pt x="6349081" y="6377925"/>
                </a:moveTo>
                <a:lnTo>
                  <a:pt x="6378683" y="6377925"/>
                </a:lnTo>
                <a:lnTo>
                  <a:pt x="6378683" y="6407421"/>
                </a:lnTo>
                <a:lnTo>
                  <a:pt x="6349081" y="6407421"/>
                </a:lnTo>
                <a:close/>
                <a:moveTo>
                  <a:pt x="6082884" y="6377925"/>
                </a:moveTo>
                <a:lnTo>
                  <a:pt x="6112486" y="6377925"/>
                </a:lnTo>
                <a:lnTo>
                  <a:pt x="6112486" y="6407421"/>
                </a:lnTo>
                <a:lnTo>
                  <a:pt x="6082884" y="6407421"/>
                </a:lnTo>
                <a:close/>
                <a:moveTo>
                  <a:pt x="5825310" y="6377925"/>
                </a:moveTo>
                <a:lnTo>
                  <a:pt x="5854913" y="6377925"/>
                </a:lnTo>
                <a:lnTo>
                  <a:pt x="5854913" y="6407421"/>
                </a:lnTo>
                <a:lnTo>
                  <a:pt x="5825310" y="6407421"/>
                </a:lnTo>
                <a:close/>
                <a:moveTo>
                  <a:pt x="5559113" y="6377925"/>
                </a:moveTo>
                <a:lnTo>
                  <a:pt x="5588715" y="6377925"/>
                </a:lnTo>
                <a:lnTo>
                  <a:pt x="5588715" y="6407421"/>
                </a:lnTo>
                <a:lnTo>
                  <a:pt x="5559113" y="6407421"/>
                </a:lnTo>
                <a:close/>
                <a:moveTo>
                  <a:pt x="5293024" y="6377925"/>
                </a:moveTo>
                <a:lnTo>
                  <a:pt x="5322626" y="6377925"/>
                </a:lnTo>
                <a:lnTo>
                  <a:pt x="5322626" y="6407421"/>
                </a:lnTo>
                <a:lnTo>
                  <a:pt x="5293024" y="6407421"/>
                </a:lnTo>
                <a:close/>
                <a:moveTo>
                  <a:pt x="5026827" y="6377925"/>
                </a:moveTo>
                <a:lnTo>
                  <a:pt x="5056429" y="6377925"/>
                </a:lnTo>
                <a:lnTo>
                  <a:pt x="5056429" y="6407421"/>
                </a:lnTo>
                <a:lnTo>
                  <a:pt x="5026827" y="6407421"/>
                </a:lnTo>
                <a:close/>
                <a:moveTo>
                  <a:pt x="4760630" y="6377925"/>
                </a:moveTo>
                <a:lnTo>
                  <a:pt x="4790340" y="6377925"/>
                </a:lnTo>
                <a:lnTo>
                  <a:pt x="4790340" y="6407421"/>
                </a:lnTo>
                <a:lnTo>
                  <a:pt x="4760630" y="6407421"/>
                </a:lnTo>
                <a:close/>
                <a:moveTo>
                  <a:pt x="4494541" y="6377925"/>
                </a:moveTo>
                <a:lnTo>
                  <a:pt x="4524144" y="6377925"/>
                </a:lnTo>
                <a:lnTo>
                  <a:pt x="4524144" y="6407421"/>
                </a:lnTo>
                <a:lnTo>
                  <a:pt x="4494541" y="6407421"/>
                </a:lnTo>
                <a:close/>
                <a:moveTo>
                  <a:pt x="4228344" y="6377925"/>
                </a:moveTo>
                <a:lnTo>
                  <a:pt x="4257946" y="6377925"/>
                </a:lnTo>
                <a:lnTo>
                  <a:pt x="4257946" y="6407421"/>
                </a:lnTo>
                <a:lnTo>
                  <a:pt x="4228344" y="6407421"/>
                </a:lnTo>
                <a:close/>
                <a:moveTo>
                  <a:pt x="3962255" y="6377925"/>
                </a:moveTo>
                <a:lnTo>
                  <a:pt x="3991857" y="6377925"/>
                </a:lnTo>
                <a:lnTo>
                  <a:pt x="3991857" y="6407421"/>
                </a:lnTo>
                <a:lnTo>
                  <a:pt x="3962255" y="6407421"/>
                </a:lnTo>
                <a:close/>
                <a:moveTo>
                  <a:pt x="3696058" y="6377925"/>
                </a:moveTo>
                <a:lnTo>
                  <a:pt x="3725661" y="6377925"/>
                </a:lnTo>
                <a:lnTo>
                  <a:pt x="3725661" y="6407421"/>
                </a:lnTo>
                <a:lnTo>
                  <a:pt x="3696058" y="6407421"/>
                </a:lnTo>
                <a:close/>
                <a:moveTo>
                  <a:pt x="3429969" y="6377925"/>
                </a:moveTo>
                <a:lnTo>
                  <a:pt x="3459572" y="6377925"/>
                </a:lnTo>
                <a:lnTo>
                  <a:pt x="3459572" y="6407421"/>
                </a:lnTo>
                <a:lnTo>
                  <a:pt x="3429969" y="6407421"/>
                </a:lnTo>
                <a:close/>
                <a:moveTo>
                  <a:pt x="3163772" y="6377925"/>
                </a:moveTo>
                <a:lnTo>
                  <a:pt x="3193374" y="6377925"/>
                </a:lnTo>
                <a:lnTo>
                  <a:pt x="3193374" y="6407421"/>
                </a:lnTo>
                <a:lnTo>
                  <a:pt x="3163772" y="6407421"/>
                </a:lnTo>
                <a:close/>
                <a:moveTo>
                  <a:pt x="2897575" y="6377925"/>
                </a:moveTo>
                <a:lnTo>
                  <a:pt x="2927178" y="6377925"/>
                </a:lnTo>
                <a:lnTo>
                  <a:pt x="2927178" y="6407421"/>
                </a:lnTo>
                <a:lnTo>
                  <a:pt x="2897575" y="6407421"/>
                </a:lnTo>
                <a:close/>
                <a:moveTo>
                  <a:pt x="2631378" y="6377925"/>
                </a:moveTo>
                <a:lnTo>
                  <a:pt x="2660980" y="6377925"/>
                </a:lnTo>
                <a:lnTo>
                  <a:pt x="2660980" y="6407421"/>
                </a:lnTo>
                <a:lnTo>
                  <a:pt x="2631378" y="6407421"/>
                </a:lnTo>
                <a:close/>
                <a:moveTo>
                  <a:pt x="2365289" y="6377925"/>
                </a:moveTo>
                <a:lnTo>
                  <a:pt x="2394892" y="6377925"/>
                </a:lnTo>
                <a:lnTo>
                  <a:pt x="2394892" y="6407421"/>
                </a:lnTo>
                <a:lnTo>
                  <a:pt x="2365289" y="6407421"/>
                </a:lnTo>
                <a:close/>
                <a:moveTo>
                  <a:pt x="2099092" y="6377925"/>
                </a:moveTo>
                <a:lnTo>
                  <a:pt x="2128695" y="6377925"/>
                </a:lnTo>
                <a:lnTo>
                  <a:pt x="2128695" y="6407421"/>
                </a:lnTo>
                <a:lnTo>
                  <a:pt x="2099092" y="6407421"/>
                </a:lnTo>
                <a:close/>
                <a:moveTo>
                  <a:pt x="1832898" y="6377925"/>
                </a:moveTo>
                <a:lnTo>
                  <a:pt x="1862498" y="6377925"/>
                </a:lnTo>
                <a:lnTo>
                  <a:pt x="1862498" y="6407421"/>
                </a:lnTo>
                <a:lnTo>
                  <a:pt x="1832898" y="6407421"/>
                </a:lnTo>
                <a:close/>
                <a:moveTo>
                  <a:pt x="1566808" y="6377925"/>
                </a:moveTo>
                <a:lnTo>
                  <a:pt x="1596409" y="6377925"/>
                </a:lnTo>
                <a:lnTo>
                  <a:pt x="1596409" y="6407421"/>
                </a:lnTo>
                <a:lnTo>
                  <a:pt x="1566808" y="6407421"/>
                </a:lnTo>
                <a:close/>
                <a:moveTo>
                  <a:pt x="1300611" y="6377925"/>
                </a:moveTo>
                <a:lnTo>
                  <a:pt x="1330213" y="6377925"/>
                </a:lnTo>
                <a:lnTo>
                  <a:pt x="1330213" y="6407421"/>
                </a:lnTo>
                <a:lnTo>
                  <a:pt x="1300611" y="6407421"/>
                </a:lnTo>
                <a:close/>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1672158" y="6112161"/>
                </a:moveTo>
                <a:lnTo>
                  <a:pt x="11701760" y="6112161"/>
                </a:lnTo>
                <a:lnTo>
                  <a:pt x="11701760" y="6141763"/>
                </a:lnTo>
                <a:lnTo>
                  <a:pt x="11672158" y="6141763"/>
                </a:lnTo>
                <a:close/>
                <a:moveTo>
                  <a:pt x="11405961" y="6112161"/>
                </a:moveTo>
                <a:lnTo>
                  <a:pt x="11435563" y="6112161"/>
                </a:lnTo>
                <a:lnTo>
                  <a:pt x="11435563" y="6141763"/>
                </a:lnTo>
                <a:lnTo>
                  <a:pt x="11405961" y="6141763"/>
                </a:lnTo>
                <a:close/>
                <a:moveTo>
                  <a:pt x="11139872" y="6112161"/>
                </a:moveTo>
                <a:lnTo>
                  <a:pt x="11169474" y="6112161"/>
                </a:lnTo>
                <a:lnTo>
                  <a:pt x="11169474" y="6141763"/>
                </a:lnTo>
                <a:lnTo>
                  <a:pt x="11139872" y="6141763"/>
                </a:lnTo>
                <a:close/>
                <a:moveTo>
                  <a:pt x="10873675" y="6112161"/>
                </a:moveTo>
                <a:lnTo>
                  <a:pt x="10903277" y="6112161"/>
                </a:lnTo>
                <a:lnTo>
                  <a:pt x="10903277" y="6141763"/>
                </a:lnTo>
                <a:lnTo>
                  <a:pt x="10873675" y="6141763"/>
                </a:lnTo>
                <a:close/>
                <a:moveTo>
                  <a:pt x="10607478" y="6112161"/>
                </a:moveTo>
                <a:lnTo>
                  <a:pt x="10637188" y="6112161"/>
                </a:lnTo>
                <a:lnTo>
                  <a:pt x="10637188" y="6141763"/>
                </a:lnTo>
                <a:lnTo>
                  <a:pt x="10607478" y="6141763"/>
                </a:lnTo>
                <a:close/>
                <a:moveTo>
                  <a:pt x="10341389" y="6112161"/>
                </a:moveTo>
                <a:lnTo>
                  <a:pt x="10370992" y="6112161"/>
                </a:lnTo>
                <a:lnTo>
                  <a:pt x="10370992" y="6141763"/>
                </a:lnTo>
                <a:lnTo>
                  <a:pt x="10341389" y="6141763"/>
                </a:lnTo>
                <a:close/>
                <a:moveTo>
                  <a:pt x="10075192" y="6112161"/>
                </a:moveTo>
                <a:lnTo>
                  <a:pt x="10104794" y="6112161"/>
                </a:lnTo>
                <a:lnTo>
                  <a:pt x="10104794" y="6141763"/>
                </a:lnTo>
                <a:lnTo>
                  <a:pt x="10075192" y="6141763"/>
                </a:lnTo>
                <a:close/>
                <a:moveTo>
                  <a:pt x="9809103" y="6112161"/>
                </a:moveTo>
                <a:lnTo>
                  <a:pt x="9838705" y="6112161"/>
                </a:lnTo>
                <a:lnTo>
                  <a:pt x="9838705" y="6141763"/>
                </a:lnTo>
                <a:lnTo>
                  <a:pt x="9809103" y="6141763"/>
                </a:lnTo>
                <a:close/>
                <a:moveTo>
                  <a:pt x="9542906" y="6112161"/>
                </a:moveTo>
                <a:lnTo>
                  <a:pt x="9572509" y="6112161"/>
                </a:lnTo>
                <a:lnTo>
                  <a:pt x="9572509" y="6141763"/>
                </a:lnTo>
                <a:lnTo>
                  <a:pt x="9542906" y="6141763"/>
                </a:lnTo>
                <a:close/>
                <a:moveTo>
                  <a:pt x="9276817" y="6112161"/>
                </a:moveTo>
                <a:lnTo>
                  <a:pt x="9306420" y="6112161"/>
                </a:lnTo>
                <a:lnTo>
                  <a:pt x="9306420" y="6141763"/>
                </a:lnTo>
                <a:lnTo>
                  <a:pt x="9276817" y="6141763"/>
                </a:lnTo>
                <a:close/>
                <a:moveTo>
                  <a:pt x="9010620" y="6112161"/>
                </a:moveTo>
                <a:lnTo>
                  <a:pt x="9040222" y="6112161"/>
                </a:lnTo>
                <a:lnTo>
                  <a:pt x="9040222" y="6141763"/>
                </a:lnTo>
                <a:lnTo>
                  <a:pt x="9010620" y="6141763"/>
                </a:lnTo>
                <a:close/>
                <a:moveTo>
                  <a:pt x="8744423" y="6112161"/>
                </a:moveTo>
                <a:lnTo>
                  <a:pt x="8774026" y="6112161"/>
                </a:lnTo>
                <a:lnTo>
                  <a:pt x="8774026" y="6141763"/>
                </a:lnTo>
                <a:lnTo>
                  <a:pt x="8744423" y="6141763"/>
                </a:lnTo>
                <a:close/>
                <a:moveTo>
                  <a:pt x="8478226" y="6112161"/>
                </a:moveTo>
                <a:lnTo>
                  <a:pt x="8507828" y="6112161"/>
                </a:lnTo>
                <a:lnTo>
                  <a:pt x="8507828" y="6141763"/>
                </a:lnTo>
                <a:lnTo>
                  <a:pt x="8478226" y="6141763"/>
                </a:lnTo>
                <a:close/>
                <a:moveTo>
                  <a:pt x="8212137" y="6112161"/>
                </a:moveTo>
                <a:lnTo>
                  <a:pt x="8241740" y="6112161"/>
                </a:lnTo>
                <a:lnTo>
                  <a:pt x="8241740" y="6141763"/>
                </a:lnTo>
                <a:lnTo>
                  <a:pt x="8212137" y="6141763"/>
                </a:lnTo>
                <a:close/>
                <a:moveTo>
                  <a:pt x="7945940" y="6112161"/>
                </a:moveTo>
                <a:lnTo>
                  <a:pt x="7975543" y="6112161"/>
                </a:lnTo>
                <a:lnTo>
                  <a:pt x="7975543" y="6141763"/>
                </a:lnTo>
                <a:lnTo>
                  <a:pt x="7945940" y="6141763"/>
                </a:lnTo>
                <a:close/>
                <a:moveTo>
                  <a:pt x="7679743" y="6112161"/>
                </a:moveTo>
                <a:lnTo>
                  <a:pt x="7709346" y="6112161"/>
                </a:lnTo>
                <a:lnTo>
                  <a:pt x="7709346" y="6141763"/>
                </a:lnTo>
                <a:lnTo>
                  <a:pt x="7679743" y="6141763"/>
                </a:lnTo>
                <a:close/>
                <a:moveTo>
                  <a:pt x="7413653" y="6112161"/>
                </a:moveTo>
                <a:lnTo>
                  <a:pt x="7443256" y="6112161"/>
                </a:lnTo>
                <a:lnTo>
                  <a:pt x="7443256" y="6141763"/>
                </a:lnTo>
                <a:lnTo>
                  <a:pt x="7413653" y="6141763"/>
                </a:lnTo>
                <a:close/>
                <a:moveTo>
                  <a:pt x="7147456" y="6112161"/>
                </a:moveTo>
                <a:lnTo>
                  <a:pt x="7177058" y="6112161"/>
                </a:lnTo>
                <a:lnTo>
                  <a:pt x="7177058" y="6141763"/>
                </a:lnTo>
                <a:lnTo>
                  <a:pt x="7147456" y="6141763"/>
                </a:lnTo>
                <a:close/>
                <a:moveTo>
                  <a:pt x="6881367" y="6112161"/>
                </a:moveTo>
                <a:lnTo>
                  <a:pt x="6910970" y="6112161"/>
                </a:lnTo>
                <a:lnTo>
                  <a:pt x="6910970" y="6141763"/>
                </a:lnTo>
                <a:lnTo>
                  <a:pt x="6881367" y="6141763"/>
                </a:lnTo>
                <a:close/>
                <a:moveTo>
                  <a:pt x="6615170" y="6112161"/>
                </a:moveTo>
                <a:lnTo>
                  <a:pt x="6644773" y="6112161"/>
                </a:lnTo>
                <a:lnTo>
                  <a:pt x="6644773" y="6141763"/>
                </a:lnTo>
                <a:lnTo>
                  <a:pt x="6615170" y="6141763"/>
                </a:lnTo>
                <a:close/>
                <a:moveTo>
                  <a:pt x="6349081" y="6112161"/>
                </a:moveTo>
                <a:lnTo>
                  <a:pt x="6378683" y="6112161"/>
                </a:lnTo>
                <a:lnTo>
                  <a:pt x="6378683" y="6141763"/>
                </a:lnTo>
                <a:lnTo>
                  <a:pt x="6349081" y="6141763"/>
                </a:lnTo>
                <a:close/>
                <a:moveTo>
                  <a:pt x="6082884" y="6112161"/>
                </a:moveTo>
                <a:lnTo>
                  <a:pt x="6112486" y="6112161"/>
                </a:lnTo>
                <a:lnTo>
                  <a:pt x="6112486" y="6141763"/>
                </a:lnTo>
                <a:lnTo>
                  <a:pt x="6082884" y="6141763"/>
                </a:lnTo>
                <a:close/>
                <a:moveTo>
                  <a:pt x="5825310" y="6112161"/>
                </a:moveTo>
                <a:lnTo>
                  <a:pt x="5854913" y="6112161"/>
                </a:lnTo>
                <a:lnTo>
                  <a:pt x="5854913" y="6141763"/>
                </a:lnTo>
                <a:lnTo>
                  <a:pt x="5825310" y="6141763"/>
                </a:lnTo>
                <a:close/>
                <a:moveTo>
                  <a:pt x="5559113" y="6112161"/>
                </a:moveTo>
                <a:lnTo>
                  <a:pt x="5588715" y="6112161"/>
                </a:lnTo>
                <a:lnTo>
                  <a:pt x="5588715" y="6141763"/>
                </a:lnTo>
                <a:lnTo>
                  <a:pt x="5559113" y="6141763"/>
                </a:lnTo>
                <a:close/>
                <a:moveTo>
                  <a:pt x="5293024" y="6112161"/>
                </a:moveTo>
                <a:lnTo>
                  <a:pt x="5322626" y="6112161"/>
                </a:lnTo>
                <a:lnTo>
                  <a:pt x="5322626" y="6141763"/>
                </a:lnTo>
                <a:lnTo>
                  <a:pt x="5293024" y="6141763"/>
                </a:lnTo>
                <a:close/>
                <a:moveTo>
                  <a:pt x="5026827" y="6112161"/>
                </a:moveTo>
                <a:lnTo>
                  <a:pt x="5056429" y="6112161"/>
                </a:lnTo>
                <a:lnTo>
                  <a:pt x="5056429" y="6141763"/>
                </a:lnTo>
                <a:lnTo>
                  <a:pt x="5026827" y="6141763"/>
                </a:lnTo>
                <a:close/>
                <a:moveTo>
                  <a:pt x="4760630" y="6112161"/>
                </a:moveTo>
                <a:lnTo>
                  <a:pt x="4790340" y="6112161"/>
                </a:lnTo>
                <a:lnTo>
                  <a:pt x="4790340" y="6141763"/>
                </a:lnTo>
                <a:lnTo>
                  <a:pt x="4760630" y="6141763"/>
                </a:lnTo>
                <a:close/>
                <a:moveTo>
                  <a:pt x="4494541" y="6112161"/>
                </a:moveTo>
                <a:lnTo>
                  <a:pt x="4524144" y="6112161"/>
                </a:lnTo>
                <a:lnTo>
                  <a:pt x="4524144" y="6141763"/>
                </a:lnTo>
                <a:lnTo>
                  <a:pt x="4494541" y="6141763"/>
                </a:lnTo>
                <a:close/>
                <a:moveTo>
                  <a:pt x="4228344" y="6112161"/>
                </a:moveTo>
                <a:lnTo>
                  <a:pt x="4257946" y="6112161"/>
                </a:lnTo>
                <a:lnTo>
                  <a:pt x="4257946" y="6141763"/>
                </a:lnTo>
                <a:lnTo>
                  <a:pt x="4228344" y="6141763"/>
                </a:lnTo>
                <a:close/>
                <a:moveTo>
                  <a:pt x="3962255" y="6112161"/>
                </a:moveTo>
                <a:lnTo>
                  <a:pt x="3991857" y="6112161"/>
                </a:lnTo>
                <a:lnTo>
                  <a:pt x="3991857" y="6141763"/>
                </a:lnTo>
                <a:lnTo>
                  <a:pt x="3962255" y="6141763"/>
                </a:lnTo>
                <a:close/>
                <a:moveTo>
                  <a:pt x="3696058" y="6112161"/>
                </a:moveTo>
                <a:lnTo>
                  <a:pt x="3725661" y="6112161"/>
                </a:lnTo>
                <a:lnTo>
                  <a:pt x="3725661" y="6141763"/>
                </a:lnTo>
                <a:lnTo>
                  <a:pt x="3696058" y="6141763"/>
                </a:lnTo>
                <a:close/>
                <a:moveTo>
                  <a:pt x="3429969" y="6112161"/>
                </a:moveTo>
                <a:lnTo>
                  <a:pt x="3459572" y="6112161"/>
                </a:lnTo>
                <a:lnTo>
                  <a:pt x="3459572" y="6141763"/>
                </a:lnTo>
                <a:lnTo>
                  <a:pt x="3429969" y="6141763"/>
                </a:lnTo>
                <a:close/>
                <a:moveTo>
                  <a:pt x="3163772" y="6112161"/>
                </a:moveTo>
                <a:lnTo>
                  <a:pt x="3193374" y="6112161"/>
                </a:lnTo>
                <a:lnTo>
                  <a:pt x="3193374" y="6141763"/>
                </a:lnTo>
                <a:lnTo>
                  <a:pt x="3163772" y="6141763"/>
                </a:lnTo>
                <a:close/>
                <a:moveTo>
                  <a:pt x="2897575" y="6112161"/>
                </a:moveTo>
                <a:lnTo>
                  <a:pt x="2927178" y="6112161"/>
                </a:lnTo>
                <a:lnTo>
                  <a:pt x="2927178" y="6141763"/>
                </a:lnTo>
                <a:lnTo>
                  <a:pt x="2897575" y="6141763"/>
                </a:lnTo>
                <a:close/>
                <a:moveTo>
                  <a:pt x="2631378" y="6112161"/>
                </a:moveTo>
                <a:lnTo>
                  <a:pt x="2660980" y="6112161"/>
                </a:lnTo>
                <a:lnTo>
                  <a:pt x="2660980" y="6141763"/>
                </a:lnTo>
                <a:lnTo>
                  <a:pt x="2631378" y="6141763"/>
                </a:lnTo>
                <a:close/>
                <a:moveTo>
                  <a:pt x="2365289" y="6112161"/>
                </a:moveTo>
                <a:lnTo>
                  <a:pt x="2394892" y="6112161"/>
                </a:lnTo>
                <a:lnTo>
                  <a:pt x="2394892" y="6141763"/>
                </a:lnTo>
                <a:lnTo>
                  <a:pt x="2365289" y="6141763"/>
                </a:lnTo>
                <a:close/>
                <a:moveTo>
                  <a:pt x="2099092" y="6112161"/>
                </a:moveTo>
                <a:lnTo>
                  <a:pt x="2128695" y="6112161"/>
                </a:lnTo>
                <a:lnTo>
                  <a:pt x="2128695" y="6141763"/>
                </a:lnTo>
                <a:lnTo>
                  <a:pt x="2099092" y="6141763"/>
                </a:lnTo>
                <a:close/>
                <a:moveTo>
                  <a:pt x="1832898" y="6112161"/>
                </a:moveTo>
                <a:lnTo>
                  <a:pt x="1862498" y="6112161"/>
                </a:lnTo>
                <a:lnTo>
                  <a:pt x="1862498" y="6141763"/>
                </a:lnTo>
                <a:lnTo>
                  <a:pt x="1832898" y="6141763"/>
                </a:lnTo>
                <a:close/>
                <a:moveTo>
                  <a:pt x="1566808" y="6112161"/>
                </a:moveTo>
                <a:lnTo>
                  <a:pt x="1596409" y="6112161"/>
                </a:lnTo>
                <a:lnTo>
                  <a:pt x="1596409" y="6141763"/>
                </a:lnTo>
                <a:lnTo>
                  <a:pt x="1566808" y="6141763"/>
                </a:lnTo>
                <a:close/>
                <a:moveTo>
                  <a:pt x="1300611" y="6112161"/>
                </a:moveTo>
                <a:lnTo>
                  <a:pt x="1330213" y="6112161"/>
                </a:lnTo>
                <a:lnTo>
                  <a:pt x="1330213" y="6141763"/>
                </a:lnTo>
                <a:lnTo>
                  <a:pt x="1300611" y="6141763"/>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1672158" y="5846396"/>
                </a:moveTo>
                <a:lnTo>
                  <a:pt x="11701760" y="5846396"/>
                </a:lnTo>
                <a:lnTo>
                  <a:pt x="11701760" y="5875998"/>
                </a:lnTo>
                <a:lnTo>
                  <a:pt x="11672158" y="5875998"/>
                </a:lnTo>
                <a:close/>
                <a:moveTo>
                  <a:pt x="11405961" y="5846396"/>
                </a:moveTo>
                <a:lnTo>
                  <a:pt x="11435563" y="5846396"/>
                </a:lnTo>
                <a:lnTo>
                  <a:pt x="11435563" y="5875998"/>
                </a:lnTo>
                <a:lnTo>
                  <a:pt x="11405961" y="5875998"/>
                </a:lnTo>
                <a:close/>
                <a:moveTo>
                  <a:pt x="11139872" y="5846396"/>
                </a:moveTo>
                <a:lnTo>
                  <a:pt x="11169474" y="5846396"/>
                </a:lnTo>
                <a:lnTo>
                  <a:pt x="11169474" y="5875998"/>
                </a:lnTo>
                <a:lnTo>
                  <a:pt x="11139872" y="5875998"/>
                </a:lnTo>
                <a:close/>
                <a:moveTo>
                  <a:pt x="10873675" y="5846396"/>
                </a:moveTo>
                <a:lnTo>
                  <a:pt x="10903277" y="5846396"/>
                </a:lnTo>
                <a:lnTo>
                  <a:pt x="10903277" y="5875998"/>
                </a:lnTo>
                <a:lnTo>
                  <a:pt x="10873675" y="5875998"/>
                </a:lnTo>
                <a:close/>
                <a:moveTo>
                  <a:pt x="10607478" y="5846396"/>
                </a:moveTo>
                <a:lnTo>
                  <a:pt x="10637188" y="5846396"/>
                </a:lnTo>
                <a:lnTo>
                  <a:pt x="10637188" y="5875998"/>
                </a:lnTo>
                <a:lnTo>
                  <a:pt x="10607478" y="5875998"/>
                </a:lnTo>
                <a:close/>
                <a:moveTo>
                  <a:pt x="10341389" y="5846396"/>
                </a:moveTo>
                <a:lnTo>
                  <a:pt x="10370992" y="5846396"/>
                </a:lnTo>
                <a:lnTo>
                  <a:pt x="10370992" y="5875998"/>
                </a:lnTo>
                <a:lnTo>
                  <a:pt x="10341389" y="5875998"/>
                </a:lnTo>
                <a:close/>
                <a:moveTo>
                  <a:pt x="10075192" y="5846396"/>
                </a:moveTo>
                <a:lnTo>
                  <a:pt x="10104794" y="5846396"/>
                </a:lnTo>
                <a:lnTo>
                  <a:pt x="10104794" y="5875998"/>
                </a:lnTo>
                <a:lnTo>
                  <a:pt x="10075192" y="5875998"/>
                </a:lnTo>
                <a:close/>
                <a:moveTo>
                  <a:pt x="9809103" y="5846396"/>
                </a:moveTo>
                <a:lnTo>
                  <a:pt x="9838705" y="5846396"/>
                </a:lnTo>
                <a:lnTo>
                  <a:pt x="9838705" y="5875998"/>
                </a:lnTo>
                <a:lnTo>
                  <a:pt x="9809103" y="5875998"/>
                </a:lnTo>
                <a:close/>
                <a:moveTo>
                  <a:pt x="9542906" y="5846396"/>
                </a:moveTo>
                <a:lnTo>
                  <a:pt x="9572509" y="5846396"/>
                </a:lnTo>
                <a:lnTo>
                  <a:pt x="9572509" y="5875998"/>
                </a:lnTo>
                <a:lnTo>
                  <a:pt x="9542906" y="5875998"/>
                </a:lnTo>
                <a:close/>
                <a:moveTo>
                  <a:pt x="9276817" y="5846396"/>
                </a:moveTo>
                <a:lnTo>
                  <a:pt x="9306420" y="5846396"/>
                </a:lnTo>
                <a:lnTo>
                  <a:pt x="9306420" y="5875998"/>
                </a:lnTo>
                <a:lnTo>
                  <a:pt x="9276817" y="5875998"/>
                </a:lnTo>
                <a:close/>
                <a:moveTo>
                  <a:pt x="9010620" y="5846396"/>
                </a:moveTo>
                <a:lnTo>
                  <a:pt x="9040222" y="5846396"/>
                </a:lnTo>
                <a:lnTo>
                  <a:pt x="9040222" y="5875998"/>
                </a:lnTo>
                <a:lnTo>
                  <a:pt x="9010620" y="5875998"/>
                </a:lnTo>
                <a:close/>
                <a:moveTo>
                  <a:pt x="8744423" y="5846396"/>
                </a:moveTo>
                <a:lnTo>
                  <a:pt x="8774026" y="5846396"/>
                </a:lnTo>
                <a:lnTo>
                  <a:pt x="8774026" y="5875998"/>
                </a:lnTo>
                <a:lnTo>
                  <a:pt x="8744423" y="5875998"/>
                </a:lnTo>
                <a:close/>
                <a:moveTo>
                  <a:pt x="8478226" y="5846396"/>
                </a:moveTo>
                <a:lnTo>
                  <a:pt x="8507828" y="5846396"/>
                </a:lnTo>
                <a:lnTo>
                  <a:pt x="8507828" y="5875998"/>
                </a:lnTo>
                <a:lnTo>
                  <a:pt x="8478226" y="5875998"/>
                </a:lnTo>
                <a:close/>
                <a:moveTo>
                  <a:pt x="8212137" y="5846396"/>
                </a:moveTo>
                <a:lnTo>
                  <a:pt x="8241740" y="5846396"/>
                </a:lnTo>
                <a:lnTo>
                  <a:pt x="8241740" y="5875998"/>
                </a:lnTo>
                <a:lnTo>
                  <a:pt x="8212137" y="5875998"/>
                </a:lnTo>
                <a:close/>
                <a:moveTo>
                  <a:pt x="7945940" y="5846396"/>
                </a:moveTo>
                <a:lnTo>
                  <a:pt x="7975543" y="5846396"/>
                </a:lnTo>
                <a:lnTo>
                  <a:pt x="7975543" y="5875998"/>
                </a:lnTo>
                <a:lnTo>
                  <a:pt x="7945940" y="5875998"/>
                </a:lnTo>
                <a:close/>
                <a:moveTo>
                  <a:pt x="7679743" y="5846396"/>
                </a:moveTo>
                <a:lnTo>
                  <a:pt x="7709346" y="5846396"/>
                </a:lnTo>
                <a:lnTo>
                  <a:pt x="7709346" y="5875998"/>
                </a:lnTo>
                <a:lnTo>
                  <a:pt x="7679743" y="5875998"/>
                </a:lnTo>
                <a:close/>
                <a:moveTo>
                  <a:pt x="7413653" y="5846396"/>
                </a:moveTo>
                <a:lnTo>
                  <a:pt x="7443256" y="5846396"/>
                </a:lnTo>
                <a:lnTo>
                  <a:pt x="7443256" y="5875998"/>
                </a:lnTo>
                <a:lnTo>
                  <a:pt x="7413653" y="5875998"/>
                </a:lnTo>
                <a:close/>
                <a:moveTo>
                  <a:pt x="7147456" y="5846396"/>
                </a:moveTo>
                <a:lnTo>
                  <a:pt x="7177058" y="5846396"/>
                </a:lnTo>
                <a:lnTo>
                  <a:pt x="7177058" y="5875998"/>
                </a:lnTo>
                <a:lnTo>
                  <a:pt x="7147456" y="5875998"/>
                </a:lnTo>
                <a:close/>
                <a:moveTo>
                  <a:pt x="6881367" y="5846396"/>
                </a:moveTo>
                <a:lnTo>
                  <a:pt x="6910970" y="5846396"/>
                </a:lnTo>
                <a:lnTo>
                  <a:pt x="6910970" y="5875998"/>
                </a:lnTo>
                <a:lnTo>
                  <a:pt x="6881367" y="5875998"/>
                </a:lnTo>
                <a:close/>
                <a:moveTo>
                  <a:pt x="6615170" y="5846396"/>
                </a:moveTo>
                <a:lnTo>
                  <a:pt x="6644773" y="5846396"/>
                </a:lnTo>
                <a:lnTo>
                  <a:pt x="6644773" y="5875998"/>
                </a:lnTo>
                <a:lnTo>
                  <a:pt x="6615170" y="5875998"/>
                </a:lnTo>
                <a:close/>
                <a:moveTo>
                  <a:pt x="6349081" y="5846396"/>
                </a:moveTo>
                <a:lnTo>
                  <a:pt x="6378683" y="5846396"/>
                </a:lnTo>
                <a:lnTo>
                  <a:pt x="6378683" y="5875998"/>
                </a:lnTo>
                <a:lnTo>
                  <a:pt x="6349081" y="5875998"/>
                </a:lnTo>
                <a:close/>
                <a:moveTo>
                  <a:pt x="6082884" y="5846396"/>
                </a:moveTo>
                <a:lnTo>
                  <a:pt x="6112486" y="5846396"/>
                </a:lnTo>
                <a:lnTo>
                  <a:pt x="6112486" y="5875998"/>
                </a:lnTo>
                <a:lnTo>
                  <a:pt x="6082884" y="5875998"/>
                </a:lnTo>
                <a:close/>
                <a:moveTo>
                  <a:pt x="5825310" y="5846396"/>
                </a:moveTo>
                <a:lnTo>
                  <a:pt x="5854913" y="5846396"/>
                </a:lnTo>
                <a:lnTo>
                  <a:pt x="5854913" y="5875998"/>
                </a:lnTo>
                <a:lnTo>
                  <a:pt x="5825310" y="5875998"/>
                </a:lnTo>
                <a:close/>
                <a:moveTo>
                  <a:pt x="5559113" y="5846396"/>
                </a:moveTo>
                <a:lnTo>
                  <a:pt x="5588715" y="5846396"/>
                </a:lnTo>
                <a:lnTo>
                  <a:pt x="5588715" y="5875998"/>
                </a:lnTo>
                <a:lnTo>
                  <a:pt x="5559113" y="5875998"/>
                </a:lnTo>
                <a:close/>
                <a:moveTo>
                  <a:pt x="5293024" y="5846396"/>
                </a:moveTo>
                <a:lnTo>
                  <a:pt x="5322626" y="5846396"/>
                </a:lnTo>
                <a:lnTo>
                  <a:pt x="5322626" y="5875998"/>
                </a:lnTo>
                <a:lnTo>
                  <a:pt x="5293024" y="5875998"/>
                </a:lnTo>
                <a:close/>
                <a:moveTo>
                  <a:pt x="5026827" y="5846396"/>
                </a:moveTo>
                <a:lnTo>
                  <a:pt x="5056429" y="5846396"/>
                </a:lnTo>
                <a:lnTo>
                  <a:pt x="5056429" y="5875998"/>
                </a:lnTo>
                <a:lnTo>
                  <a:pt x="5026827" y="5875998"/>
                </a:lnTo>
                <a:close/>
                <a:moveTo>
                  <a:pt x="4760630" y="5846396"/>
                </a:moveTo>
                <a:lnTo>
                  <a:pt x="4790340" y="5846396"/>
                </a:lnTo>
                <a:lnTo>
                  <a:pt x="4790340" y="5875998"/>
                </a:lnTo>
                <a:lnTo>
                  <a:pt x="4760630" y="5875998"/>
                </a:lnTo>
                <a:close/>
                <a:moveTo>
                  <a:pt x="4494541" y="5846396"/>
                </a:moveTo>
                <a:lnTo>
                  <a:pt x="4524144" y="5846396"/>
                </a:lnTo>
                <a:lnTo>
                  <a:pt x="4524144" y="5875998"/>
                </a:lnTo>
                <a:lnTo>
                  <a:pt x="4494541" y="5875998"/>
                </a:lnTo>
                <a:close/>
                <a:moveTo>
                  <a:pt x="4228344" y="5846396"/>
                </a:moveTo>
                <a:lnTo>
                  <a:pt x="4257946" y="5846396"/>
                </a:lnTo>
                <a:lnTo>
                  <a:pt x="4257946" y="5875998"/>
                </a:lnTo>
                <a:lnTo>
                  <a:pt x="4228344" y="5875998"/>
                </a:lnTo>
                <a:close/>
                <a:moveTo>
                  <a:pt x="3962255" y="5846396"/>
                </a:moveTo>
                <a:lnTo>
                  <a:pt x="3991857" y="5846396"/>
                </a:lnTo>
                <a:lnTo>
                  <a:pt x="3991857" y="5875998"/>
                </a:lnTo>
                <a:lnTo>
                  <a:pt x="3962255" y="5875998"/>
                </a:lnTo>
                <a:close/>
                <a:moveTo>
                  <a:pt x="3696058" y="5846396"/>
                </a:moveTo>
                <a:lnTo>
                  <a:pt x="3725661" y="5846396"/>
                </a:lnTo>
                <a:lnTo>
                  <a:pt x="3725661" y="5875998"/>
                </a:lnTo>
                <a:lnTo>
                  <a:pt x="3696058" y="5875998"/>
                </a:lnTo>
                <a:close/>
                <a:moveTo>
                  <a:pt x="3429969" y="5846396"/>
                </a:moveTo>
                <a:lnTo>
                  <a:pt x="3459572" y="5846396"/>
                </a:lnTo>
                <a:lnTo>
                  <a:pt x="3459572" y="5875998"/>
                </a:lnTo>
                <a:lnTo>
                  <a:pt x="3429969" y="5875998"/>
                </a:lnTo>
                <a:close/>
                <a:moveTo>
                  <a:pt x="3163772" y="5846396"/>
                </a:moveTo>
                <a:lnTo>
                  <a:pt x="3193374" y="5846396"/>
                </a:lnTo>
                <a:lnTo>
                  <a:pt x="3193374" y="5875998"/>
                </a:lnTo>
                <a:lnTo>
                  <a:pt x="3163772" y="5875998"/>
                </a:lnTo>
                <a:close/>
                <a:moveTo>
                  <a:pt x="2897575" y="5846396"/>
                </a:moveTo>
                <a:lnTo>
                  <a:pt x="2927178" y="5846396"/>
                </a:lnTo>
                <a:lnTo>
                  <a:pt x="2927178" y="5875998"/>
                </a:lnTo>
                <a:lnTo>
                  <a:pt x="2897575" y="5875998"/>
                </a:lnTo>
                <a:close/>
                <a:moveTo>
                  <a:pt x="2631378" y="5846396"/>
                </a:moveTo>
                <a:lnTo>
                  <a:pt x="2660980" y="5846396"/>
                </a:lnTo>
                <a:lnTo>
                  <a:pt x="2660980" y="5875998"/>
                </a:lnTo>
                <a:lnTo>
                  <a:pt x="2631378" y="5875998"/>
                </a:lnTo>
                <a:close/>
                <a:moveTo>
                  <a:pt x="2365289" y="5846396"/>
                </a:moveTo>
                <a:lnTo>
                  <a:pt x="2394892" y="5846396"/>
                </a:lnTo>
                <a:lnTo>
                  <a:pt x="2394892" y="5875998"/>
                </a:lnTo>
                <a:lnTo>
                  <a:pt x="2365289" y="5875998"/>
                </a:lnTo>
                <a:close/>
                <a:moveTo>
                  <a:pt x="2099092" y="5846396"/>
                </a:moveTo>
                <a:lnTo>
                  <a:pt x="2128695" y="5846396"/>
                </a:lnTo>
                <a:lnTo>
                  <a:pt x="2128695" y="5875998"/>
                </a:lnTo>
                <a:lnTo>
                  <a:pt x="2099092" y="5875998"/>
                </a:lnTo>
                <a:close/>
                <a:moveTo>
                  <a:pt x="1832898" y="5846396"/>
                </a:moveTo>
                <a:lnTo>
                  <a:pt x="1862498" y="5846396"/>
                </a:lnTo>
                <a:lnTo>
                  <a:pt x="1862498" y="5875998"/>
                </a:lnTo>
                <a:lnTo>
                  <a:pt x="1832898" y="5875998"/>
                </a:lnTo>
                <a:close/>
                <a:moveTo>
                  <a:pt x="1566808" y="5846396"/>
                </a:moveTo>
                <a:lnTo>
                  <a:pt x="1596409" y="5846396"/>
                </a:lnTo>
                <a:lnTo>
                  <a:pt x="1596409" y="5875998"/>
                </a:lnTo>
                <a:lnTo>
                  <a:pt x="1566808" y="5875998"/>
                </a:lnTo>
                <a:close/>
                <a:moveTo>
                  <a:pt x="1300611" y="5846396"/>
                </a:moveTo>
                <a:lnTo>
                  <a:pt x="1330213" y="5846396"/>
                </a:lnTo>
                <a:lnTo>
                  <a:pt x="1330213" y="5875998"/>
                </a:lnTo>
                <a:lnTo>
                  <a:pt x="1300611" y="5875998"/>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1672158" y="5580631"/>
                </a:moveTo>
                <a:lnTo>
                  <a:pt x="11701760" y="5580631"/>
                </a:lnTo>
                <a:lnTo>
                  <a:pt x="11701760" y="5610233"/>
                </a:lnTo>
                <a:lnTo>
                  <a:pt x="11672158" y="5610233"/>
                </a:lnTo>
                <a:close/>
                <a:moveTo>
                  <a:pt x="11405961" y="5580631"/>
                </a:moveTo>
                <a:lnTo>
                  <a:pt x="11435563" y="5580631"/>
                </a:lnTo>
                <a:lnTo>
                  <a:pt x="11435563" y="5610233"/>
                </a:lnTo>
                <a:lnTo>
                  <a:pt x="11405961" y="5610233"/>
                </a:lnTo>
                <a:close/>
                <a:moveTo>
                  <a:pt x="11139872" y="5580631"/>
                </a:moveTo>
                <a:lnTo>
                  <a:pt x="11169474" y="5580631"/>
                </a:lnTo>
                <a:lnTo>
                  <a:pt x="11169474" y="5610233"/>
                </a:lnTo>
                <a:lnTo>
                  <a:pt x="11139872" y="5610233"/>
                </a:lnTo>
                <a:close/>
                <a:moveTo>
                  <a:pt x="10873675" y="5580631"/>
                </a:moveTo>
                <a:lnTo>
                  <a:pt x="10903277" y="5580631"/>
                </a:lnTo>
                <a:lnTo>
                  <a:pt x="10903277" y="5610233"/>
                </a:lnTo>
                <a:lnTo>
                  <a:pt x="10873675" y="5610233"/>
                </a:lnTo>
                <a:close/>
                <a:moveTo>
                  <a:pt x="10607478" y="5580631"/>
                </a:moveTo>
                <a:lnTo>
                  <a:pt x="10637188" y="5580631"/>
                </a:lnTo>
                <a:lnTo>
                  <a:pt x="10637188" y="5610233"/>
                </a:lnTo>
                <a:lnTo>
                  <a:pt x="10607478" y="5610233"/>
                </a:lnTo>
                <a:close/>
                <a:moveTo>
                  <a:pt x="10341389" y="5580631"/>
                </a:moveTo>
                <a:lnTo>
                  <a:pt x="10370992" y="5580631"/>
                </a:lnTo>
                <a:lnTo>
                  <a:pt x="10370992" y="5610233"/>
                </a:lnTo>
                <a:lnTo>
                  <a:pt x="10341389" y="5610233"/>
                </a:lnTo>
                <a:close/>
                <a:moveTo>
                  <a:pt x="10075192" y="5580631"/>
                </a:moveTo>
                <a:lnTo>
                  <a:pt x="10104794" y="5580631"/>
                </a:lnTo>
                <a:lnTo>
                  <a:pt x="10104794" y="5610233"/>
                </a:lnTo>
                <a:lnTo>
                  <a:pt x="10075192" y="5610233"/>
                </a:lnTo>
                <a:close/>
                <a:moveTo>
                  <a:pt x="9809103" y="5580631"/>
                </a:moveTo>
                <a:lnTo>
                  <a:pt x="9838705" y="5580631"/>
                </a:lnTo>
                <a:lnTo>
                  <a:pt x="9838705" y="5610233"/>
                </a:lnTo>
                <a:lnTo>
                  <a:pt x="9809103" y="5610233"/>
                </a:lnTo>
                <a:close/>
                <a:moveTo>
                  <a:pt x="9542906" y="5580631"/>
                </a:moveTo>
                <a:lnTo>
                  <a:pt x="9572509" y="5580631"/>
                </a:lnTo>
                <a:lnTo>
                  <a:pt x="9572509" y="5610233"/>
                </a:lnTo>
                <a:lnTo>
                  <a:pt x="9542906" y="5610233"/>
                </a:lnTo>
                <a:close/>
                <a:moveTo>
                  <a:pt x="9276817" y="5580631"/>
                </a:moveTo>
                <a:lnTo>
                  <a:pt x="9306420" y="5580631"/>
                </a:lnTo>
                <a:lnTo>
                  <a:pt x="9306420" y="5610233"/>
                </a:lnTo>
                <a:lnTo>
                  <a:pt x="9276817" y="5610233"/>
                </a:lnTo>
                <a:close/>
                <a:moveTo>
                  <a:pt x="9010620" y="5580631"/>
                </a:moveTo>
                <a:lnTo>
                  <a:pt x="9040222" y="5580631"/>
                </a:lnTo>
                <a:lnTo>
                  <a:pt x="9040222" y="5610233"/>
                </a:lnTo>
                <a:lnTo>
                  <a:pt x="9010620" y="5610233"/>
                </a:lnTo>
                <a:close/>
                <a:moveTo>
                  <a:pt x="8744423" y="5580631"/>
                </a:moveTo>
                <a:lnTo>
                  <a:pt x="8774026" y="5580631"/>
                </a:lnTo>
                <a:lnTo>
                  <a:pt x="8774026" y="5610233"/>
                </a:lnTo>
                <a:lnTo>
                  <a:pt x="8744423" y="5610233"/>
                </a:lnTo>
                <a:close/>
                <a:moveTo>
                  <a:pt x="8478226" y="5580631"/>
                </a:moveTo>
                <a:lnTo>
                  <a:pt x="8507828" y="5580631"/>
                </a:lnTo>
                <a:lnTo>
                  <a:pt x="8507828" y="5610233"/>
                </a:lnTo>
                <a:lnTo>
                  <a:pt x="8478226" y="5610233"/>
                </a:lnTo>
                <a:close/>
                <a:moveTo>
                  <a:pt x="8212137" y="5580631"/>
                </a:moveTo>
                <a:lnTo>
                  <a:pt x="8241740" y="5580631"/>
                </a:lnTo>
                <a:lnTo>
                  <a:pt x="8241740" y="5610233"/>
                </a:lnTo>
                <a:lnTo>
                  <a:pt x="8212137" y="5610233"/>
                </a:lnTo>
                <a:close/>
                <a:moveTo>
                  <a:pt x="7945940" y="5580631"/>
                </a:moveTo>
                <a:lnTo>
                  <a:pt x="7975543" y="5580631"/>
                </a:lnTo>
                <a:lnTo>
                  <a:pt x="7975543" y="5610233"/>
                </a:lnTo>
                <a:lnTo>
                  <a:pt x="7945940" y="5610233"/>
                </a:lnTo>
                <a:close/>
                <a:moveTo>
                  <a:pt x="7679743" y="5580631"/>
                </a:moveTo>
                <a:lnTo>
                  <a:pt x="7709346" y="5580631"/>
                </a:lnTo>
                <a:lnTo>
                  <a:pt x="7709346" y="5610233"/>
                </a:lnTo>
                <a:lnTo>
                  <a:pt x="7679743" y="5610233"/>
                </a:lnTo>
                <a:close/>
                <a:moveTo>
                  <a:pt x="7413653" y="5580631"/>
                </a:moveTo>
                <a:lnTo>
                  <a:pt x="7443256" y="5580631"/>
                </a:lnTo>
                <a:lnTo>
                  <a:pt x="7443256" y="5610233"/>
                </a:lnTo>
                <a:lnTo>
                  <a:pt x="7413653" y="5610233"/>
                </a:lnTo>
                <a:close/>
                <a:moveTo>
                  <a:pt x="7147456" y="5580631"/>
                </a:moveTo>
                <a:lnTo>
                  <a:pt x="7177058" y="5580631"/>
                </a:lnTo>
                <a:lnTo>
                  <a:pt x="7177058" y="5610233"/>
                </a:lnTo>
                <a:lnTo>
                  <a:pt x="7147456" y="5610233"/>
                </a:lnTo>
                <a:close/>
                <a:moveTo>
                  <a:pt x="6881367" y="5580631"/>
                </a:moveTo>
                <a:lnTo>
                  <a:pt x="6910970" y="5580631"/>
                </a:lnTo>
                <a:lnTo>
                  <a:pt x="6910970" y="5610233"/>
                </a:lnTo>
                <a:lnTo>
                  <a:pt x="6881367" y="5610233"/>
                </a:lnTo>
                <a:close/>
                <a:moveTo>
                  <a:pt x="6615170" y="5580631"/>
                </a:moveTo>
                <a:lnTo>
                  <a:pt x="6644773" y="5580631"/>
                </a:lnTo>
                <a:lnTo>
                  <a:pt x="6644773" y="5610233"/>
                </a:lnTo>
                <a:lnTo>
                  <a:pt x="6615170" y="5610233"/>
                </a:lnTo>
                <a:close/>
                <a:moveTo>
                  <a:pt x="6349081" y="5580631"/>
                </a:moveTo>
                <a:lnTo>
                  <a:pt x="6378683" y="5580631"/>
                </a:lnTo>
                <a:lnTo>
                  <a:pt x="6378683" y="5610233"/>
                </a:lnTo>
                <a:lnTo>
                  <a:pt x="6349081" y="5610233"/>
                </a:lnTo>
                <a:close/>
                <a:moveTo>
                  <a:pt x="6082884" y="5580631"/>
                </a:moveTo>
                <a:lnTo>
                  <a:pt x="6112486" y="5580631"/>
                </a:lnTo>
                <a:lnTo>
                  <a:pt x="6112486" y="5610233"/>
                </a:lnTo>
                <a:lnTo>
                  <a:pt x="6082884" y="5610233"/>
                </a:lnTo>
                <a:close/>
                <a:moveTo>
                  <a:pt x="5825310" y="5580631"/>
                </a:moveTo>
                <a:lnTo>
                  <a:pt x="5854913" y="5580631"/>
                </a:lnTo>
                <a:lnTo>
                  <a:pt x="5854913" y="5610233"/>
                </a:lnTo>
                <a:lnTo>
                  <a:pt x="5825310" y="5610233"/>
                </a:lnTo>
                <a:close/>
                <a:moveTo>
                  <a:pt x="5559113" y="5580631"/>
                </a:moveTo>
                <a:lnTo>
                  <a:pt x="5588715" y="5580631"/>
                </a:lnTo>
                <a:lnTo>
                  <a:pt x="5588715" y="5610233"/>
                </a:lnTo>
                <a:lnTo>
                  <a:pt x="5559113" y="5610233"/>
                </a:lnTo>
                <a:close/>
                <a:moveTo>
                  <a:pt x="5293024" y="5580631"/>
                </a:moveTo>
                <a:lnTo>
                  <a:pt x="5322626" y="5580631"/>
                </a:lnTo>
                <a:lnTo>
                  <a:pt x="5322626" y="5610233"/>
                </a:lnTo>
                <a:lnTo>
                  <a:pt x="5293024" y="5610233"/>
                </a:lnTo>
                <a:close/>
                <a:moveTo>
                  <a:pt x="5026827" y="5580631"/>
                </a:moveTo>
                <a:lnTo>
                  <a:pt x="5056429" y="5580631"/>
                </a:lnTo>
                <a:lnTo>
                  <a:pt x="5056429" y="5610233"/>
                </a:lnTo>
                <a:lnTo>
                  <a:pt x="5026827" y="5610233"/>
                </a:lnTo>
                <a:close/>
                <a:moveTo>
                  <a:pt x="4760630" y="5580631"/>
                </a:moveTo>
                <a:lnTo>
                  <a:pt x="4790340" y="5580631"/>
                </a:lnTo>
                <a:lnTo>
                  <a:pt x="4790340" y="5610233"/>
                </a:lnTo>
                <a:lnTo>
                  <a:pt x="4760630" y="5610233"/>
                </a:lnTo>
                <a:close/>
                <a:moveTo>
                  <a:pt x="4494541" y="5580631"/>
                </a:moveTo>
                <a:lnTo>
                  <a:pt x="4524144" y="5580631"/>
                </a:lnTo>
                <a:lnTo>
                  <a:pt x="4524144" y="5610233"/>
                </a:lnTo>
                <a:lnTo>
                  <a:pt x="4494541" y="5610233"/>
                </a:lnTo>
                <a:close/>
                <a:moveTo>
                  <a:pt x="4228344" y="5580631"/>
                </a:moveTo>
                <a:lnTo>
                  <a:pt x="4257946" y="5580631"/>
                </a:lnTo>
                <a:lnTo>
                  <a:pt x="4257946" y="5610233"/>
                </a:lnTo>
                <a:lnTo>
                  <a:pt x="4228344" y="5610233"/>
                </a:lnTo>
                <a:close/>
                <a:moveTo>
                  <a:pt x="3962255" y="5580631"/>
                </a:moveTo>
                <a:lnTo>
                  <a:pt x="3991857" y="5580631"/>
                </a:lnTo>
                <a:lnTo>
                  <a:pt x="3991857" y="5610233"/>
                </a:lnTo>
                <a:lnTo>
                  <a:pt x="3962255" y="5610233"/>
                </a:lnTo>
                <a:close/>
                <a:moveTo>
                  <a:pt x="3696058" y="5580631"/>
                </a:moveTo>
                <a:lnTo>
                  <a:pt x="3725661" y="5580631"/>
                </a:lnTo>
                <a:lnTo>
                  <a:pt x="3725661" y="5610233"/>
                </a:lnTo>
                <a:lnTo>
                  <a:pt x="3696058" y="5610233"/>
                </a:lnTo>
                <a:close/>
                <a:moveTo>
                  <a:pt x="3429969" y="5580631"/>
                </a:moveTo>
                <a:lnTo>
                  <a:pt x="3459572" y="5580631"/>
                </a:lnTo>
                <a:lnTo>
                  <a:pt x="3459572" y="5610233"/>
                </a:lnTo>
                <a:lnTo>
                  <a:pt x="3429969" y="5610233"/>
                </a:lnTo>
                <a:close/>
                <a:moveTo>
                  <a:pt x="3163772" y="5580631"/>
                </a:moveTo>
                <a:lnTo>
                  <a:pt x="3193374" y="5580631"/>
                </a:lnTo>
                <a:lnTo>
                  <a:pt x="3193374" y="5610233"/>
                </a:lnTo>
                <a:lnTo>
                  <a:pt x="3163772" y="5610233"/>
                </a:lnTo>
                <a:close/>
                <a:moveTo>
                  <a:pt x="2897575" y="5580631"/>
                </a:moveTo>
                <a:lnTo>
                  <a:pt x="2927178" y="5580631"/>
                </a:lnTo>
                <a:lnTo>
                  <a:pt x="2927178" y="5610233"/>
                </a:lnTo>
                <a:lnTo>
                  <a:pt x="2897575" y="5610233"/>
                </a:lnTo>
                <a:close/>
                <a:moveTo>
                  <a:pt x="2631378" y="5580631"/>
                </a:moveTo>
                <a:lnTo>
                  <a:pt x="2660980" y="5580631"/>
                </a:lnTo>
                <a:lnTo>
                  <a:pt x="2660980" y="5610233"/>
                </a:lnTo>
                <a:lnTo>
                  <a:pt x="2631378" y="5610233"/>
                </a:lnTo>
                <a:close/>
                <a:moveTo>
                  <a:pt x="2365289" y="5580631"/>
                </a:moveTo>
                <a:lnTo>
                  <a:pt x="2394892" y="5580631"/>
                </a:lnTo>
                <a:lnTo>
                  <a:pt x="2394892" y="5610233"/>
                </a:lnTo>
                <a:lnTo>
                  <a:pt x="2365289" y="5610233"/>
                </a:lnTo>
                <a:close/>
                <a:moveTo>
                  <a:pt x="2099092" y="5580631"/>
                </a:moveTo>
                <a:lnTo>
                  <a:pt x="2128695" y="5580631"/>
                </a:lnTo>
                <a:lnTo>
                  <a:pt x="2128695" y="5610233"/>
                </a:lnTo>
                <a:lnTo>
                  <a:pt x="2099092" y="5610233"/>
                </a:lnTo>
                <a:close/>
                <a:moveTo>
                  <a:pt x="1832898" y="5580631"/>
                </a:moveTo>
                <a:lnTo>
                  <a:pt x="1862498" y="5580631"/>
                </a:lnTo>
                <a:lnTo>
                  <a:pt x="1862498" y="5610233"/>
                </a:lnTo>
                <a:lnTo>
                  <a:pt x="1832898" y="5610233"/>
                </a:lnTo>
                <a:close/>
                <a:moveTo>
                  <a:pt x="1566808" y="5580631"/>
                </a:moveTo>
                <a:lnTo>
                  <a:pt x="1596409" y="5580631"/>
                </a:lnTo>
                <a:lnTo>
                  <a:pt x="1596409" y="5610233"/>
                </a:lnTo>
                <a:lnTo>
                  <a:pt x="1566808" y="5610233"/>
                </a:lnTo>
                <a:close/>
                <a:moveTo>
                  <a:pt x="1300611" y="5580631"/>
                </a:moveTo>
                <a:lnTo>
                  <a:pt x="1330213" y="5580631"/>
                </a:lnTo>
                <a:lnTo>
                  <a:pt x="1330213" y="5610233"/>
                </a:lnTo>
                <a:lnTo>
                  <a:pt x="1300611" y="5610233"/>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1672158" y="5314974"/>
                </a:moveTo>
                <a:lnTo>
                  <a:pt x="11701760" y="5314974"/>
                </a:lnTo>
                <a:lnTo>
                  <a:pt x="11701760" y="5344468"/>
                </a:lnTo>
                <a:lnTo>
                  <a:pt x="11672158" y="5344468"/>
                </a:lnTo>
                <a:close/>
                <a:moveTo>
                  <a:pt x="11405961" y="5314974"/>
                </a:moveTo>
                <a:lnTo>
                  <a:pt x="11435563" y="5314974"/>
                </a:lnTo>
                <a:lnTo>
                  <a:pt x="11435563" y="5344468"/>
                </a:lnTo>
                <a:lnTo>
                  <a:pt x="11405961" y="5344468"/>
                </a:lnTo>
                <a:close/>
                <a:moveTo>
                  <a:pt x="11139872" y="5314974"/>
                </a:moveTo>
                <a:lnTo>
                  <a:pt x="11169474" y="5314974"/>
                </a:lnTo>
                <a:lnTo>
                  <a:pt x="11169474" y="5344468"/>
                </a:lnTo>
                <a:lnTo>
                  <a:pt x="11139872" y="5344468"/>
                </a:lnTo>
                <a:close/>
                <a:moveTo>
                  <a:pt x="10873675" y="5314974"/>
                </a:moveTo>
                <a:lnTo>
                  <a:pt x="10903277" y="5314974"/>
                </a:lnTo>
                <a:lnTo>
                  <a:pt x="10903277" y="5344468"/>
                </a:lnTo>
                <a:lnTo>
                  <a:pt x="10873675" y="5344468"/>
                </a:lnTo>
                <a:close/>
                <a:moveTo>
                  <a:pt x="10607478" y="5314974"/>
                </a:moveTo>
                <a:lnTo>
                  <a:pt x="10637188" y="5314974"/>
                </a:lnTo>
                <a:lnTo>
                  <a:pt x="10637188" y="5344468"/>
                </a:lnTo>
                <a:lnTo>
                  <a:pt x="10607478" y="5344468"/>
                </a:lnTo>
                <a:close/>
                <a:moveTo>
                  <a:pt x="10341389" y="5314974"/>
                </a:moveTo>
                <a:lnTo>
                  <a:pt x="10370992" y="5314974"/>
                </a:lnTo>
                <a:lnTo>
                  <a:pt x="10370992" y="5344468"/>
                </a:lnTo>
                <a:lnTo>
                  <a:pt x="10341389" y="5344468"/>
                </a:lnTo>
                <a:close/>
                <a:moveTo>
                  <a:pt x="10075192" y="5314974"/>
                </a:moveTo>
                <a:lnTo>
                  <a:pt x="10104794" y="5314974"/>
                </a:lnTo>
                <a:lnTo>
                  <a:pt x="10104794" y="5344468"/>
                </a:lnTo>
                <a:lnTo>
                  <a:pt x="10075192" y="5344468"/>
                </a:lnTo>
                <a:close/>
                <a:moveTo>
                  <a:pt x="9809103" y="5314974"/>
                </a:moveTo>
                <a:lnTo>
                  <a:pt x="9838705" y="5314974"/>
                </a:lnTo>
                <a:lnTo>
                  <a:pt x="9838705" y="5344468"/>
                </a:lnTo>
                <a:lnTo>
                  <a:pt x="9809103" y="5344468"/>
                </a:lnTo>
                <a:close/>
                <a:moveTo>
                  <a:pt x="9542906" y="5314974"/>
                </a:moveTo>
                <a:lnTo>
                  <a:pt x="9572509" y="5314974"/>
                </a:lnTo>
                <a:lnTo>
                  <a:pt x="9572509" y="5344468"/>
                </a:lnTo>
                <a:lnTo>
                  <a:pt x="9542906" y="5344468"/>
                </a:lnTo>
                <a:close/>
                <a:moveTo>
                  <a:pt x="9276817" y="5314974"/>
                </a:moveTo>
                <a:lnTo>
                  <a:pt x="9306420" y="5314974"/>
                </a:lnTo>
                <a:lnTo>
                  <a:pt x="9306420" y="5344468"/>
                </a:lnTo>
                <a:lnTo>
                  <a:pt x="9276817" y="5344468"/>
                </a:lnTo>
                <a:close/>
                <a:moveTo>
                  <a:pt x="9010620" y="5314974"/>
                </a:moveTo>
                <a:lnTo>
                  <a:pt x="9040222" y="5314974"/>
                </a:lnTo>
                <a:lnTo>
                  <a:pt x="9040222" y="5344468"/>
                </a:lnTo>
                <a:lnTo>
                  <a:pt x="9010620" y="5344468"/>
                </a:lnTo>
                <a:close/>
                <a:moveTo>
                  <a:pt x="8744423" y="5314974"/>
                </a:moveTo>
                <a:lnTo>
                  <a:pt x="8774026" y="5314974"/>
                </a:lnTo>
                <a:lnTo>
                  <a:pt x="8774026" y="5344468"/>
                </a:lnTo>
                <a:lnTo>
                  <a:pt x="8744423" y="5344468"/>
                </a:lnTo>
                <a:close/>
                <a:moveTo>
                  <a:pt x="8478226" y="5314974"/>
                </a:moveTo>
                <a:lnTo>
                  <a:pt x="8507828" y="5314974"/>
                </a:lnTo>
                <a:lnTo>
                  <a:pt x="8507828" y="5344468"/>
                </a:lnTo>
                <a:lnTo>
                  <a:pt x="8478226" y="5344468"/>
                </a:lnTo>
                <a:close/>
                <a:moveTo>
                  <a:pt x="8212137" y="5314974"/>
                </a:moveTo>
                <a:lnTo>
                  <a:pt x="8241740" y="5314974"/>
                </a:lnTo>
                <a:lnTo>
                  <a:pt x="8241740" y="5344468"/>
                </a:lnTo>
                <a:lnTo>
                  <a:pt x="8212137" y="5344468"/>
                </a:lnTo>
                <a:close/>
                <a:moveTo>
                  <a:pt x="7945940" y="5314974"/>
                </a:moveTo>
                <a:lnTo>
                  <a:pt x="7975543" y="5314974"/>
                </a:lnTo>
                <a:lnTo>
                  <a:pt x="7975543" y="5344468"/>
                </a:lnTo>
                <a:lnTo>
                  <a:pt x="7945940" y="5344468"/>
                </a:lnTo>
                <a:close/>
                <a:moveTo>
                  <a:pt x="7679743" y="5314974"/>
                </a:moveTo>
                <a:lnTo>
                  <a:pt x="7709346" y="5314974"/>
                </a:lnTo>
                <a:lnTo>
                  <a:pt x="7709346" y="5344468"/>
                </a:lnTo>
                <a:lnTo>
                  <a:pt x="7679743" y="5344468"/>
                </a:lnTo>
                <a:close/>
                <a:moveTo>
                  <a:pt x="7413653" y="5314974"/>
                </a:moveTo>
                <a:lnTo>
                  <a:pt x="7443256" y="5314974"/>
                </a:lnTo>
                <a:lnTo>
                  <a:pt x="7443256" y="5344468"/>
                </a:lnTo>
                <a:lnTo>
                  <a:pt x="7413653" y="5344468"/>
                </a:lnTo>
                <a:close/>
                <a:moveTo>
                  <a:pt x="7147456" y="5314974"/>
                </a:moveTo>
                <a:lnTo>
                  <a:pt x="7177058" y="5314974"/>
                </a:lnTo>
                <a:lnTo>
                  <a:pt x="7177058" y="5344468"/>
                </a:lnTo>
                <a:lnTo>
                  <a:pt x="7147456" y="5344468"/>
                </a:lnTo>
                <a:close/>
                <a:moveTo>
                  <a:pt x="6881367" y="5314974"/>
                </a:moveTo>
                <a:lnTo>
                  <a:pt x="6910970" y="5314974"/>
                </a:lnTo>
                <a:lnTo>
                  <a:pt x="6910970" y="5344468"/>
                </a:lnTo>
                <a:lnTo>
                  <a:pt x="6881367" y="5344468"/>
                </a:lnTo>
                <a:close/>
                <a:moveTo>
                  <a:pt x="6615170" y="5314974"/>
                </a:moveTo>
                <a:lnTo>
                  <a:pt x="6644773" y="5314974"/>
                </a:lnTo>
                <a:lnTo>
                  <a:pt x="6644773" y="5344468"/>
                </a:lnTo>
                <a:lnTo>
                  <a:pt x="6615170" y="5344468"/>
                </a:lnTo>
                <a:close/>
                <a:moveTo>
                  <a:pt x="6349081" y="5314974"/>
                </a:moveTo>
                <a:lnTo>
                  <a:pt x="6378683" y="5314974"/>
                </a:lnTo>
                <a:lnTo>
                  <a:pt x="6378683" y="5344468"/>
                </a:lnTo>
                <a:lnTo>
                  <a:pt x="6349081" y="5344468"/>
                </a:lnTo>
                <a:close/>
                <a:moveTo>
                  <a:pt x="6082884" y="5314974"/>
                </a:moveTo>
                <a:lnTo>
                  <a:pt x="6112486" y="5314974"/>
                </a:lnTo>
                <a:lnTo>
                  <a:pt x="6112486" y="5344468"/>
                </a:lnTo>
                <a:lnTo>
                  <a:pt x="6082884" y="5344468"/>
                </a:lnTo>
                <a:close/>
                <a:moveTo>
                  <a:pt x="5825310" y="5314974"/>
                </a:moveTo>
                <a:lnTo>
                  <a:pt x="5854913" y="5314974"/>
                </a:lnTo>
                <a:lnTo>
                  <a:pt x="5854913" y="5344468"/>
                </a:lnTo>
                <a:lnTo>
                  <a:pt x="5825310" y="5344468"/>
                </a:lnTo>
                <a:close/>
                <a:moveTo>
                  <a:pt x="5559113" y="5314974"/>
                </a:moveTo>
                <a:lnTo>
                  <a:pt x="5588715" y="5314974"/>
                </a:lnTo>
                <a:lnTo>
                  <a:pt x="5588715" y="5344468"/>
                </a:lnTo>
                <a:lnTo>
                  <a:pt x="5559113" y="5344468"/>
                </a:lnTo>
                <a:close/>
                <a:moveTo>
                  <a:pt x="5293024" y="5314974"/>
                </a:moveTo>
                <a:lnTo>
                  <a:pt x="5322626" y="5314974"/>
                </a:lnTo>
                <a:lnTo>
                  <a:pt x="5322626" y="5344468"/>
                </a:lnTo>
                <a:lnTo>
                  <a:pt x="5293024" y="5344468"/>
                </a:lnTo>
                <a:close/>
                <a:moveTo>
                  <a:pt x="5026827" y="5314974"/>
                </a:moveTo>
                <a:lnTo>
                  <a:pt x="5056429" y="5314974"/>
                </a:lnTo>
                <a:lnTo>
                  <a:pt x="5056429" y="5344468"/>
                </a:lnTo>
                <a:lnTo>
                  <a:pt x="5026827" y="5344468"/>
                </a:lnTo>
                <a:close/>
                <a:moveTo>
                  <a:pt x="4760630" y="5314974"/>
                </a:moveTo>
                <a:lnTo>
                  <a:pt x="4790340" y="5314974"/>
                </a:lnTo>
                <a:lnTo>
                  <a:pt x="4790340" y="5344468"/>
                </a:lnTo>
                <a:lnTo>
                  <a:pt x="4760630" y="5344468"/>
                </a:lnTo>
                <a:close/>
                <a:moveTo>
                  <a:pt x="4494541" y="5314974"/>
                </a:moveTo>
                <a:lnTo>
                  <a:pt x="4524144" y="5314974"/>
                </a:lnTo>
                <a:lnTo>
                  <a:pt x="4524144" y="5344468"/>
                </a:lnTo>
                <a:lnTo>
                  <a:pt x="4494541" y="5344468"/>
                </a:lnTo>
                <a:close/>
                <a:moveTo>
                  <a:pt x="4228344" y="5314974"/>
                </a:moveTo>
                <a:lnTo>
                  <a:pt x="4257946" y="5314974"/>
                </a:lnTo>
                <a:lnTo>
                  <a:pt x="4257946" y="5344468"/>
                </a:lnTo>
                <a:lnTo>
                  <a:pt x="4228344" y="5344468"/>
                </a:lnTo>
                <a:close/>
                <a:moveTo>
                  <a:pt x="3962255" y="5314974"/>
                </a:moveTo>
                <a:lnTo>
                  <a:pt x="3991857" y="5314974"/>
                </a:lnTo>
                <a:lnTo>
                  <a:pt x="3991857" y="5344468"/>
                </a:lnTo>
                <a:lnTo>
                  <a:pt x="3962255" y="5344468"/>
                </a:lnTo>
                <a:close/>
                <a:moveTo>
                  <a:pt x="3696058" y="5314974"/>
                </a:moveTo>
                <a:lnTo>
                  <a:pt x="3725661" y="5314974"/>
                </a:lnTo>
                <a:lnTo>
                  <a:pt x="3725661" y="5344468"/>
                </a:lnTo>
                <a:lnTo>
                  <a:pt x="3696058" y="5344468"/>
                </a:lnTo>
                <a:close/>
                <a:moveTo>
                  <a:pt x="3429969" y="5314974"/>
                </a:moveTo>
                <a:lnTo>
                  <a:pt x="3459572" y="5314974"/>
                </a:lnTo>
                <a:lnTo>
                  <a:pt x="3459572" y="5344468"/>
                </a:lnTo>
                <a:lnTo>
                  <a:pt x="3429969" y="5344468"/>
                </a:lnTo>
                <a:close/>
                <a:moveTo>
                  <a:pt x="3163772" y="5314974"/>
                </a:moveTo>
                <a:lnTo>
                  <a:pt x="3193374" y="5314974"/>
                </a:lnTo>
                <a:lnTo>
                  <a:pt x="3193374" y="5344468"/>
                </a:lnTo>
                <a:lnTo>
                  <a:pt x="3163772" y="5344468"/>
                </a:lnTo>
                <a:close/>
                <a:moveTo>
                  <a:pt x="2897575" y="5314974"/>
                </a:moveTo>
                <a:lnTo>
                  <a:pt x="2927178" y="5314974"/>
                </a:lnTo>
                <a:lnTo>
                  <a:pt x="2927178" y="5344468"/>
                </a:lnTo>
                <a:lnTo>
                  <a:pt x="2897575" y="5344468"/>
                </a:lnTo>
                <a:close/>
                <a:moveTo>
                  <a:pt x="2631378" y="5314974"/>
                </a:moveTo>
                <a:lnTo>
                  <a:pt x="2660980" y="5314974"/>
                </a:lnTo>
                <a:lnTo>
                  <a:pt x="2660980" y="5344468"/>
                </a:lnTo>
                <a:lnTo>
                  <a:pt x="2631378" y="5344468"/>
                </a:lnTo>
                <a:close/>
                <a:moveTo>
                  <a:pt x="2365289" y="5314974"/>
                </a:moveTo>
                <a:lnTo>
                  <a:pt x="2394892" y="5314974"/>
                </a:lnTo>
                <a:lnTo>
                  <a:pt x="2394892" y="5344468"/>
                </a:lnTo>
                <a:lnTo>
                  <a:pt x="2365289" y="5344468"/>
                </a:lnTo>
                <a:close/>
                <a:moveTo>
                  <a:pt x="2099092" y="5314974"/>
                </a:moveTo>
                <a:lnTo>
                  <a:pt x="2128695" y="5314974"/>
                </a:lnTo>
                <a:lnTo>
                  <a:pt x="2128695" y="5344468"/>
                </a:lnTo>
                <a:lnTo>
                  <a:pt x="2099092" y="5344468"/>
                </a:lnTo>
                <a:close/>
                <a:moveTo>
                  <a:pt x="1832898" y="5314974"/>
                </a:moveTo>
                <a:lnTo>
                  <a:pt x="1862498" y="5314974"/>
                </a:lnTo>
                <a:lnTo>
                  <a:pt x="1862498" y="5344468"/>
                </a:lnTo>
                <a:lnTo>
                  <a:pt x="1832898" y="5344468"/>
                </a:lnTo>
                <a:close/>
                <a:moveTo>
                  <a:pt x="1566808" y="5314974"/>
                </a:moveTo>
                <a:lnTo>
                  <a:pt x="1596409" y="5314974"/>
                </a:lnTo>
                <a:lnTo>
                  <a:pt x="1596409" y="5344468"/>
                </a:lnTo>
                <a:lnTo>
                  <a:pt x="1566808" y="5344468"/>
                </a:lnTo>
                <a:close/>
                <a:moveTo>
                  <a:pt x="1300611" y="5314974"/>
                </a:moveTo>
                <a:lnTo>
                  <a:pt x="1330213" y="5314974"/>
                </a:lnTo>
                <a:lnTo>
                  <a:pt x="1330213" y="5344468"/>
                </a:lnTo>
                <a:lnTo>
                  <a:pt x="1300611" y="5344468"/>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1672158" y="5049209"/>
                </a:moveTo>
                <a:lnTo>
                  <a:pt x="11701760" y="5049209"/>
                </a:lnTo>
                <a:lnTo>
                  <a:pt x="11701760" y="5078812"/>
                </a:lnTo>
                <a:lnTo>
                  <a:pt x="11672158" y="5078812"/>
                </a:lnTo>
                <a:close/>
                <a:moveTo>
                  <a:pt x="11405961" y="5049209"/>
                </a:moveTo>
                <a:lnTo>
                  <a:pt x="11435563" y="5049209"/>
                </a:lnTo>
                <a:lnTo>
                  <a:pt x="11435563" y="5078812"/>
                </a:lnTo>
                <a:lnTo>
                  <a:pt x="11405961" y="5078812"/>
                </a:lnTo>
                <a:close/>
                <a:moveTo>
                  <a:pt x="11139872" y="5049209"/>
                </a:moveTo>
                <a:lnTo>
                  <a:pt x="11169474" y="5049209"/>
                </a:lnTo>
                <a:lnTo>
                  <a:pt x="11169474" y="5078812"/>
                </a:lnTo>
                <a:lnTo>
                  <a:pt x="11139872" y="5078812"/>
                </a:lnTo>
                <a:close/>
                <a:moveTo>
                  <a:pt x="10873675" y="5049209"/>
                </a:moveTo>
                <a:lnTo>
                  <a:pt x="10903277" y="5049209"/>
                </a:lnTo>
                <a:lnTo>
                  <a:pt x="10903277" y="5078812"/>
                </a:lnTo>
                <a:lnTo>
                  <a:pt x="10873675" y="5078812"/>
                </a:lnTo>
                <a:close/>
                <a:moveTo>
                  <a:pt x="10607478" y="5049209"/>
                </a:moveTo>
                <a:lnTo>
                  <a:pt x="10637188" y="5049209"/>
                </a:lnTo>
                <a:lnTo>
                  <a:pt x="10637188" y="5078812"/>
                </a:lnTo>
                <a:lnTo>
                  <a:pt x="10607478" y="5078812"/>
                </a:lnTo>
                <a:close/>
                <a:moveTo>
                  <a:pt x="10341389" y="5049209"/>
                </a:moveTo>
                <a:lnTo>
                  <a:pt x="10370992" y="5049209"/>
                </a:lnTo>
                <a:lnTo>
                  <a:pt x="10370992" y="5078812"/>
                </a:lnTo>
                <a:lnTo>
                  <a:pt x="10341389" y="5078812"/>
                </a:lnTo>
                <a:close/>
                <a:moveTo>
                  <a:pt x="10075192" y="5049209"/>
                </a:moveTo>
                <a:lnTo>
                  <a:pt x="10104794" y="5049209"/>
                </a:lnTo>
                <a:lnTo>
                  <a:pt x="10104794" y="5078812"/>
                </a:lnTo>
                <a:lnTo>
                  <a:pt x="10075192" y="5078812"/>
                </a:lnTo>
                <a:close/>
                <a:moveTo>
                  <a:pt x="9809103" y="5049209"/>
                </a:moveTo>
                <a:lnTo>
                  <a:pt x="9838705" y="5049209"/>
                </a:lnTo>
                <a:lnTo>
                  <a:pt x="9838705" y="5078812"/>
                </a:lnTo>
                <a:lnTo>
                  <a:pt x="9809103" y="5078812"/>
                </a:lnTo>
                <a:close/>
                <a:moveTo>
                  <a:pt x="9542906" y="5049209"/>
                </a:moveTo>
                <a:lnTo>
                  <a:pt x="9572509" y="5049209"/>
                </a:lnTo>
                <a:lnTo>
                  <a:pt x="9572509" y="5078812"/>
                </a:lnTo>
                <a:lnTo>
                  <a:pt x="9542906" y="5078812"/>
                </a:lnTo>
                <a:close/>
                <a:moveTo>
                  <a:pt x="9276817" y="5049209"/>
                </a:moveTo>
                <a:lnTo>
                  <a:pt x="9306420" y="5049209"/>
                </a:lnTo>
                <a:lnTo>
                  <a:pt x="9306420" y="5078812"/>
                </a:lnTo>
                <a:lnTo>
                  <a:pt x="9276817" y="5078812"/>
                </a:lnTo>
                <a:close/>
                <a:moveTo>
                  <a:pt x="9010620" y="5049209"/>
                </a:moveTo>
                <a:lnTo>
                  <a:pt x="9040222" y="5049209"/>
                </a:lnTo>
                <a:lnTo>
                  <a:pt x="9040222" y="5078812"/>
                </a:lnTo>
                <a:lnTo>
                  <a:pt x="9010620" y="5078812"/>
                </a:lnTo>
                <a:close/>
                <a:moveTo>
                  <a:pt x="8744423" y="5049209"/>
                </a:moveTo>
                <a:lnTo>
                  <a:pt x="8774026" y="5049209"/>
                </a:lnTo>
                <a:lnTo>
                  <a:pt x="8774026" y="5078812"/>
                </a:lnTo>
                <a:lnTo>
                  <a:pt x="8744423" y="5078812"/>
                </a:lnTo>
                <a:close/>
                <a:moveTo>
                  <a:pt x="8478226" y="5049209"/>
                </a:moveTo>
                <a:lnTo>
                  <a:pt x="8507828" y="5049209"/>
                </a:lnTo>
                <a:lnTo>
                  <a:pt x="8507828" y="5078812"/>
                </a:lnTo>
                <a:lnTo>
                  <a:pt x="8478226" y="5078812"/>
                </a:lnTo>
                <a:close/>
                <a:moveTo>
                  <a:pt x="8212137" y="5049209"/>
                </a:moveTo>
                <a:lnTo>
                  <a:pt x="8241740" y="5049209"/>
                </a:lnTo>
                <a:lnTo>
                  <a:pt x="8241740" y="5078812"/>
                </a:lnTo>
                <a:lnTo>
                  <a:pt x="8212137" y="5078812"/>
                </a:lnTo>
                <a:close/>
                <a:moveTo>
                  <a:pt x="7945940" y="5049209"/>
                </a:moveTo>
                <a:lnTo>
                  <a:pt x="7975543" y="5049209"/>
                </a:lnTo>
                <a:lnTo>
                  <a:pt x="7975543" y="5078812"/>
                </a:lnTo>
                <a:lnTo>
                  <a:pt x="7945940" y="5078812"/>
                </a:lnTo>
                <a:close/>
                <a:moveTo>
                  <a:pt x="7679743" y="5049209"/>
                </a:moveTo>
                <a:lnTo>
                  <a:pt x="7709346" y="5049209"/>
                </a:lnTo>
                <a:lnTo>
                  <a:pt x="7709346" y="5078812"/>
                </a:lnTo>
                <a:lnTo>
                  <a:pt x="7679743" y="5078812"/>
                </a:lnTo>
                <a:close/>
                <a:moveTo>
                  <a:pt x="7413653" y="5049209"/>
                </a:moveTo>
                <a:lnTo>
                  <a:pt x="7443256" y="5049209"/>
                </a:lnTo>
                <a:lnTo>
                  <a:pt x="7443256" y="5078812"/>
                </a:lnTo>
                <a:lnTo>
                  <a:pt x="7413653" y="5078812"/>
                </a:lnTo>
                <a:close/>
                <a:moveTo>
                  <a:pt x="7147456" y="5049209"/>
                </a:moveTo>
                <a:lnTo>
                  <a:pt x="7177058" y="5049209"/>
                </a:lnTo>
                <a:lnTo>
                  <a:pt x="7177058" y="5078812"/>
                </a:lnTo>
                <a:lnTo>
                  <a:pt x="7147456" y="5078812"/>
                </a:lnTo>
                <a:close/>
                <a:moveTo>
                  <a:pt x="6881367" y="5049209"/>
                </a:moveTo>
                <a:lnTo>
                  <a:pt x="6910970" y="5049209"/>
                </a:lnTo>
                <a:lnTo>
                  <a:pt x="6910970" y="5078812"/>
                </a:lnTo>
                <a:lnTo>
                  <a:pt x="6881367" y="5078812"/>
                </a:lnTo>
                <a:close/>
                <a:moveTo>
                  <a:pt x="6615170" y="5049209"/>
                </a:moveTo>
                <a:lnTo>
                  <a:pt x="6644773" y="5049209"/>
                </a:lnTo>
                <a:lnTo>
                  <a:pt x="6644773" y="5078812"/>
                </a:lnTo>
                <a:lnTo>
                  <a:pt x="6615170" y="5078812"/>
                </a:lnTo>
                <a:close/>
                <a:moveTo>
                  <a:pt x="6349081" y="5049209"/>
                </a:moveTo>
                <a:lnTo>
                  <a:pt x="6378683" y="5049209"/>
                </a:lnTo>
                <a:lnTo>
                  <a:pt x="6378683" y="5078812"/>
                </a:lnTo>
                <a:lnTo>
                  <a:pt x="6349081" y="5078812"/>
                </a:lnTo>
                <a:close/>
                <a:moveTo>
                  <a:pt x="6082884" y="5049209"/>
                </a:moveTo>
                <a:lnTo>
                  <a:pt x="6112486" y="5049209"/>
                </a:lnTo>
                <a:lnTo>
                  <a:pt x="6112486" y="5078812"/>
                </a:lnTo>
                <a:lnTo>
                  <a:pt x="6082884" y="5078812"/>
                </a:lnTo>
                <a:close/>
                <a:moveTo>
                  <a:pt x="5825310" y="5049209"/>
                </a:moveTo>
                <a:lnTo>
                  <a:pt x="5854913" y="5049209"/>
                </a:lnTo>
                <a:lnTo>
                  <a:pt x="5854913" y="5078812"/>
                </a:lnTo>
                <a:lnTo>
                  <a:pt x="5825310" y="5078812"/>
                </a:lnTo>
                <a:close/>
                <a:moveTo>
                  <a:pt x="5559113" y="5049209"/>
                </a:moveTo>
                <a:lnTo>
                  <a:pt x="5588715" y="5049209"/>
                </a:lnTo>
                <a:lnTo>
                  <a:pt x="5588715" y="5078812"/>
                </a:lnTo>
                <a:lnTo>
                  <a:pt x="5559113" y="5078812"/>
                </a:lnTo>
                <a:close/>
                <a:moveTo>
                  <a:pt x="5293024" y="5049209"/>
                </a:moveTo>
                <a:lnTo>
                  <a:pt x="5322626" y="5049209"/>
                </a:lnTo>
                <a:lnTo>
                  <a:pt x="5322626" y="5078812"/>
                </a:lnTo>
                <a:lnTo>
                  <a:pt x="5293024" y="5078812"/>
                </a:lnTo>
                <a:close/>
                <a:moveTo>
                  <a:pt x="5026827" y="5049209"/>
                </a:moveTo>
                <a:lnTo>
                  <a:pt x="5056429" y="5049209"/>
                </a:lnTo>
                <a:lnTo>
                  <a:pt x="5056429" y="5078812"/>
                </a:lnTo>
                <a:lnTo>
                  <a:pt x="5026827" y="5078812"/>
                </a:lnTo>
                <a:close/>
                <a:moveTo>
                  <a:pt x="4760630" y="5049209"/>
                </a:moveTo>
                <a:lnTo>
                  <a:pt x="4790340" y="5049209"/>
                </a:lnTo>
                <a:lnTo>
                  <a:pt x="4790340" y="5078812"/>
                </a:lnTo>
                <a:lnTo>
                  <a:pt x="4760630" y="5078812"/>
                </a:lnTo>
                <a:close/>
                <a:moveTo>
                  <a:pt x="4494541" y="5049209"/>
                </a:moveTo>
                <a:lnTo>
                  <a:pt x="4524144" y="5049209"/>
                </a:lnTo>
                <a:lnTo>
                  <a:pt x="4524144" y="5078812"/>
                </a:lnTo>
                <a:lnTo>
                  <a:pt x="4494541" y="5078812"/>
                </a:lnTo>
                <a:close/>
                <a:moveTo>
                  <a:pt x="4228344" y="5049209"/>
                </a:moveTo>
                <a:lnTo>
                  <a:pt x="4257946" y="5049209"/>
                </a:lnTo>
                <a:lnTo>
                  <a:pt x="4257946" y="5078812"/>
                </a:lnTo>
                <a:lnTo>
                  <a:pt x="4228344" y="5078812"/>
                </a:lnTo>
                <a:close/>
                <a:moveTo>
                  <a:pt x="3962255" y="5049209"/>
                </a:moveTo>
                <a:lnTo>
                  <a:pt x="3991857" y="5049209"/>
                </a:lnTo>
                <a:lnTo>
                  <a:pt x="3991857" y="5078812"/>
                </a:lnTo>
                <a:lnTo>
                  <a:pt x="3962255" y="5078812"/>
                </a:lnTo>
                <a:close/>
                <a:moveTo>
                  <a:pt x="3696058" y="5049209"/>
                </a:moveTo>
                <a:lnTo>
                  <a:pt x="3725661" y="5049209"/>
                </a:lnTo>
                <a:lnTo>
                  <a:pt x="3725661" y="5078812"/>
                </a:lnTo>
                <a:lnTo>
                  <a:pt x="3696058" y="5078812"/>
                </a:lnTo>
                <a:close/>
                <a:moveTo>
                  <a:pt x="3429969" y="5049209"/>
                </a:moveTo>
                <a:lnTo>
                  <a:pt x="3459572" y="5049209"/>
                </a:lnTo>
                <a:lnTo>
                  <a:pt x="3459572" y="5078812"/>
                </a:lnTo>
                <a:lnTo>
                  <a:pt x="3429969" y="5078812"/>
                </a:lnTo>
                <a:close/>
                <a:moveTo>
                  <a:pt x="3163772" y="5049209"/>
                </a:moveTo>
                <a:lnTo>
                  <a:pt x="3193374" y="5049209"/>
                </a:lnTo>
                <a:lnTo>
                  <a:pt x="3193374" y="5078812"/>
                </a:lnTo>
                <a:lnTo>
                  <a:pt x="3163772" y="5078812"/>
                </a:lnTo>
                <a:close/>
                <a:moveTo>
                  <a:pt x="2897575" y="5049209"/>
                </a:moveTo>
                <a:lnTo>
                  <a:pt x="2927178" y="5049209"/>
                </a:lnTo>
                <a:lnTo>
                  <a:pt x="2927178" y="5078812"/>
                </a:lnTo>
                <a:lnTo>
                  <a:pt x="2897575" y="5078812"/>
                </a:lnTo>
                <a:close/>
                <a:moveTo>
                  <a:pt x="2631378" y="5049209"/>
                </a:moveTo>
                <a:lnTo>
                  <a:pt x="2660980" y="5049209"/>
                </a:lnTo>
                <a:lnTo>
                  <a:pt x="2660980" y="5078812"/>
                </a:lnTo>
                <a:lnTo>
                  <a:pt x="2631378" y="5078812"/>
                </a:lnTo>
                <a:close/>
                <a:moveTo>
                  <a:pt x="2365289" y="5049209"/>
                </a:moveTo>
                <a:lnTo>
                  <a:pt x="2394892" y="5049209"/>
                </a:lnTo>
                <a:lnTo>
                  <a:pt x="2394892" y="5078812"/>
                </a:lnTo>
                <a:lnTo>
                  <a:pt x="2365289" y="5078812"/>
                </a:lnTo>
                <a:close/>
                <a:moveTo>
                  <a:pt x="2099092" y="5049209"/>
                </a:moveTo>
                <a:lnTo>
                  <a:pt x="2128695" y="5049209"/>
                </a:lnTo>
                <a:lnTo>
                  <a:pt x="2128695" y="5078812"/>
                </a:lnTo>
                <a:lnTo>
                  <a:pt x="2099092" y="5078812"/>
                </a:lnTo>
                <a:close/>
                <a:moveTo>
                  <a:pt x="1832898" y="5049209"/>
                </a:moveTo>
                <a:lnTo>
                  <a:pt x="1862498" y="5049209"/>
                </a:lnTo>
                <a:lnTo>
                  <a:pt x="1862498" y="5078812"/>
                </a:lnTo>
                <a:lnTo>
                  <a:pt x="1832898" y="5078812"/>
                </a:lnTo>
                <a:close/>
                <a:moveTo>
                  <a:pt x="1566808" y="5049209"/>
                </a:moveTo>
                <a:lnTo>
                  <a:pt x="1596409" y="5049209"/>
                </a:lnTo>
                <a:lnTo>
                  <a:pt x="1596409" y="5078812"/>
                </a:lnTo>
                <a:lnTo>
                  <a:pt x="1566808" y="5078812"/>
                </a:lnTo>
                <a:close/>
                <a:moveTo>
                  <a:pt x="1300611" y="5049209"/>
                </a:moveTo>
                <a:lnTo>
                  <a:pt x="1330213" y="5049209"/>
                </a:lnTo>
                <a:lnTo>
                  <a:pt x="1330213" y="5078812"/>
                </a:lnTo>
                <a:lnTo>
                  <a:pt x="1300611" y="5078812"/>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1672158" y="4783444"/>
                </a:moveTo>
                <a:lnTo>
                  <a:pt x="11701760" y="4783444"/>
                </a:lnTo>
                <a:lnTo>
                  <a:pt x="11701760" y="4813046"/>
                </a:lnTo>
                <a:lnTo>
                  <a:pt x="11672158" y="4813046"/>
                </a:lnTo>
                <a:close/>
                <a:moveTo>
                  <a:pt x="11405961" y="4783444"/>
                </a:moveTo>
                <a:lnTo>
                  <a:pt x="11435563" y="4783444"/>
                </a:lnTo>
                <a:lnTo>
                  <a:pt x="11435563" y="4813046"/>
                </a:lnTo>
                <a:lnTo>
                  <a:pt x="11405961" y="4813046"/>
                </a:lnTo>
                <a:close/>
                <a:moveTo>
                  <a:pt x="11139872" y="4783444"/>
                </a:moveTo>
                <a:lnTo>
                  <a:pt x="11169474" y="4783444"/>
                </a:lnTo>
                <a:lnTo>
                  <a:pt x="11169474" y="4813046"/>
                </a:lnTo>
                <a:lnTo>
                  <a:pt x="11139872" y="4813046"/>
                </a:lnTo>
                <a:close/>
                <a:moveTo>
                  <a:pt x="10873675" y="4783444"/>
                </a:moveTo>
                <a:lnTo>
                  <a:pt x="10903277" y="4783444"/>
                </a:lnTo>
                <a:lnTo>
                  <a:pt x="10903277" y="4813046"/>
                </a:lnTo>
                <a:lnTo>
                  <a:pt x="10873675" y="4813046"/>
                </a:lnTo>
                <a:close/>
                <a:moveTo>
                  <a:pt x="10607478" y="4783444"/>
                </a:moveTo>
                <a:lnTo>
                  <a:pt x="10637188" y="4783444"/>
                </a:lnTo>
                <a:lnTo>
                  <a:pt x="10637188" y="4813046"/>
                </a:lnTo>
                <a:lnTo>
                  <a:pt x="10607478" y="4813046"/>
                </a:lnTo>
                <a:close/>
                <a:moveTo>
                  <a:pt x="10341389" y="4783444"/>
                </a:moveTo>
                <a:lnTo>
                  <a:pt x="10370992" y="4783444"/>
                </a:lnTo>
                <a:lnTo>
                  <a:pt x="10370992" y="4813046"/>
                </a:lnTo>
                <a:lnTo>
                  <a:pt x="10341389" y="4813046"/>
                </a:lnTo>
                <a:close/>
                <a:moveTo>
                  <a:pt x="10075192" y="4783444"/>
                </a:moveTo>
                <a:lnTo>
                  <a:pt x="10104794" y="4783444"/>
                </a:lnTo>
                <a:lnTo>
                  <a:pt x="10104794" y="4813046"/>
                </a:lnTo>
                <a:lnTo>
                  <a:pt x="10075192" y="4813046"/>
                </a:lnTo>
                <a:close/>
                <a:moveTo>
                  <a:pt x="9809103" y="4783444"/>
                </a:moveTo>
                <a:lnTo>
                  <a:pt x="9838705" y="4783444"/>
                </a:lnTo>
                <a:lnTo>
                  <a:pt x="9838705" y="4813046"/>
                </a:lnTo>
                <a:lnTo>
                  <a:pt x="9809103" y="4813046"/>
                </a:lnTo>
                <a:close/>
                <a:moveTo>
                  <a:pt x="9542906" y="4783444"/>
                </a:moveTo>
                <a:lnTo>
                  <a:pt x="9572509" y="4783444"/>
                </a:lnTo>
                <a:lnTo>
                  <a:pt x="9572509" y="4813046"/>
                </a:lnTo>
                <a:lnTo>
                  <a:pt x="9542906" y="4813046"/>
                </a:lnTo>
                <a:close/>
                <a:moveTo>
                  <a:pt x="9276817" y="4783444"/>
                </a:moveTo>
                <a:lnTo>
                  <a:pt x="9306420" y="4783444"/>
                </a:lnTo>
                <a:lnTo>
                  <a:pt x="9306420" y="4813046"/>
                </a:lnTo>
                <a:lnTo>
                  <a:pt x="9276817" y="4813046"/>
                </a:lnTo>
                <a:close/>
                <a:moveTo>
                  <a:pt x="9010620" y="4783444"/>
                </a:moveTo>
                <a:lnTo>
                  <a:pt x="9040222" y="4783444"/>
                </a:lnTo>
                <a:lnTo>
                  <a:pt x="9040222" y="4813046"/>
                </a:lnTo>
                <a:lnTo>
                  <a:pt x="9010620" y="4813046"/>
                </a:lnTo>
                <a:close/>
                <a:moveTo>
                  <a:pt x="8744423" y="4783444"/>
                </a:moveTo>
                <a:lnTo>
                  <a:pt x="8774026" y="4783444"/>
                </a:lnTo>
                <a:lnTo>
                  <a:pt x="8774026" y="4813046"/>
                </a:lnTo>
                <a:lnTo>
                  <a:pt x="8744423" y="4813046"/>
                </a:lnTo>
                <a:close/>
                <a:moveTo>
                  <a:pt x="8478226" y="4783444"/>
                </a:moveTo>
                <a:lnTo>
                  <a:pt x="8507828" y="4783444"/>
                </a:lnTo>
                <a:lnTo>
                  <a:pt x="8507828" y="4813046"/>
                </a:lnTo>
                <a:lnTo>
                  <a:pt x="8478226" y="4813046"/>
                </a:lnTo>
                <a:close/>
                <a:moveTo>
                  <a:pt x="8212137" y="4783444"/>
                </a:moveTo>
                <a:lnTo>
                  <a:pt x="8241740" y="4783444"/>
                </a:lnTo>
                <a:lnTo>
                  <a:pt x="8241740" y="4813046"/>
                </a:lnTo>
                <a:lnTo>
                  <a:pt x="8212137" y="4813046"/>
                </a:lnTo>
                <a:close/>
                <a:moveTo>
                  <a:pt x="7945940" y="4783444"/>
                </a:moveTo>
                <a:lnTo>
                  <a:pt x="7975543" y="4783444"/>
                </a:lnTo>
                <a:lnTo>
                  <a:pt x="7975543" y="4813046"/>
                </a:lnTo>
                <a:lnTo>
                  <a:pt x="7945940" y="4813046"/>
                </a:lnTo>
                <a:close/>
                <a:moveTo>
                  <a:pt x="7679743" y="4783444"/>
                </a:moveTo>
                <a:lnTo>
                  <a:pt x="7709346" y="4783444"/>
                </a:lnTo>
                <a:lnTo>
                  <a:pt x="7709346" y="4813046"/>
                </a:lnTo>
                <a:lnTo>
                  <a:pt x="7679743" y="4813046"/>
                </a:lnTo>
                <a:close/>
                <a:moveTo>
                  <a:pt x="7413653" y="4783444"/>
                </a:moveTo>
                <a:lnTo>
                  <a:pt x="7443256" y="4783444"/>
                </a:lnTo>
                <a:lnTo>
                  <a:pt x="7443256" y="4813046"/>
                </a:lnTo>
                <a:lnTo>
                  <a:pt x="7413653" y="4813046"/>
                </a:lnTo>
                <a:close/>
                <a:moveTo>
                  <a:pt x="7147456" y="4783444"/>
                </a:moveTo>
                <a:lnTo>
                  <a:pt x="7177058" y="4783444"/>
                </a:lnTo>
                <a:lnTo>
                  <a:pt x="7177058" y="4813046"/>
                </a:lnTo>
                <a:lnTo>
                  <a:pt x="7147456" y="4813046"/>
                </a:lnTo>
                <a:close/>
                <a:moveTo>
                  <a:pt x="6881367" y="4783444"/>
                </a:moveTo>
                <a:lnTo>
                  <a:pt x="6910970" y="4783444"/>
                </a:lnTo>
                <a:lnTo>
                  <a:pt x="6910970" y="4813046"/>
                </a:lnTo>
                <a:lnTo>
                  <a:pt x="6881367" y="4813046"/>
                </a:lnTo>
                <a:close/>
                <a:moveTo>
                  <a:pt x="6615170" y="4783444"/>
                </a:moveTo>
                <a:lnTo>
                  <a:pt x="6644773" y="4783444"/>
                </a:lnTo>
                <a:lnTo>
                  <a:pt x="6644773" y="4813046"/>
                </a:lnTo>
                <a:lnTo>
                  <a:pt x="6615170" y="4813046"/>
                </a:lnTo>
                <a:close/>
                <a:moveTo>
                  <a:pt x="6349081" y="4783444"/>
                </a:moveTo>
                <a:lnTo>
                  <a:pt x="6378683" y="4783444"/>
                </a:lnTo>
                <a:lnTo>
                  <a:pt x="6378683" y="4813046"/>
                </a:lnTo>
                <a:lnTo>
                  <a:pt x="6349081" y="4813046"/>
                </a:lnTo>
                <a:close/>
                <a:moveTo>
                  <a:pt x="6082884" y="4783444"/>
                </a:moveTo>
                <a:lnTo>
                  <a:pt x="6112486" y="4783444"/>
                </a:lnTo>
                <a:lnTo>
                  <a:pt x="6112486" y="4813046"/>
                </a:lnTo>
                <a:lnTo>
                  <a:pt x="6082884" y="4813046"/>
                </a:lnTo>
                <a:close/>
                <a:moveTo>
                  <a:pt x="5825310" y="4783444"/>
                </a:moveTo>
                <a:lnTo>
                  <a:pt x="5854913" y="4783444"/>
                </a:lnTo>
                <a:lnTo>
                  <a:pt x="5854913" y="4813046"/>
                </a:lnTo>
                <a:lnTo>
                  <a:pt x="5825310" y="4813046"/>
                </a:lnTo>
                <a:close/>
                <a:moveTo>
                  <a:pt x="5559113" y="4783444"/>
                </a:moveTo>
                <a:lnTo>
                  <a:pt x="5588715" y="4783444"/>
                </a:lnTo>
                <a:lnTo>
                  <a:pt x="5588715" y="4813046"/>
                </a:lnTo>
                <a:lnTo>
                  <a:pt x="5559113" y="4813046"/>
                </a:lnTo>
                <a:close/>
                <a:moveTo>
                  <a:pt x="5293024" y="4783444"/>
                </a:moveTo>
                <a:lnTo>
                  <a:pt x="5322626" y="4783444"/>
                </a:lnTo>
                <a:lnTo>
                  <a:pt x="5322626" y="4813046"/>
                </a:lnTo>
                <a:lnTo>
                  <a:pt x="5293024" y="4813046"/>
                </a:lnTo>
                <a:close/>
                <a:moveTo>
                  <a:pt x="5026827" y="4783444"/>
                </a:moveTo>
                <a:lnTo>
                  <a:pt x="5056429" y="4783444"/>
                </a:lnTo>
                <a:lnTo>
                  <a:pt x="5056429" y="4813046"/>
                </a:lnTo>
                <a:lnTo>
                  <a:pt x="5026827" y="4813046"/>
                </a:lnTo>
                <a:close/>
                <a:moveTo>
                  <a:pt x="4760630" y="4783444"/>
                </a:moveTo>
                <a:lnTo>
                  <a:pt x="4790340" y="4783444"/>
                </a:lnTo>
                <a:lnTo>
                  <a:pt x="4790340" y="4813046"/>
                </a:lnTo>
                <a:lnTo>
                  <a:pt x="4760630" y="4813046"/>
                </a:lnTo>
                <a:close/>
                <a:moveTo>
                  <a:pt x="4494541" y="4783444"/>
                </a:moveTo>
                <a:lnTo>
                  <a:pt x="4524144" y="4783444"/>
                </a:lnTo>
                <a:lnTo>
                  <a:pt x="4524144" y="4813046"/>
                </a:lnTo>
                <a:lnTo>
                  <a:pt x="4494541" y="4813046"/>
                </a:lnTo>
                <a:close/>
                <a:moveTo>
                  <a:pt x="4228344" y="4783444"/>
                </a:moveTo>
                <a:lnTo>
                  <a:pt x="4257946" y="4783444"/>
                </a:lnTo>
                <a:lnTo>
                  <a:pt x="4257946" y="4813046"/>
                </a:lnTo>
                <a:lnTo>
                  <a:pt x="4228344" y="4813046"/>
                </a:lnTo>
                <a:close/>
                <a:moveTo>
                  <a:pt x="3962255" y="4783444"/>
                </a:moveTo>
                <a:lnTo>
                  <a:pt x="3991857" y="4783444"/>
                </a:lnTo>
                <a:lnTo>
                  <a:pt x="3991857" y="4813046"/>
                </a:lnTo>
                <a:lnTo>
                  <a:pt x="3962255" y="4813046"/>
                </a:lnTo>
                <a:close/>
                <a:moveTo>
                  <a:pt x="3696058" y="4783444"/>
                </a:moveTo>
                <a:lnTo>
                  <a:pt x="3725661" y="4783444"/>
                </a:lnTo>
                <a:lnTo>
                  <a:pt x="3725661" y="4813046"/>
                </a:lnTo>
                <a:lnTo>
                  <a:pt x="3696058" y="4813046"/>
                </a:lnTo>
                <a:close/>
                <a:moveTo>
                  <a:pt x="3429969" y="4783444"/>
                </a:moveTo>
                <a:lnTo>
                  <a:pt x="3459572" y="4783444"/>
                </a:lnTo>
                <a:lnTo>
                  <a:pt x="3459572" y="4813046"/>
                </a:lnTo>
                <a:lnTo>
                  <a:pt x="3429969" y="4813046"/>
                </a:lnTo>
                <a:close/>
                <a:moveTo>
                  <a:pt x="3163772" y="4783444"/>
                </a:moveTo>
                <a:lnTo>
                  <a:pt x="3193374" y="4783444"/>
                </a:lnTo>
                <a:lnTo>
                  <a:pt x="3193374" y="4813046"/>
                </a:lnTo>
                <a:lnTo>
                  <a:pt x="3163772" y="4813046"/>
                </a:lnTo>
                <a:close/>
                <a:moveTo>
                  <a:pt x="2897575" y="4783444"/>
                </a:moveTo>
                <a:lnTo>
                  <a:pt x="2927178" y="4783444"/>
                </a:lnTo>
                <a:lnTo>
                  <a:pt x="2927178" y="4813046"/>
                </a:lnTo>
                <a:lnTo>
                  <a:pt x="2897575" y="4813046"/>
                </a:lnTo>
                <a:close/>
                <a:moveTo>
                  <a:pt x="2631378" y="4783444"/>
                </a:moveTo>
                <a:lnTo>
                  <a:pt x="2660980" y="4783444"/>
                </a:lnTo>
                <a:lnTo>
                  <a:pt x="2660980" y="4813046"/>
                </a:lnTo>
                <a:lnTo>
                  <a:pt x="2631378" y="4813046"/>
                </a:lnTo>
                <a:close/>
                <a:moveTo>
                  <a:pt x="2365289" y="4783444"/>
                </a:moveTo>
                <a:lnTo>
                  <a:pt x="2394892" y="4783444"/>
                </a:lnTo>
                <a:lnTo>
                  <a:pt x="2394892" y="4813046"/>
                </a:lnTo>
                <a:lnTo>
                  <a:pt x="2365289" y="4813046"/>
                </a:lnTo>
                <a:close/>
                <a:moveTo>
                  <a:pt x="2099092" y="4783444"/>
                </a:moveTo>
                <a:lnTo>
                  <a:pt x="2128695" y="4783444"/>
                </a:lnTo>
                <a:lnTo>
                  <a:pt x="2128695" y="4813046"/>
                </a:lnTo>
                <a:lnTo>
                  <a:pt x="2099092" y="4813046"/>
                </a:lnTo>
                <a:close/>
                <a:moveTo>
                  <a:pt x="1832898" y="4783444"/>
                </a:moveTo>
                <a:lnTo>
                  <a:pt x="1862498" y="4783444"/>
                </a:lnTo>
                <a:lnTo>
                  <a:pt x="1862498" y="4813046"/>
                </a:lnTo>
                <a:lnTo>
                  <a:pt x="1832898" y="4813046"/>
                </a:lnTo>
                <a:close/>
                <a:moveTo>
                  <a:pt x="1566808" y="4783444"/>
                </a:moveTo>
                <a:lnTo>
                  <a:pt x="1596409" y="4783444"/>
                </a:lnTo>
                <a:lnTo>
                  <a:pt x="1596409" y="4813046"/>
                </a:lnTo>
                <a:lnTo>
                  <a:pt x="1566808" y="4813046"/>
                </a:lnTo>
                <a:close/>
                <a:moveTo>
                  <a:pt x="1300611" y="4783444"/>
                </a:moveTo>
                <a:lnTo>
                  <a:pt x="1330213" y="4783444"/>
                </a:lnTo>
                <a:lnTo>
                  <a:pt x="1330213" y="4813046"/>
                </a:lnTo>
                <a:lnTo>
                  <a:pt x="1300611" y="4813046"/>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1672158" y="4517679"/>
                </a:moveTo>
                <a:lnTo>
                  <a:pt x="11701760" y="4517679"/>
                </a:lnTo>
                <a:lnTo>
                  <a:pt x="11701760" y="4547281"/>
                </a:lnTo>
                <a:lnTo>
                  <a:pt x="11672158" y="4547281"/>
                </a:lnTo>
                <a:close/>
                <a:moveTo>
                  <a:pt x="11405961" y="4517679"/>
                </a:moveTo>
                <a:lnTo>
                  <a:pt x="11435563" y="4517679"/>
                </a:lnTo>
                <a:lnTo>
                  <a:pt x="11435563" y="4547281"/>
                </a:lnTo>
                <a:lnTo>
                  <a:pt x="11405961" y="4547281"/>
                </a:lnTo>
                <a:close/>
                <a:moveTo>
                  <a:pt x="11139872" y="4517679"/>
                </a:moveTo>
                <a:lnTo>
                  <a:pt x="11169474" y="4517679"/>
                </a:lnTo>
                <a:lnTo>
                  <a:pt x="11169474" y="4547281"/>
                </a:lnTo>
                <a:lnTo>
                  <a:pt x="11139872" y="4547281"/>
                </a:lnTo>
                <a:close/>
                <a:moveTo>
                  <a:pt x="10873675" y="4517679"/>
                </a:moveTo>
                <a:lnTo>
                  <a:pt x="10903277" y="4517679"/>
                </a:lnTo>
                <a:lnTo>
                  <a:pt x="10903277" y="4547281"/>
                </a:lnTo>
                <a:lnTo>
                  <a:pt x="10873675" y="4547281"/>
                </a:lnTo>
                <a:close/>
                <a:moveTo>
                  <a:pt x="10607478" y="4517679"/>
                </a:moveTo>
                <a:lnTo>
                  <a:pt x="10637188" y="4517679"/>
                </a:lnTo>
                <a:lnTo>
                  <a:pt x="10637188" y="4547281"/>
                </a:lnTo>
                <a:lnTo>
                  <a:pt x="10607478" y="4547281"/>
                </a:lnTo>
                <a:close/>
                <a:moveTo>
                  <a:pt x="10341389" y="4517679"/>
                </a:moveTo>
                <a:lnTo>
                  <a:pt x="10370992" y="4517679"/>
                </a:lnTo>
                <a:lnTo>
                  <a:pt x="10370992" y="4547281"/>
                </a:lnTo>
                <a:lnTo>
                  <a:pt x="10341389" y="4547281"/>
                </a:lnTo>
                <a:close/>
                <a:moveTo>
                  <a:pt x="10075192" y="4517679"/>
                </a:moveTo>
                <a:lnTo>
                  <a:pt x="10104794" y="4517679"/>
                </a:lnTo>
                <a:lnTo>
                  <a:pt x="10104794" y="4547281"/>
                </a:lnTo>
                <a:lnTo>
                  <a:pt x="10075192" y="4547281"/>
                </a:lnTo>
                <a:close/>
                <a:moveTo>
                  <a:pt x="9809103" y="4517679"/>
                </a:moveTo>
                <a:lnTo>
                  <a:pt x="9838705" y="4517679"/>
                </a:lnTo>
                <a:lnTo>
                  <a:pt x="9838705" y="4547281"/>
                </a:lnTo>
                <a:lnTo>
                  <a:pt x="9809103" y="4547281"/>
                </a:lnTo>
                <a:close/>
                <a:moveTo>
                  <a:pt x="9542906" y="4517679"/>
                </a:moveTo>
                <a:lnTo>
                  <a:pt x="9572509" y="4517679"/>
                </a:lnTo>
                <a:lnTo>
                  <a:pt x="9572509" y="4547281"/>
                </a:lnTo>
                <a:lnTo>
                  <a:pt x="9542906" y="4547281"/>
                </a:lnTo>
                <a:close/>
                <a:moveTo>
                  <a:pt x="9276817" y="4517679"/>
                </a:moveTo>
                <a:lnTo>
                  <a:pt x="9306420" y="4517679"/>
                </a:lnTo>
                <a:lnTo>
                  <a:pt x="9306420" y="4547281"/>
                </a:lnTo>
                <a:lnTo>
                  <a:pt x="9276817" y="4547281"/>
                </a:lnTo>
                <a:close/>
                <a:moveTo>
                  <a:pt x="9010620" y="4517679"/>
                </a:moveTo>
                <a:lnTo>
                  <a:pt x="9040222" y="4517679"/>
                </a:lnTo>
                <a:lnTo>
                  <a:pt x="9040222" y="4547281"/>
                </a:lnTo>
                <a:lnTo>
                  <a:pt x="9010620" y="4547281"/>
                </a:lnTo>
                <a:close/>
                <a:moveTo>
                  <a:pt x="8744423" y="4517679"/>
                </a:moveTo>
                <a:lnTo>
                  <a:pt x="8774026" y="4517679"/>
                </a:lnTo>
                <a:lnTo>
                  <a:pt x="8774026" y="4547281"/>
                </a:lnTo>
                <a:lnTo>
                  <a:pt x="8744423" y="4547281"/>
                </a:lnTo>
                <a:close/>
                <a:moveTo>
                  <a:pt x="8478226" y="4517679"/>
                </a:moveTo>
                <a:lnTo>
                  <a:pt x="8507828" y="4517679"/>
                </a:lnTo>
                <a:lnTo>
                  <a:pt x="8507828" y="4547281"/>
                </a:lnTo>
                <a:lnTo>
                  <a:pt x="8478226" y="4547281"/>
                </a:lnTo>
                <a:close/>
                <a:moveTo>
                  <a:pt x="8212137" y="4517679"/>
                </a:moveTo>
                <a:lnTo>
                  <a:pt x="8241740" y="4517679"/>
                </a:lnTo>
                <a:lnTo>
                  <a:pt x="8241740" y="4547281"/>
                </a:lnTo>
                <a:lnTo>
                  <a:pt x="8212137" y="4547281"/>
                </a:lnTo>
                <a:close/>
                <a:moveTo>
                  <a:pt x="7945940" y="4517679"/>
                </a:moveTo>
                <a:lnTo>
                  <a:pt x="7975543" y="4517679"/>
                </a:lnTo>
                <a:lnTo>
                  <a:pt x="7975543" y="4547281"/>
                </a:lnTo>
                <a:lnTo>
                  <a:pt x="7945940" y="4547281"/>
                </a:lnTo>
                <a:close/>
                <a:moveTo>
                  <a:pt x="7679743" y="4517679"/>
                </a:moveTo>
                <a:lnTo>
                  <a:pt x="7709346" y="4517679"/>
                </a:lnTo>
                <a:lnTo>
                  <a:pt x="7709346" y="4547281"/>
                </a:lnTo>
                <a:lnTo>
                  <a:pt x="7679743" y="4547281"/>
                </a:lnTo>
                <a:close/>
                <a:moveTo>
                  <a:pt x="7413653" y="4517679"/>
                </a:moveTo>
                <a:lnTo>
                  <a:pt x="7443256" y="4517679"/>
                </a:lnTo>
                <a:lnTo>
                  <a:pt x="7443256" y="4547281"/>
                </a:lnTo>
                <a:lnTo>
                  <a:pt x="7413653" y="4547281"/>
                </a:lnTo>
                <a:close/>
                <a:moveTo>
                  <a:pt x="7147456" y="4517679"/>
                </a:moveTo>
                <a:lnTo>
                  <a:pt x="7177058" y="4517679"/>
                </a:lnTo>
                <a:lnTo>
                  <a:pt x="7177058" y="4547281"/>
                </a:lnTo>
                <a:lnTo>
                  <a:pt x="7147456" y="4547281"/>
                </a:lnTo>
                <a:close/>
                <a:moveTo>
                  <a:pt x="6881367" y="4517679"/>
                </a:moveTo>
                <a:lnTo>
                  <a:pt x="6910970" y="4517679"/>
                </a:lnTo>
                <a:lnTo>
                  <a:pt x="6910970" y="4547281"/>
                </a:lnTo>
                <a:lnTo>
                  <a:pt x="6881367" y="4547281"/>
                </a:lnTo>
                <a:close/>
                <a:moveTo>
                  <a:pt x="6615170" y="4517679"/>
                </a:moveTo>
                <a:lnTo>
                  <a:pt x="6644773" y="4517679"/>
                </a:lnTo>
                <a:lnTo>
                  <a:pt x="6644773" y="4547281"/>
                </a:lnTo>
                <a:lnTo>
                  <a:pt x="6615170" y="4547281"/>
                </a:lnTo>
                <a:close/>
                <a:moveTo>
                  <a:pt x="6349081" y="4517679"/>
                </a:moveTo>
                <a:lnTo>
                  <a:pt x="6378683" y="4517679"/>
                </a:lnTo>
                <a:lnTo>
                  <a:pt x="6378683" y="4547281"/>
                </a:lnTo>
                <a:lnTo>
                  <a:pt x="6349081" y="4547281"/>
                </a:lnTo>
                <a:close/>
                <a:moveTo>
                  <a:pt x="6082884" y="4517679"/>
                </a:moveTo>
                <a:lnTo>
                  <a:pt x="6112486" y="4517679"/>
                </a:lnTo>
                <a:lnTo>
                  <a:pt x="6112486" y="4547281"/>
                </a:lnTo>
                <a:lnTo>
                  <a:pt x="6082884" y="4547281"/>
                </a:lnTo>
                <a:close/>
                <a:moveTo>
                  <a:pt x="5825310" y="4517679"/>
                </a:moveTo>
                <a:lnTo>
                  <a:pt x="5854913" y="4517679"/>
                </a:lnTo>
                <a:lnTo>
                  <a:pt x="5854913" y="4547281"/>
                </a:lnTo>
                <a:lnTo>
                  <a:pt x="5825310" y="4547281"/>
                </a:lnTo>
                <a:close/>
                <a:moveTo>
                  <a:pt x="5559113" y="4517679"/>
                </a:moveTo>
                <a:lnTo>
                  <a:pt x="5588715" y="4517679"/>
                </a:lnTo>
                <a:lnTo>
                  <a:pt x="5588715" y="4547281"/>
                </a:lnTo>
                <a:lnTo>
                  <a:pt x="5559113" y="4547281"/>
                </a:lnTo>
                <a:close/>
                <a:moveTo>
                  <a:pt x="5293024" y="4517679"/>
                </a:moveTo>
                <a:lnTo>
                  <a:pt x="5322626" y="4517679"/>
                </a:lnTo>
                <a:lnTo>
                  <a:pt x="5322626" y="4547281"/>
                </a:lnTo>
                <a:lnTo>
                  <a:pt x="5293024" y="4547281"/>
                </a:lnTo>
                <a:close/>
                <a:moveTo>
                  <a:pt x="5026827" y="4517679"/>
                </a:moveTo>
                <a:lnTo>
                  <a:pt x="5056429" y="4517679"/>
                </a:lnTo>
                <a:lnTo>
                  <a:pt x="5056429" y="4547281"/>
                </a:lnTo>
                <a:lnTo>
                  <a:pt x="5026827" y="4547281"/>
                </a:lnTo>
                <a:close/>
                <a:moveTo>
                  <a:pt x="4760630" y="4517679"/>
                </a:moveTo>
                <a:lnTo>
                  <a:pt x="4790340" y="4517679"/>
                </a:lnTo>
                <a:lnTo>
                  <a:pt x="4790340" y="4547281"/>
                </a:lnTo>
                <a:lnTo>
                  <a:pt x="4760630" y="4547281"/>
                </a:lnTo>
                <a:close/>
                <a:moveTo>
                  <a:pt x="4494541" y="4517679"/>
                </a:moveTo>
                <a:lnTo>
                  <a:pt x="4524144" y="4517679"/>
                </a:lnTo>
                <a:lnTo>
                  <a:pt x="4524144" y="4547281"/>
                </a:lnTo>
                <a:lnTo>
                  <a:pt x="4494541" y="4547281"/>
                </a:lnTo>
                <a:close/>
                <a:moveTo>
                  <a:pt x="4228344" y="4517679"/>
                </a:moveTo>
                <a:lnTo>
                  <a:pt x="4257946" y="4517679"/>
                </a:lnTo>
                <a:lnTo>
                  <a:pt x="4257946" y="4547281"/>
                </a:lnTo>
                <a:lnTo>
                  <a:pt x="4228344" y="4547281"/>
                </a:lnTo>
                <a:close/>
                <a:moveTo>
                  <a:pt x="3962255" y="4517679"/>
                </a:moveTo>
                <a:lnTo>
                  <a:pt x="3991857" y="4517679"/>
                </a:lnTo>
                <a:lnTo>
                  <a:pt x="3991857" y="4547281"/>
                </a:lnTo>
                <a:lnTo>
                  <a:pt x="3962255" y="4547281"/>
                </a:lnTo>
                <a:close/>
                <a:moveTo>
                  <a:pt x="3696058" y="4517679"/>
                </a:moveTo>
                <a:lnTo>
                  <a:pt x="3725661" y="4517679"/>
                </a:lnTo>
                <a:lnTo>
                  <a:pt x="3725661" y="4547281"/>
                </a:lnTo>
                <a:lnTo>
                  <a:pt x="3696058" y="4547281"/>
                </a:lnTo>
                <a:close/>
                <a:moveTo>
                  <a:pt x="3429969" y="4517679"/>
                </a:moveTo>
                <a:lnTo>
                  <a:pt x="3459572" y="4517679"/>
                </a:lnTo>
                <a:lnTo>
                  <a:pt x="3459572" y="4547281"/>
                </a:lnTo>
                <a:lnTo>
                  <a:pt x="3429969" y="4547281"/>
                </a:lnTo>
                <a:close/>
                <a:moveTo>
                  <a:pt x="3163772" y="4517679"/>
                </a:moveTo>
                <a:lnTo>
                  <a:pt x="3193374" y="4517679"/>
                </a:lnTo>
                <a:lnTo>
                  <a:pt x="3193374" y="4547281"/>
                </a:lnTo>
                <a:lnTo>
                  <a:pt x="3163772" y="4547281"/>
                </a:lnTo>
                <a:close/>
                <a:moveTo>
                  <a:pt x="2897575" y="4517679"/>
                </a:moveTo>
                <a:lnTo>
                  <a:pt x="2927178" y="4517679"/>
                </a:lnTo>
                <a:lnTo>
                  <a:pt x="2927178" y="4547281"/>
                </a:lnTo>
                <a:lnTo>
                  <a:pt x="2897575" y="4547281"/>
                </a:lnTo>
                <a:close/>
                <a:moveTo>
                  <a:pt x="2631378" y="4517679"/>
                </a:moveTo>
                <a:lnTo>
                  <a:pt x="2660980" y="4517679"/>
                </a:lnTo>
                <a:lnTo>
                  <a:pt x="2660980" y="4547281"/>
                </a:lnTo>
                <a:lnTo>
                  <a:pt x="2631378" y="4547281"/>
                </a:lnTo>
                <a:close/>
                <a:moveTo>
                  <a:pt x="2365289" y="4517679"/>
                </a:moveTo>
                <a:lnTo>
                  <a:pt x="2394892" y="4517679"/>
                </a:lnTo>
                <a:lnTo>
                  <a:pt x="2394892" y="4547281"/>
                </a:lnTo>
                <a:lnTo>
                  <a:pt x="2365289" y="4547281"/>
                </a:lnTo>
                <a:close/>
                <a:moveTo>
                  <a:pt x="2099092" y="4517679"/>
                </a:moveTo>
                <a:lnTo>
                  <a:pt x="2128695" y="4517679"/>
                </a:lnTo>
                <a:lnTo>
                  <a:pt x="2128695" y="4547281"/>
                </a:lnTo>
                <a:lnTo>
                  <a:pt x="2099092" y="4547281"/>
                </a:lnTo>
                <a:close/>
                <a:moveTo>
                  <a:pt x="1832898" y="4517679"/>
                </a:moveTo>
                <a:lnTo>
                  <a:pt x="1862498" y="4517679"/>
                </a:lnTo>
                <a:lnTo>
                  <a:pt x="1862498" y="4547281"/>
                </a:lnTo>
                <a:lnTo>
                  <a:pt x="1832898" y="4547281"/>
                </a:lnTo>
                <a:close/>
                <a:moveTo>
                  <a:pt x="1566808" y="4517679"/>
                </a:moveTo>
                <a:lnTo>
                  <a:pt x="1596409" y="4517679"/>
                </a:lnTo>
                <a:lnTo>
                  <a:pt x="1596409" y="4547281"/>
                </a:lnTo>
                <a:lnTo>
                  <a:pt x="1566808" y="4547281"/>
                </a:lnTo>
                <a:close/>
                <a:moveTo>
                  <a:pt x="1300611" y="4517679"/>
                </a:moveTo>
                <a:lnTo>
                  <a:pt x="1330213" y="4517679"/>
                </a:lnTo>
                <a:lnTo>
                  <a:pt x="1330213" y="4547281"/>
                </a:lnTo>
                <a:lnTo>
                  <a:pt x="1300611" y="4547281"/>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1672158" y="4252022"/>
                </a:moveTo>
                <a:lnTo>
                  <a:pt x="11701760" y="4252022"/>
                </a:lnTo>
                <a:lnTo>
                  <a:pt x="11701760" y="4281516"/>
                </a:lnTo>
                <a:lnTo>
                  <a:pt x="11672158" y="4281516"/>
                </a:lnTo>
                <a:close/>
                <a:moveTo>
                  <a:pt x="11405961" y="4252022"/>
                </a:moveTo>
                <a:lnTo>
                  <a:pt x="11435563" y="4252022"/>
                </a:lnTo>
                <a:lnTo>
                  <a:pt x="11435563" y="4281516"/>
                </a:lnTo>
                <a:lnTo>
                  <a:pt x="11405961" y="4281516"/>
                </a:lnTo>
                <a:close/>
                <a:moveTo>
                  <a:pt x="11139872" y="4252022"/>
                </a:moveTo>
                <a:lnTo>
                  <a:pt x="11169474" y="4252022"/>
                </a:lnTo>
                <a:lnTo>
                  <a:pt x="11169474" y="4281516"/>
                </a:lnTo>
                <a:lnTo>
                  <a:pt x="11139872" y="4281516"/>
                </a:lnTo>
                <a:close/>
                <a:moveTo>
                  <a:pt x="10873675" y="4252022"/>
                </a:moveTo>
                <a:lnTo>
                  <a:pt x="10903277" y="4252022"/>
                </a:lnTo>
                <a:lnTo>
                  <a:pt x="10903277" y="4281516"/>
                </a:lnTo>
                <a:lnTo>
                  <a:pt x="10873675" y="4281516"/>
                </a:lnTo>
                <a:close/>
                <a:moveTo>
                  <a:pt x="10607478" y="4252022"/>
                </a:moveTo>
                <a:lnTo>
                  <a:pt x="10637188" y="4252022"/>
                </a:lnTo>
                <a:lnTo>
                  <a:pt x="10637188" y="4281516"/>
                </a:lnTo>
                <a:lnTo>
                  <a:pt x="10607478" y="4281516"/>
                </a:lnTo>
                <a:close/>
                <a:moveTo>
                  <a:pt x="10341389" y="4252022"/>
                </a:moveTo>
                <a:lnTo>
                  <a:pt x="10370992" y="4252022"/>
                </a:lnTo>
                <a:lnTo>
                  <a:pt x="10370992" y="4281516"/>
                </a:lnTo>
                <a:lnTo>
                  <a:pt x="10341389" y="4281516"/>
                </a:lnTo>
                <a:close/>
                <a:moveTo>
                  <a:pt x="10075192" y="4252022"/>
                </a:moveTo>
                <a:lnTo>
                  <a:pt x="10104794" y="4252022"/>
                </a:lnTo>
                <a:lnTo>
                  <a:pt x="10104794" y="4281516"/>
                </a:lnTo>
                <a:lnTo>
                  <a:pt x="10075192" y="4281516"/>
                </a:lnTo>
                <a:close/>
                <a:moveTo>
                  <a:pt x="9809103" y="4252022"/>
                </a:moveTo>
                <a:lnTo>
                  <a:pt x="9838705" y="4252022"/>
                </a:lnTo>
                <a:lnTo>
                  <a:pt x="9838705" y="4281516"/>
                </a:lnTo>
                <a:lnTo>
                  <a:pt x="9809103" y="4281516"/>
                </a:lnTo>
                <a:close/>
                <a:moveTo>
                  <a:pt x="9542906" y="4252022"/>
                </a:moveTo>
                <a:lnTo>
                  <a:pt x="9572509" y="4252022"/>
                </a:lnTo>
                <a:lnTo>
                  <a:pt x="9572509" y="4281516"/>
                </a:lnTo>
                <a:lnTo>
                  <a:pt x="9542906" y="4281516"/>
                </a:lnTo>
                <a:close/>
                <a:moveTo>
                  <a:pt x="9276817" y="4252022"/>
                </a:moveTo>
                <a:lnTo>
                  <a:pt x="9306420" y="4252022"/>
                </a:lnTo>
                <a:lnTo>
                  <a:pt x="9306420" y="4281516"/>
                </a:lnTo>
                <a:lnTo>
                  <a:pt x="9276817" y="4281516"/>
                </a:lnTo>
                <a:close/>
                <a:moveTo>
                  <a:pt x="9010620" y="4252022"/>
                </a:moveTo>
                <a:lnTo>
                  <a:pt x="9040222" y="4252022"/>
                </a:lnTo>
                <a:lnTo>
                  <a:pt x="9040222" y="4281516"/>
                </a:lnTo>
                <a:lnTo>
                  <a:pt x="9010620" y="4281516"/>
                </a:lnTo>
                <a:close/>
                <a:moveTo>
                  <a:pt x="8744423" y="4252022"/>
                </a:moveTo>
                <a:lnTo>
                  <a:pt x="8774026" y="4252022"/>
                </a:lnTo>
                <a:lnTo>
                  <a:pt x="8774026" y="4281516"/>
                </a:lnTo>
                <a:lnTo>
                  <a:pt x="8744423" y="4281516"/>
                </a:lnTo>
                <a:close/>
                <a:moveTo>
                  <a:pt x="8478226" y="4252022"/>
                </a:moveTo>
                <a:lnTo>
                  <a:pt x="8507828" y="4252022"/>
                </a:lnTo>
                <a:lnTo>
                  <a:pt x="8507828" y="4281516"/>
                </a:lnTo>
                <a:lnTo>
                  <a:pt x="8478226" y="4281516"/>
                </a:lnTo>
                <a:close/>
                <a:moveTo>
                  <a:pt x="8212137" y="4252022"/>
                </a:moveTo>
                <a:lnTo>
                  <a:pt x="8241740" y="4252022"/>
                </a:lnTo>
                <a:lnTo>
                  <a:pt x="8241740" y="4281516"/>
                </a:lnTo>
                <a:lnTo>
                  <a:pt x="8212137" y="4281516"/>
                </a:lnTo>
                <a:close/>
                <a:moveTo>
                  <a:pt x="7945940" y="4252022"/>
                </a:moveTo>
                <a:lnTo>
                  <a:pt x="7975543" y="4252022"/>
                </a:lnTo>
                <a:lnTo>
                  <a:pt x="7975543" y="4281516"/>
                </a:lnTo>
                <a:lnTo>
                  <a:pt x="7945940" y="4281516"/>
                </a:lnTo>
                <a:close/>
                <a:moveTo>
                  <a:pt x="7679743" y="4252022"/>
                </a:moveTo>
                <a:lnTo>
                  <a:pt x="7709346" y="4252022"/>
                </a:lnTo>
                <a:lnTo>
                  <a:pt x="7709346" y="4281516"/>
                </a:lnTo>
                <a:lnTo>
                  <a:pt x="7679743" y="4281516"/>
                </a:lnTo>
                <a:close/>
                <a:moveTo>
                  <a:pt x="7413653" y="4252022"/>
                </a:moveTo>
                <a:lnTo>
                  <a:pt x="7443256" y="4252022"/>
                </a:lnTo>
                <a:lnTo>
                  <a:pt x="7443256" y="4281516"/>
                </a:lnTo>
                <a:lnTo>
                  <a:pt x="7413653" y="4281516"/>
                </a:lnTo>
                <a:close/>
                <a:moveTo>
                  <a:pt x="7147456" y="4252022"/>
                </a:moveTo>
                <a:lnTo>
                  <a:pt x="7177058" y="4252022"/>
                </a:lnTo>
                <a:lnTo>
                  <a:pt x="7177058" y="4281516"/>
                </a:lnTo>
                <a:lnTo>
                  <a:pt x="7147456" y="4281516"/>
                </a:lnTo>
                <a:close/>
                <a:moveTo>
                  <a:pt x="6881367" y="4252022"/>
                </a:moveTo>
                <a:lnTo>
                  <a:pt x="6910970" y="4252022"/>
                </a:lnTo>
                <a:lnTo>
                  <a:pt x="6910970" y="4281516"/>
                </a:lnTo>
                <a:lnTo>
                  <a:pt x="6881367" y="4281516"/>
                </a:lnTo>
                <a:close/>
                <a:moveTo>
                  <a:pt x="6615170" y="4252022"/>
                </a:moveTo>
                <a:lnTo>
                  <a:pt x="6644773" y="4252022"/>
                </a:lnTo>
                <a:lnTo>
                  <a:pt x="6644773" y="4281516"/>
                </a:lnTo>
                <a:lnTo>
                  <a:pt x="6615170" y="4281516"/>
                </a:lnTo>
                <a:close/>
                <a:moveTo>
                  <a:pt x="6349081" y="4252022"/>
                </a:moveTo>
                <a:lnTo>
                  <a:pt x="6378683" y="4252022"/>
                </a:lnTo>
                <a:lnTo>
                  <a:pt x="6378683" y="4281516"/>
                </a:lnTo>
                <a:lnTo>
                  <a:pt x="6349081" y="4281516"/>
                </a:lnTo>
                <a:close/>
                <a:moveTo>
                  <a:pt x="6082884" y="4252022"/>
                </a:moveTo>
                <a:lnTo>
                  <a:pt x="6112486" y="4252022"/>
                </a:lnTo>
                <a:lnTo>
                  <a:pt x="6112486" y="4281516"/>
                </a:lnTo>
                <a:lnTo>
                  <a:pt x="6082884" y="4281516"/>
                </a:lnTo>
                <a:close/>
                <a:moveTo>
                  <a:pt x="5825310" y="4252022"/>
                </a:moveTo>
                <a:lnTo>
                  <a:pt x="5854913" y="4252022"/>
                </a:lnTo>
                <a:lnTo>
                  <a:pt x="5854913" y="4281516"/>
                </a:lnTo>
                <a:lnTo>
                  <a:pt x="5825310" y="4281516"/>
                </a:lnTo>
                <a:close/>
                <a:moveTo>
                  <a:pt x="5559113" y="4252022"/>
                </a:moveTo>
                <a:lnTo>
                  <a:pt x="5588715" y="4252022"/>
                </a:lnTo>
                <a:lnTo>
                  <a:pt x="5588715" y="4281516"/>
                </a:lnTo>
                <a:lnTo>
                  <a:pt x="5559113" y="4281516"/>
                </a:lnTo>
                <a:close/>
                <a:moveTo>
                  <a:pt x="5293024" y="4252022"/>
                </a:moveTo>
                <a:lnTo>
                  <a:pt x="5322626" y="4252022"/>
                </a:lnTo>
                <a:lnTo>
                  <a:pt x="5322626" y="4281516"/>
                </a:lnTo>
                <a:lnTo>
                  <a:pt x="5293024" y="4281516"/>
                </a:lnTo>
                <a:close/>
                <a:moveTo>
                  <a:pt x="5026827" y="4252022"/>
                </a:moveTo>
                <a:lnTo>
                  <a:pt x="5056429" y="4252022"/>
                </a:lnTo>
                <a:lnTo>
                  <a:pt x="5056429" y="4281516"/>
                </a:lnTo>
                <a:lnTo>
                  <a:pt x="5026827" y="4281516"/>
                </a:lnTo>
                <a:close/>
                <a:moveTo>
                  <a:pt x="4760630" y="4252022"/>
                </a:moveTo>
                <a:lnTo>
                  <a:pt x="4790340" y="4252022"/>
                </a:lnTo>
                <a:lnTo>
                  <a:pt x="4790340" y="4281516"/>
                </a:lnTo>
                <a:lnTo>
                  <a:pt x="4760630" y="4281516"/>
                </a:lnTo>
                <a:close/>
                <a:moveTo>
                  <a:pt x="4494541" y="4252022"/>
                </a:moveTo>
                <a:lnTo>
                  <a:pt x="4524144" y="4252022"/>
                </a:lnTo>
                <a:lnTo>
                  <a:pt x="4524144" y="4281516"/>
                </a:lnTo>
                <a:lnTo>
                  <a:pt x="4494541" y="4281516"/>
                </a:lnTo>
                <a:close/>
                <a:moveTo>
                  <a:pt x="4228344" y="4252022"/>
                </a:moveTo>
                <a:lnTo>
                  <a:pt x="4257946" y="4252022"/>
                </a:lnTo>
                <a:lnTo>
                  <a:pt x="4257946" y="4281516"/>
                </a:lnTo>
                <a:lnTo>
                  <a:pt x="4228344" y="4281516"/>
                </a:lnTo>
                <a:close/>
                <a:moveTo>
                  <a:pt x="3962255" y="4252022"/>
                </a:moveTo>
                <a:lnTo>
                  <a:pt x="3991857" y="4252022"/>
                </a:lnTo>
                <a:lnTo>
                  <a:pt x="3991857" y="4281516"/>
                </a:lnTo>
                <a:lnTo>
                  <a:pt x="3962255" y="4281516"/>
                </a:lnTo>
                <a:close/>
                <a:moveTo>
                  <a:pt x="3696058" y="4252022"/>
                </a:moveTo>
                <a:lnTo>
                  <a:pt x="3725661" y="4252022"/>
                </a:lnTo>
                <a:lnTo>
                  <a:pt x="3725661" y="4281516"/>
                </a:lnTo>
                <a:lnTo>
                  <a:pt x="3696058" y="4281516"/>
                </a:lnTo>
                <a:close/>
                <a:moveTo>
                  <a:pt x="3429969" y="4252022"/>
                </a:moveTo>
                <a:lnTo>
                  <a:pt x="3459572" y="4252022"/>
                </a:lnTo>
                <a:lnTo>
                  <a:pt x="3459572" y="4281516"/>
                </a:lnTo>
                <a:lnTo>
                  <a:pt x="3429969" y="4281516"/>
                </a:lnTo>
                <a:close/>
                <a:moveTo>
                  <a:pt x="3163772" y="4252022"/>
                </a:moveTo>
                <a:lnTo>
                  <a:pt x="3193374" y="4252022"/>
                </a:lnTo>
                <a:lnTo>
                  <a:pt x="3193374" y="4281516"/>
                </a:lnTo>
                <a:lnTo>
                  <a:pt x="3163772" y="4281516"/>
                </a:lnTo>
                <a:close/>
                <a:moveTo>
                  <a:pt x="2897575" y="4252022"/>
                </a:moveTo>
                <a:lnTo>
                  <a:pt x="2927178" y="4252022"/>
                </a:lnTo>
                <a:lnTo>
                  <a:pt x="2927178" y="4281516"/>
                </a:lnTo>
                <a:lnTo>
                  <a:pt x="2897575" y="4281516"/>
                </a:lnTo>
                <a:close/>
                <a:moveTo>
                  <a:pt x="2631378" y="4252022"/>
                </a:moveTo>
                <a:lnTo>
                  <a:pt x="2660980" y="4252022"/>
                </a:lnTo>
                <a:lnTo>
                  <a:pt x="2660980" y="4281516"/>
                </a:lnTo>
                <a:lnTo>
                  <a:pt x="2631378" y="4281516"/>
                </a:lnTo>
                <a:close/>
                <a:moveTo>
                  <a:pt x="2365289" y="4252022"/>
                </a:moveTo>
                <a:lnTo>
                  <a:pt x="2394892" y="4252022"/>
                </a:lnTo>
                <a:lnTo>
                  <a:pt x="2394892" y="4281516"/>
                </a:lnTo>
                <a:lnTo>
                  <a:pt x="2365289" y="4281516"/>
                </a:lnTo>
                <a:close/>
                <a:moveTo>
                  <a:pt x="2099092" y="4252022"/>
                </a:moveTo>
                <a:lnTo>
                  <a:pt x="2128695" y="4252022"/>
                </a:lnTo>
                <a:lnTo>
                  <a:pt x="2128695" y="4281516"/>
                </a:lnTo>
                <a:lnTo>
                  <a:pt x="2099092" y="4281516"/>
                </a:lnTo>
                <a:close/>
                <a:moveTo>
                  <a:pt x="1832898" y="4252022"/>
                </a:moveTo>
                <a:lnTo>
                  <a:pt x="1862498" y="4252022"/>
                </a:lnTo>
                <a:lnTo>
                  <a:pt x="1862498" y="4281516"/>
                </a:lnTo>
                <a:lnTo>
                  <a:pt x="1832898" y="4281516"/>
                </a:lnTo>
                <a:close/>
                <a:moveTo>
                  <a:pt x="1566808" y="4252022"/>
                </a:moveTo>
                <a:lnTo>
                  <a:pt x="1596409" y="4252022"/>
                </a:lnTo>
                <a:lnTo>
                  <a:pt x="1596409" y="4281516"/>
                </a:lnTo>
                <a:lnTo>
                  <a:pt x="1566808" y="4281516"/>
                </a:lnTo>
                <a:close/>
                <a:moveTo>
                  <a:pt x="1300611" y="4252022"/>
                </a:moveTo>
                <a:lnTo>
                  <a:pt x="1330213" y="4252022"/>
                </a:lnTo>
                <a:lnTo>
                  <a:pt x="1330213" y="4281516"/>
                </a:lnTo>
                <a:lnTo>
                  <a:pt x="1300611" y="4281516"/>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1672158" y="3986257"/>
                </a:moveTo>
                <a:lnTo>
                  <a:pt x="11701760" y="3986257"/>
                </a:lnTo>
                <a:lnTo>
                  <a:pt x="11701760" y="4015859"/>
                </a:lnTo>
                <a:lnTo>
                  <a:pt x="11672158" y="4015859"/>
                </a:lnTo>
                <a:close/>
                <a:moveTo>
                  <a:pt x="11405961" y="3986257"/>
                </a:moveTo>
                <a:lnTo>
                  <a:pt x="11435563" y="3986257"/>
                </a:lnTo>
                <a:lnTo>
                  <a:pt x="11435563" y="4015859"/>
                </a:lnTo>
                <a:lnTo>
                  <a:pt x="11405961" y="4015859"/>
                </a:lnTo>
                <a:close/>
                <a:moveTo>
                  <a:pt x="11139872" y="3986257"/>
                </a:moveTo>
                <a:lnTo>
                  <a:pt x="11169474" y="3986257"/>
                </a:lnTo>
                <a:lnTo>
                  <a:pt x="11169474" y="4015859"/>
                </a:lnTo>
                <a:lnTo>
                  <a:pt x="11139872" y="4015859"/>
                </a:lnTo>
                <a:close/>
                <a:moveTo>
                  <a:pt x="10873675" y="3986257"/>
                </a:moveTo>
                <a:lnTo>
                  <a:pt x="10903277" y="3986257"/>
                </a:lnTo>
                <a:lnTo>
                  <a:pt x="10903277" y="4015859"/>
                </a:lnTo>
                <a:lnTo>
                  <a:pt x="10873675" y="4015859"/>
                </a:lnTo>
                <a:close/>
                <a:moveTo>
                  <a:pt x="10607478" y="3986257"/>
                </a:moveTo>
                <a:lnTo>
                  <a:pt x="10637188" y="3986257"/>
                </a:lnTo>
                <a:lnTo>
                  <a:pt x="10637188" y="4015859"/>
                </a:lnTo>
                <a:lnTo>
                  <a:pt x="10607478" y="4015859"/>
                </a:lnTo>
                <a:close/>
                <a:moveTo>
                  <a:pt x="10341389" y="3986257"/>
                </a:moveTo>
                <a:lnTo>
                  <a:pt x="10370992" y="3986257"/>
                </a:lnTo>
                <a:lnTo>
                  <a:pt x="10370992" y="4015859"/>
                </a:lnTo>
                <a:lnTo>
                  <a:pt x="10341389" y="4015859"/>
                </a:lnTo>
                <a:close/>
                <a:moveTo>
                  <a:pt x="10075192" y="3986257"/>
                </a:moveTo>
                <a:lnTo>
                  <a:pt x="10104794" y="3986257"/>
                </a:lnTo>
                <a:lnTo>
                  <a:pt x="10104794" y="4015859"/>
                </a:lnTo>
                <a:lnTo>
                  <a:pt x="10075192" y="4015859"/>
                </a:lnTo>
                <a:close/>
                <a:moveTo>
                  <a:pt x="9809103" y="3986257"/>
                </a:moveTo>
                <a:lnTo>
                  <a:pt x="9838705" y="3986257"/>
                </a:lnTo>
                <a:lnTo>
                  <a:pt x="9838705" y="4015859"/>
                </a:lnTo>
                <a:lnTo>
                  <a:pt x="9809103" y="4015859"/>
                </a:lnTo>
                <a:close/>
                <a:moveTo>
                  <a:pt x="9542906" y="3986257"/>
                </a:moveTo>
                <a:lnTo>
                  <a:pt x="9572509" y="3986257"/>
                </a:lnTo>
                <a:lnTo>
                  <a:pt x="9572509" y="4015859"/>
                </a:lnTo>
                <a:lnTo>
                  <a:pt x="9542906" y="4015859"/>
                </a:lnTo>
                <a:close/>
                <a:moveTo>
                  <a:pt x="9276817" y="3986257"/>
                </a:moveTo>
                <a:lnTo>
                  <a:pt x="9306420" y="3986257"/>
                </a:lnTo>
                <a:lnTo>
                  <a:pt x="9306420" y="4015859"/>
                </a:lnTo>
                <a:lnTo>
                  <a:pt x="9276817" y="4015859"/>
                </a:lnTo>
                <a:close/>
                <a:moveTo>
                  <a:pt x="9010620" y="3986257"/>
                </a:moveTo>
                <a:lnTo>
                  <a:pt x="9040222" y="3986257"/>
                </a:lnTo>
                <a:lnTo>
                  <a:pt x="9040222" y="4015859"/>
                </a:lnTo>
                <a:lnTo>
                  <a:pt x="9010620" y="4015859"/>
                </a:lnTo>
                <a:close/>
                <a:moveTo>
                  <a:pt x="8744423" y="3986257"/>
                </a:moveTo>
                <a:lnTo>
                  <a:pt x="8774026" y="3986257"/>
                </a:lnTo>
                <a:lnTo>
                  <a:pt x="8774026" y="4015859"/>
                </a:lnTo>
                <a:lnTo>
                  <a:pt x="8744423" y="4015859"/>
                </a:lnTo>
                <a:close/>
                <a:moveTo>
                  <a:pt x="8478226" y="3986257"/>
                </a:moveTo>
                <a:lnTo>
                  <a:pt x="8507828" y="3986257"/>
                </a:lnTo>
                <a:lnTo>
                  <a:pt x="8507828" y="4015859"/>
                </a:lnTo>
                <a:lnTo>
                  <a:pt x="8478226" y="4015859"/>
                </a:lnTo>
                <a:close/>
                <a:moveTo>
                  <a:pt x="8212137" y="3986257"/>
                </a:moveTo>
                <a:lnTo>
                  <a:pt x="8241740" y="3986257"/>
                </a:lnTo>
                <a:lnTo>
                  <a:pt x="8241740" y="4015859"/>
                </a:lnTo>
                <a:lnTo>
                  <a:pt x="8212137" y="4015859"/>
                </a:lnTo>
                <a:close/>
                <a:moveTo>
                  <a:pt x="7945940" y="3986257"/>
                </a:moveTo>
                <a:lnTo>
                  <a:pt x="7975543" y="3986257"/>
                </a:lnTo>
                <a:lnTo>
                  <a:pt x="7975543" y="4015859"/>
                </a:lnTo>
                <a:lnTo>
                  <a:pt x="7945940" y="4015859"/>
                </a:lnTo>
                <a:close/>
                <a:moveTo>
                  <a:pt x="7679743" y="3986257"/>
                </a:moveTo>
                <a:lnTo>
                  <a:pt x="7709346" y="3986257"/>
                </a:lnTo>
                <a:lnTo>
                  <a:pt x="7709346" y="4015859"/>
                </a:lnTo>
                <a:lnTo>
                  <a:pt x="7679743" y="4015859"/>
                </a:lnTo>
                <a:close/>
                <a:moveTo>
                  <a:pt x="7413653" y="3986257"/>
                </a:moveTo>
                <a:lnTo>
                  <a:pt x="7443256" y="3986257"/>
                </a:lnTo>
                <a:lnTo>
                  <a:pt x="7443256" y="4015859"/>
                </a:lnTo>
                <a:lnTo>
                  <a:pt x="7413653" y="4015859"/>
                </a:lnTo>
                <a:close/>
                <a:moveTo>
                  <a:pt x="7147456" y="3986257"/>
                </a:moveTo>
                <a:lnTo>
                  <a:pt x="7177058" y="3986257"/>
                </a:lnTo>
                <a:lnTo>
                  <a:pt x="7177058" y="4015859"/>
                </a:lnTo>
                <a:lnTo>
                  <a:pt x="7147456" y="4015859"/>
                </a:lnTo>
                <a:close/>
                <a:moveTo>
                  <a:pt x="6881367" y="3986257"/>
                </a:moveTo>
                <a:lnTo>
                  <a:pt x="6910970" y="3986257"/>
                </a:lnTo>
                <a:lnTo>
                  <a:pt x="6910970" y="4015859"/>
                </a:lnTo>
                <a:lnTo>
                  <a:pt x="6881367" y="4015859"/>
                </a:lnTo>
                <a:close/>
                <a:moveTo>
                  <a:pt x="6615170" y="3986257"/>
                </a:moveTo>
                <a:lnTo>
                  <a:pt x="6644773" y="3986257"/>
                </a:lnTo>
                <a:lnTo>
                  <a:pt x="6644773" y="4015859"/>
                </a:lnTo>
                <a:lnTo>
                  <a:pt x="6615170" y="4015859"/>
                </a:lnTo>
                <a:close/>
                <a:moveTo>
                  <a:pt x="6349081" y="3986257"/>
                </a:moveTo>
                <a:lnTo>
                  <a:pt x="6378683" y="3986257"/>
                </a:lnTo>
                <a:lnTo>
                  <a:pt x="6378683" y="4015859"/>
                </a:lnTo>
                <a:lnTo>
                  <a:pt x="6349081" y="4015859"/>
                </a:lnTo>
                <a:close/>
                <a:moveTo>
                  <a:pt x="6082884" y="3986257"/>
                </a:moveTo>
                <a:lnTo>
                  <a:pt x="6112486" y="3986257"/>
                </a:lnTo>
                <a:lnTo>
                  <a:pt x="6112486" y="4015859"/>
                </a:lnTo>
                <a:lnTo>
                  <a:pt x="6082884" y="4015859"/>
                </a:lnTo>
                <a:close/>
                <a:moveTo>
                  <a:pt x="5825310" y="3986257"/>
                </a:moveTo>
                <a:lnTo>
                  <a:pt x="5854913" y="3986257"/>
                </a:lnTo>
                <a:lnTo>
                  <a:pt x="5854913" y="4015859"/>
                </a:lnTo>
                <a:lnTo>
                  <a:pt x="5825310" y="4015859"/>
                </a:lnTo>
                <a:close/>
                <a:moveTo>
                  <a:pt x="5559113" y="3986257"/>
                </a:moveTo>
                <a:lnTo>
                  <a:pt x="5588715" y="3986257"/>
                </a:lnTo>
                <a:lnTo>
                  <a:pt x="5588715" y="4015859"/>
                </a:lnTo>
                <a:lnTo>
                  <a:pt x="5559113" y="4015859"/>
                </a:lnTo>
                <a:close/>
                <a:moveTo>
                  <a:pt x="5293024" y="3986257"/>
                </a:moveTo>
                <a:lnTo>
                  <a:pt x="5322626" y="3986257"/>
                </a:lnTo>
                <a:lnTo>
                  <a:pt x="5322626" y="4015859"/>
                </a:lnTo>
                <a:lnTo>
                  <a:pt x="5293024" y="4015859"/>
                </a:lnTo>
                <a:close/>
                <a:moveTo>
                  <a:pt x="5026827" y="3986257"/>
                </a:moveTo>
                <a:lnTo>
                  <a:pt x="5056429" y="3986257"/>
                </a:lnTo>
                <a:lnTo>
                  <a:pt x="5056429" y="4015859"/>
                </a:lnTo>
                <a:lnTo>
                  <a:pt x="5026827" y="4015859"/>
                </a:lnTo>
                <a:close/>
                <a:moveTo>
                  <a:pt x="4760630" y="3986257"/>
                </a:moveTo>
                <a:lnTo>
                  <a:pt x="4790340" y="3986257"/>
                </a:lnTo>
                <a:lnTo>
                  <a:pt x="4790340" y="4015859"/>
                </a:lnTo>
                <a:lnTo>
                  <a:pt x="4760630" y="4015859"/>
                </a:lnTo>
                <a:close/>
                <a:moveTo>
                  <a:pt x="4494541" y="3986257"/>
                </a:moveTo>
                <a:lnTo>
                  <a:pt x="4524144" y="3986257"/>
                </a:lnTo>
                <a:lnTo>
                  <a:pt x="4524144" y="4015859"/>
                </a:lnTo>
                <a:lnTo>
                  <a:pt x="4494541" y="4015859"/>
                </a:lnTo>
                <a:close/>
                <a:moveTo>
                  <a:pt x="4228344" y="3986257"/>
                </a:moveTo>
                <a:lnTo>
                  <a:pt x="4257946" y="3986257"/>
                </a:lnTo>
                <a:lnTo>
                  <a:pt x="4257946" y="4015859"/>
                </a:lnTo>
                <a:lnTo>
                  <a:pt x="4228344" y="4015859"/>
                </a:lnTo>
                <a:close/>
                <a:moveTo>
                  <a:pt x="3962255" y="3986257"/>
                </a:moveTo>
                <a:lnTo>
                  <a:pt x="3991857" y="3986257"/>
                </a:lnTo>
                <a:lnTo>
                  <a:pt x="3991857" y="4015859"/>
                </a:lnTo>
                <a:lnTo>
                  <a:pt x="3962255" y="4015859"/>
                </a:lnTo>
                <a:close/>
                <a:moveTo>
                  <a:pt x="3696058" y="3986257"/>
                </a:moveTo>
                <a:lnTo>
                  <a:pt x="3725661" y="3986257"/>
                </a:lnTo>
                <a:lnTo>
                  <a:pt x="3725661" y="4015859"/>
                </a:lnTo>
                <a:lnTo>
                  <a:pt x="3696058" y="4015859"/>
                </a:lnTo>
                <a:close/>
                <a:moveTo>
                  <a:pt x="3429969" y="3986257"/>
                </a:moveTo>
                <a:lnTo>
                  <a:pt x="3459572" y="3986257"/>
                </a:lnTo>
                <a:lnTo>
                  <a:pt x="3459572" y="4015859"/>
                </a:lnTo>
                <a:lnTo>
                  <a:pt x="3429969" y="4015859"/>
                </a:lnTo>
                <a:close/>
                <a:moveTo>
                  <a:pt x="3163772" y="3986257"/>
                </a:moveTo>
                <a:lnTo>
                  <a:pt x="3193374" y="3986257"/>
                </a:lnTo>
                <a:lnTo>
                  <a:pt x="3193374" y="4015859"/>
                </a:lnTo>
                <a:lnTo>
                  <a:pt x="3163772" y="4015859"/>
                </a:lnTo>
                <a:close/>
                <a:moveTo>
                  <a:pt x="2897575" y="3986257"/>
                </a:moveTo>
                <a:lnTo>
                  <a:pt x="2927178" y="3986257"/>
                </a:lnTo>
                <a:lnTo>
                  <a:pt x="2927178" y="4015859"/>
                </a:lnTo>
                <a:lnTo>
                  <a:pt x="2897575" y="4015859"/>
                </a:lnTo>
                <a:close/>
                <a:moveTo>
                  <a:pt x="2631378" y="3986257"/>
                </a:moveTo>
                <a:lnTo>
                  <a:pt x="2660980" y="3986257"/>
                </a:lnTo>
                <a:lnTo>
                  <a:pt x="2660980" y="4015859"/>
                </a:lnTo>
                <a:lnTo>
                  <a:pt x="2631378" y="4015859"/>
                </a:lnTo>
                <a:close/>
                <a:moveTo>
                  <a:pt x="2365289" y="3986257"/>
                </a:moveTo>
                <a:lnTo>
                  <a:pt x="2394892" y="3986257"/>
                </a:lnTo>
                <a:lnTo>
                  <a:pt x="2394892" y="4015859"/>
                </a:lnTo>
                <a:lnTo>
                  <a:pt x="2365289" y="4015859"/>
                </a:lnTo>
                <a:close/>
                <a:moveTo>
                  <a:pt x="2099092" y="3986257"/>
                </a:moveTo>
                <a:lnTo>
                  <a:pt x="2128695" y="3986257"/>
                </a:lnTo>
                <a:lnTo>
                  <a:pt x="2128695" y="4015859"/>
                </a:lnTo>
                <a:lnTo>
                  <a:pt x="2099092" y="4015859"/>
                </a:lnTo>
                <a:close/>
                <a:moveTo>
                  <a:pt x="1832898" y="3986257"/>
                </a:moveTo>
                <a:lnTo>
                  <a:pt x="1862498" y="3986257"/>
                </a:lnTo>
                <a:lnTo>
                  <a:pt x="1862498" y="4015859"/>
                </a:lnTo>
                <a:lnTo>
                  <a:pt x="1832898" y="4015859"/>
                </a:lnTo>
                <a:close/>
                <a:moveTo>
                  <a:pt x="1566808" y="3986257"/>
                </a:moveTo>
                <a:lnTo>
                  <a:pt x="1596409" y="3986257"/>
                </a:lnTo>
                <a:lnTo>
                  <a:pt x="1596409" y="4015859"/>
                </a:lnTo>
                <a:lnTo>
                  <a:pt x="1566808" y="4015859"/>
                </a:lnTo>
                <a:close/>
                <a:moveTo>
                  <a:pt x="1300611" y="3986257"/>
                </a:moveTo>
                <a:lnTo>
                  <a:pt x="1330213" y="3986257"/>
                </a:lnTo>
                <a:lnTo>
                  <a:pt x="1330213" y="4015859"/>
                </a:lnTo>
                <a:lnTo>
                  <a:pt x="1300611" y="4015859"/>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1672158" y="3720492"/>
                </a:moveTo>
                <a:lnTo>
                  <a:pt x="11701760" y="3720492"/>
                </a:lnTo>
                <a:lnTo>
                  <a:pt x="11701760" y="3750094"/>
                </a:lnTo>
                <a:lnTo>
                  <a:pt x="11672158" y="3750094"/>
                </a:lnTo>
                <a:close/>
                <a:moveTo>
                  <a:pt x="11405961" y="3720492"/>
                </a:moveTo>
                <a:lnTo>
                  <a:pt x="11435563" y="3720492"/>
                </a:lnTo>
                <a:lnTo>
                  <a:pt x="11435563" y="3750094"/>
                </a:lnTo>
                <a:lnTo>
                  <a:pt x="11405961" y="3750094"/>
                </a:lnTo>
                <a:close/>
                <a:moveTo>
                  <a:pt x="11139872" y="3720492"/>
                </a:moveTo>
                <a:lnTo>
                  <a:pt x="11169474" y="3720492"/>
                </a:lnTo>
                <a:lnTo>
                  <a:pt x="11169474" y="3750094"/>
                </a:lnTo>
                <a:lnTo>
                  <a:pt x="11139872" y="3750094"/>
                </a:lnTo>
                <a:close/>
                <a:moveTo>
                  <a:pt x="10873675" y="3720492"/>
                </a:moveTo>
                <a:lnTo>
                  <a:pt x="10903277" y="3720492"/>
                </a:lnTo>
                <a:lnTo>
                  <a:pt x="10903277" y="3750094"/>
                </a:lnTo>
                <a:lnTo>
                  <a:pt x="10873675" y="3750094"/>
                </a:lnTo>
                <a:close/>
                <a:moveTo>
                  <a:pt x="10607478" y="3720492"/>
                </a:moveTo>
                <a:lnTo>
                  <a:pt x="10637188" y="3720492"/>
                </a:lnTo>
                <a:lnTo>
                  <a:pt x="10637188" y="3750094"/>
                </a:lnTo>
                <a:lnTo>
                  <a:pt x="10607478" y="3750094"/>
                </a:lnTo>
                <a:close/>
                <a:moveTo>
                  <a:pt x="10341389" y="3720492"/>
                </a:moveTo>
                <a:lnTo>
                  <a:pt x="10370992" y="3720492"/>
                </a:lnTo>
                <a:lnTo>
                  <a:pt x="10370992" y="3750094"/>
                </a:lnTo>
                <a:lnTo>
                  <a:pt x="10341389" y="3750094"/>
                </a:lnTo>
                <a:close/>
                <a:moveTo>
                  <a:pt x="10075192" y="3720492"/>
                </a:moveTo>
                <a:lnTo>
                  <a:pt x="10104794" y="3720492"/>
                </a:lnTo>
                <a:lnTo>
                  <a:pt x="10104794" y="3750094"/>
                </a:lnTo>
                <a:lnTo>
                  <a:pt x="10075192" y="3750094"/>
                </a:lnTo>
                <a:close/>
                <a:moveTo>
                  <a:pt x="9809103" y="3720492"/>
                </a:moveTo>
                <a:lnTo>
                  <a:pt x="9838705" y="3720492"/>
                </a:lnTo>
                <a:lnTo>
                  <a:pt x="9838705" y="3750094"/>
                </a:lnTo>
                <a:lnTo>
                  <a:pt x="9809103" y="3750094"/>
                </a:lnTo>
                <a:close/>
                <a:moveTo>
                  <a:pt x="9542906" y="3720492"/>
                </a:moveTo>
                <a:lnTo>
                  <a:pt x="9572509" y="3720492"/>
                </a:lnTo>
                <a:lnTo>
                  <a:pt x="9572509" y="3750094"/>
                </a:lnTo>
                <a:lnTo>
                  <a:pt x="9542906" y="3750094"/>
                </a:lnTo>
                <a:close/>
                <a:moveTo>
                  <a:pt x="9276817" y="3720492"/>
                </a:moveTo>
                <a:lnTo>
                  <a:pt x="9306420" y="3720492"/>
                </a:lnTo>
                <a:lnTo>
                  <a:pt x="9306420" y="3750094"/>
                </a:lnTo>
                <a:lnTo>
                  <a:pt x="9276817" y="3750094"/>
                </a:lnTo>
                <a:close/>
                <a:moveTo>
                  <a:pt x="9010620" y="3720492"/>
                </a:moveTo>
                <a:lnTo>
                  <a:pt x="9040222" y="3720492"/>
                </a:lnTo>
                <a:lnTo>
                  <a:pt x="9040222" y="3750094"/>
                </a:lnTo>
                <a:lnTo>
                  <a:pt x="9010620" y="3750094"/>
                </a:lnTo>
                <a:close/>
                <a:moveTo>
                  <a:pt x="8744423" y="3720492"/>
                </a:moveTo>
                <a:lnTo>
                  <a:pt x="8774026" y="3720492"/>
                </a:lnTo>
                <a:lnTo>
                  <a:pt x="8774026" y="3750094"/>
                </a:lnTo>
                <a:lnTo>
                  <a:pt x="8744423" y="3750094"/>
                </a:lnTo>
                <a:close/>
                <a:moveTo>
                  <a:pt x="8478226" y="3720492"/>
                </a:moveTo>
                <a:lnTo>
                  <a:pt x="8507828" y="3720492"/>
                </a:lnTo>
                <a:lnTo>
                  <a:pt x="8507828" y="3750094"/>
                </a:lnTo>
                <a:lnTo>
                  <a:pt x="8478226" y="3750094"/>
                </a:lnTo>
                <a:close/>
                <a:moveTo>
                  <a:pt x="8212137" y="3720492"/>
                </a:moveTo>
                <a:lnTo>
                  <a:pt x="8241740" y="3720492"/>
                </a:lnTo>
                <a:lnTo>
                  <a:pt x="8241740" y="3750094"/>
                </a:lnTo>
                <a:lnTo>
                  <a:pt x="8212137" y="3750094"/>
                </a:lnTo>
                <a:close/>
                <a:moveTo>
                  <a:pt x="7945940" y="3720492"/>
                </a:moveTo>
                <a:lnTo>
                  <a:pt x="7975543" y="3720492"/>
                </a:lnTo>
                <a:lnTo>
                  <a:pt x="7975543" y="3750094"/>
                </a:lnTo>
                <a:lnTo>
                  <a:pt x="7945940" y="3750094"/>
                </a:lnTo>
                <a:close/>
                <a:moveTo>
                  <a:pt x="7679743" y="3720492"/>
                </a:moveTo>
                <a:lnTo>
                  <a:pt x="7709346" y="3720492"/>
                </a:lnTo>
                <a:lnTo>
                  <a:pt x="7709346" y="3750094"/>
                </a:lnTo>
                <a:lnTo>
                  <a:pt x="7679743" y="3750094"/>
                </a:lnTo>
                <a:close/>
                <a:moveTo>
                  <a:pt x="7413653" y="3720492"/>
                </a:moveTo>
                <a:lnTo>
                  <a:pt x="7443256" y="3720492"/>
                </a:lnTo>
                <a:lnTo>
                  <a:pt x="7443256" y="3750094"/>
                </a:lnTo>
                <a:lnTo>
                  <a:pt x="7413653" y="3750094"/>
                </a:lnTo>
                <a:close/>
                <a:moveTo>
                  <a:pt x="7147456" y="3720492"/>
                </a:moveTo>
                <a:lnTo>
                  <a:pt x="7177058" y="3720492"/>
                </a:lnTo>
                <a:lnTo>
                  <a:pt x="7177058" y="3750094"/>
                </a:lnTo>
                <a:lnTo>
                  <a:pt x="7147456" y="3750094"/>
                </a:lnTo>
                <a:close/>
                <a:moveTo>
                  <a:pt x="6881367" y="3720492"/>
                </a:moveTo>
                <a:lnTo>
                  <a:pt x="6910970" y="3720492"/>
                </a:lnTo>
                <a:lnTo>
                  <a:pt x="6910970" y="3750094"/>
                </a:lnTo>
                <a:lnTo>
                  <a:pt x="6881367" y="3750094"/>
                </a:lnTo>
                <a:close/>
                <a:moveTo>
                  <a:pt x="6615170" y="3720492"/>
                </a:moveTo>
                <a:lnTo>
                  <a:pt x="6644773" y="3720492"/>
                </a:lnTo>
                <a:lnTo>
                  <a:pt x="6644773" y="3750094"/>
                </a:lnTo>
                <a:lnTo>
                  <a:pt x="6615170" y="3750094"/>
                </a:lnTo>
                <a:close/>
                <a:moveTo>
                  <a:pt x="6349081" y="3720492"/>
                </a:moveTo>
                <a:lnTo>
                  <a:pt x="6378683" y="3720492"/>
                </a:lnTo>
                <a:lnTo>
                  <a:pt x="6378683" y="3750094"/>
                </a:lnTo>
                <a:lnTo>
                  <a:pt x="6349081" y="3750094"/>
                </a:lnTo>
                <a:close/>
                <a:moveTo>
                  <a:pt x="6082884" y="3720492"/>
                </a:moveTo>
                <a:lnTo>
                  <a:pt x="6112486" y="3720492"/>
                </a:lnTo>
                <a:lnTo>
                  <a:pt x="6112486" y="3750094"/>
                </a:lnTo>
                <a:lnTo>
                  <a:pt x="6082884" y="3750094"/>
                </a:lnTo>
                <a:close/>
                <a:moveTo>
                  <a:pt x="5825310" y="3720492"/>
                </a:moveTo>
                <a:lnTo>
                  <a:pt x="5854913" y="3720492"/>
                </a:lnTo>
                <a:lnTo>
                  <a:pt x="5854913" y="3750094"/>
                </a:lnTo>
                <a:lnTo>
                  <a:pt x="5825310" y="3750094"/>
                </a:lnTo>
                <a:close/>
                <a:moveTo>
                  <a:pt x="5559113" y="3720492"/>
                </a:moveTo>
                <a:lnTo>
                  <a:pt x="5588715" y="3720492"/>
                </a:lnTo>
                <a:lnTo>
                  <a:pt x="5588715" y="3750094"/>
                </a:lnTo>
                <a:lnTo>
                  <a:pt x="5559113" y="3750094"/>
                </a:lnTo>
                <a:close/>
                <a:moveTo>
                  <a:pt x="5293024" y="3720492"/>
                </a:moveTo>
                <a:lnTo>
                  <a:pt x="5322626" y="3720492"/>
                </a:lnTo>
                <a:lnTo>
                  <a:pt x="5322626" y="3750094"/>
                </a:lnTo>
                <a:lnTo>
                  <a:pt x="5293024" y="3750094"/>
                </a:lnTo>
                <a:close/>
                <a:moveTo>
                  <a:pt x="5026827" y="3720492"/>
                </a:moveTo>
                <a:lnTo>
                  <a:pt x="5056429" y="3720492"/>
                </a:lnTo>
                <a:lnTo>
                  <a:pt x="5056429" y="3750094"/>
                </a:lnTo>
                <a:lnTo>
                  <a:pt x="5026827" y="3750094"/>
                </a:lnTo>
                <a:close/>
                <a:moveTo>
                  <a:pt x="4760630" y="3720492"/>
                </a:moveTo>
                <a:lnTo>
                  <a:pt x="4790340" y="3720492"/>
                </a:lnTo>
                <a:lnTo>
                  <a:pt x="4790340" y="3750094"/>
                </a:lnTo>
                <a:lnTo>
                  <a:pt x="4760630" y="3750094"/>
                </a:lnTo>
                <a:close/>
                <a:moveTo>
                  <a:pt x="4494541" y="3720492"/>
                </a:moveTo>
                <a:lnTo>
                  <a:pt x="4524144" y="3720492"/>
                </a:lnTo>
                <a:lnTo>
                  <a:pt x="4524144" y="3750094"/>
                </a:lnTo>
                <a:lnTo>
                  <a:pt x="4494541" y="3750094"/>
                </a:lnTo>
                <a:close/>
                <a:moveTo>
                  <a:pt x="4228344" y="3720492"/>
                </a:moveTo>
                <a:lnTo>
                  <a:pt x="4257946" y="3720492"/>
                </a:lnTo>
                <a:lnTo>
                  <a:pt x="4257946" y="3750094"/>
                </a:lnTo>
                <a:lnTo>
                  <a:pt x="4228344" y="3750094"/>
                </a:lnTo>
                <a:close/>
                <a:moveTo>
                  <a:pt x="3962255" y="3720492"/>
                </a:moveTo>
                <a:lnTo>
                  <a:pt x="3991857" y="3720492"/>
                </a:lnTo>
                <a:lnTo>
                  <a:pt x="3991857" y="3750094"/>
                </a:lnTo>
                <a:lnTo>
                  <a:pt x="3962255" y="3750094"/>
                </a:lnTo>
                <a:close/>
                <a:moveTo>
                  <a:pt x="3696058" y="3720492"/>
                </a:moveTo>
                <a:lnTo>
                  <a:pt x="3725661" y="3720492"/>
                </a:lnTo>
                <a:lnTo>
                  <a:pt x="3725661" y="3750094"/>
                </a:lnTo>
                <a:lnTo>
                  <a:pt x="3696058" y="3750094"/>
                </a:lnTo>
                <a:close/>
                <a:moveTo>
                  <a:pt x="3429969" y="3720492"/>
                </a:moveTo>
                <a:lnTo>
                  <a:pt x="3459572" y="3720492"/>
                </a:lnTo>
                <a:lnTo>
                  <a:pt x="3459572" y="3750094"/>
                </a:lnTo>
                <a:lnTo>
                  <a:pt x="3429969" y="3750094"/>
                </a:lnTo>
                <a:close/>
                <a:moveTo>
                  <a:pt x="3163772" y="3720492"/>
                </a:moveTo>
                <a:lnTo>
                  <a:pt x="3193374" y="3720492"/>
                </a:lnTo>
                <a:lnTo>
                  <a:pt x="3193374" y="3750094"/>
                </a:lnTo>
                <a:lnTo>
                  <a:pt x="3163772" y="3750094"/>
                </a:lnTo>
                <a:close/>
                <a:moveTo>
                  <a:pt x="2897575" y="3720492"/>
                </a:moveTo>
                <a:lnTo>
                  <a:pt x="2927178" y="3720492"/>
                </a:lnTo>
                <a:lnTo>
                  <a:pt x="2927178" y="3750094"/>
                </a:lnTo>
                <a:lnTo>
                  <a:pt x="2897575" y="3750094"/>
                </a:lnTo>
                <a:close/>
                <a:moveTo>
                  <a:pt x="2631378" y="3720492"/>
                </a:moveTo>
                <a:lnTo>
                  <a:pt x="2660980" y="3720492"/>
                </a:lnTo>
                <a:lnTo>
                  <a:pt x="2660980" y="3750094"/>
                </a:lnTo>
                <a:lnTo>
                  <a:pt x="2631378" y="3750094"/>
                </a:lnTo>
                <a:close/>
                <a:moveTo>
                  <a:pt x="2365289" y="3720492"/>
                </a:moveTo>
                <a:lnTo>
                  <a:pt x="2394892" y="3720492"/>
                </a:lnTo>
                <a:lnTo>
                  <a:pt x="2394892" y="3750094"/>
                </a:lnTo>
                <a:lnTo>
                  <a:pt x="2365289" y="3750094"/>
                </a:lnTo>
                <a:close/>
                <a:moveTo>
                  <a:pt x="2099092" y="3720492"/>
                </a:moveTo>
                <a:lnTo>
                  <a:pt x="2128695" y="3720492"/>
                </a:lnTo>
                <a:lnTo>
                  <a:pt x="2128695" y="3750094"/>
                </a:lnTo>
                <a:lnTo>
                  <a:pt x="2099092" y="3750094"/>
                </a:lnTo>
                <a:close/>
                <a:moveTo>
                  <a:pt x="1832898" y="3720492"/>
                </a:moveTo>
                <a:lnTo>
                  <a:pt x="1862498" y="3720492"/>
                </a:lnTo>
                <a:lnTo>
                  <a:pt x="1862498" y="3750094"/>
                </a:lnTo>
                <a:lnTo>
                  <a:pt x="1832898" y="3750094"/>
                </a:lnTo>
                <a:close/>
                <a:moveTo>
                  <a:pt x="1566808" y="3720492"/>
                </a:moveTo>
                <a:lnTo>
                  <a:pt x="1596409" y="3720492"/>
                </a:lnTo>
                <a:lnTo>
                  <a:pt x="1596409" y="3750094"/>
                </a:lnTo>
                <a:lnTo>
                  <a:pt x="1566808" y="3750094"/>
                </a:lnTo>
                <a:close/>
                <a:moveTo>
                  <a:pt x="1300611" y="3720492"/>
                </a:moveTo>
                <a:lnTo>
                  <a:pt x="1330213" y="3720492"/>
                </a:lnTo>
                <a:lnTo>
                  <a:pt x="1330213" y="3750094"/>
                </a:lnTo>
                <a:lnTo>
                  <a:pt x="1300611" y="3750094"/>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1672158" y="3454727"/>
                </a:moveTo>
                <a:lnTo>
                  <a:pt x="11701760" y="3454727"/>
                </a:lnTo>
                <a:lnTo>
                  <a:pt x="11701760" y="3484330"/>
                </a:lnTo>
                <a:lnTo>
                  <a:pt x="11672158" y="3484330"/>
                </a:lnTo>
                <a:close/>
                <a:moveTo>
                  <a:pt x="11405961" y="3454727"/>
                </a:moveTo>
                <a:lnTo>
                  <a:pt x="11435563" y="3454727"/>
                </a:lnTo>
                <a:lnTo>
                  <a:pt x="11435563" y="3484330"/>
                </a:lnTo>
                <a:lnTo>
                  <a:pt x="11405961" y="3484330"/>
                </a:lnTo>
                <a:close/>
                <a:moveTo>
                  <a:pt x="11139872" y="3454727"/>
                </a:moveTo>
                <a:lnTo>
                  <a:pt x="11169474" y="3454727"/>
                </a:lnTo>
                <a:lnTo>
                  <a:pt x="11169474" y="3484330"/>
                </a:lnTo>
                <a:lnTo>
                  <a:pt x="11139872" y="3484330"/>
                </a:lnTo>
                <a:close/>
                <a:moveTo>
                  <a:pt x="10873675" y="3454727"/>
                </a:moveTo>
                <a:lnTo>
                  <a:pt x="10903277" y="3454727"/>
                </a:lnTo>
                <a:lnTo>
                  <a:pt x="10903277" y="3484330"/>
                </a:lnTo>
                <a:lnTo>
                  <a:pt x="10873675" y="3484330"/>
                </a:lnTo>
                <a:close/>
                <a:moveTo>
                  <a:pt x="10607478" y="3454727"/>
                </a:moveTo>
                <a:lnTo>
                  <a:pt x="10637188" y="3454727"/>
                </a:lnTo>
                <a:lnTo>
                  <a:pt x="10637188" y="3484330"/>
                </a:lnTo>
                <a:lnTo>
                  <a:pt x="10607478" y="3484330"/>
                </a:lnTo>
                <a:close/>
                <a:moveTo>
                  <a:pt x="10341389" y="3454727"/>
                </a:moveTo>
                <a:lnTo>
                  <a:pt x="10370992" y="3454727"/>
                </a:lnTo>
                <a:lnTo>
                  <a:pt x="10370992" y="3484330"/>
                </a:lnTo>
                <a:lnTo>
                  <a:pt x="10341389" y="3484330"/>
                </a:lnTo>
                <a:close/>
                <a:moveTo>
                  <a:pt x="10075192" y="3454727"/>
                </a:moveTo>
                <a:lnTo>
                  <a:pt x="10104794" y="3454727"/>
                </a:lnTo>
                <a:lnTo>
                  <a:pt x="10104794" y="3484330"/>
                </a:lnTo>
                <a:lnTo>
                  <a:pt x="10075192" y="3484330"/>
                </a:lnTo>
                <a:close/>
                <a:moveTo>
                  <a:pt x="9809103" y="3454727"/>
                </a:moveTo>
                <a:lnTo>
                  <a:pt x="9838705" y="3454727"/>
                </a:lnTo>
                <a:lnTo>
                  <a:pt x="9838705" y="3484330"/>
                </a:lnTo>
                <a:lnTo>
                  <a:pt x="9809103" y="3484330"/>
                </a:lnTo>
                <a:close/>
                <a:moveTo>
                  <a:pt x="9542906" y="3454727"/>
                </a:moveTo>
                <a:lnTo>
                  <a:pt x="9572509" y="3454727"/>
                </a:lnTo>
                <a:lnTo>
                  <a:pt x="9572509" y="3484330"/>
                </a:lnTo>
                <a:lnTo>
                  <a:pt x="9542906" y="3484330"/>
                </a:lnTo>
                <a:close/>
                <a:moveTo>
                  <a:pt x="9276817" y="3454727"/>
                </a:moveTo>
                <a:lnTo>
                  <a:pt x="9306420" y="3454727"/>
                </a:lnTo>
                <a:lnTo>
                  <a:pt x="9306420" y="3484330"/>
                </a:lnTo>
                <a:lnTo>
                  <a:pt x="9276817" y="3484330"/>
                </a:lnTo>
                <a:close/>
                <a:moveTo>
                  <a:pt x="9010620" y="3454727"/>
                </a:moveTo>
                <a:lnTo>
                  <a:pt x="9040222" y="3454727"/>
                </a:lnTo>
                <a:lnTo>
                  <a:pt x="9040222" y="3484330"/>
                </a:lnTo>
                <a:lnTo>
                  <a:pt x="9010620" y="3484330"/>
                </a:lnTo>
                <a:close/>
                <a:moveTo>
                  <a:pt x="8744423" y="3454727"/>
                </a:moveTo>
                <a:lnTo>
                  <a:pt x="8774026" y="3454727"/>
                </a:lnTo>
                <a:lnTo>
                  <a:pt x="8774026" y="3484330"/>
                </a:lnTo>
                <a:lnTo>
                  <a:pt x="8744423" y="3484330"/>
                </a:lnTo>
                <a:close/>
                <a:moveTo>
                  <a:pt x="8478226" y="3454727"/>
                </a:moveTo>
                <a:lnTo>
                  <a:pt x="8507828" y="3454727"/>
                </a:lnTo>
                <a:lnTo>
                  <a:pt x="8507828" y="3484330"/>
                </a:lnTo>
                <a:lnTo>
                  <a:pt x="8478226" y="3484330"/>
                </a:lnTo>
                <a:close/>
                <a:moveTo>
                  <a:pt x="8212137" y="3454727"/>
                </a:moveTo>
                <a:lnTo>
                  <a:pt x="8241740" y="3454727"/>
                </a:lnTo>
                <a:lnTo>
                  <a:pt x="8241740" y="3484330"/>
                </a:lnTo>
                <a:lnTo>
                  <a:pt x="8212137" y="3484330"/>
                </a:lnTo>
                <a:close/>
                <a:moveTo>
                  <a:pt x="7945940" y="3454727"/>
                </a:moveTo>
                <a:lnTo>
                  <a:pt x="7975543" y="3454727"/>
                </a:lnTo>
                <a:lnTo>
                  <a:pt x="7975543" y="3484330"/>
                </a:lnTo>
                <a:lnTo>
                  <a:pt x="7945940" y="3484330"/>
                </a:lnTo>
                <a:close/>
                <a:moveTo>
                  <a:pt x="7679743" y="3454727"/>
                </a:moveTo>
                <a:lnTo>
                  <a:pt x="7709346" y="3454727"/>
                </a:lnTo>
                <a:lnTo>
                  <a:pt x="7709346" y="3484330"/>
                </a:lnTo>
                <a:lnTo>
                  <a:pt x="7679743" y="3484330"/>
                </a:lnTo>
                <a:close/>
                <a:moveTo>
                  <a:pt x="7413653" y="3454727"/>
                </a:moveTo>
                <a:lnTo>
                  <a:pt x="7443256" y="3454727"/>
                </a:lnTo>
                <a:lnTo>
                  <a:pt x="7443256" y="3484330"/>
                </a:lnTo>
                <a:lnTo>
                  <a:pt x="7413653" y="3484330"/>
                </a:lnTo>
                <a:close/>
                <a:moveTo>
                  <a:pt x="7147456" y="3454727"/>
                </a:moveTo>
                <a:lnTo>
                  <a:pt x="7177058" y="3454727"/>
                </a:lnTo>
                <a:lnTo>
                  <a:pt x="7177058" y="3484330"/>
                </a:lnTo>
                <a:lnTo>
                  <a:pt x="7147456" y="3484330"/>
                </a:lnTo>
                <a:close/>
                <a:moveTo>
                  <a:pt x="6881367" y="3454727"/>
                </a:moveTo>
                <a:lnTo>
                  <a:pt x="6910970" y="3454727"/>
                </a:lnTo>
                <a:lnTo>
                  <a:pt x="6910970" y="3484330"/>
                </a:lnTo>
                <a:lnTo>
                  <a:pt x="6881367" y="3484330"/>
                </a:lnTo>
                <a:close/>
                <a:moveTo>
                  <a:pt x="6615170" y="3454727"/>
                </a:moveTo>
                <a:lnTo>
                  <a:pt x="6644773" y="3454727"/>
                </a:lnTo>
                <a:lnTo>
                  <a:pt x="6644773" y="3484330"/>
                </a:lnTo>
                <a:lnTo>
                  <a:pt x="6615170" y="3484330"/>
                </a:lnTo>
                <a:close/>
                <a:moveTo>
                  <a:pt x="6349081" y="3454727"/>
                </a:moveTo>
                <a:lnTo>
                  <a:pt x="6378683" y="3454727"/>
                </a:lnTo>
                <a:lnTo>
                  <a:pt x="6378683" y="3484330"/>
                </a:lnTo>
                <a:lnTo>
                  <a:pt x="6349081" y="3484330"/>
                </a:lnTo>
                <a:close/>
                <a:moveTo>
                  <a:pt x="6082884" y="3454727"/>
                </a:moveTo>
                <a:lnTo>
                  <a:pt x="6112486" y="3454727"/>
                </a:lnTo>
                <a:lnTo>
                  <a:pt x="6112486" y="3484330"/>
                </a:lnTo>
                <a:lnTo>
                  <a:pt x="6082884" y="3484330"/>
                </a:lnTo>
                <a:close/>
                <a:moveTo>
                  <a:pt x="5825310" y="3454727"/>
                </a:moveTo>
                <a:lnTo>
                  <a:pt x="5854913" y="3454727"/>
                </a:lnTo>
                <a:lnTo>
                  <a:pt x="5854913" y="3484330"/>
                </a:lnTo>
                <a:lnTo>
                  <a:pt x="5825310" y="3484330"/>
                </a:lnTo>
                <a:close/>
                <a:moveTo>
                  <a:pt x="5559113" y="3454727"/>
                </a:moveTo>
                <a:lnTo>
                  <a:pt x="5588715" y="3454727"/>
                </a:lnTo>
                <a:lnTo>
                  <a:pt x="5588715" y="3484330"/>
                </a:lnTo>
                <a:lnTo>
                  <a:pt x="5559113" y="3484330"/>
                </a:lnTo>
                <a:close/>
                <a:moveTo>
                  <a:pt x="5293024" y="3454727"/>
                </a:moveTo>
                <a:lnTo>
                  <a:pt x="5322626" y="3454727"/>
                </a:lnTo>
                <a:lnTo>
                  <a:pt x="5322626" y="3484330"/>
                </a:lnTo>
                <a:lnTo>
                  <a:pt x="5293024" y="3484330"/>
                </a:lnTo>
                <a:close/>
                <a:moveTo>
                  <a:pt x="5026827" y="3454727"/>
                </a:moveTo>
                <a:lnTo>
                  <a:pt x="5056429" y="3454727"/>
                </a:lnTo>
                <a:lnTo>
                  <a:pt x="5056429" y="3484330"/>
                </a:lnTo>
                <a:lnTo>
                  <a:pt x="5026827" y="3484330"/>
                </a:lnTo>
                <a:close/>
                <a:moveTo>
                  <a:pt x="4760630" y="3454727"/>
                </a:moveTo>
                <a:lnTo>
                  <a:pt x="4790340" y="3454727"/>
                </a:lnTo>
                <a:lnTo>
                  <a:pt x="4790340" y="3484330"/>
                </a:lnTo>
                <a:lnTo>
                  <a:pt x="4760630" y="3484330"/>
                </a:lnTo>
                <a:close/>
                <a:moveTo>
                  <a:pt x="4494541" y="3454727"/>
                </a:moveTo>
                <a:lnTo>
                  <a:pt x="4524144" y="3454727"/>
                </a:lnTo>
                <a:lnTo>
                  <a:pt x="4524144" y="3484330"/>
                </a:lnTo>
                <a:lnTo>
                  <a:pt x="4494541" y="3484330"/>
                </a:lnTo>
                <a:close/>
                <a:moveTo>
                  <a:pt x="4228344" y="3454727"/>
                </a:moveTo>
                <a:lnTo>
                  <a:pt x="4257946" y="3454727"/>
                </a:lnTo>
                <a:lnTo>
                  <a:pt x="4257946" y="3484330"/>
                </a:lnTo>
                <a:lnTo>
                  <a:pt x="4228344" y="3484330"/>
                </a:lnTo>
                <a:close/>
                <a:moveTo>
                  <a:pt x="3962255" y="3454727"/>
                </a:moveTo>
                <a:lnTo>
                  <a:pt x="3991857" y="3454727"/>
                </a:lnTo>
                <a:lnTo>
                  <a:pt x="3991857" y="3484330"/>
                </a:lnTo>
                <a:lnTo>
                  <a:pt x="3962255" y="3484330"/>
                </a:lnTo>
                <a:close/>
                <a:moveTo>
                  <a:pt x="3696058" y="3454727"/>
                </a:moveTo>
                <a:lnTo>
                  <a:pt x="3725661" y="3454727"/>
                </a:lnTo>
                <a:lnTo>
                  <a:pt x="3725661" y="3484330"/>
                </a:lnTo>
                <a:lnTo>
                  <a:pt x="3696058" y="3484330"/>
                </a:lnTo>
                <a:close/>
                <a:moveTo>
                  <a:pt x="3429969" y="3454727"/>
                </a:moveTo>
                <a:lnTo>
                  <a:pt x="3459572" y="3454727"/>
                </a:lnTo>
                <a:lnTo>
                  <a:pt x="3459572" y="3484330"/>
                </a:lnTo>
                <a:lnTo>
                  <a:pt x="3429969" y="3484330"/>
                </a:lnTo>
                <a:close/>
                <a:moveTo>
                  <a:pt x="3163772" y="3454727"/>
                </a:moveTo>
                <a:lnTo>
                  <a:pt x="3193374" y="3454727"/>
                </a:lnTo>
                <a:lnTo>
                  <a:pt x="3193374" y="3484330"/>
                </a:lnTo>
                <a:lnTo>
                  <a:pt x="3163772" y="3484330"/>
                </a:lnTo>
                <a:close/>
                <a:moveTo>
                  <a:pt x="2897575" y="3454727"/>
                </a:moveTo>
                <a:lnTo>
                  <a:pt x="2927178" y="3454727"/>
                </a:lnTo>
                <a:lnTo>
                  <a:pt x="2927178" y="3484330"/>
                </a:lnTo>
                <a:lnTo>
                  <a:pt x="2897575" y="3484330"/>
                </a:lnTo>
                <a:close/>
                <a:moveTo>
                  <a:pt x="2631378" y="3454727"/>
                </a:moveTo>
                <a:lnTo>
                  <a:pt x="2660980" y="3454727"/>
                </a:lnTo>
                <a:lnTo>
                  <a:pt x="2660980" y="3484330"/>
                </a:lnTo>
                <a:lnTo>
                  <a:pt x="2631378" y="3484330"/>
                </a:lnTo>
                <a:close/>
                <a:moveTo>
                  <a:pt x="2365289" y="3454727"/>
                </a:moveTo>
                <a:lnTo>
                  <a:pt x="2394892" y="3454727"/>
                </a:lnTo>
                <a:lnTo>
                  <a:pt x="2394892" y="3484330"/>
                </a:lnTo>
                <a:lnTo>
                  <a:pt x="2365289" y="3484330"/>
                </a:lnTo>
                <a:close/>
                <a:moveTo>
                  <a:pt x="2099092" y="3454727"/>
                </a:moveTo>
                <a:lnTo>
                  <a:pt x="2128695" y="3454727"/>
                </a:lnTo>
                <a:lnTo>
                  <a:pt x="2128695" y="3484330"/>
                </a:lnTo>
                <a:lnTo>
                  <a:pt x="2099092" y="3484330"/>
                </a:lnTo>
                <a:close/>
                <a:moveTo>
                  <a:pt x="1832898" y="3454727"/>
                </a:moveTo>
                <a:lnTo>
                  <a:pt x="1862498" y="3454727"/>
                </a:lnTo>
                <a:lnTo>
                  <a:pt x="1862498" y="3484330"/>
                </a:lnTo>
                <a:lnTo>
                  <a:pt x="1832898" y="3484330"/>
                </a:lnTo>
                <a:close/>
                <a:moveTo>
                  <a:pt x="1566808" y="3454727"/>
                </a:moveTo>
                <a:lnTo>
                  <a:pt x="1596409" y="3454727"/>
                </a:lnTo>
                <a:lnTo>
                  <a:pt x="1596409" y="3484330"/>
                </a:lnTo>
                <a:lnTo>
                  <a:pt x="1566808" y="3484330"/>
                </a:lnTo>
                <a:close/>
                <a:moveTo>
                  <a:pt x="1300611" y="3454727"/>
                </a:moveTo>
                <a:lnTo>
                  <a:pt x="1330213" y="3454727"/>
                </a:lnTo>
                <a:lnTo>
                  <a:pt x="1330213" y="3484330"/>
                </a:lnTo>
                <a:lnTo>
                  <a:pt x="1300611" y="3484330"/>
                </a:lnTo>
                <a:close/>
                <a:moveTo>
                  <a:pt x="1034520" y="3454727"/>
                </a:moveTo>
                <a:lnTo>
                  <a:pt x="1064123" y="3454727"/>
                </a:lnTo>
                <a:lnTo>
                  <a:pt x="1064123" y="3484330"/>
                </a:lnTo>
                <a:lnTo>
                  <a:pt x="1034520" y="3484330"/>
                </a:lnTo>
                <a:close/>
                <a:moveTo>
                  <a:pt x="768327" y="3454727"/>
                </a:moveTo>
                <a:lnTo>
                  <a:pt x="797926" y="3454727"/>
                </a:lnTo>
                <a:lnTo>
                  <a:pt x="797926" y="3484330"/>
                </a:lnTo>
                <a:lnTo>
                  <a:pt x="768327" y="3484330"/>
                </a:lnTo>
                <a:close/>
                <a:moveTo>
                  <a:pt x="502236" y="3454727"/>
                </a:moveTo>
                <a:lnTo>
                  <a:pt x="531839" y="3454727"/>
                </a:lnTo>
                <a:lnTo>
                  <a:pt x="531839" y="3484330"/>
                </a:lnTo>
                <a:lnTo>
                  <a:pt x="502236" y="3484330"/>
                </a:lnTo>
                <a:close/>
                <a:moveTo>
                  <a:pt x="236037" y="3454727"/>
                </a:moveTo>
                <a:lnTo>
                  <a:pt x="265640" y="3454727"/>
                </a:lnTo>
                <a:lnTo>
                  <a:pt x="265640" y="3484330"/>
                </a:lnTo>
                <a:lnTo>
                  <a:pt x="236037" y="3484330"/>
                </a:lnTo>
                <a:close/>
                <a:moveTo>
                  <a:pt x="1" y="3454727"/>
                </a:moveTo>
                <a:lnTo>
                  <a:pt x="29603" y="3454727"/>
                </a:lnTo>
                <a:lnTo>
                  <a:pt x="29603" y="3484330"/>
                </a:lnTo>
                <a:lnTo>
                  <a:pt x="1" y="3484330"/>
                </a:lnTo>
                <a:close/>
                <a:moveTo>
                  <a:pt x="11672158" y="3189089"/>
                </a:moveTo>
                <a:lnTo>
                  <a:pt x="11701760" y="3189089"/>
                </a:lnTo>
                <a:lnTo>
                  <a:pt x="11701760" y="3218566"/>
                </a:lnTo>
                <a:lnTo>
                  <a:pt x="11672158" y="3218566"/>
                </a:lnTo>
                <a:close/>
                <a:moveTo>
                  <a:pt x="11405961" y="3189089"/>
                </a:moveTo>
                <a:lnTo>
                  <a:pt x="11435563" y="3189089"/>
                </a:lnTo>
                <a:lnTo>
                  <a:pt x="11435563" y="3218566"/>
                </a:lnTo>
                <a:lnTo>
                  <a:pt x="11405961" y="3218566"/>
                </a:lnTo>
                <a:close/>
                <a:moveTo>
                  <a:pt x="5825310" y="3189089"/>
                </a:moveTo>
                <a:lnTo>
                  <a:pt x="5854913" y="3189089"/>
                </a:lnTo>
                <a:lnTo>
                  <a:pt x="5854913" y="3218566"/>
                </a:lnTo>
                <a:lnTo>
                  <a:pt x="5825310" y="3218566"/>
                </a:lnTo>
                <a:close/>
                <a:moveTo>
                  <a:pt x="5559113" y="3189089"/>
                </a:moveTo>
                <a:lnTo>
                  <a:pt x="5588715" y="3189089"/>
                </a:lnTo>
                <a:lnTo>
                  <a:pt x="5588715" y="3218566"/>
                </a:lnTo>
                <a:lnTo>
                  <a:pt x="5559113" y="3218566"/>
                </a:lnTo>
                <a:close/>
                <a:moveTo>
                  <a:pt x="11139872" y="3189087"/>
                </a:moveTo>
                <a:lnTo>
                  <a:pt x="11169474" y="3189087"/>
                </a:lnTo>
                <a:lnTo>
                  <a:pt x="11169474" y="3218566"/>
                </a:lnTo>
                <a:lnTo>
                  <a:pt x="11139872" y="3218566"/>
                </a:lnTo>
                <a:close/>
                <a:moveTo>
                  <a:pt x="10873675" y="3189087"/>
                </a:moveTo>
                <a:lnTo>
                  <a:pt x="10903277" y="3189087"/>
                </a:lnTo>
                <a:lnTo>
                  <a:pt x="10903277" y="3218566"/>
                </a:lnTo>
                <a:lnTo>
                  <a:pt x="10873675" y="3218566"/>
                </a:lnTo>
                <a:close/>
                <a:moveTo>
                  <a:pt x="5293024" y="3189087"/>
                </a:moveTo>
                <a:lnTo>
                  <a:pt x="5322626" y="3189087"/>
                </a:lnTo>
                <a:lnTo>
                  <a:pt x="5322626" y="3218566"/>
                </a:lnTo>
                <a:lnTo>
                  <a:pt x="5293024" y="3218566"/>
                </a:lnTo>
                <a:close/>
                <a:moveTo>
                  <a:pt x="5026827" y="3189087"/>
                </a:moveTo>
                <a:lnTo>
                  <a:pt x="5056429" y="3189087"/>
                </a:lnTo>
                <a:lnTo>
                  <a:pt x="5056429" y="3218566"/>
                </a:lnTo>
                <a:lnTo>
                  <a:pt x="5026827" y="3218566"/>
                </a:lnTo>
                <a:close/>
                <a:moveTo>
                  <a:pt x="10607478" y="3189086"/>
                </a:moveTo>
                <a:lnTo>
                  <a:pt x="10637188" y="3189086"/>
                </a:lnTo>
                <a:lnTo>
                  <a:pt x="10637188" y="3218566"/>
                </a:lnTo>
                <a:lnTo>
                  <a:pt x="10607478" y="3218566"/>
                </a:lnTo>
                <a:close/>
                <a:moveTo>
                  <a:pt x="4760630" y="3189086"/>
                </a:moveTo>
                <a:lnTo>
                  <a:pt x="4790340" y="3189086"/>
                </a:lnTo>
                <a:lnTo>
                  <a:pt x="4790340" y="3218566"/>
                </a:lnTo>
                <a:lnTo>
                  <a:pt x="4760630" y="3218566"/>
                </a:lnTo>
                <a:close/>
                <a:moveTo>
                  <a:pt x="10341389" y="3189085"/>
                </a:moveTo>
                <a:lnTo>
                  <a:pt x="10370992" y="3189085"/>
                </a:lnTo>
                <a:lnTo>
                  <a:pt x="10370992" y="3218566"/>
                </a:lnTo>
                <a:lnTo>
                  <a:pt x="10341389" y="3218566"/>
                </a:lnTo>
                <a:close/>
                <a:moveTo>
                  <a:pt x="4494541" y="3189085"/>
                </a:moveTo>
                <a:lnTo>
                  <a:pt x="4524144" y="3189085"/>
                </a:lnTo>
                <a:lnTo>
                  <a:pt x="4524144" y="3218566"/>
                </a:lnTo>
                <a:lnTo>
                  <a:pt x="4494541" y="3218566"/>
                </a:lnTo>
                <a:close/>
                <a:moveTo>
                  <a:pt x="10075192" y="3189084"/>
                </a:moveTo>
                <a:lnTo>
                  <a:pt x="10104794" y="3189084"/>
                </a:lnTo>
                <a:lnTo>
                  <a:pt x="10104794" y="3218566"/>
                </a:lnTo>
                <a:lnTo>
                  <a:pt x="10075192" y="3218566"/>
                </a:lnTo>
                <a:close/>
                <a:moveTo>
                  <a:pt x="4228344" y="3189084"/>
                </a:moveTo>
                <a:lnTo>
                  <a:pt x="4257946" y="3189084"/>
                </a:lnTo>
                <a:lnTo>
                  <a:pt x="4257946" y="3218566"/>
                </a:lnTo>
                <a:lnTo>
                  <a:pt x="4228344" y="3218566"/>
                </a:lnTo>
                <a:close/>
                <a:moveTo>
                  <a:pt x="9809103" y="3189083"/>
                </a:moveTo>
                <a:lnTo>
                  <a:pt x="9838705" y="3189083"/>
                </a:lnTo>
                <a:lnTo>
                  <a:pt x="9838705" y="3218566"/>
                </a:lnTo>
                <a:lnTo>
                  <a:pt x="9809103" y="3218566"/>
                </a:lnTo>
                <a:close/>
                <a:moveTo>
                  <a:pt x="3962255" y="3189083"/>
                </a:moveTo>
                <a:lnTo>
                  <a:pt x="3991857" y="3189083"/>
                </a:lnTo>
                <a:lnTo>
                  <a:pt x="3991857" y="3218566"/>
                </a:lnTo>
                <a:lnTo>
                  <a:pt x="3962255" y="3218566"/>
                </a:lnTo>
                <a:close/>
                <a:moveTo>
                  <a:pt x="9542906" y="3189082"/>
                </a:moveTo>
                <a:lnTo>
                  <a:pt x="9572509" y="3189082"/>
                </a:lnTo>
                <a:lnTo>
                  <a:pt x="9572509" y="3218566"/>
                </a:lnTo>
                <a:lnTo>
                  <a:pt x="9542906" y="3218566"/>
                </a:lnTo>
                <a:close/>
                <a:moveTo>
                  <a:pt x="3696058" y="3189082"/>
                </a:moveTo>
                <a:lnTo>
                  <a:pt x="3725661" y="3189082"/>
                </a:lnTo>
                <a:lnTo>
                  <a:pt x="3725661" y="3218566"/>
                </a:lnTo>
                <a:lnTo>
                  <a:pt x="3696058" y="3218566"/>
                </a:lnTo>
                <a:close/>
                <a:moveTo>
                  <a:pt x="9276817" y="3189081"/>
                </a:moveTo>
                <a:lnTo>
                  <a:pt x="9306420" y="3189081"/>
                </a:lnTo>
                <a:lnTo>
                  <a:pt x="9306420" y="3218566"/>
                </a:lnTo>
                <a:lnTo>
                  <a:pt x="9276817" y="3218566"/>
                </a:lnTo>
                <a:close/>
                <a:moveTo>
                  <a:pt x="9010620" y="3189081"/>
                </a:moveTo>
                <a:lnTo>
                  <a:pt x="9040222" y="3189081"/>
                </a:lnTo>
                <a:lnTo>
                  <a:pt x="9040222" y="3218566"/>
                </a:lnTo>
                <a:lnTo>
                  <a:pt x="9010620" y="3218566"/>
                </a:lnTo>
                <a:close/>
                <a:moveTo>
                  <a:pt x="3429969" y="3189081"/>
                </a:moveTo>
                <a:lnTo>
                  <a:pt x="3459572" y="3189081"/>
                </a:lnTo>
                <a:lnTo>
                  <a:pt x="3459572" y="3218566"/>
                </a:lnTo>
                <a:lnTo>
                  <a:pt x="3429969" y="3218566"/>
                </a:lnTo>
                <a:close/>
                <a:moveTo>
                  <a:pt x="3163772" y="3189081"/>
                </a:moveTo>
                <a:lnTo>
                  <a:pt x="3193374" y="3189081"/>
                </a:lnTo>
                <a:lnTo>
                  <a:pt x="3193374" y="3218566"/>
                </a:lnTo>
                <a:lnTo>
                  <a:pt x="3163772" y="3218566"/>
                </a:lnTo>
                <a:close/>
                <a:moveTo>
                  <a:pt x="8744423" y="3189080"/>
                </a:moveTo>
                <a:lnTo>
                  <a:pt x="8774026" y="3189080"/>
                </a:lnTo>
                <a:lnTo>
                  <a:pt x="8774026" y="3218566"/>
                </a:lnTo>
                <a:lnTo>
                  <a:pt x="8744423" y="3218566"/>
                </a:lnTo>
                <a:close/>
                <a:moveTo>
                  <a:pt x="2897575" y="3189080"/>
                </a:moveTo>
                <a:lnTo>
                  <a:pt x="2927178" y="3189080"/>
                </a:lnTo>
                <a:lnTo>
                  <a:pt x="2927178" y="3218566"/>
                </a:lnTo>
                <a:lnTo>
                  <a:pt x="2897575" y="3218566"/>
                </a:lnTo>
                <a:close/>
                <a:moveTo>
                  <a:pt x="8478226" y="3189079"/>
                </a:moveTo>
                <a:lnTo>
                  <a:pt x="8507828" y="3189079"/>
                </a:lnTo>
                <a:lnTo>
                  <a:pt x="8507828" y="3218566"/>
                </a:lnTo>
                <a:lnTo>
                  <a:pt x="8478226" y="3218566"/>
                </a:lnTo>
                <a:close/>
                <a:moveTo>
                  <a:pt x="2631378" y="3189079"/>
                </a:moveTo>
                <a:lnTo>
                  <a:pt x="2660980" y="3189079"/>
                </a:lnTo>
                <a:lnTo>
                  <a:pt x="2660980" y="3218566"/>
                </a:lnTo>
                <a:lnTo>
                  <a:pt x="2631378" y="3218566"/>
                </a:lnTo>
                <a:close/>
                <a:moveTo>
                  <a:pt x="8212137" y="3189078"/>
                </a:moveTo>
                <a:lnTo>
                  <a:pt x="8241740" y="3189078"/>
                </a:lnTo>
                <a:lnTo>
                  <a:pt x="8241740" y="3218566"/>
                </a:lnTo>
                <a:lnTo>
                  <a:pt x="8212137" y="3218566"/>
                </a:lnTo>
                <a:close/>
                <a:moveTo>
                  <a:pt x="2365289" y="3189078"/>
                </a:moveTo>
                <a:lnTo>
                  <a:pt x="2394892" y="3189078"/>
                </a:lnTo>
                <a:lnTo>
                  <a:pt x="2394892" y="3218566"/>
                </a:lnTo>
                <a:lnTo>
                  <a:pt x="2365289" y="3218566"/>
                </a:lnTo>
                <a:close/>
                <a:moveTo>
                  <a:pt x="7945940" y="3189077"/>
                </a:moveTo>
                <a:lnTo>
                  <a:pt x="7975543" y="3189077"/>
                </a:lnTo>
                <a:lnTo>
                  <a:pt x="7975543" y="3218566"/>
                </a:lnTo>
                <a:lnTo>
                  <a:pt x="7945940" y="3218566"/>
                </a:lnTo>
                <a:close/>
                <a:moveTo>
                  <a:pt x="2099092" y="3189077"/>
                </a:moveTo>
                <a:lnTo>
                  <a:pt x="2128695" y="3189077"/>
                </a:lnTo>
                <a:lnTo>
                  <a:pt x="2128695" y="3218566"/>
                </a:lnTo>
                <a:lnTo>
                  <a:pt x="2099092" y="3218566"/>
                </a:lnTo>
                <a:close/>
                <a:moveTo>
                  <a:pt x="7679743" y="3189076"/>
                </a:moveTo>
                <a:lnTo>
                  <a:pt x="7709346" y="3189076"/>
                </a:lnTo>
                <a:lnTo>
                  <a:pt x="7709346" y="3218566"/>
                </a:lnTo>
                <a:lnTo>
                  <a:pt x="7679743" y="3218566"/>
                </a:lnTo>
                <a:close/>
                <a:moveTo>
                  <a:pt x="7413653" y="3189076"/>
                </a:moveTo>
                <a:lnTo>
                  <a:pt x="7443256" y="3189076"/>
                </a:lnTo>
                <a:lnTo>
                  <a:pt x="7443256" y="3218566"/>
                </a:lnTo>
                <a:lnTo>
                  <a:pt x="7413653" y="3218566"/>
                </a:lnTo>
                <a:close/>
                <a:moveTo>
                  <a:pt x="1832898" y="3189076"/>
                </a:moveTo>
                <a:lnTo>
                  <a:pt x="1862498" y="3189076"/>
                </a:lnTo>
                <a:lnTo>
                  <a:pt x="1862498" y="3218566"/>
                </a:lnTo>
                <a:lnTo>
                  <a:pt x="1832898" y="3218566"/>
                </a:lnTo>
                <a:close/>
                <a:moveTo>
                  <a:pt x="1566808" y="3189076"/>
                </a:moveTo>
                <a:lnTo>
                  <a:pt x="1596409" y="3189076"/>
                </a:lnTo>
                <a:lnTo>
                  <a:pt x="1596409" y="3218566"/>
                </a:lnTo>
                <a:lnTo>
                  <a:pt x="1566808" y="3218566"/>
                </a:lnTo>
                <a:close/>
                <a:moveTo>
                  <a:pt x="7147456" y="3189075"/>
                </a:moveTo>
                <a:lnTo>
                  <a:pt x="7177058" y="3189075"/>
                </a:lnTo>
                <a:lnTo>
                  <a:pt x="7177058" y="3218566"/>
                </a:lnTo>
                <a:lnTo>
                  <a:pt x="7147456" y="3218566"/>
                </a:lnTo>
                <a:close/>
                <a:moveTo>
                  <a:pt x="1300611" y="3189075"/>
                </a:moveTo>
                <a:lnTo>
                  <a:pt x="1330213" y="3189075"/>
                </a:lnTo>
                <a:lnTo>
                  <a:pt x="1330213" y="3218566"/>
                </a:lnTo>
                <a:lnTo>
                  <a:pt x="1300611" y="3218566"/>
                </a:lnTo>
                <a:close/>
                <a:moveTo>
                  <a:pt x="6881367" y="3189074"/>
                </a:moveTo>
                <a:lnTo>
                  <a:pt x="6910970" y="3189074"/>
                </a:lnTo>
                <a:lnTo>
                  <a:pt x="6910970" y="3218566"/>
                </a:lnTo>
                <a:lnTo>
                  <a:pt x="6881367" y="3218566"/>
                </a:lnTo>
                <a:close/>
                <a:moveTo>
                  <a:pt x="1034520" y="3189074"/>
                </a:moveTo>
                <a:lnTo>
                  <a:pt x="1064123" y="3189074"/>
                </a:lnTo>
                <a:lnTo>
                  <a:pt x="1064123" y="3218566"/>
                </a:lnTo>
                <a:lnTo>
                  <a:pt x="1034520" y="3218566"/>
                </a:lnTo>
                <a:close/>
                <a:moveTo>
                  <a:pt x="6615170" y="3189073"/>
                </a:moveTo>
                <a:lnTo>
                  <a:pt x="6644773" y="3189073"/>
                </a:lnTo>
                <a:lnTo>
                  <a:pt x="6644773" y="3218566"/>
                </a:lnTo>
                <a:lnTo>
                  <a:pt x="6615170" y="3218566"/>
                </a:lnTo>
                <a:close/>
                <a:moveTo>
                  <a:pt x="768327" y="3189073"/>
                </a:moveTo>
                <a:lnTo>
                  <a:pt x="797926" y="3189073"/>
                </a:lnTo>
                <a:lnTo>
                  <a:pt x="797926" y="3218566"/>
                </a:lnTo>
                <a:lnTo>
                  <a:pt x="768327" y="3218566"/>
                </a:lnTo>
                <a:close/>
                <a:moveTo>
                  <a:pt x="6349081" y="3189072"/>
                </a:moveTo>
                <a:lnTo>
                  <a:pt x="6378683" y="3189072"/>
                </a:lnTo>
                <a:lnTo>
                  <a:pt x="6378683" y="3218566"/>
                </a:lnTo>
                <a:lnTo>
                  <a:pt x="6349081" y="3218566"/>
                </a:lnTo>
                <a:close/>
                <a:moveTo>
                  <a:pt x="502236" y="3189072"/>
                </a:moveTo>
                <a:lnTo>
                  <a:pt x="531839" y="3189072"/>
                </a:lnTo>
                <a:lnTo>
                  <a:pt x="531839" y="3218566"/>
                </a:lnTo>
                <a:lnTo>
                  <a:pt x="502236" y="3218566"/>
                </a:lnTo>
                <a:close/>
                <a:moveTo>
                  <a:pt x="6082884" y="3189071"/>
                </a:moveTo>
                <a:lnTo>
                  <a:pt x="6112486" y="3189071"/>
                </a:lnTo>
                <a:lnTo>
                  <a:pt x="6112486" y="3218566"/>
                </a:lnTo>
                <a:lnTo>
                  <a:pt x="6082884" y="3218566"/>
                </a:lnTo>
                <a:close/>
                <a:moveTo>
                  <a:pt x="236037" y="3189071"/>
                </a:moveTo>
                <a:lnTo>
                  <a:pt x="265639" y="3189071"/>
                </a:lnTo>
                <a:lnTo>
                  <a:pt x="265639" y="3218566"/>
                </a:lnTo>
                <a:lnTo>
                  <a:pt x="236037" y="3218566"/>
                </a:lnTo>
                <a:close/>
                <a:moveTo>
                  <a:pt x="1" y="3189071"/>
                </a:moveTo>
                <a:lnTo>
                  <a:pt x="29603" y="3189071"/>
                </a:lnTo>
                <a:lnTo>
                  <a:pt x="29603" y="3218566"/>
                </a:lnTo>
                <a:lnTo>
                  <a:pt x="1" y="3218566"/>
                </a:lnTo>
                <a:close/>
                <a:moveTo>
                  <a:pt x="11672158" y="2923329"/>
                </a:moveTo>
                <a:lnTo>
                  <a:pt x="11701760" y="2923329"/>
                </a:lnTo>
                <a:lnTo>
                  <a:pt x="11701760" y="2952824"/>
                </a:lnTo>
                <a:lnTo>
                  <a:pt x="11672158" y="2952824"/>
                </a:lnTo>
                <a:close/>
                <a:moveTo>
                  <a:pt x="5825310" y="2923329"/>
                </a:moveTo>
                <a:lnTo>
                  <a:pt x="5854913" y="2923329"/>
                </a:lnTo>
                <a:lnTo>
                  <a:pt x="5854913" y="2952824"/>
                </a:lnTo>
                <a:lnTo>
                  <a:pt x="5825310" y="2952824"/>
                </a:lnTo>
                <a:close/>
                <a:moveTo>
                  <a:pt x="11405961" y="2923328"/>
                </a:moveTo>
                <a:lnTo>
                  <a:pt x="11435563" y="2923328"/>
                </a:lnTo>
                <a:lnTo>
                  <a:pt x="11435563" y="2952823"/>
                </a:lnTo>
                <a:lnTo>
                  <a:pt x="11405961" y="2952823"/>
                </a:lnTo>
                <a:close/>
                <a:moveTo>
                  <a:pt x="5559113" y="2923328"/>
                </a:moveTo>
                <a:lnTo>
                  <a:pt x="5588715" y="2923328"/>
                </a:lnTo>
                <a:lnTo>
                  <a:pt x="5588715" y="2952823"/>
                </a:lnTo>
                <a:lnTo>
                  <a:pt x="5559113" y="2952823"/>
                </a:lnTo>
                <a:close/>
                <a:moveTo>
                  <a:pt x="11139872" y="2923327"/>
                </a:moveTo>
                <a:lnTo>
                  <a:pt x="11169474" y="2923327"/>
                </a:lnTo>
                <a:lnTo>
                  <a:pt x="11169474" y="2952822"/>
                </a:lnTo>
                <a:lnTo>
                  <a:pt x="11139872" y="2952822"/>
                </a:lnTo>
                <a:close/>
                <a:moveTo>
                  <a:pt x="5293024" y="2923327"/>
                </a:moveTo>
                <a:lnTo>
                  <a:pt x="5322626" y="2923327"/>
                </a:lnTo>
                <a:lnTo>
                  <a:pt x="5322626" y="2952822"/>
                </a:lnTo>
                <a:lnTo>
                  <a:pt x="5293024" y="2952822"/>
                </a:lnTo>
                <a:close/>
                <a:moveTo>
                  <a:pt x="10873675" y="2923326"/>
                </a:moveTo>
                <a:lnTo>
                  <a:pt x="10903277" y="2923326"/>
                </a:lnTo>
                <a:lnTo>
                  <a:pt x="10903277" y="2952821"/>
                </a:lnTo>
                <a:lnTo>
                  <a:pt x="10873675" y="2952821"/>
                </a:lnTo>
                <a:close/>
                <a:moveTo>
                  <a:pt x="5026827" y="2923326"/>
                </a:moveTo>
                <a:lnTo>
                  <a:pt x="5056429" y="2923326"/>
                </a:lnTo>
                <a:lnTo>
                  <a:pt x="5056429" y="2952821"/>
                </a:lnTo>
                <a:lnTo>
                  <a:pt x="5026827" y="2952821"/>
                </a:lnTo>
                <a:close/>
                <a:moveTo>
                  <a:pt x="10607478" y="2923325"/>
                </a:moveTo>
                <a:lnTo>
                  <a:pt x="10637188" y="2923325"/>
                </a:lnTo>
                <a:lnTo>
                  <a:pt x="10637188" y="2952820"/>
                </a:lnTo>
                <a:lnTo>
                  <a:pt x="10607478" y="2952820"/>
                </a:lnTo>
                <a:close/>
                <a:moveTo>
                  <a:pt x="4760630" y="2923325"/>
                </a:moveTo>
                <a:lnTo>
                  <a:pt x="4790340" y="2923325"/>
                </a:lnTo>
                <a:lnTo>
                  <a:pt x="4790340" y="2952820"/>
                </a:lnTo>
                <a:lnTo>
                  <a:pt x="4760630" y="2952820"/>
                </a:lnTo>
                <a:close/>
                <a:moveTo>
                  <a:pt x="10341389" y="2923323"/>
                </a:moveTo>
                <a:lnTo>
                  <a:pt x="10370992" y="2923323"/>
                </a:lnTo>
                <a:lnTo>
                  <a:pt x="10370992" y="2952819"/>
                </a:lnTo>
                <a:lnTo>
                  <a:pt x="10341389" y="2952819"/>
                </a:lnTo>
                <a:close/>
                <a:moveTo>
                  <a:pt x="4494541" y="2923323"/>
                </a:moveTo>
                <a:lnTo>
                  <a:pt x="4524144" y="2923323"/>
                </a:lnTo>
                <a:lnTo>
                  <a:pt x="4524144" y="2952819"/>
                </a:lnTo>
                <a:lnTo>
                  <a:pt x="4494541" y="2952819"/>
                </a:lnTo>
                <a:close/>
                <a:moveTo>
                  <a:pt x="10075192" y="2923322"/>
                </a:moveTo>
                <a:lnTo>
                  <a:pt x="10104794" y="2923322"/>
                </a:lnTo>
                <a:lnTo>
                  <a:pt x="10104794" y="2952818"/>
                </a:lnTo>
                <a:lnTo>
                  <a:pt x="10075192" y="2952818"/>
                </a:lnTo>
                <a:close/>
                <a:moveTo>
                  <a:pt x="4228344" y="2923322"/>
                </a:moveTo>
                <a:lnTo>
                  <a:pt x="4257946" y="2923322"/>
                </a:lnTo>
                <a:lnTo>
                  <a:pt x="4257946" y="2952818"/>
                </a:lnTo>
                <a:lnTo>
                  <a:pt x="4228344" y="2952818"/>
                </a:lnTo>
                <a:close/>
                <a:moveTo>
                  <a:pt x="9809103" y="2923321"/>
                </a:moveTo>
                <a:lnTo>
                  <a:pt x="9838705" y="2923321"/>
                </a:lnTo>
                <a:lnTo>
                  <a:pt x="9838705" y="2952817"/>
                </a:lnTo>
                <a:lnTo>
                  <a:pt x="9809103" y="2952817"/>
                </a:lnTo>
                <a:close/>
                <a:moveTo>
                  <a:pt x="3962255" y="2923321"/>
                </a:moveTo>
                <a:lnTo>
                  <a:pt x="3991857" y="2923321"/>
                </a:lnTo>
                <a:lnTo>
                  <a:pt x="3991857" y="2952817"/>
                </a:lnTo>
                <a:lnTo>
                  <a:pt x="3962255" y="2952817"/>
                </a:lnTo>
                <a:close/>
                <a:moveTo>
                  <a:pt x="9542906" y="2923320"/>
                </a:moveTo>
                <a:lnTo>
                  <a:pt x="9572509" y="2923320"/>
                </a:lnTo>
                <a:lnTo>
                  <a:pt x="9572509" y="2952815"/>
                </a:lnTo>
                <a:lnTo>
                  <a:pt x="9542906" y="2952815"/>
                </a:lnTo>
                <a:close/>
                <a:moveTo>
                  <a:pt x="3696058" y="2923320"/>
                </a:moveTo>
                <a:lnTo>
                  <a:pt x="3725661" y="2923320"/>
                </a:lnTo>
                <a:lnTo>
                  <a:pt x="3725661" y="2952815"/>
                </a:lnTo>
                <a:lnTo>
                  <a:pt x="3696058" y="2952815"/>
                </a:lnTo>
                <a:close/>
                <a:moveTo>
                  <a:pt x="9276817" y="2923319"/>
                </a:moveTo>
                <a:lnTo>
                  <a:pt x="9306420" y="2923319"/>
                </a:lnTo>
                <a:lnTo>
                  <a:pt x="9306420" y="2952814"/>
                </a:lnTo>
                <a:lnTo>
                  <a:pt x="9276817" y="2952814"/>
                </a:lnTo>
                <a:close/>
                <a:moveTo>
                  <a:pt x="3429969" y="2923319"/>
                </a:moveTo>
                <a:lnTo>
                  <a:pt x="3459572" y="2923319"/>
                </a:lnTo>
                <a:lnTo>
                  <a:pt x="3459572" y="2952814"/>
                </a:lnTo>
                <a:lnTo>
                  <a:pt x="3429969" y="2952814"/>
                </a:lnTo>
                <a:close/>
                <a:moveTo>
                  <a:pt x="9010620" y="2923318"/>
                </a:moveTo>
                <a:lnTo>
                  <a:pt x="9040222" y="2923318"/>
                </a:lnTo>
                <a:lnTo>
                  <a:pt x="9040222" y="2952813"/>
                </a:lnTo>
                <a:lnTo>
                  <a:pt x="9010620" y="2952813"/>
                </a:lnTo>
                <a:close/>
                <a:moveTo>
                  <a:pt x="3163772" y="2923318"/>
                </a:moveTo>
                <a:lnTo>
                  <a:pt x="3193374" y="2923318"/>
                </a:lnTo>
                <a:lnTo>
                  <a:pt x="3193374" y="2952813"/>
                </a:lnTo>
                <a:lnTo>
                  <a:pt x="3163772" y="2952813"/>
                </a:lnTo>
                <a:close/>
                <a:moveTo>
                  <a:pt x="8744423" y="2923317"/>
                </a:moveTo>
                <a:lnTo>
                  <a:pt x="8774026" y="2923317"/>
                </a:lnTo>
                <a:lnTo>
                  <a:pt x="8774026" y="2952812"/>
                </a:lnTo>
                <a:lnTo>
                  <a:pt x="8744423" y="2952812"/>
                </a:lnTo>
                <a:close/>
                <a:moveTo>
                  <a:pt x="2897575" y="2923317"/>
                </a:moveTo>
                <a:lnTo>
                  <a:pt x="2927178" y="2923317"/>
                </a:lnTo>
                <a:lnTo>
                  <a:pt x="2927178" y="2952812"/>
                </a:lnTo>
                <a:lnTo>
                  <a:pt x="2897575" y="2952812"/>
                </a:lnTo>
                <a:close/>
                <a:moveTo>
                  <a:pt x="8478226" y="2923316"/>
                </a:moveTo>
                <a:lnTo>
                  <a:pt x="8507828" y="2923316"/>
                </a:lnTo>
                <a:lnTo>
                  <a:pt x="8507828" y="2952811"/>
                </a:lnTo>
                <a:lnTo>
                  <a:pt x="8478226" y="2952811"/>
                </a:lnTo>
                <a:close/>
                <a:moveTo>
                  <a:pt x="2631378" y="2923316"/>
                </a:moveTo>
                <a:lnTo>
                  <a:pt x="2660980" y="2923316"/>
                </a:lnTo>
                <a:lnTo>
                  <a:pt x="2660980" y="2952811"/>
                </a:lnTo>
                <a:lnTo>
                  <a:pt x="2631378" y="2952811"/>
                </a:lnTo>
                <a:close/>
                <a:moveTo>
                  <a:pt x="8212137" y="2923315"/>
                </a:moveTo>
                <a:lnTo>
                  <a:pt x="8241740" y="2923315"/>
                </a:lnTo>
                <a:lnTo>
                  <a:pt x="8241740" y="2952810"/>
                </a:lnTo>
                <a:lnTo>
                  <a:pt x="8212137" y="2952810"/>
                </a:lnTo>
                <a:close/>
                <a:moveTo>
                  <a:pt x="2365289" y="2923315"/>
                </a:moveTo>
                <a:lnTo>
                  <a:pt x="2394892" y="2923315"/>
                </a:lnTo>
                <a:lnTo>
                  <a:pt x="2394892" y="2952810"/>
                </a:lnTo>
                <a:lnTo>
                  <a:pt x="2365289" y="2952810"/>
                </a:lnTo>
                <a:close/>
                <a:moveTo>
                  <a:pt x="7945940" y="2923314"/>
                </a:moveTo>
                <a:lnTo>
                  <a:pt x="7975543" y="2923314"/>
                </a:lnTo>
                <a:lnTo>
                  <a:pt x="7975543" y="2952809"/>
                </a:lnTo>
                <a:lnTo>
                  <a:pt x="7945940" y="2952809"/>
                </a:lnTo>
                <a:close/>
                <a:moveTo>
                  <a:pt x="2099092" y="2923314"/>
                </a:moveTo>
                <a:lnTo>
                  <a:pt x="2128695" y="2923314"/>
                </a:lnTo>
                <a:lnTo>
                  <a:pt x="2128695" y="2952809"/>
                </a:lnTo>
                <a:lnTo>
                  <a:pt x="2099092" y="2952809"/>
                </a:lnTo>
                <a:close/>
                <a:moveTo>
                  <a:pt x="7679743" y="2923313"/>
                </a:moveTo>
                <a:lnTo>
                  <a:pt x="7709346" y="2923313"/>
                </a:lnTo>
                <a:lnTo>
                  <a:pt x="7709346" y="2952808"/>
                </a:lnTo>
                <a:lnTo>
                  <a:pt x="7679743" y="2952808"/>
                </a:lnTo>
                <a:close/>
                <a:moveTo>
                  <a:pt x="1832898" y="2923313"/>
                </a:moveTo>
                <a:lnTo>
                  <a:pt x="1862498" y="2923313"/>
                </a:lnTo>
                <a:lnTo>
                  <a:pt x="1862498" y="2952808"/>
                </a:lnTo>
                <a:lnTo>
                  <a:pt x="1832898" y="2952808"/>
                </a:lnTo>
                <a:close/>
                <a:moveTo>
                  <a:pt x="7413653" y="2923312"/>
                </a:moveTo>
                <a:lnTo>
                  <a:pt x="7443256" y="2923312"/>
                </a:lnTo>
                <a:lnTo>
                  <a:pt x="7443256" y="2952807"/>
                </a:lnTo>
                <a:lnTo>
                  <a:pt x="7413653" y="2952807"/>
                </a:lnTo>
                <a:close/>
                <a:moveTo>
                  <a:pt x="1566808" y="2923312"/>
                </a:moveTo>
                <a:lnTo>
                  <a:pt x="1596409" y="2923312"/>
                </a:lnTo>
                <a:lnTo>
                  <a:pt x="1596409" y="2952807"/>
                </a:lnTo>
                <a:lnTo>
                  <a:pt x="1566808" y="2952807"/>
                </a:lnTo>
                <a:close/>
                <a:moveTo>
                  <a:pt x="7147456" y="2923311"/>
                </a:moveTo>
                <a:lnTo>
                  <a:pt x="7177058" y="2923311"/>
                </a:lnTo>
                <a:lnTo>
                  <a:pt x="7177058" y="2952806"/>
                </a:lnTo>
                <a:lnTo>
                  <a:pt x="7147456" y="2952806"/>
                </a:lnTo>
                <a:close/>
                <a:moveTo>
                  <a:pt x="1300611" y="2923311"/>
                </a:moveTo>
                <a:lnTo>
                  <a:pt x="1330213" y="2923311"/>
                </a:lnTo>
                <a:lnTo>
                  <a:pt x="1330213" y="2952806"/>
                </a:lnTo>
                <a:lnTo>
                  <a:pt x="1300611" y="2952806"/>
                </a:lnTo>
                <a:close/>
                <a:moveTo>
                  <a:pt x="6881367" y="2923310"/>
                </a:moveTo>
                <a:lnTo>
                  <a:pt x="6910970" y="2923310"/>
                </a:lnTo>
                <a:lnTo>
                  <a:pt x="6910970" y="2952805"/>
                </a:lnTo>
                <a:lnTo>
                  <a:pt x="6881367" y="2952805"/>
                </a:lnTo>
                <a:close/>
                <a:moveTo>
                  <a:pt x="1034520" y="2923310"/>
                </a:moveTo>
                <a:lnTo>
                  <a:pt x="1064123" y="2923310"/>
                </a:lnTo>
                <a:lnTo>
                  <a:pt x="1064123" y="2952805"/>
                </a:lnTo>
                <a:lnTo>
                  <a:pt x="1034520" y="2952805"/>
                </a:lnTo>
                <a:close/>
                <a:moveTo>
                  <a:pt x="6615170" y="2923309"/>
                </a:moveTo>
                <a:lnTo>
                  <a:pt x="6644773" y="2923309"/>
                </a:lnTo>
                <a:lnTo>
                  <a:pt x="6644773" y="2952804"/>
                </a:lnTo>
                <a:lnTo>
                  <a:pt x="6615170" y="2952804"/>
                </a:lnTo>
                <a:close/>
                <a:moveTo>
                  <a:pt x="768327" y="2923309"/>
                </a:moveTo>
                <a:lnTo>
                  <a:pt x="797926" y="2923309"/>
                </a:lnTo>
                <a:lnTo>
                  <a:pt x="797926" y="2952804"/>
                </a:lnTo>
                <a:lnTo>
                  <a:pt x="768327" y="2952804"/>
                </a:lnTo>
                <a:close/>
                <a:moveTo>
                  <a:pt x="6349081" y="2923308"/>
                </a:moveTo>
                <a:lnTo>
                  <a:pt x="6378683" y="2923308"/>
                </a:lnTo>
                <a:lnTo>
                  <a:pt x="6378683" y="2952803"/>
                </a:lnTo>
                <a:lnTo>
                  <a:pt x="6349081" y="2952803"/>
                </a:lnTo>
                <a:close/>
                <a:moveTo>
                  <a:pt x="502236" y="2923308"/>
                </a:moveTo>
                <a:lnTo>
                  <a:pt x="531838" y="2923308"/>
                </a:lnTo>
                <a:lnTo>
                  <a:pt x="531838" y="2952803"/>
                </a:lnTo>
                <a:lnTo>
                  <a:pt x="502236" y="2952803"/>
                </a:lnTo>
                <a:close/>
                <a:moveTo>
                  <a:pt x="6082884" y="2923307"/>
                </a:moveTo>
                <a:lnTo>
                  <a:pt x="6112486" y="2923307"/>
                </a:lnTo>
                <a:lnTo>
                  <a:pt x="6112486" y="2952802"/>
                </a:lnTo>
                <a:lnTo>
                  <a:pt x="6082884" y="2952802"/>
                </a:lnTo>
                <a:close/>
                <a:moveTo>
                  <a:pt x="236037" y="2923307"/>
                </a:moveTo>
                <a:lnTo>
                  <a:pt x="265639" y="2923307"/>
                </a:lnTo>
                <a:lnTo>
                  <a:pt x="265639" y="2952802"/>
                </a:lnTo>
                <a:lnTo>
                  <a:pt x="236037" y="2952802"/>
                </a:lnTo>
                <a:close/>
                <a:moveTo>
                  <a:pt x="1" y="2923307"/>
                </a:moveTo>
                <a:lnTo>
                  <a:pt x="29603" y="2923307"/>
                </a:lnTo>
                <a:lnTo>
                  <a:pt x="29603" y="2952802"/>
                </a:lnTo>
                <a:lnTo>
                  <a:pt x="1" y="2952802"/>
                </a:lnTo>
                <a:close/>
                <a:moveTo>
                  <a:pt x="11672158" y="2657500"/>
                </a:moveTo>
                <a:lnTo>
                  <a:pt x="11701760" y="2657500"/>
                </a:lnTo>
                <a:lnTo>
                  <a:pt x="11701760" y="2687101"/>
                </a:lnTo>
                <a:lnTo>
                  <a:pt x="11672158" y="2687101"/>
                </a:lnTo>
                <a:close/>
                <a:moveTo>
                  <a:pt x="5825310" y="2657500"/>
                </a:moveTo>
                <a:lnTo>
                  <a:pt x="5854913" y="2657500"/>
                </a:lnTo>
                <a:lnTo>
                  <a:pt x="5854913" y="2687101"/>
                </a:lnTo>
                <a:lnTo>
                  <a:pt x="5825310" y="2687101"/>
                </a:lnTo>
                <a:close/>
                <a:moveTo>
                  <a:pt x="11405961" y="2657497"/>
                </a:moveTo>
                <a:lnTo>
                  <a:pt x="11435563" y="2657497"/>
                </a:lnTo>
                <a:lnTo>
                  <a:pt x="11435563" y="2687099"/>
                </a:lnTo>
                <a:lnTo>
                  <a:pt x="11405961" y="2687099"/>
                </a:lnTo>
                <a:close/>
                <a:moveTo>
                  <a:pt x="5559113" y="2657497"/>
                </a:moveTo>
                <a:lnTo>
                  <a:pt x="5588715" y="2657497"/>
                </a:lnTo>
                <a:lnTo>
                  <a:pt x="5588715" y="2687099"/>
                </a:lnTo>
                <a:lnTo>
                  <a:pt x="5559113" y="2687099"/>
                </a:lnTo>
                <a:close/>
                <a:moveTo>
                  <a:pt x="11139872" y="2657494"/>
                </a:moveTo>
                <a:lnTo>
                  <a:pt x="11169474" y="2657494"/>
                </a:lnTo>
                <a:lnTo>
                  <a:pt x="11169474" y="2687096"/>
                </a:lnTo>
                <a:lnTo>
                  <a:pt x="11139872" y="2687096"/>
                </a:lnTo>
                <a:close/>
                <a:moveTo>
                  <a:pt x="5293024" y="2657494"/>
                </a:moveTo>
                <a:lnTo>
                  <a:pt x="5322626" y="2657494"/>
                </a:lnTo>
                <a:lnTo>
                  <a:pt x="5322626" y="2687096"/>
                </a:lnTo>
                <a:lnTo>
                  <a:pt x="5293024" y="2687096"/>
                </a:lnTo>
                <a:close/>
                <a:moveTo>
                  <a:pt x="10873675" y="2657491"/>
                </a:moveTo>
                <a:lnTo>
                  <a:pt x="10903277" y="2657491"/>
                </a:lnTo>
                <a:lnTo>
                  <a:pt x="10903277" y="2687093"/>
                </a:lnTo>
                <a:lnTo>
                  <a:pt x="10873675" y="2687093"/>
                </a:lnTo>
                <a:close/>
                <a:moveTo>
                  <a:pt x="5026827" y="2657491"/>
                </a:moveTo>
                <a:lnTo>
                  <a:pt x="5056429" y="2657491"/>
                </a:lnTo>
                <a:lnTo>
                  <a:pt x="5056429" y="2687093"/>
                </a:lnTo>
                <a:lnTo>
                  <a:pt x="5026827" y="2687093"/>
                </a:lnTo>
                <a:close/>
                <a:moveTo>
                  <a:pt x="10607478" y="2657488"/>
                </a:moveTo>
                <a:lnTo>
                  <a:pt x="10637188" y="2657488"/>
                </a:lnTo>
                <a:lnTo>
                  <a:pt x="10637188" y="2687090"/>
                </a:lnTo>
                <a:lnTo>
                  <a:pt x="10607478" y="2687090"/>
                </a:lnTo>
                <a:close/>
                <a:moveTo>
                  <a:pt x="4760630" y="2657488"/>
                </a:moveTo>
                <a:lnTo>
                  <a:pt x="4790340" y="2657488"/>
                </a:lnTo>
                <a:lnTo>
                  <a:pt x="4790340" y="2687090"/>
                </a:lnTo>
                <a:lnTo>
                  <a:pt x="4760630" y="2687090"/>
                </a:lnTo>
                <a:close/>
                <a:moveTo>
                  <a:pt x="10341389" y="2657485"/>
                </a:moveTo>
                <a:lnTo>
                  <a:pt x="10370992" y="2657485"/>
                </a:lnTo>
                <a:lnTo>
                  <a:pt x="10370992" y="2687087"/>
                </a:lnTo>
                <a:lnTo>
                  <a:pt x="10341389" y="2687087"/>
                </a:lnTo>
                <a:close/>
                <a:moveTo>
                  <a:pt x="4494541" y="2657485"/>
                </a:moveTo>
                <a:lnTo>
                  <a:pt x="4524144" y="2657485"/>
                </a:lnTo>
                <a:lnTo>
                  <a:pt x="4524144" y="2687087"/>
                </a:lnTo>
                <a:lnTo>
                  <a:pt x="4494541" y="2687087"/>
                </a:lnTo>
                <a:close/>
                <a:moveTo>
                  <a:pt x="10075192" y="2657482"/>
                </a:moveTo>
                <a:lnTo>
                  <a:pt x="10104794" y="2657482"/>
                </a:lnTo>
                <a:lnTo>
                  <a:pt x="10104794" y="2687083"/>
                </a:lnTo>
                <a:lnTo>
                  <a:pt x="10075192" y="2687083"/>
                </a:lnTo>
                <a:close/>
                <a:moveTo>
                  <a:pt x="4228344" y="2657482"/>
                </a:moveTo>
                <a:lnTo>
                  <a:pt x="4257946" y="2657482"/>
                </a:lnTo>
                <a:lnTo>
                  <a:pt x="4257946" y="2687083"/>
                </a:lnTo>
                <a:lnTo>
                  <a:pt x="4228344" y="2687083"/>
                </a:lnTo>
                <a:close/>
                <a:moveTo>
                  <a:pt x="9809103" y="2657478"/>
                </a:moveTo>
                <a:lnTo>
                  <a:pt x="9838705" y="2657478"/>
                </a:lnTo>
                <a:lnTo>
                  <a:pt x="9838705" y="2687080"/>
                </a:lnTo>
                <a:lnTo>
                  <a:pt x="9809103" y="2687080"/>
                </a:lnTo>
                <a:close/>
                <a:moveTo>
                  <a:pt x="3962255" y="2657478"/>
                </a:moveTo>
                <a:lnTo>
                  <a:pt x="3991857" y="2657478"/>
                </a:lnTo>
                <a:lnTo>
                  <a:pt x="3991857" y="2687080"/>
                </a:lnTo>
                <a:lnTo>
                  <a:pt x="3962255" y="2687080"/>
                </a:lnTo>
                <a:close/>
                <a:moveTo>
                  <a:pt x="9542906" y="2657475"/>
                </a:moveTo>
                <a:lnTo>
                  <a:pt x="9572509" y="2657475"/>
                </a:lnTo>
                <a:lnTo>
                  <a:pt x="9572509" y="2687077"/>
                </a:lnTo>
                <a:lnTo>
                  <a:pt x="9542906" y="2687077"/>
                </a:lnTo>
                <a:close/>
                <a:moveTo>
                  <a:pt x="3696058" y="2657475"/>
                </a:moveTo>
                <a:lnTo>
                  <a:pt x="3725661" y="2657475"/>
                </a:lnTo>
                <a:lnTo>
                  <a:pt x="3725661" y="2687077"/>
                </a:lnTo>
                <a:lnTo>
                  <a:pt x="3696058" y="2687077"/>
                </a:lnTo>
                <a:close/>
                <a:moveTo>
                  <a:pt x="9276817" y="2657472"/>
                </a:moveTo>
                <a:lnTo>
                  <a:pt x="9306420" y="2657472"/>
                </a:lnTo>
                <a:lnTo>
                  <a:pt x="9306420" y="2687074"/>
                </a:lnTo>
                <a:lnTo>
                  <a:pt x="9276817" y="2687074"/>
                </a:lnTo>
                <a:close/>
                <a:moveTo>
                  <a:pt x="3429969" y="2657472"/>
                </a:moveTo>
                <a:lnTo>
                  <a:pt x="3459572" y="2657472"/>
                </a:lnTo>
                <a:lnTo>
                  <a:pt x="3459572" y="2687074"/>
                </a:lnTo>
                <a:lnTo>
                  <a:pt x="3429969" y="2687074"/>
                </a:lnTo>
                <a:close/>
                <a:moveTo>
                  <a:pt x="9010620" y="2657469"/>
                </a:moveTo>
                <a:lnTo>
                  <a:pt x="9040222" y="2657469"/>
                </a:lnTo>
                <a:lnTo>
                  <a:pt x="9040222" y="2687071"/>
                </a:lnTo>
                <a:lnTo>
                  <a:pt x="9010620" y="2687071"/>
                </a:lnTo>
                <a:close/>
                <a:moveTo>
                  <a:pt x="3163772" y="2657469"/>
                </a:moveTo>
                <a:lnTo>
                  <a:pt x="3193374" y="2657469"/>
                </a:lnTo>
                <a:lnTo>
                  <a:pt x="3193374" y="2687071"/>
                </a:lnTo>
                <a:lnTo>
                  <a:pt x="3163772" y="2687071"/>
                </a:lnTo>
                <a:close/>
                <a:moveTo>
                  <a:pt x="8744423" y="2657466"/>
                </a:moveTo>
                <a:lnTo>
                  <a:pt x="8774026" y="2657466"/>
                </a:lnTo>
                <a:lnTo>
                  <a:pt x="8774026" y="2687068"/>
                </a:lnTo>
                <a:lnTo>
                  <a:pt x="8744423" y="2687068"/>
                </a:lnTo>
                <a:close/>
                <a:moveTo>
                  <a:pt x="2897575" y="2657466"/>
                </a:moveTo>
                <a:lnTo>
                  <a:pt x="2927178" y="2657466"/>
                </a:lnTo>
                <a:lnTo>
                  <a:pt x="2927178" y="2687068"/>
                </a:lnTo>
                <a:lnTo>
                  <a:pt x="2897575" y="2687068"/>
                </a:lnTo>
                <a:close/>
                <a:moveTo>
                  <a:pt x="8478226" y="2657462"/>
                </a:moveTo>
                <a:lnTo>
                  <a:pt x="8507828" y="2657462"/>
                </a:lnTo>
                <a:lnTo>
                  <a:pt x="8507828" y="2687064"/>
                </a:lnTo>
                <a:lnTo>
                  <a:pt x="8478226" y="2687064"/>
                </a:lnTo>
                <a:close/>
                <a:moveTo>
                  <a:pt x="2631378" y="2657462"/>
                </a:moveTo>
                <a:lnTo>
                  <a:pt x="2660980" y="2657462"/>
                </a:lnTo>
                <a:lnTo>
                  <a:pt x="2660980" y="2687064"/>
                </a:lnTo>
                <a:lnTo>
                  <a:pt x="2631378" y="2687064"/>
                </a:lnTo>
                <a:close/>
                <a:moveTo>
                  <a:pt x="8212137" y="2657459"/>
                </a:moveTo>
                <a:lnTo>
                  <a:pt x="8241740" y="2657459"/>
                </a:lnTo>
                <a:lnTo>
                  <a:pt x="8241740" y="2687061"/>
                </a:lnTo>
                <a:lnTo>
                  <a:pt x="8212137" y="2687061"/>
                </a:lnTo>
                <a:close/>
                <a:moveTo>
                  <a:pt x="2365289" y="2657459"/>
                </a:moveTo>
                <a:lnTo>
                  <a:pt x="2394892" y="2657459"/>
                </a:lnTo>
                <a:lnTo>
                  <a:pt x="2394892" y="2687061"/>
                </a:lnTo>
                <a:lnTo>
                  <a:pt x="2365289" y="2687061"/>
                </a:lnTo>
                <a:close/>
                <a:moveTo>
                  <a:pt x="7945940" y="2657456"/>
                </a:moveTo>
                <a:lnTo>
                  <a:pt x="7975543" y="2657456"/>
                </a:lnTo>
                <a:lnTo>
                  <a:pt x="7975543" y="2687058"/>
                </a:lnTo>
                <a:lnTo>
                  <a:pt x="7945940" y="2687058"/>
                </a:lnTo>
                <a:close/>
                <a:moveTo>
                  <a:pt x="2099092" y="2657456"/>
                </a:moveTo>
                <a:lnTo>
                  <a:pt x="2128695" y="2657456"/>
                </a:lnTo>
                <a:lnTo>
                  <a:pt x="2128695" y="2687058"/>
                </a:lnTo>
                <a:lnTo>
                  <a:pt x="2099092" y="2687058"/>
                </a:lnTo>
                <a:close/>
                <a:moveTo>
                  <a:pt x="7679743" y="2657453"/>
                </a:moveTo>
                <a:lnTo>
                  <a:pt x="7709346" y="2657453"/>
                </a:lnTo>
                <a:lnTo>
                  <a:pt x="7709346" y="2687055"/>
                </a:lnTo>
                <a:lnTo>
                  <a:pt x="7679743" y="2687055"/>
                </a:lnTo>
                <a:close/>
                <a:moveTo>
                  <a:pt x="1832898" y="2657453"/>
                </a:moveTo>
                <a:lnTo>
                  <a:pt x="1862498" y="2657453"/>
                </a:lnTo>
                <a:lnTo>
                  <a:pt x="1862498" y="2687055"/>
                </a:lnTo>
                <a:lnTo>
                  <a:pt x="1832898" y="2687055"/>
                </a:lnTo>
                <a:close/>
                <a:moveTo>
                  <a:pt x="7413653" y="2657450"/>
                </a:moveTo>
                <a:lnTo>
                  <a:pt x="7443256" y="2657450"/>
                </a:lnTo>
                <a:lnTo>
                  <a:pt x="7443256" y="2687052"/>
                </a:lnTo>
                <a:lnTo>
                  <a:pt x="7413653" y="2687052"/>
                </a:lnTo>
                <a:close/>
                <a:moveTo>
                  <a:pt x="1566808" y="2657450"/>
                </a:moveTo>
                <a:lnTo>
                  <a:pt x="1596409" y="2657450"/>
                </a:lnTo>
                <a:lnTo>
                  <a:pt x="1596409" y="2687052"/>
                </a:lnTo>
                <a:lnTo>
                  <a:pt x="1566808" y="2687052"/>
                </a:lnTo>
                <a:close/>
                <a:moveTo>
                  <a:pt x="7147456" y="2657447"/>
                </a:moveTo>
                <a:lnTo>
                  <a:pt x="7177058" y="2657447"/>
                </a:lnTo>
                <a:lnTo>
                  <a:pt x="7177058" y="2687049"/>
                </a:lnTo>
                <a:lnTo>
                  <a:pt x="7147456" y="2687049"/>
                </a:lnTo>
                <a:close/>
                <a:moveTo>
                  <a:pt x="1300611" y="2657447"/>
                </a:moveTo>
                <a:lnTo>
                  <a:pt x="1330213" y="2657447"/>
                </a:lnTo>
                <a:lnTo>
                  <a:pt x="1330213" y="2687049"/>
                </a:lnTo>
                <a:lnTo>
                  <a:pt x="1300611" y="2687049"/>
                </a:lnTo>
                <a:close/>
                <a:moveTo>
                  <a:pt x="6881367" y="2657443"/>
                </a:moveTo>
                <a:lnTo>
                  <a:pt x="6910970" y="2657443"/>
                </a:lnTo>
                <a:lnTo>
                  <a:pt x="6910970" y="2687045"/>
                </a:lnTo>
                <a:lnTo>
                  <a:pt x="6881367" y="2687045"/>
                </a:lnTo>
                <a:close/>
                <a:moveTo>
                  <a:pt x="1034520" y="2657443"/>
                </a:moveTo>
                <a:lnTo>
                  <a:pt x="1064123" y="2657443"/>
                </a:lnTo>
                <a:lnTo>
                  <a:pt x="1064123" y="2687045"/>
                </a:lnTo>
                <a:lnTo>
                  <a:pt x="1034520" y="2687045"/>
                </a:lnTo>
                <a:close/>
                <a:moveTo>
                  <a:pt x="6615170" y="2657440"/>
                </a:moveTo>
                <a:lnTo>
                  <a:pt x="6644773" y="2657440"/>
                </a:lnTo>
                <a:lnTo>
                  <a:pt x="6644773" y="2687042"/>
                </a:lnTo>
                <a:lnTo>
                  <a:pt x="6615170" y="2687042"/>
                </a:lnTo>
                <a:close/>
                <a:moveTo>
                  <a:pt x="768327" y="2657440"/>
                </a:moveTo>
                <a:lnTo>
                  <a:pt x="797926" y="2657440"/>
                </a:lnTo>
                <a:lnTo>
                  <a:pt x="797926" y="2687042"/>
                </a:lnTo>
                <a:lnTo>
                  <a:pt x="768327" y="2687042"/>
                </a:lnTo>
                <a:close/>
                <a:moveTo>
                  <a:pt x="6349081" y="2657437"/>
                </a:moveTo>
                <a:lnTo>
                  <a:pt x="6378683" y="2657437"/>
                </a:lnTo>
                <a:lnTo>
                  <a:pt x="6378683" y="2687039"/>
                </a:lnTo>
                <a:lnTo>
                  <a:pt x="6349081" y="2687039"/>
                </a:lnTo>
                <a:close/>
                <a:moveTo>
                  <a:pt x="502236" y="2657437"/>
                </a:moveTo>
                <a:lnTo>
                  <a:pt x="531838" y="2657437"/>
                </a:lnTo>
                <a:lnTo>
                  <a:pt x="531838" y="2687039"/>
                </a:lnTo>
                <a:lnTo>
                  <a:pt x="502236" y="2687039"/>
                </a:lnTo>
                <a:close/>
                <a:moveTo>
                  <a:pt x="6082884" y="2657434"/>
                </a:moveTo>
                <a:lnTo>
                  <a:pt x="6112486" y="2657434"/>
                </a:lnTo>
                <a:lnTo>
                  <a:pt x="6112486" y="2687036"/>
                </a:lnTo>
                <a:lnTo>
                  <a:pt x="6082884" y="2687036"/>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1672158" y="2391735"/>
                </a:moveTo>
                <a:lnTo>
                  <a:pt x="11701760" y="2391735"/>
                </a:lnTo>
                <a:lnTo>
                  <a:pt x="11701760" y="2421368"/>
                </a:lnTo>
                <a:lnTo>
                  <a:pt x="11672158" y="2421368"/>
                </a:lnTo>
                <a:close/>
                <a:moveTo>
                  <a:pt x="5825310" y="2391735"/>
                </a:moveTo>
                <a:lnTo>
                  <a:pt x="5854913" y="2391735"/>
                </a:lnTo>
                <a:lnTo>
                  <a:pt x="5854913" y="2421368"/>
                </a:lnTo>
                <a:lnTo>
                  <a:pt x="5825310" y="2421368"/>
                </a:lnTo>
                <a:close/>
                <a:moveTo>
                  <a:pt x="11405961" y="2391732"/>
                </a:moveTo>
                <a:lnTo>
                  <a:pt x="11435563" y="2391732"/>
                </a:lnTo>
                <a:lnTo>
                  <a:pt x="11435563" y="2421368"/>
                </a:lnTo>
                <a:lnTo>
                  <a:pt x="11405961" y="2421368"/>
                </a:lnTo>
                <a:close/>
                <a:moveTo>
                  <a:pt x="5559113" y="2391732"/>
                </a:moveTo>
                <a:lnTo>
                  <a:pt x="5588715" y="2391732"/>
                </a:lnTo>
                <a:lnTo>
                  <a:pt x="5588715" y="2421368"/>
                </a:lnTo>
                <a:lnTo>
                  <a:pt x="5559113" y="2421368"/>
                </a:lnTo>
                <a:close/>
                <a:moveTo>
                  <a:pt x="11139872" y="2391729"/>
                </a:moveTo>
                <a:lnTo>
                  <a:pt x="11169474" y="2391729"/>
                </a:lnTo>
                <a:lnTo>
                  <a:pt x="11169474" y="2421364"/>
                </a:lnTo>
                <a:lnTo>
                  <a:pt x="11139872" y="2421364"/>
                </a:lnTo>
                <a:close/>
                <a:moveTo>
                  <a:pt x="5293024" y="2391729"/>
                </a:moveTo>
                <a:lnTo>
                  <a:pt x="5322626" y="2391729"/>
                </a:lnTo>
                <a:lnTo>
                  <a:pt x="5322626" y="2421364"/>
                </a:lnTo>
                <a:lnTo>
                  <a:pt x="5293024" y="2421364"/>
                </a:lnTo>
                <a:close/>
                <a:moveTo>
                  <a:pt x="10873675" y="2391726"/>
                </a:moveTo>
                <a:lnTo>
                  <a:pt x="10903277" y="2391726"/>
                </a:lnTo>
                <a:lnTo>
                  <a:pt x="10903277" y="2421359"/>
                </a:lnTo>
                <a:lnTo>
                  <a:pt x="10873675" y="2421359"/>
                </a:lnTo>
                <a:close/>
                <a:moveTo>
                  <a:pt x="5026827" y="2391726"/>
                </a:moveTo>
                <a:lnTo>
                  <a:pt x="5056429" y="2391726"/>
                </a:lnTo>
                <a:lnTo>
                  <a:pt x="5056429" y="2421359"/>
                </a:lnTo>
                <a:lnTo>
                  <a:pt x="5026827" y="2421359"/>
                </a:lnTo>
                <a:close/>
                <a:moveTo>
                  <a:pt x="10607478" y="2391725"/>
                </a:moveTo>
                <a:lnTo>
                  <a:pt x="10637188" y="2391725"/>
                </a:lnTo>
                <a:lnTo>
                  <a:pt x="10637188" y="2421354"/>
                </a:lnTo>
                <a:lnTo>
                  <a:pt x="10607478" y="2421354"/>
                </a:lnTo>
                <a:close/>
                <a:moveTo>
                  <a:pt x="4760630" y="2391725"/>
                </a:moveTo>
                <a:lnTo>
                  <a:pt x="4790340" y="2391725"/>
                </a:lnTo>
                <a:lnTo>
                  <a:pt x="4790340" y="2421354"/>
                </a:lnTo>
                <a:lnTo>
                  <a:pt x="4760630" y="2421354"/>
                </a:lnTo>
                <a:close/>
                <a:moveTo>
                  <a:pt x="10341389" y="2391720"/>
                </a:moveTo>
                <a:lnTo>
                  <a:pt x="10370992" y="2391720"/>
                </a:lnTo>
                <a:lnTo>
                  <a:pt x="10370992" y="2421349"/>
                </a:lnTo>
                <a:lnTo>
                  <a:pt x="10341389" y="2421349"/>
                </a:lnTo>
                <a:close/>
                <a:moveTo>
                  <a:pt x="4494541" y="2391720"/>
                </a:moveTo>
                <a:lnTo>
                  <a:pt x="4524144" y="2391720"/>
                </a:lnTo>
                <a:lnTo>
                  <a:pt x="4524144" y="2421349"/>
                </a:lnTo>
                <a:lnTo>
                  <a:pt x="4494541" y="2421349"/>
                </a:lnTo>
                <a:close/>
                <a:moveTo>
                  <a:pt x="10075192" y="2391716"/>
                </a:moveTo>
                <a:lnTo>
                  <a:pt x="10104794" y="2391716"/>
                </a:lnTo>
                <a:lnTo>
                  <a:pt x="10104794" y="2421345"/>
                </a:lnTo>
                <a:lnTo>
                  <a:pt x="10075192" y="2421345"/>
                </a:lnTo>
                <a:close/>
                <a:moveTo>
                  <a:pt x="4228344" y="2391716"/>
                </a:moveTo>
                <a:lnTo>
                  <a:pt x="4257946" y="2391716"/>
                </a:lnTo>
                <a:lnTo>
                  <a:pt x="4257946" y="2421345"/>
                </a:lnTo>
                <a:lnTo>
                  <a:pt x="4228344" y="2421345"/>
                </a:lnTo>
                <a:close/>
                <a:moveTo>
                  <a:pt x="9809103" y="2391713"/>
                </a:moveTo>
                <a:lnTo>
                  <a:pt x="9838705" y="2391713"/>
                </a:lnTo>
                <a:lnTo>
                  <a:pt x="9838705" y="2421340"/>
                </a:lnTo>
                <a:lnTo>
                  <a:pt x="9809103" y="2421340"/>
                </a:lnTo>
                <a:close/>
                <a:moveTo>
                  <a:pt x="3962255" y="2391713"/>
                </a:moveTo>
                <a:lnTo>
                  <a:pt x="3991857" y="2391713"/>
                </a:lnTo>
                <a:lnTo>
                  <a:pt x="3991857" y="2421340"/>
                </a:lnTo>
                <a:lnTo>
                  <a:pt x="3962255" y="2421340"/>
                </a:lnTo>
                <a:close/>
                <a:moveTo>
                  <a:pt x="9542906" y="2391710"/>
                </a:moveTo>
                <a:lnTo>
                  <a:pt x="9572509" y="2391710"/>
                </a:lnTo>
                <a:lnTo>
                  <a:pt x="9572509" y="2421336"/>
                </a:lnTo>
                <a:lnTo>
                  <a:pt x="9542906" y="2421336"/>
                </a:lnTo>
                <a:close/>
                <a:moveTo>
                  <a:pt x="3696058" y="2391710"/>
                </a:moveTo>
                <a:lnTo>
                  <a:pt x="3725661" y="2391710"/>
                </a:lnTo>
                <a:lnTo>
                  <a:pt x="3725661" y="2421336"/>
                </a:lnTo>
                <a:lnTo>
                  <a:pt x="3696058" y="2421336"/>
                </a:lnTo>
                <a:close/>
                <a:moveTo>
                  <a:pt x="9276817" y="2391707"/>
                </a:moveTo>
                <a:lnTo>
                  <a:pt x="9306420" y="2391707"/>
                </a:lnTo>
                <a:lnTo>
                  <a:pt x="9306420" y="2421331"/>
                </a:lnTo>
                <a:lnTo>
                  <a:pt x="9276817" y="2421331"/>
                </a:lnTo>
                <a:close/>
                <a:moveTo>
                  <a:pt x="3429969" y="2391707"/>
                </a:moveTo>
                <a:lnTo>
                  <a:pt x="3459572" y="2391707"/>
                </a:lnTo>
                <a:lnTo>
                  <a:pt x="3459572" y="2421331"/>
                </a:lnTo>
                <a:lnTo>
                  <a:pt x="3429969" y="2421331"/>
                </a:lnTo>
                <a:close/>
                <a:moveTo>
                  <a:pt x="9010620" y="2391706"/>
                </a:moveTo>
                <a:lnTo>
                  <a:pt x="9040222" y="2391706"/>
                </a:lnTo>
                <a:lnTo>
                  <a:pt x="9040222" y="2421326"/>
                </a:lnTo>
                <a:lnTo>
                  <a:pt x="9010620" y="2421326"/>
                </a:lnTo>
                <a:close/>
                <a:moveTo>
                  <a:pt x="3163772" y="2391706"/>
                </a:moveTo>
                <a:lnTo>
                  <a:pt x="3193374" y="2391706"/>
                </a:lnTo>
                <a:lnTo>
                  <a:pt x="3193374" y="2421326"/>
                </a:lnTo>
                <a:lnTo>
                  <a:pt x="3163772" y="2421326"/>
                </a:lnTo>
                <a:close/>
                <a:moveTo>
                  <a:pt x="8744423" y="2391701"/>
                </a:moveTo>
                <a:lnTo>
                  <a:pt x="8774026" y="2391701"/>
                </a:lnTo>
                <a:lnTo>
                  <a:pt x="8774026" y="2421321"/>
                </a:lnTo>
                <a:lnTo>
                  <a:pt x="8744423" y="2421321"/>
                </a:lnTo>
                <a:close/>
                <a:moveTo>
                  <a:pt x="2897575" y="2391701"/>
                </a:moveTo>
                <a:lnTo>
                  <a:pt x="2927178" y="2391701"/>
                </a:lnTo>
                <a:lnTo>
                  <a:pt x="2927178" y="2421321"/>
                </a:lnTo>
                <a:lnTo>
                  <a:pt x="2897575" y="2421321"/>
                </a:lnTo>
                <a:close/>
                <a:moveTo>
                  <a:pt x="8478226" y="2391697"/>
                </a:moveTo>
                <a:lnTo>
                  <a:pt x="8507828" y="2391697"/>
                </a:lnTo>
                <a:lnTo>
                  <a:pt x="8507828" y="2421317"/>
                </a:lnTo>
                <a:lnTo>
                  <a:pt x="8478226" y="2421317"/>
                </a:lnTo>
                <a:close/>
                <a:moveTo>
                  <a:pt x="2631378" y="2391697"/>
                </a:moveTo>
                <a:lnTo>
                  <a:pt x="2660980" y="2391697"/>
                </a:lnTo>
                <a:lnTo>
                  <a:pt x="2660980" y="2421317"/>
                </a:lnTo>
                <a:lnTo>
                  <a:pt x="2631378" y="2421317"/>
                </a:lnTo>
                <a:close/>
                <a:moveTo>
                  <a:pt x="8212137" y="2391694"/>
                </a:moveTo>
                <a:lnTo>
                  <a:pt x="8241740" y="2391694"/>
                </a:lnTo>
                <a:lnTo>
                  <a:pt x="8241740" y="2421312"/>
                </a:lnTo>
                <a:lnTo>
                  <a:pt x="8212137" y="2421312"/>
                </a:lnTo>
                <a:close/>
                <a:moveTo>
                  <a:pt x="2365289" y="2391694"/>
                </a:moveTo>
                <a:lnTo>
                  <a:pt x="2394892" y="2391694"/>
                </a:lnTo>
                <a:lnTo>
                  <a:pt x="2394892" y="2421312"/>
                </a:lnTo>
                <a:lnTo>
                  <a:pt x="2365289" y="2421312"/>
                </a:lnTo>
                <a:close/>
                <a:moveTo>
                  <a:pt x="7945940" y="2391691"/>
                </a:moveTo>
                <a:lnTo>
                  <a:pt x="7975543" y="2391691"/>
                </a:lnTo>
                <a:lnTo>
                  <a:pt x="7975543" y="2421307"/>
                </a:lnTo>
                <a:lnTo>
                  <a:pt x="7945940" y="2421307"/>
                </a:lnTo>
                <a:close/>
                <a:moveTo>
                  <a:pt x="2099092" y="2391691"/>
                </a:moveTo>
                <a:lnTo>
                  <a:pt x="2128695" y="2391691"/>
                </a:lnTo>
                <a:lnTo>
                  <a:pt x="2128695" y="2421307"/>
                </a:lnTo>
                <a:lnTo>
                  <a:pt x="2099092" y="2421307"/>
                </a:lnTo>
                <a:close/>
                <a:moveTo>
                  <a:pt x="7679743" y="2391688"/>
                </a:moveTo>
                <a:lnTo>
                  <a:pt x="7709346" y="2391688"/>
                </a:lnTo>
                <a:lnTo>
                  <a:pt x="7709346" y="2421302"/>
                </a:lnTo>
                <a:lnTo>
                  <a:pt x="7679743" y="2421302"/>
                </a:lnTo>
                <a:close/>
                <a:moveTo>
                  <a:pt x="1832898" y="2391688"/>
                </a:moveTo>
                <a:lnTo>
                  <a:pt x="1862498" y="2391688"/>
                </a:lnTo>
                <a:lnTo>
                  <a:pt x="1862498" y="2421302"/>
                </a:lnTo>
                <a:lnTo>
                  <a:pt x="1832898" y="2421302"/>
                </a:lnTo>
                <a:close/>
                <a:moveTo>
                  <a:pt x="7413653" y="2391687"/>
                </a:moveTo>
                <a:lnTo>
                  <a:pt x="7443256" y="2391687"/>
                </a:lnTo>
                <a:lnTo>
                  <a:pt x="7443256" y="2421298"/>
                </a:lnTo>
                <a:lnTo>
                  <a:pt x="7413653" y="2421298"/>
                </a:lnTo>
                <a:close/>
                <a:moveTo>
                  <a:pt x="1566808" y="2391687"/>
                </a:moveTo>
                <a:lnTo>
                  <a:pt x="1596409" y="2391687"/>
                </a:lnTo>
                <a:lnTo>
                  <a:pt x="1596409" y="2421298"/>
                </a:lnTo>
                <a:lnTo>
                  <a:pt x="1566808" y="2421298"/>
                </a:lnTo>
                <a:close/>
                <a:moveTo>
                  <a:pt x="7147456" y="2391682"/>
                </a:moveTo>
                <a:lnTo>
                  <a:pt x="7177058" y="2391682"/>
                </a:lnTo>
                <a:lnTo>
                  <a:pt x="7177058" y="2421293"/>
                </a:lnTo>
                <a:lnTo>
                  <a:pt x="7147456" y="2421293"/>
                </a:lnTo>
                <a:close/>
                <a:moveTo>
                  <a:pt x="1300611" y="2391682"/>
                </a:moveTo>
                <a:lnTo>
                  <a:pt x="1330213" y="2391682"/>
                </a:lnTo>
                <a:lnTo>
                  <a:pt x="1330213" y="2421293"/>
                </a:lnTo>
                <a:lnTo>
                  <a:pt x="1300611" y="2421293"/>
                </a:lnTo>
                <a:close/>
                <a:moveTo>
                  <a:pt x="6881367" y="2391678"/>
                </a:moveTo>
                <a:lnTo>
                  <a:pt x="6910970" y="2391678"/>
                </a:lnTo>
                <a:lnTo>
                  <a:pt x="6910970" y="2421288"/>
                </a:lnTo>
                <a:lnTo>
                  <a:pt x="6881367" y="2421288"/>
                </a:lnTo>
                <a:close/>
                <a:moveTo>
                  <a:pt x="1034520" y="2391678"/>
                </a:moveTo>
                <a:lnTo>
                  <a:pt x="1064123" y="2391678"/>
                </a:lnTo>
                <a:lnTo>
                  <a:pt x="1064123" y="2421288"/>
                </a:lnTo>
                <a:lnTo>
                  <a:pt x="1034520" y="2421288"/>
                </a:lnTo>
                <a:close/>
                <a:moveTo>
                  <a:pt x="6615170" y="2391675"/>
                </a:moveTo>
                <a:lnTo>
                  <a:pt x="6644773" y="2391675"/>
                </a:lnTo>
                <a:lnTo>
                  <a:pt x="6644773" y="2421283"/>
                </a:lnTo>
                <a:lnTo>
                  <a:pt x="6615170" y="2421283"/>
                </a:lnTo>
                <a:close/>
                <a:moveTo>
                  <a:pt x="768327" y="2391675"/>
                </a:moveTo>
                <a:lnTo>
                  <a:pt x="797926" y="2391675"/>
                </a:lnTo>
                <a:lnTo>
                  <a:pt x="797926" y="2421283"/>
                </a:lnTo>
                <a:lnTo>
                  <a:pt x="768327" y="2421283"/>
                </a:lnTo>
                <a:close/>
                <a:moveTo>
                  <a:pt x="6349081" y="2391672"/>
                </a:moveTo>
                <a:lnTo>
                  <a:pt x="6378683" y="2391672"/>
                </a:lnTo>
                <a:lnTo>
                  <a:pt x="6378683" y="2421278"/>
                </a:lnTo>
                <a:lnTo>
                  <a:pt x="6349081" y="2421278"/>
                </a:lnTo>
                <a:close/>
                <a:moveTo>
                  <a:pt x="502236" y="2391672"/>
                </a:moveTo>
                <a:lnTo>
                  <a:pt x="531838" y="2391672"/>
                </a:lnTo>
                <a:lnTo>
                  <a:pt x="531838" y="2421278"/>
                </a:lnTo>
                <a:lnTo>
                  <a:pt x="502236" y="2421278"/>
                </a:lnTo>
                <a:close/>
                <a:moveTo>
                  <a:pt x="6082884" y="2391669"/>
                </a:moveTo>
                <a:lnTo>
                  <a:pt x="6112486" y="2391669"/>
                </a:lnTo>
                <a:lnTo>
                  <a:pt x="6112486" y="2421272"/>
                </a:lnTo>
                <a:lnTo>
                  <a:pt x="6082884" y="2421272"/>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1672158" y="2126064"/>
                </a:moveTo>
                <a:lnTo>
                  <a:pt x="11701760" y="2126064"/>
                </a:lnTo>
                <a:lnTo>
                  <a:pt x="11701760" y="2155577"/>
                </a:lnTo>
                <a:lnTo>
                  <a:pt x="11672158" y="2155577"/>
                </a:lnTo>
                <a:close/>
                <a:moveTo>
                  <a:pt x="5825310" y="2126064"/>
                </a:moveTo>
                <a:lnTo>
                  <a:pt x="5854913" y="2126064"/>
                </a:lnTo>
                <a:lnTo>
                  <a:pt x="5854913" y="2155577"/>
                </a:lnTo>
                <a:lnTo>
                  <a:pt x="5825310" y="2155577"/>
                </a:lnTo>
                <a:close/>
                <a:moveTo>
                  <a:pt x="11405961" y="2126062"/>
                </a:moveTo>
                <a:lnTo>
                  <a:pt x="11435563" y="2126062"/>
                </a:lnTo>
                <a:lnTo>
                  <a:pt x="11435563" y="2155575"/>
                </a:lnTo>
                <a:lnTo>
                  <a:pt x="11405961" y="2155575"/>
                </a:lnTo>
                <a:close/>
                <a:moveTo>
                  <a:pt x="5559113" y="2126062"/>
                </a:moveTo>
                <a:lnTo>
                  <a:pt x="5588715" y="2126062"/>
                </a:lnTo>
                <a:lnTo>
                  <a:pt x="5588715" y="2155575"/>
                </a:lnTo>
                <a:lnTo>
                  <a:pt x="5559113" y="2155575"/>
                </a:lnTo>
                <a:close/>
                <a:moveTo>
                  <a:pt x="11139872" y="2126061"/>
                </a:moveTo>
                <a:lnTo>
                  <a:pt x="11169474" y="2126061"/>
                </a:lnTo>
                <a:lnTo>
                  <a:pt x="11169474" y="2155572"/>
                </a:lnTo>
                <a:lnTo>
                  <a:pt x="11139872" y="2155572"/>
                </a:lnTo>
                <a:close/>
                <a:moveTo>
                  <a:pt x="5293024" y="2126061"/>
                </a:moveTo>
                <a:lnTo>
                  <a:pt x="5322626" y="2126061"/>
                </a:lnTo>
                <a:lnTo>
                  <a:pt x="5322626" y="2155572"/>
                </a:lnTo>
                <a:lnTo>
                  <a:pt x="5293024" y="2155572"/>
                </a:lnTo>
                <a:close/>
                <a:moveTo>
                  <a:pt x="10873675" y="2126058"/>
                </a:moveTo>
                <a:lnTo>
                  <a:pt x="10903277" y="2126058"/>
                </a:lnTo>
                <a:lnTo>
                  <a:pt x="10903277" y="2155569"/>
                </a:lnTo>
                <a:lnTo>
                  <a:pt x="10873675" y="2155569"/>
                </a:lnTo>
                <a:close/>
                <a:moveTo>
                  <a:pt x="5026827" y="2126058"/>
                </a:moveTo>
                <a:lnTo>
                  <a:pt x="5056429" y="2126058"/>
                </a:lnTo>
                <a:lnTo>
                  <a:pt x="5056429" y="2155569"/>
                </a:lnTo>
                <a:lnTo>
                  <a:pt x="5026827" y="2155569"/>
                </a:lnTo>
                <a:close/>
                <a:moveTo>
                  <a:pt x="10607478" y="2126055"/>
                </a:moveTo>
                <a:lnTo>
                  <a:pt x="10637188" y="2126055"/>
                </a:lnTo>
                <a:lnTo>
                  <a:pt x="10637188" y="2155565"/>
                </a:lnTo>
                <a:lnTo>
                  <a:pt x="10607478" y="2155565"/>
                </a:lnTo>
                <a:close/>
                <a:moveTo>
                  <a:pt x="4760630" y="2126055"/>
                </a:moveTo>
                <a:lnTo>
                  <a:pt x="4790340" y="2126055"/>
                </a:lnTo>
                <a:lnTo>
                  <a:pt x="4790340" y="2155565"/>
                </a:lnTo>
                <a:lnTo>
                  <a:pt x="4760630" y="2155565"/>
                </a:lnTo>
                <a:close/>
                <a:moveTo>
                  <a:pt x="10341389" y="2126052"/>
                </a:moveTo>
                <a:lnTo>
                  <a:pt x="10370992" y="2126052"/>
                </a:lnTo>
                <a:lnTo>
                  <a:pt x="10370992" y="2155561"/>
                </a:lnTo>
                <a:lnTo>
                  <a:pt x="10341389" y="2155561"/>
                </a:lnTo>
                <a:close/>
                <a:moveTo>
                  <a:pt x="4494541" y="2126052"/>
                </a:moveTo>
                <a:lnTo>
                  <a:pt x="4524144" y="2126052"/>
                </a:lnTo>
                <a:lnTo>
                  <a:pt x="4524144" y="2155561"/>
                </a:lnTo>
                <a:lnTo>
                  <a:pt x="4494541" y="2155561"/>
                </a:lnTo>
                <a:close/>
                <a:moveTo>
                  <a:pt x="10075192" y="2126049"/>
                </a:moveTo>
                <a:lnTo>
                  <a:pt x="10104794" y="2126049"/>
                </a:lnTo>
                <a:lnTo>
                  <a:pt x="10104794" y="2155558"/>
                </a:lnTo>
                <a:lnTo>
                  <a:pt x="10075192" y="2155558"/>
                </a:lnTo>
                <a:close/>
                <a:moveTo>
                  <a:pt x="4228344" y="2126049"/>
                </a:moveTo>
                <a:lnTo>
                  <a:pt x="4257946" y="2126049"/>
                </a:lnTo>
                <a:lnTo>
                  <a:pt x="4257946" y="2155558"/>
                </a:lnTo>
                <a:lnTo>
                  <a:pt x="4228344" y="2155558"/>
                </a:lnTo>
                <a:close/>
                <a:moveTo>
                  <a:pt x="9809103" y="2126047"/>
                </a:moveTo>
                <a:lnTo>
                  <a:pt x="9838705" y="2126047"/>
                </a:lnTo>
                <a:lnTo>
                  <a:pt x="9838705" y="2155554"/>
                </a:lnTo>
                <a:lnTo>
                  <a:pt x="9809103" y="2155554"/>
                </a:lnTo>
                <a:close/>
                <a:moveTo>
                  <a:pt x="3962255" y="2126047"/>
                </a:moveTo>
                <a:lnTo>
                  <a:pt x="3991857" y="2126047"/>
                </a:lnTo>
                <a:lnTo>
                  <a:pt x="3991857" y="2155554"/>
                </a:lnTo>
                <a:lnTo>
                  <a:pt x="3962255" y="2155554"/>
                </a:lnTo>
                <a:close/>
                <a:moveTo>
                  <a:pt x="9542906" y="2126044"/>
                </a:moveTo>
                <a:lnTo>
                  <a:pt x="9572509" y="2126044"/>
                </a:lnTo>
                <a:lnTo>
                  <a:pt x="9572509" y="2155551"/>
                </a:lnTo>
                <a:lnTo>
                  <a:pt x="9542906" y="2155551"/>
                </a:lnTo>
                <a:close/>
                <a:moveTo>
                  <a:pt x="3696058" y="2126044"/>
                </a:moveTo>
                <a:lnTo>
                  <a:pt x="3725661" y="2126044"/>
                </a:lnTo>
                <a:lnTo>
                  <a:pt x="3725661" y="2155551"/>
                </a:lnTo>
                <a:lnTo>
                  <a:pt x="3696058" y="2155551"/>
                </a:lnTo>
                <a:close/>
                <a:moveTo>
                  <a:pt x="9276817" y="2126042"/>
                </a:moveTo>
                <a:lnTo>
                  <a:pt x="9306420" y="2126042"/>
                </a:lnTo>
                <a:lnTo>
                  <a:pt x="9306420" y="2155548"/>
                </a:lnTo>
                <a:lnTo>
                  <a:pt x="9276817" y="2155548"/>
                </a:lnTo>
                <a:close/>
                <a:moveTo>
                  <a:pt x="3429969" y="2126042"/>
                </a:moveTo>
                <a:lnTo>
                  <a:pt x="3459572" y="2126042"/>
                </a:lnTo>
                <a:lnTo>
                  <a:pt x="3459572" y="2155548"/>
                </a:lnTo>
                <a:lnTo>
                  <a:pt x="3429969" y="2155548"/>
                </a:lnTo>
                <a:close/>
                <a:moveTo>
                  <a:pt x="9010620" y="2126039"/>
                </a:moveTo>
                <a:lnTo>
                  <a:pt x="9040222" y="2126039"/>
                </a:lnTo>
                <a:lnTo>
                  <a:pt x="9040222" y="2155544"/>
                </a:lnTo>
                <a:lnTo>
                  <a:pt x="9010620" y="2155544"/>
                </a:lnTo>
                <a:close/>
                <a:moveTo>
                  <a:pt x="3163772" y="2126039"/>
                </a:moveTo>
                <a:lnTo>
                  <a:pt x="3193374" y="2126039"/>
                </a:lnTo>
                <a:lnTo>
                  <a:pt x="3193374" y="2155544"/>
                </a:lnTo>
                <a:lnTo>
                  <a:pt x="3163772" y="2155544"/>
                </a:lnTo>
                <a:close/>
                <a:moveTo>
                  <a:pt x="8744423" y="2126036"/>
                </a:moveTo>
                <a:lnTo>
                  <a:pt x="8774026" y="2126036"/>
                </a:lnTo>
                <a:lnTo>
                  <a:pt x="8774026" y="2155541"/>
                </a:lnTo>
                <a:lnTo>
                  <a:pt x="8744423" y="2155541"/>
                </a:lnTo>
                <a:close/>
                <a:moveTo>
                  <a:pt x="2897575" y="2126036"/>
                </a:moveTo>
                <a:lnTo>
                  <a:pt x="2927178" y="2126036"/>
                </a:lnTo>
                <a:lnTo>
                  <a:pt x="2927178" y="2155541"/>
                </a:lnTo>
                <a:lnTo>
                  <a:pt x="2897575" y="2155541"/>
                </a:lnTo>
                <a:close/>
                <a:moveTo>
                  <a:pt x="8478226" y="2126033"/>
                </a:moveTo>
                <a:lnTo>
                  <a:pt x="8507828" y="2126033"/>
                </a:lnTo>
                <a:lnTo>
                  <a:pt x="8507828" y="2155537"/>
                </a:lnTo>
                <a:lnTo>
                  <a:pt x="8478226" y="2155537"/>
                </a:lnTo>
                <a:close/>
                <a:moveTo>
                  <a:pt x="2631378" y="2126033"/>
                </a:moveTo>
                <a:lnTo>
                  <a:pt x="2660980" y="2126033"/>
                </a:lnTo>
                <a:lnTo>
                  <a:pt x="2660980" y="2155537"/>
                </a:lnTo>
                <a:lnTo>
                  <a:pt x="2631378" y="2155537"/>
                </a:lnTo>
                <a:close/>
                <a:moveTo>
                  <a:pt x="8212137" y="2126031"/>
                </a:moveTo>
                <a:lnTo>
                  <a:pt x="8241740" y="2126031"/>
                </a:lnTo>
                <a:lnTo>
                  <a:pt x="8241740" y="2155534"/>
                </a:lnTo>
                <a:lnTo>
                  <a:pt x="8212137" y="2155534"/>
                </a:lnTo>
                <a:close/>
                <a:moveTo>
                  <a:pt x="2365289" y="2126031"/>
                </a:moveTo>
                <a:lnTo>
                  <a:pt x="2394892" y="2126031"/>
                </a:lnTo>
                <a:lnTo>
                  <a:pt x="2394892" y="2155534"/>
                </a:lnTo>
                <a:lnTo>
                  <a:pt x="2365289" y="2155534"/>
                </a:lnTo>
                <a:close/>
                <a:moveTo>
                  <a:pt x="7945940" y="2126030"/>
                </a:moveTo>
                <a:lnTo>
                  <a:pt x="7975543" y="2126030"/>
                </a:lnTo>
                <a:lnTo>
                  <a:pt x="7975543" y="2155531"/>
                </a:lnTo>
                <a:lnTo>
                  <a:pt x="7945940" y="2155531"/>
                </a:lnTo>
                <a:close/>
                <a:moveTo>
                  <a:pt x="2099092" y="2126030"/>
                </a:moveTo>
                <a:lnTo>
                  <a:pt x="2128695" y="2126030"/>
                </a:lnTo>
                <a:lnTo>
                  <a:pt x="2128695" y="2155531"/>
                </a:lnTo>
                <a:lnTo>
                  <a:pt x="2099092" y="2155531"/>
                </a:lnTo>
                <a:close/>
                <a:moveTo>
                  <a:pt x="7679743" y="2126028"/>
                </a:moveTo>
                <a:lnTo>
                  <a:pt x="7709346" y="2126028"/>
                </a:lnTo>
                <a:lnTo>
                  <a:pt x="7709346" y="2155527"/>
                </a:lnTo>
                <a:lnTo>
                  <a:pt x="7679743" y="2155527"/>
                </a:lnTo>
                <a:close/>
                <a:moveTo>
                  <a:pt x="1832898" y="2126028"/>
                </a:moveTo>
                <a:lnTo>
                  <a:pt x="1862498" y="2126028"/>
                </a:lnTo>
                <a:lnTo>
                  <a:pt x="1862498" y="2155527"/>
                </a:lnTo>
                <a:lnTo>
                  <a:pt x="1832898" y="2155527"/>
                </a:lnTo>
                <a:close/>
                <a:moveTo>
                  <a:pt x="7413653" y="2126025"/>
                </a:moveTo>
                <a:lnTo>
                  <a:pt x="7443256" y="2126025"/>
                </a:lnTo>
                <a:lnTo>
                  <a:pt x="7443256" y="2155523"/>
                </a:lnTo>
                <a:lnTo>
                  <a:pt x="7413653" y="2155523"/>
                </a:lnTo>
                <a:close/>
                <a:moveTo>
                  <a:pt x="1566808" y="2126025"/>
                </a:moveTo>
                <a:lnTo>
                  <a:pt x="1596409" y="2126025"/>
                </a:lnTo>
                <a:lnTo>
                  <a:pt x="1596409" y="2155523"/>
                </a:lnTo>
                <a:lnTo>
                  <a:pt x="1566808" y="2155523"/>
                </a:lnTo>
                <a:close/>
                <a:moveTo>
                  <a:pt x="7147456" y="2126023"/>
                </a:moveTo>
                <a:lnTo>
                  <a:pt x="7177058" y="2126023"/>
                </a:lnTo>
                <a:lnTo>
                  <a:pt x="7177058" y="2155520"/>
                </a:lnTo>
                <a:lnTo>
                  <a:pt x="7147456" y="2155520"/>
                </a:lnTo>
                <a:close/>
                <a:moveTo>
                  <a:pt x="1300611" y="2126023"/>
                </a:moveTo>
                <a:lnTo>
                  <a:pt x="1330213" y="2126023"/>
                </a:lnTo>
                <a:lnTo>
                  <a:pt x="1330213" y="2155520"/>
                </a:lnTo>
                <a:lnTo>
                  <a:pt x="1300611" y="2155520"/>
                </a:lnTo>
                <a:close/>
                <a:moveTo>
                  <a:pt x="6881367" y="2126020"/>
                </a:moveTo>
                <a:lnTo>
                  <a:pt x="6910970" y="2126020"/>
                </a:lnTo>
                <a:lnTo>
                  <a:pt x="6910970" y="2155517"/>
                </a:lnTo>
                <a:lnTo>
                  <a:pt x="6881367" y="2155517"/>
                </a:lnTo>
                <a:close/>
                <a:moveTo>
                  <a:pt x="1034520" y="2126020"/>
                </a:moveTo>
                <a:lnTo>
                  <a:pt x="1064123" y="2126020"/>
                </a:lnTo>
                <a:lnTo>
                  <a:pt x="1064123" y="2155517"/>
                </a:lnTo>
                <a:lnTo>
                  <a:pt x="1034520" y="2155517"/>
                </a:lnTo>
                <a:close/>
                <a:moveTo>
                  <a:pt x="6615170" y="2126017"/>
                </a:moveTo>
                <a:lnTo>
                  <a:pt x="6644773" y="2126017"/>
                </a:lnTo>
                <a:lnTo>
                  <a:pt x="6644773" y="2155513"/>
                </a:lnTo>
                <a:lnTo>
                  <a:pt x="6615170" y="2155513"/>
                </a:lnTo>
                <a:close/>
                <a:moveTo>
                  <a:pt x="768327" y="2126017"/>
                </a:moveTo>
                <a:lnTo>
                  <a:pt x="797926" y="2126017"/>
                </a:lnTo>
                <a:lnTo>
                  <a:pt x="797926" y="2155513"/>
                </a:lnTo>
                <a:lnTo>
                  <a:pt x="768327" y="2155513"/>
                </a:lnTo>
                <a:close/>
                <a:moveTo>
                  <a:pt x="6349081" y="2126014"/>
                </a:moveTo>
                <a:lnTo>
                  <a:pt x="6378683" y="2126014"/>
                </a:lnTo>
                <a:lnTo>
                  <a:pt x="6378683" y="2155510"/>
                </a:lnTo>
                <a:lnTo>
                  <a:pt x="6349081" y="2155510"/>
                </a:lnTo>
                <a:close/>
                <a:moveTo>
                  <a:pt x="502236" y="2126014"/>
                </a:moveTo>
                <a:lnTo>
                  <a:pt x="531838" y="2126014"/>
                </a:lnTo>
                <a:lnTo>
                  <a:pt x="531838" y="2155510"/>
                </a:lnTo>
                <a:lnTo>
                  <a:pt x="502236" y="2155510"/>
                </a:lnTo>
                <a:close/>
                <a:moveTo>
                  <a:pt x="6082884" y="2126012"/>
                </a:moveTo>
                <a:lnTo>
                  <a:pt x="6112486" y="2126012"/>
                </a:lnTo>
                <a:lnTo>
                  <a:pt x="6112486" y="2155506"/>
                </a:lnTo>
                <a:lnTo>
                  <a:pt x="6082884" y="2155506"/>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1672158" y="1860298"/>
                </a:moveTo>
                <a:lnTo>
                  <a:pt x="11701760" y="1860298"/>
                </a:lnTo>
                <a:lnTo>
                  <a:pt x="11701760" y="1889774"/>
                </a:lnTo>
                <a:lnTo>
                  <a:pt x="11672158" y="1889774"/>
                </a:lnTo>
                <a:close/>
                <a:moveTo>
                  <a:pt x="5825310" y="1860298"/>
                </a:moveTo>
                <a:lnTo>
                  <a:pt x="5854913" y="1860298"/>
                </a:lnTo>
                <a:lnTo>
                  <a:pt x="5854913" y="1889774"/>
                </a:lnTo>
                <a:lnTo>
                  <a:pt x="5825310" y="1889774"/>
                </a:lnTo>
                <a:close/>
                <a:moveTo>
                  <a:pt x="11405961" y="1860296"/>
                </a:moveTo>
                <a:lnTo>
                  <a:pt x="11435563" y="1860296"/>
                </a:lnTo>
                <a:lnTo>
                  <a:pt x="11435563" y="1889774"/>
                </a:lnTo>
                <a:lnTo>
                  <a:pt x="11405961" y="1889774"/>
                </a:lnTo>
                <a:close/>
                <a:moveTo>
                  <a:pt x="5559113" y="1860296"/>
                </a:moveTo>
                <a:lnTo>
                  <a:pt x="5588715" y="1860296"/>
                </a:lnTo>
                <a:lnTo>
                  <a:pt x="5588715" y="1889774"/>
                </a:lnTo>
                <a:lnTo>
                  <a:pt x="5559113" y="1889774"/>
                </a:lnTo>
                <a:close/>
                <a:moveTo>
                  <a:pt x="11139872" y="1860293"/>
                </a:moveTo>
                <a:lnTo>
                  <a:pt x="11169474" y="1860293"/>
                </a:lnTo>
                <a:lnTo>
                  <a:pt x="11169474" y="1889772"/>
                </a:lnTo>
                <a:lnTo>
                  <a:pt x="11139872" y="1889772"/>
                </a:lnTo>
                <a:close/>
                <a:moveTo>
                  <a:pt x="5293024" y="1860293"/>
                </a:moveTo>
                <a:lnTo>
                  <a:pt x="5322626" y="1860293"/>
                </a:lnTo>
                <a:lnTo>
                  <a:pt x="5322626" y="1889772"/>
                </a:lnTo>
                <a:lnTo>
                  <a:pt x="5293024" y="1889772"/>
                </a:lnTo>
                <a:close/>
                <a:moveTo>
                  <a:pt x="10873675" y="1860291"/>
                </a:moveTo>
                <a:lnTo>
                  <a:pt x="10903277" y="1860291"/>
                </a:lnTo>
                <a:lnTo>
                  <a:pt x="10903277" y="1889770"/>
                </a:lnTo>
                <a:lnTo>
                  <a:pt x="10873675" y="1889770"/>
                </a:lnTo>
                <a:close/>
                <a:moveTo>
                  <a:pt x="5026827" y="1860291"/>
                </a:moveTo>
                <a:lnTo>
                  <a:pt x="5056429" y="1860291"/>
                </a:lnTo>
                <a:lnTo>
                  <a:pt x="5056429" y="1889770"/>
                </a:lnTo>
                <a:lnTo>
                  <a:pt x="5026827" y="1889770"/>
                </a:lnTo>
                <a:close/>
                <a:moveTo>
                  <a:pt x="10607478" y="1860288"/>
                </a:moveTo>
                <a:lnTo>
                  <a:pt x="10637188" y="1860288"/>
                </a:lnTo>
                <a:lnTo>
                  <a:pt x="10637188" y="1889769"/>
                </a:lnTo>
                <a:lnTo>
                  <a:pt x="10607478" y="1889769"/>
                </a:lnTo>
                <a:close/>
                <a:moveTo>
                  <a:pt x="4760630" y="1860288"/>
                </a:moveTo>
                <a:lnTo>
                  <a:pt x="4790340" y="1860288"/>
                </a:lnTo>
                <a:lnTo>
                  <a:pt x="4790340" y="1889769"/>
                </a:lnTo>
                <a:lnTo>
                  <a:pt x="4760630" y="1889769"/>
                </a:lnTo>
                <a:close/>
                <a:moveTo>
                  <a:pt x="10341389" y="1860286"/>
                </a:moveTo>
                <a:lnTo>
                  <a:pt x="10370992" y="1860286"/>
                </a:lnTo>
                <a:lnTo>
                  <a:pt x="10370992" y="1889767"/>
                </a:lnTo>
                <a:lnTo>
                  <a:pt x="10341389" y="1889767"/>
                </a:lnTo>
                <a:close/>
                <a:moveTo>
                  <a:pt x="4494541" y="1860286"/>
                </a:moveTo>
                <a:lnTo>
                  <a:pt x="4524144" y="1860286"/>
                </a:lnTo>
                <a:lnTo>
                  <a:pt x="4524144" y="1889767"/>
                </a:lnTo>
                <a:lnTo>
                  <a:pt x="4494541" y="1889767"/>
                </a:lnTo>
                <a:close/>
                <a:moveTo>
                  <a:pt x="10075192" y="1860283"/>
                </a:moveTo>
                <a:lnTo>
                  <a:pt x="10104794" y="1860283"/>
                </a:lnTo>
                <a:lnTo>
                  <a:pt x="10104794" y="1889766"/>
                </a:lnTo>
                <a:lnTo>
                  <a:pt x="10075192" y="1889766"/>
                </a:lnTo>
                <a:close/>
                <a:moveTo>
                  <a:pt x="4228344" y="1860283"/>
                </a:moveTo>
                <a:lnTo>
                  <a:pt x="4257946" y="1860283"/>
                </a:lnTo>
                <a:lnTo>
                  <a:pt x="4257946" y="1889766"/>
                </a:lnTo>
                <a:lnTo>
                  <a:pt x="4228344" y="1889766"/>
                </a:lnTo>
                <a:close/>
                <a:moveTo>
                  <a:pt x="9809103" y="1860281"/>
                </a:moveTo>
                <a:lnTo>
                  <a:pt x="9838705" y="1860281"/>
                </a:lnTo>
                <a:lnTo>
                  <a:pt x="9838705" y="1889764"/>
                </a:lnTo>
                <a:lnTo>
                  <a:pt x="9809103" y="1889764"/>
                </a:lnTo>
                <a:close/>
                <a:moveTo>
                  <a:pt x="3962255" y="1860281"/>
                </a:moveTo>
                <a:lnTo>
                  <a:pt x="3991857" y="1860281"/>
                </a:lnTo>
                <a:lnTo>
                  <a:pt x="3991857" y="1889764"/>
                </a:lnTo>
                <a:lnTo>
                  <a:pt x="3962255" y="1889764"/>
                </a:lnTo>
                <a:close/>
                <a:moveTo>
                  <a:pt x="9542906" y="1860278"/>
                </a:moveTo>
                <a:lnTo>
                  <a:pt x="9572509" y="1860278"/>
                </a:lnTo>
                <a:lnTo>
                  <a:pt x="9572509" y="1889763"/>
                </a:lnTo>
                <a:lnTo>
                  <a:pt x="9542906" y="1889763"/>
                </a:lnTo>
                <a:close/>
                <a:moveTo>
                  <a:pt x="3696058" y="1860278"/>
                </a:moveTo>
                <a:lnTo>
                  <a:pt x="3725661" y="1860278"/>
                </a:lnTo>
                <a:lnTo>
                  <a:pt x="3725661" y="1889763"/>
                </a:lnTo>
                <a:lnTo>
                  <a:pt x="3696058" y="1889763"/>
                </a:lnTo>
                <a:close/>
                <a:moveTo>
                  <a:pt x="9276817" y="1860276"/>
                </a:moveTo>
                <a:lnTo>
                  <a:pt x="9306420" y="1860276"/>
                </a:lnTo>
                <a:lnTo>
                  <a:pt x="9306420" y="1889762"/>
                </a:lnTo>
                <a:lnTo>
                  <a:pt x="9276817" y="1889762"/>
                </a:lnTo>
                <a:close/>
                <a:moveTo>
                  <a:pt x="3429969" y="1860276"/>
                </a:moveTo>
                <a:lnTo>
                  <a:pt x="3459572" y="1860276"/>
                </a:lnTo>
                <a:lnTo>
                  <a:pt x="3459572" y="1889762"/>
                </a:lnTo>
                <a:lnTo>
                  <a:pt x="3429969" y="1889762"/>
                </a:lnTo>
                <a:close/>
                <a:moveTo>
                  <a:pt x="9010620" y="1860273"/>
                </a:moveTo>
                <a:lnTo>
                  <a:pt x="9040222" y="1860273"/>
                </a:lnTo>
                <a:lnTo>
                  <a:pt x="9040222" y="1889761"/>
                </a:lnTo>
                <a:lnTo>
                  <a:pt x="9010620" y="1889761"/>
                </a:lnTo>
                <a:close/>
                <a:moveTo>
                  <a:pt x="3163772" y="1860273"/>
                </a:moveTo>
                <a:lnTo>
                  <a:pt x="3193374" y="1860273"/>
                </a:lnTo>
                <a:lnTo>
                  <a:pt x="3193374" y="1889761"/>
                </a:lnTo>
                <a:lnTo>
                  <a:pt x="3163772" y="1889761"/>
                </a:lnTo>
                <a:close/>
                <a:moveTo>
                  <a:pt x="8744423" y="1860271"/>
                </a:moveTo>
                <a:lnTo>
                  <a:pt x="8774026" y="1860271"/>
                </a:lnTo>
                <a:lnTo>
                  <a:pt x="8774026" y="1889759"/>
                </a:lnTo>
                <a:lnTo>
                  <a:pt x="8744423" y="1889759"/>
                </a:lnTo>
                <a:close/>
                <a:moveTo>
                  <a:pt x="2897575" y="1860271"/>
                </a:moveTo>
                <a:lnTo>
                  <a:pt x="2927178" y="1860271"/>
                </a:lnTo>
                <a:lnTo>
                  <a:pt x="2927178" y="1889759"/>
                </a:lnTo>
                <a:lnTo>
                  <a:pt x="2897575" y="1889759"/>
                </a:lnTo>
                <a:close/>
                <a:moveTo>
                  <a:pt x="8478226" y="1860268"/>
                </a:moveTo>
                <a:lnTo>
                  <a:pt x="8507828" y="1860268"/>
                </a:lnTo>
                <a:lnTo>
                  <a:pt x="8507828" y="1889757"/>
                </a:lnTo>
                <a:lnTo>
                  <a:pt x="8478226" y="1889757"/>
                </a:lnTo>
                <a:close/>
                <a:moveTo>
                  <a:pt x="2631378" y="1860268"/>
                </a:moveTo>
                <a:lnTo>
                  <a:pt x="2660980" y="1860268"/>
                </a:lnTo>
                <a:lnTo>
                  <a:pt x="2660980" y="1889757"/>
                </a:lnTo>
                <a:lnTo>
                  <a:pt x="2631378" y="1889757"/>
                </a:lnTo>
                <a:close/>
                <a:moveTo>
                  <a:pt x="8212137" y="1860266"/>
                </a:moveTo>
                <a:lnTo>
                  <a:pt x="8241740" y="1860266"/>
                </a:lnTo>
                <a:lnTo>
                  <a:pt x="8241740" y="1889755"/>
                </a:lnTo>
                <a:lnTo>
                  <a:pt x="8212137" y="1889755"/>
                </a:lnTo>
                <a:close/>
                <a:moveTo>
                  <a:pt x="2365289" y="1860266"/>
                </a:moveTo>
                <a:lnTo>
                  <a:pt x="2394892" y="1860266"/>
                </a:lnTo>
                <a:lnTo>
                  <a:pt x="2394892" y="1889755"/>
                </a:lnTo>
                <a:lnTo>
                  <a:pt x="2365289" y="1889755"/>
                </a:lnTo>
                <a:close/>
                <a:moveTo>
                  <a:pt x="7945940" y="1860264"/>
                </a:moveTo>
                <a:lnTo>
                  <a:pt x="7975543" y="1860264"/>
                </a:lnTo>
                <a:lnTo>
                  <a:pt x="7975543" y="1889753"/>
                </a:lnTo>
                <a:lnTo>
                  <a:pt x="7945940" y="1889753"/>
                </a:lnTo>
                <a:close/>
                <a:moveTo>
                  <a:pt x="2099092" y="1860264"/>
                </a:moveTo>
                <a:lnTo>
                  <a:pt x="2128695" y="1860264"/>
                </a:lnTo>
                <a:lnTo>
                  <a:pt x="2128695" y="1889753"/>
                </a:lnTo>
                <a:lnTo>
                  <a:pt x="2099092" y="1889753"/>
                </a:lnTo>
                <a:close/>
                <a:moveTo>
                  <a:pt x="7679743" y="1860261"/>
                </a:moveTo>
                <a:lnTo>
                  <a:pt x="7709346" y="1860261"/>
                </a:lnTo>
                <a:lnTo>
                  <a:pt x="7709346" y="1889751"/>
                </a:lnTo>
                <a:lnTo>
                  <a:pt x="7679743" y="1889751"/>
                </a:lnTo>
                <a:close/>
                <a:moveTo>
                  <a:pt x="1832898" y="1860261"/>
                </a:moveTo>
                <a:lnTo>
                  <a:pt x="1862498" y="1860261"/>
                </a:lnTo>
                <a:lnTo>
                  <a:pt x="1862498" y="1889751"/>
                </a:lnTo>
                <a:lnTo>
                  <a:pt x="1832898" y="1889751"/>
                </a:lnTo>
                <a:close/>
                <a:moveTo>
                  <a:pt x="7413653" y="1860259"/>
                </a:moveTo>
                <a:lnTo>
                  <a:pt x="7443256" y="1860259"/>
                </a:lnTo>
                <a:lnTo>
                  <a:pt x="7443256" y="1889750"/>
                </a:lnTo>
                <a:lnTo>
                  <a:pt x="7413653" y="1889750"/>
                </a:lnTo>
                <a:close/>
                <a:moveTo>
                  <a:pt x="1566808" y="1860259"/>
                </a:moveTo>
                <a:lnTo>
                  <a:pt x="1596409" y="1860259"/>
                </a:lnTo>
                <a:lnTo>
                  <a:pt x="1596409" y="1889750"/>
                </a:lnTo>
                <a:lnTo>
                  <a:pt x="1566808" y="1889750"/>
                </a:lnTo>
                <a:close/>
                <a:moveTo>
                  <a:pt x="7147456" y="1860256"/>
                </a:moveTo>
                <a:lnTo>
                  <a:pt x="7177058" y="1860256"/>
                </a:lnTo>
                <a:lnTo>
                  <a:pt x="7177058" y="1889748"/>
                </a:lnTo>
                <a:lnTo>
                  <a:pt x="7147456" y="1889748"/>
                </a:lnTo>
                <a:close/>
                <a:moveTo>
                  <a:pt x="1300611" y="1860256"/>
                </a:moveTo>
                <a:lnTo>
                  <a:pt x="1330213" y="1860256"/>
                </a:lnTo>
                <a:lnTo>
                  <a:pt x="1330213" y="1889748"/>
                </a:lnTo>
                <a:lnTo>
                  <a:pt x="1300611" y="1889748"/>
                </a:lnTo>
                <a:close/>
                <a:moveTo>
                  <a:pt x="6881367" y="1860254"/>
                </a:moveTo>
                <a:lnTo>
                  <a:pt x="6910970" y="1860254"/>
                </a:lnTo>
                <a:lnTo>
                  <a:pt x="6910970" y="1889747"/>
                </a:lnTo>
                <a:lnTo>
                  <a:pt x="6881367" y="1889747"/>
                </a:lnTo>
                <a:close/>
                <a:moveTo>
                  <a:pt x="1034520" y="1860254"/>
                </a:moveTo>
                <a:lnTo>
                  <a:pt x="1064123" y="1860254"/>
                </a:lnTo>
                <a:lnTo>
                  <a:pt x="1064123" y="1889747"/>
                </a:lnTo>
                <a:lnTo>
                  <a:pt x="1034520" y="1889747"/>
                </a:lnTo>
                <a:close/>
                <a:moveTo>
                  <a:pt x="6615170" y="1860252"/>
                </a:moveTo>
                <a:lnTo>
                  <a:pt x="6644773" y="1860252"/>
                </a:lnTo>
                <a:lnTo>
                  <a:pt x="6644773" y="1889745"/>
                </a:lnTo>
                <a:lnTo>
                  <a:pt x="6615170" y="1889745"/>
                </a:lnTo>
                <a:close/>
                <a:moveTo>
                  <a:pt x="768327" y="1860252"/>
                </a:moveTo>
                <a:lnTo>
                  <a:pt x="797926" y="1860252"/>
                </a:lnTo>
                <a:lnTo>
                  <a:pt x="797926" y="1889745"/>
                </a:lnTo>
                <a:lnTo>
                  <a:pt x="768327" y="1889745"/>
                </a:lnTo>
                <a:close/>
                <a:moveTo>
                  <a:pt x="6349081" y="1860249"/>
                </a:moveTo>
                <a:lnTo>
                  <a:pt x="6378683" y="1860249"/>
                </a:lnTo>
                <a:lnTo>
                  <a:pt x="6378683" y="1889744"/>
                </a:lnTo>
                <a:lnTo>
                  <a:pt x="6349081" y="1889744"/>
                </a:lnTo>
                <a:close/>
                <a:moveTo>
                  <a:pt x="502236" y="1860249"/>
                </a:moveTo>
                <a:lnTo>
                  <a:pt x="531838" y="1860249"/>
                </a:lnTo>
                <a:lnTo>
                  <a:pt x="531838" y="1889744"/>
                </a:lnTo>
                <a:lnTo>
                  <a:pt x="502236" y="1889744"/>
                </a:lnTo>
                <a:close/>
                <a:moveTo>
                  <a:pt x="6082884" y="1860247"/>
                </a:moveTo>
                <a:lnTo>
                  <a:pt x="6112486" y="1860247"/>
                </a:lnTo>
                <a:lnTo>
                  <a:pt x="6112486" y="1889742"/>
                </a:lnTo>
                <a:lnTo>
                  <a:pt x="6082884" y="1889742"/>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1672158" y="1594533"/>
                </a:moveTo>
                <a:lnTo>
                  <a:pt x="11701760" y="1594533"/>
                </a:lnTo>
                <a:lnTo>
                  <a:pt x="11701760" y="1624136"/>
                </a:lnTo>
                <a:lnTo>
                  <a:pt x="11672158" y="1624136"/>
                </a:lnTo>
                <a:close/>
                <a:moveTo>
                  <a:pt x="5825310" y="1594533"/>
                </a:moveTo>
                <a:lnTo>
                  <a:pt x="5854913" y="1594533"/>
                </a:lnTo>
                <a:lnTo>
                  <a:pt x="5854913" y="1624136"/>
                </a:lnTo>
                <a:lnTo>
                  <a:pt x="5825310" y="1624136"/>
                </a:lnTo>
                <a:close/>
                <a:moveTo>
                  <a:pt x="11405961" y="1594531"/>
                </a:moveTo>
                <a:lnTo>
                  <a:pt x="11435563" y="1594531"/>
                </a:lnTo>
                <a:lnTo>
                  <a:pt x="11435563" y="1624134"/>
                </a:lnTo>
                <a:lnTo>
                  <a:pt x="11405961" y="1624134"/>
                </a:lnTo>
                <a:close/>
                <a:moveTo>
                  <a:pt x="5559113" y="1594531"/>
                </a:moveTo>
                <a:lnTo>
                  <a:pt x="5588715" y="1594531"/>
                </a:lnTo>
                <a:lnTo>
                  <a:pt x="5588715" y="1624134"/>
                </a:lnTo>
                <a:lnTo>
                  <a:pt x="5559113" y="1624134"/>
                </a:lnTo>
                <a:close/>
                <a:moveTo>
                  <a:pt x="11139872" y="1594528"/>
                </a:moveTo>
                <a:lnTo>
                  <a:pt x="11169474" y="1594528"/>
                </a:lnTo>
                <a:lnTo>
                  <a:pt x="11169474" y="1624131"/>
                </a:lnTo>
                <a:lnTo>
                  <a:pt x="11139872" y="1624131"/>
                </a:lnTo>
                <a:close/>
                <a:moveTo>
                  <a:pt x="5293024" y="1594528"/>
                </a:moveTo>
                <a:lnTo>
                  <a:pt x="5322626" y="1594528"/>
                </a:lnTo>
                <a:lnTo>
                  <a:pt x="5322626" y="1624131"/>
                </a:lnTo>
                <a:lnTo>
                  <a:pt x="5293024" y="1624131"/>
                </a:lnTo>
                <a:close/>
                <a:moveTo>
                  <a:pt x="10873675" y="1594526"/>
                </a:moveTo>
                <a:lnTo>
                  <a:pt x="10903277" y="1594526"/>
                </a:lnTo>
                <a:lnTo>
                  <a:pt x="10903277" y="1624129"/>
                </a:lnTo>
                <a:lnTo>
                  <a:pt x="10873675" y="1624129"/>
                </a:lnTo>
                <a:close/>
                <a:moveTo>
                  <a:pt x="5026827" y="1594526"/>
                </a:moveTo>
                <a:lnTo>
                  <a:pt x="5056429" y="1594526"/>
                </a:lnTo>
                <a:lnTo>
                  <a:pt x="5056429" y="1624129"/>
                </a:lnTo>
                <a:lnTo>
                  <a:pt x="5026827" y="1624129"/>
                </a:lnTo>
                <a:close/>
                <a:moveTo>
                  <a:pt x="10607478" y="1594523"/>
                </a:moveTo>
                <a:lnTo>
                  <a:pt x="10637188" y="1594523"/>
                </a:lnTo>
                <a:lnTo>
                  <a:pt x="10637188" y="1624127"/>
                </a:lnTo>
                <a:lnTo>
                  <a:pt x="10607478" y="1624127"/>
                </a:lnTo>
                <a:close/>
                <a:moveTo>
                  <a:pt x="4760630" y="1594523"/>
                </a:moveTo>
                <a:lnTo>
                  <a:pt x="4790340" y="1594523"/>
                </a:lnTo>
                <a:lnTo>
                  <a:pt x="4790340" y="1624127"/>
                </a:lnTo>
                <a:lnTo>
                  <a:pt x="4760630" y="1624127"/>
                </a:lnTo>
                <a:close/>
                <a:moveTo>
                  <a:pt x="10341389" y="1594521"/>
                </a:moveTo>
                <a:lnTo>
                  <a:pt x="10370992" y="1594521"/>
                </a:lnTo>
                <a:lnTo>
                  <a:pt x="10370992" y="1624124"/>
                </a:lnTo>
                <a:lnTo>
                  <a:pt x="10341389" y="1624124"/>
                </a:lnTo>
                <a:close/>
                <a:moveTo>
                  <a:pt x="4494541" y="1594521"/>
                </a:moveTo>
                <a:lnTo>
                  <a:pt x="4524144" y="1594521"/>
                </a:lnTo>
                <a:lnTo>
                  <a:pt x="4524144" y="1624124"/>
                </a:lnTo>
                <a:lnTo>
                  <a:pt x="4494541" y="1624124"/>
                </a:lnTo>
                <a:close/>
                <a:moveTo>
                  <a:pt x="10075192" y="1594518"/>
                </a:moveTo>
                <a:lnTo>
                  <a:pt x="10104794" y="1594518"/>
                </a:lnTo>
                <a:lnTo>
                  <a:pt x="10104794" y="1624122"/>
                </a:lnTo>
                <a:lnTo>
                  <a:pt x="10075192" y="1624122"/>
                </a:lnTo>
                <a:close/>
                <a:moveTo>
                  <a:pt x="4228344" y="1594518"/>
                </a:moveTo>
                <a:lnTo>
                  <a:pt x="4257946" y="1594518"/>
                </a:lnTo>
                <a:lnTo>
                  <a:pt x="4257946" y="1624122"/>
                </a:lnTo>
                <a:lnTo>
                  <a:pt x="4228344" y="1624122"/>
                </a:lnTo>
                <a:close/>
                <a:moveTo>
                  <a:pt x="9809103" y="1594516"/>
                </a:moveTo>
                <a:lnTo>
                  <a:pt x="9838705" y="1594516"/>
                </a:lnTo>
                <a:lnTo>
                  <a:pt x="9838705" y="1624120"/>
                </a:lnTo>
                <a:lnTo>
                  <a:pt x="9809103" y="1624120"/>
                </a:lnTo>
                <a:close/>
                <a:moveTo>
                  <a:pt x="3962255" y="1594516"/>
                </a:moveTo>
                <a:lnTo>
                  <a:pt x="3991857" y="1594516"/>
                </a:lnTo>
                <a:lnTo>
                  <a:pt x="3991857" y="1624120"/>
                </a:lnTo>
                <a:lnTo>
                  <a:pt x="3962255" y="1624120"/>
                </a:lnTo>
                <a:close/>
                <a:moveTo>
                  <a:pt x="9542906" y="1594514"/>
                </a:moveTo>
                <a:lnTo>
                  <a:pt x="9572509" y="1594514"/>
                </a:lnTo>
                <a:lnTo>
                  <a:pt x="9572509" y="1624117"/>
                </a:lnTo>
                <a:lnTo>
                  <a:pt x="9542906" y="1624117"/>
                </a:lnTo>
                <a:close/>
                <a:moveTo>
                  <a:pt x="3696058" y="1594514"/>
                </a:moveTo>
                <a:lnTo>
                  <a:pt x="3725661" y="1594514"/>
                </a:lnTo>
                <a:lnTo>
                  <a:pt x="3725661" y="1624117"/>
                </a:lnTo>
                <a:lnTo>
                  <a:pt x="3696058" y="1624117"/>
                </a:lnTo>
                <a:close/>
                <a:moveTo>
                  <a:pt x="9276817" y="1594511"/>
                </a:moveTo>
                <a:lnTo>
                  <a:pt x="9306420" y="1594511"/>
                </a:lnTo>
                <a:lnTo>
                  <a:pt x="9306420" y="1624114"/>
                </a:lnTo>
                <a:lnTo>
                  <a:pt x="9276817" y="1624114"/>
                </a:lnTo>
                <a:close/>
                <a:moveTo>
                  <a:pt x="3429969" y="1594511"/>
                </a:moveTo>
                <a:lnTo>
                  <a:pt x="3459572" y="1594511"/>
                </a:lnTo>
                <a:lnTo>
                  <a:pt x="3459572" y="1624114"/>
                </a:lnTo>
                <a:lnTo>
                  <a:pt x="3429969" y="1624114"/>
                </a:lnTo>
                <a:close/>
                <a:moveTo>
                  <a:pt x="9010620" y="1594509"/>
                </a:moveTo>
                <a:lnTo>
                  <a:pt x="9040222" y="1594509"/>
                </a:lnTo>
                <a:lnTo>
                  <a:pt x="9040222" y="1624112"/>
                </a:lnTo>
                <a:lnTo>
                  <a:pt x="9010620" y="1624112"/>
                </a:lnTo>
                <a:close/>
                <a:moveTo>
                  <a:pt x="3163772" y="1594509"/>
                </a:moveTo>
                <a:lnTo>
                  <a:pt x="3193374" y="1594509"/>
                </a:lnTo>
                <a:lnTo>
                  <a:pt x="3193374" y="1624112"/>
                </a:lnTo>
                <a:lnTo>
                  <a:pt x="3163772" y="1624112"/>
                </a:lnTo>
                <a:close/>
                <a:moveTo>
                  <a:pt x="8744423" y="1594506"/>
                </a:moveTo>
                <a:lnTo>
                  <a:pt x="8774026" y="1594506"/>
                </a:lnTo>
                <a:lnTo>
                  <a:pt x="8774026" y="1624110"/>
                </a:lnTo>
                <a:lnTo>
                  <a:pt x="8744423" y="1624110"/>
                </a:lnTo>
                <a:close/>
                <a:moveTo>
                  <a:pt x="2897575" y="1594506"/>
                </a:moveTo>
                <a:lnTo>
                  <a:pt x="2927178" y="1594506"/>
                </a:lnTo>
                <a:lnTo>
                  <a:pt x="2927178" y="1624110"/>
                </a:lnTo>
                <a:lnTo>
                  <a:pt x="2897575" y="1624110"/>
                </a:lnTo>
                <a:close/>
                <a:moveTo>
                  <a:pt x="8478226" y="1594504"/>
                </a:moveTo>
                <a:lnTo>
                  <a:pt x="8507828" y="1594504"/>
                </a:lnTo>
                <a:lnTo>
                  <a:pt x="8507828" y="1624107"/>
                </a:lnTo>
                <a:lnTo>
                  <a:pt x="8478226" y="1624107"/>
                </a:lnTo>
                <a:close/>
                <a:moveTo>
                  <a:pt x="2631378" y="1594504"/>
                </a:moveTo>
                <a:lnTo>
                  <a:pt x="2660980" y="1594504"/>
                </a:lnTo>
                <a:lnTo>
                  <a:pt x="2660980" y="1624107"/>
                </a:lnTo>
                <a:lnTo>
                  <a:pt x="2631378" y="1624107"/>
                </a:lnTo>
                <a:close/>
                <a:moveTo>
                  <a:pt x="8212137" y="1594502"/>
                </a:moveTo>
                <a:lnTo>
                  <a:pt x="8241740" y="1594502"/>
                </a:lnTo>
                <a:lnTo>
                  <a:pt x="8241740" y="1624105"/>
                </a:lnTo>
                <a:lnTo>
                  <a:pt x="8212137" y="1624105"/>
                </a:lnTo>
                <a:close/>
                <a:moveTo>
                  <a:pt x="2365289" y="1594502"/>
                </a:moveTo>
                <a:lnTo>
                  <a:pt x="2394892" y="1594502"/>
                </a:lnTo>
                <a:lnTo>
                  <a:pt x="2394892" y="1624105"/>
                </a:lnTo>
                <a:lnTo>
                  <a:pt x="2365289" y="1624105"/>
                </a:lnTo>
                <a:close/>
                <a:moveTo>
                  <a:pt x="7945940" y="1594499"/>
                </a:moveTo>
                <a:lnTo>
                  <a:pt x="7975543" y="1594499"/>
                </a:lnTo>
                <a:lnTo>
                  <a:pt x="7975543" y="1624102"/>
                </a:lnTo>
                <a:lnTo>
                  <a:pt x="7945940" y="1624102"/>
                </a:lnTo>
                <a:close/>
                <a:moveTo>
                  <a:pt x="2099092" y="1594499"/>
                </a:moveTo>
                <a:lnTo>
                  <a:pt x="2128695" y="1594499"/>
                </a:lnTo>
                <a:lnTo>
                  <a:pt x="2128695" y="1624102"/>
                </a:lnTo>
                <a:lnTo>
                  <a:pt x="2099092" y="1624102"/>
                </a:lnTo>
                <a:close/>
                <a:moveTo>
                  <a:pt x="7679743" y="1594496"/>
                </a:moveTo>
                <a:lnTo>
                  <a:pt x="7709346" y="1594496"/>
                </a:lnTo>
                <a:lnTo>
                  <a:pt x="7709346" y="1624100"/>
                </a:lnTo>
                <a:lnTo>
                  <a:pt x="7679743" y="1624100"/>
                </a:lnTo>
                <a:close/>
                <a:moveTo>
                  <a:pt x="1832898" y="1594496"/>
                </a:moveTo>
                <a:lnTo>
                  <a:pt x="1862498" y="1594496"/>
                </a:lnTo>
                <a:lnTo>
                  <a:pt x="1862498" y="1624100"/>
                </a:lnTo>
                <a:lnTo>
                  <a:pt x="1832898" y="1624100"/>
                </a:lnTo>
                <a:close/>
                <a:moveTo>
                  <a:pt x="7413653" y="1594494"/>
                </a:moveTo>
                <a:lnTo>
                  <a:pt x="7443256" y="1594494"/>
                </a:lnTo>
                <a:lnTo>
                  <a:pt x="7443256" y="1624097"/>
                </a:lnTo>
                <a:lnTo>
                  <a:pt x="7413653" y="1624097"/>
                </a:lnTo>
                <a:close/>
                <a:moveTo>
                  <a:pt x="1566808" y="1594494"/>
                </a:moveTo>
                <a:lnTo>
                  <a:pt x="1596409" y="1594494"/>
                </a:lnTo>
                <a:lnTo>
                  <a:pt x="1596409" y="1624097"/>
                </a:lnTo>
                <a:lnTo>
                  <a:pt x="1566808" y="1624097"/>
                </a:lnTo>
                <a:close/>
                <a:moveTo>
                  <a:pt x="7147456" y="1594491"/>
                </a:moveTo>
                <a:lnTo>
                  <a:pt x="7177058" y="1594491"/>
                </a:lnTo>
                <a:lnTo>
                  <a:pt x="7177058" y="1624095"/>
                </a:lnTo>
                <a:lnTo>
                  <a:pt x="7147456" y="1624095"/>
                </a:lnTo>
                <a:close/>
                <a:moveTo>
                  <a:pt x="1300611" y="1594491"/>
                </a:moveTo>
                <a:lnTo>
                  <a:pt x="1330213" y="1594491"/>
                </a:lnTo>
                <a:lnTo>
                  <a:pt x="1330213" y="1624095"/>
                </a:lnTo>
                <a:lnTo>
                  <a:pt x="1300611" y="1624095"/>
                </a:lnTo>
                <a:close/>
                <a:moveTo>
                  <a:pt x="6881367" y="1594489"/>
                </a:moveTo>
                <a:lnTo>
                  <a:pt x="6910970" y="1594489"/>
                </a:lnTo>
                <a:lnTo>
                  <a:pt x="6910970" y="1624092"/>
                </a:lnTo>
                <a:lnTo>
                  <a:pt x="6881367" y="1624092"/>
                </a:lnTo>
                <a:close/>
                <a:moveTo>
                  <a:pt x="1034520" y="1594489"/>
                </a:moveTo>
                <a:lnTo>
                  <a:pt x="1064123" y="1594489"/>
                </a:lnTo>
                <a:lnTo>
                  <a:pt x="1064123" y="1624092"/>
                </a:lnTo>
                <a:lnTo>
                  <a:pt x="1034520" y="1624092"/>
                </a:lnTo>
                <a:close/>
                <a:moveTo>
                  <a:pt x="6615170" y="1594486"/>
                </a:moveTo>
                <a:lnTo>
                  <a:pt x="6644773" y="1594486"/>
                </a:lnTo>
                <a:lnTo>
                  <a:pt x="6644773" y="1624090"/>
                </a:lnTo>
                <a:lnTo>
                  <a:pt x="6615170" y="1624090"/>
                </a:lnTo>
                <a:close/>
                <a:moveTo>
                  <a:pt x="768327" y="1594486"/>
                </a:moveTo>
                <a:lnTo>
                  <a:pt x="797926" y="1594486"/>
                </a:lnTo>
                <a:lnTo>
                  <a:pt x="797926" y="1624090"/>
                </a:lnTo>
                <a:lnTo>
                  <a:pt x="768327" y="1624090"/>
                </a:lnTo>
                <a:close/>
                <a:moveTo>
                  <a:pt x="6349081" y="1594484"/>
                </a:moveTo>
                <a:lnTo>
                  <a:pt x="6378683" y="1594484"/>
                </a:lnTo>
                <a:lnTo>
                  <a:pt x="6378683" y="1624087"/>
                </a:lnTo>
                <a:lnTo>
                  <a:pt x="6349081" y="1624087"/>
                </a:lnTo>
                <a:close/>
                <a:moveTo>
                  <a:pt x="502236" y="1594484"/>
                </a:moveTo>
                <a:lnTo>
                  <a:pt x="531838" y="1594484"/>
                </a:lnTo>
                <a:lnTo>
                  <a:pt x="531838" y="1624087"/>
                </a:lnTo>
                <a:lnTo>
                  <a:pt x="502236" y="1624087"/>
                </a:lnTo>
                <a:close/>
                <a:moveTo>
                  <a:pt x="6082884" y="1594482"/>
                </a:moveTo>
                <a:lnTo>
                  <a:pt x="6112486" y="1594482"/>
                </a:lnTo>
                <a:lnTo>
                  <a:pt x="6112486" y="1624085"/>
                </a:lnTo>
                <a:lnTo>
                  <a:pt x="6082884" y="1624085"/>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1672158" y="1328772"/>
                </a:moveTo>
                <a:lnTo>
                  <a:pt x="11701760" y="1328772"/>
                </a:lnTo>
                <a:lnTo>
                  <a:pt x="11701760" y="1358375"/>
                </a:lnTo>
                <a:lnTo>
                  <a:pt x="11672158" y="1358375"/>
                </a:lnTo>
                <a:close/>
                <a:moveTo>
                  <a:pt x="5825310" y="1328772"/>
                </a:moveTo>
                <a:lnTo>
                  <a:pt x="5854913" y="1328772"/>
                </a:lnTo>
                <a:lnTo>
                  <a:pt x="5854913" y="1358375"/>
                </a:lnTo>
                <a:lnTo>
                  <a:pt x="5825310" y="1358375"/>
                </a:lnTo>
                <a:close/>
                <a:moveTo>
                  <a:pt x="11405961" y="1328769"/>
                </a:moveTo>
                <a:lnTo>
                  <a:pt x="11435563" y="1328769"/>
                </a:lnTo>
                <a:lnTo>
                  <a:pt x="11435563" y="1358372"/>
                </a:lnTo>
                <a:lnTo>
                  <a:pt x="11405961" y="1358372"/>
                </a:lnTo>
                <a:close/>
                <a:moveTo>
                  <a:pt x="5559113" y="1328769"/>
                </a:moveTo>
                <a:lnTo>
                  <a:pt x="5588715" y="1328769"/>
                </a:lnTo>
                <a:lnTo>
                  <a:pt x="5588715" y="1358372"/>
                </a:lnTo>
                <a:lnTo>
                  <a:pt x="5559113" y="1358372"/>
                </a:lnTo>
                <a:close/>
                <a:moveTo>
                  <a:pt x="11139872" y="1328766"/>
                </a:moveTo>
                <a:lnTo>
                  <a:pt x="11169474" y="1328766"/>
                </a:lnTo>
                <a:lnTo>
                  <a:pt x="11169474" y="1358370"/>
                </a:lnTo>
                <a:lnTo>
                  <a:pt x="11139872" y="1358370"/>
                </a:lnTo>
                <a:close/>
                <a:moveTo>
                  <a:pt x="5293024" y="1328766"/>
                </a:moveTo>
                <a:lnTo>
                  <a:pt x="5322626" y="1328766"/>
                </a:lnTo>
                <a:lnTo>
                  <a:pt x="5322626" y="1358370"/>
                </a:lnTo>
                <a:lnTo>
                  <a:pt x="5293024" y="1358370"/>
                </a:lnTo>
                <a:close/>
                <a:moveTo>
                  <a:pt x="10873675" y="1328764"/>
                </a:moveTo>
                <a:lnTo>
                  <a:pt x="10903277" y="1328764"/>
                </a:lnTo>
                <a:lnTo>
                  <a:pt x="10903277" y="1358367"/>
                </a:lnTo>
                <a:lnTo>
                  <a:pt x="10873675" y="1358367"/>
                </a:lnTo>
                <a:close/>
                <a:moveTo>
                  <a:pt x="5026827" y="1328764"/>
                </a:moveTo>
                <a:lnTo>
                  <a:pt x="5056429" y="1328764"/>
                </a:lnTo>
                <a:lnTo>
                  <a:pt x="5056429" y="1358367"/>
                </a:lnTo>
                <a:lnTo>
                  <a:pt x="5026827" y="1358367"/>
                </a:lnTo>
                <a:close/>
                <a:moveTo>
                  <a:pt x="10607478" y="1328761"/>
                </a:moveTo>
                <a:lnTo>
                  <a:pt x="10637188" y="1328761"/>
                </a:lnTo>
                <a:lnTo>
                  <a:pt x="10637188" y="1358365"/>
                </a:lnTo>
                <a:lnTo>
                  <a:pt x="10607478" y="1358365"/>
                </a:lnTo>
                <a:close/>
                <a:moveTo>
                  <a:pt x="4760630" y="1328761"/>
                </a:moveTo>
                <a:lnTo>
                  <a:pt x="4790340" y="1328761"/>
                </a:lnTo>
                <a:lnTo>
                  <a:pt x="4790340" y="1358365"/>
                </a:lnTo>
                <a:lnTo>
                  <a:pt x="4760630" y="1358365"/>
                </a:lnTo>
                <a:close/>
                <a:moveTo>
                  <a:pt x="10341389" y="1328759"/>
                </a:moveTo>
                <a:lnTo>
                  <a:pt x="10370992" y="1328759"/>
                </a:lnTo>
                <a:lnTo>
                  <a:pt x="10370992" y="1358362"/>
                </a:lnTo>
                <a:lnTo>
                  <a:pt x="10341389" y="1358362"/>
                </a:lnTo>
                <a:close/>
                <a:moveTo>
                  <a:pt x="4494541" y="1328759"/>
                </a:moveTo>
                <a:lnTo>
                  <a:pt x="4524144" y="1328759"/>
                </a:lnTo>
                <a:lnTo>
                  <a:pt x="4524144" y="1358362"/>
                </a:lnTo>
                <a:lnTo>
                  <a:pt x="4494541" y="1358362"/>
                </a:lnTo>
                <a:close/>
                <a:moveTo>
                  <a:pt x="10075192" y="1328756"/>
                </a:moveTo>
                <a:lnTo>
                  <a:pt x="10104794" y="1328756"/>
                </a:lnTo>
                <a:lnTo>
                  <a:pt x="10104794" y="1358359"/>
                </a:lnTo>
                <a:lnTo>
                  <a:pt x="10075192" y="1358359"/>
                </a:lnTo>
                <a:close/>
                <a:moveTo>
                  <a:pt x="4228344" y="1328756"/>
                </a:moveTo>
                <a:lnTo>
                  <a:pt x="4257946" y="1328756"/>
                </a:lnTo>
                <a:lnTo>
                  <a:pt x="4257946" y="1358359"/>
                </a:lnTo>
                <a:lnTo>
                  <a:pt x="4228344" y="1358359"/>
                </a:lnTo>
                <a:close/>
                <a:moveTo>
                  <a:pt x="9809103" y="1328753"/>
                </a:moveTo>
                <a:lnTo>
                  <a:pt x="9838705" y="1328753"/>
                </a:lnTo>
                <a:lnTo>
                  <a:pt x="9838705" y="1358357"/>
                </a:lnTo>
                <a:lnTo>
                  <a:pt x="9809103" y="1358357"/>
                </a:lnTo>
                <a:close/>
                <a:moveTo>
                  <a:pt x="3962255" y="1328753"/>
                </a:moveTo>
                <a:lnTo>
                  <a:pt x="3991857" y="1328753"/>
                </a:lnTo>
                <a:lnTo>
                  <a:pt x="3991857" y="1358357"/>
                </a:lnTo>
                <a:lnTo>
                  <a:pt x="3962255" y="1358357"/>
                </a:lnTo>
                <a:close/>
                <a:moveTo>
                  <a:pt x="9542906" y="1328751"/>
                </a:moveTo>
                <a:lnTo>
                  <a:pt x="9572509" y="1328751"/>
                </a:lnTo>
                <a:lnTo>
                  <a:pt x="9572509" y="1358354"/>
                </a:lnTo>
                <a:lnTo>
                  <a:pt x="9542906" y="1358354"/>
                </a:lnTo>
                <a:close/>
                <a:moveTo>
                  <a:pt x="3696058" y="1328751"/>
                </a:moveTo>
                <a:lnTo>
                  <a:pt x="3725661" y="1328751"/>
                </a:lnTo>
                <a:lnTo>
                  <a:pt x="3725661" y="1358354"/>
                </a:lnTo>
                <a:lnTo>
                  <a:pt x="3696058" y="1358354"/>
                </a:lnTo>
                <a:close/>
                <a:moveTo>
                  <a:pt x="9276817" y="1328748"/>
                </a:moveTo>
                <a:lnTo>
                  <a:pt x="9306420" y="1328748"/>
                </a:lnTo>
                <a:lnTo>
                  <a:pt x="9306420" y="1358351"/>
                </a:lnTo>
                <a:lnTo>
                  <a:pt x="9276817" y="1358351"/>
                </a:lnTo>
                <a:close/>
                <a:moveTo>
                  <a:pt x="3429969" y="1328748"/>
                </a:moveTo>
                <a:lnTo>
                  <a:pt x="3459572" y="1328748"/>
                </a:lnTo>
                <a:lnTo>
                  <a:pt x="3459572" y="1358351"/>
                </a:lnTo>
                <a:lnTo>
                  <a:pt x="3429969" y="1358351"/>
                </a:lnTo>
                <a:close/>
                <a:moveTo>
                  <a:pt x="9010620" y="1328745"/>
                </a:moveTo>
                <a:lnTo>
                  <a:pt x="9040222" y="1328745"/>
                </a:lnTo>
                <a:lnTo>
                  <a:pt x="9040222" y="1358349"/>
                </a:lnTo>
                <a:lnTo>
                  <a:pt x="9010620" y="1358349"/>
                </a:lnTo>
                <a:close/>
                <a:moveTo>
                  <a:pt x="3163772" y="1328745"/>
                </a:moveTo>
                <a:lnTo>
                  <a:pt x="3193374" y="1328745"/>
                </a:lnTo>
                <a:lnTo>
                  <a:pt x="3193374" y="1358349"/>
                </a:lnTo>
                <a:lnTo>
                  <a:pt x="3163772" y="1358349"/>
                </a:lnTo>
                <a:close/>
                <a:moveTo>
                  <a:pt x="8744423" y="1328743"/>
                </a:moveTo>
                <a:lnTo>
                  <a:pt x="8774026" y="1328743"/>
                </a:lnTo>
                <a:lnTo>
                  <a:pt x="8774026" y="1358346"/>
                </a:lnTo>
                <a:lnTo>
                  <a:pt x="8744423" y="1358346"/>
                </a:lnTo>
                <a:close/>
                <a:moveTo>
                  <a:pt x="2897575" y="1328743"/>
                </a:moveTo>
                <a:lnTo>
                  <a:pt x="2927178" y="1328743"/>
                </a:lnTo>
                <a:lnTo>
                  <a:pt x="2927178" y="1358346"/>
                </a:lnTo>
                <a:lnTo>
                  <a:pt x="2897575" y="1358346"/>
                </a:lnTo>
                <a:close/>
                <a:moveTo>
                  <a:pt x="8478226" y="1328740"/>
                </a:moveTo>
                <a:lnTo>
                  <a:pt x="8507828" y="1328740"/>
                </a:lnTo>
                <a:lnTo>
                  <a:pt x="8507828" y="1358344"/>
                </a:lnTo>
                <a:lnTo>
                  <a:pt x="8478226" y="1358344"/>
                </a:lnTo>
                <a:close/>
                <a:moveTo>
                  <a:pt x="2631378" y="1328740"/>
                </a:moveTo>
                <a:lnTo>
                  <a:pt x="2660980" y="1328740"/>
                </a:lnTo>
                <a:lnTo>
                  <a:pt x="2660980" y="1358344"/>
                </a:lnTo>
                <a:lnTo>
                  <a:pt x="2631378" y="1358344"/>
                </a:lnTo>
                <a:close/>
                <a:moveTo>
                  <a:pt x="8212137" y="1328738"/>
                </a:moveTo>
                <a:lnTo>
                  <a:pt x="8241740" y="1328738"/>
                </a:lnTo>
                <a:lnTo>
                  <a:pt x="8241740" y="1358341"/>
                </a:lnTo>
                <a:lnTo>
                  <a:pt x="8212137" y="1358341"/>
                </a:lnTo>
                <a:close/>
                <a:moveTo>
                  <a:pt x="2365289" y="1328738"/>
                </a:moveTo>
                <a:lnTo>
                  <a:pt x="2394892" y="1328738"/>
                </a:lnTo>
                <a:lnTo>
                  <a:pt x="2394892" y="1358341"/>
                </a:lnTo>
                <a:lnTo>
                  <a:pt x="2365289" y="1358341"/>
                </a:lnTo>
                <a:close/>
                <a:moveTo>
                  <a:pt x="7945940" y="1328735"/>
                </a:moveTo>
                <a:lnTo>
                  <a:pt x="7975543" y="1328735"/>
                </a:lnTo>
                <a:lnTo>
                  <a:pt x="7975543" y="1358338"/>
                </a:lnTo>
                <a:lnTo>
                  <a:pt x="7945940" y="1358338"/>
                </a:lnTo>
                <a:close/>
                <a:moveTo>
                  <a:pt x="2099092" y="1328735"/>
                </a:moveTo>
                <a:lnTo>
                  <a:pt x="2128695" y="1328735"/>
                </a:lnTo>
                <a:lnTo>
                  <a:pt x="2128695" y="1358338"/>
                </a:lnTo>
                <a:lnTo>
                  <a:pt x="2099092" y="1358338"/>
                </a:lnTo>
                <a:close/>
                <a:moveTo>
                  <a:pt x="7679743" y="1328732"/>
                </a:moveTo>
                <a:lnTo>
                  <a:pt x="7709346" y="1328732"/>
                </a:lnTo>
                <a:lnTo>
                  <a:pt x="7709346" y="1358336"/>
                </a:lnTo>
                <a:lnTo>
                  <a:pt x="7679743" y="1358336"/>
                </a:lnTo>
                <a:close/>
                <a:moveTo>
                  <a:pt x="1832898" y="1328732"/>
                </a:moveTo>
                <a:lnTo>
                  <a:pt x="1862498" y="1328732"/>
                </a:lnTo>
                <a:lnTo>
                  <a:pt x="1862498" y="1358336"/>
                </a:lnTo>
                <a:lnTo>
                  <a:pt x="1832898" y="1358336"/>
                </a:lnTo>
                <a:close/>
                <a:moveTo>
                  <a:pt x="7413653" y="1328730"/>
                </a:moveTo>
                <a:lnTo>
                  <a:pt x="7443256" y="1328730"/>
                </a:lnTo>
                <a:lnTo>
                  <a:pt x="7443256" y="1358333"/>
                </a:lnTo>
                <a:lnTo>
                  <a:pt x="7413653" y="1358333"/>
                </a:lnTo>
                <a:close/>
                <a:moveTo>
                  <a:pt x="1566808" y="1328730"/>
                </a:moveTo>
                <a:lnTo>
                  <a:pt x="1596409" y="1328730"/>
                </a:lnTo>
                <a:lnTo>
                  <a:pt x="1596409" y="1358333"/>
                </a:lnTo>
                <a:lnTo>
                  <a:pt x="1566808" y="1358333"/>
                </a:lnTo>
                <a:close/>
                <a:moveTo>
                  <a:pt x="7147456" y="1328727"/>
                </a:moveTo>
                <a:lnTo>
                  <a:pt x="7177058" y="1328727"/>
                </a:lnTo>
                <a:lnTo>
                  <a:pt x="7177058" y="1358330"/>
                </a:lnTo>
                <a:lnTo>
                  <a:pt x="7147456" y="1358330"/>
                </a:lnTo>
                <a:close/>
                <a:moveTo>
                  <a:pt x="1300611" y="1328727"/>
                </a:moveTo>
                <a:lnTo>
                  <a:pt x="1330213" y="1328727"/>
                </a:lnTo>
                <a:lnTo>
                  <a:pt x="1330213" y="1358330"/>
                </a:lnTo>
                <a:lnTo>
                  <a:pt x="1300611" y="1358330"/>
                </a:lnTo>
                <a:close/>
                <a:moveTo>
                  <a:pt x="6881367" y="1328724"/>
                </a:moveTo>
                <a:lnTo>
                  <a:pt x="6910970" y="1328724"/>
                </a:lnTo>
                <a:lnTo>
                  <a:pt x="6910970" y="1358328"/>
                </a:lnTo>
                <a:lnTo>
                  <a:pt x="6881367" y="1358328"/>
                </a:lnTo>
                <a:close/>
                <a:moveTo>
                  <a:pt x="1034520" y="1328724"/>
                </a:moveTo>
                <a:lnTo>
                  <a:pt x="1064123" y="1328724"/>
                </a:lnTo>
                <a:lnTo>
                  <a:pt x="1064123" y="1358328"/>
                </a:lnTo>
                <a:lnTo>
                  <a:pt x="1034520" y="1358328"/>
                </a:lnTo>
                <a:close/>
                <a:moveTo>
                  <a:pt x="6615170" y="1328722"/>
                </a:moveTo>
                <a:lnTo>
                  <a:pt x="6644773" y="1328722"/>
                </a:lnTo>
                <a:lnTo>
                  <a:pt x="6644773" y="1358325"/>
                </a:lnTo>
                <a:lnTo>
                  <a:pt x="6615170" y="1358325"/>
                </a:lnTo>
                <a:close/>
                <a:moveTo>
                  <a:pt x="768327" y="1328722"/>
                </a:moveTo>
                <a:lnTo>
                  <a:pt x="797926" y="1328722"/>
                </a:lnTo>
                <a:lnTo>
                  <a:pt x="797926" y="1358325"/>
                </a:lnTo>
                <a:lnTo>
                  <a:pt x="768327" y="1358325"/>
                </a:lnTo>
                <a:close/>
                <a:moveTo>
                  <a:pt x="6349081" y="1328719"/>
                </a:moveTo>
                <a:lnTo>
                  <a:pt x="6378683" y="1328719"/>
                </a:lnTo>
                <a:lnTo>
                  <a:pt x="6378683" y="1358323"/>
                </a:lnTo>
                <a:lnTo>
                  <a:pt x="6349081" y="1358323"/>
                </a:lnTo>
                <a:close/>
                <a:moveTo>
                  <a:pt x="502236" y="1328719"/>
                </a:moveTo>
                <a:lnTo>
                  <a:pt x="531838" y="1328719"/>
                </a:lnTo>
                <a:lnTo>
                  <a:pt x="531838" y="1358323"/>
                </a:lnTo>
                <a:lnTo>
                  <a:pt x="502236" y="1358323"/>
                </a:lnTo>
                <a:close/>
                <a:moveTo>
                  <a:pt x="6082884" y="1328717"/>
                </a:moveTo>
                <a:lnTo>
                  <a:pt x="6112486" y="1328717"/>
                </a:lnTo>
                <a:lnTo>
                  <a:pt x="6112486" y="1358320"/>
                </a:lnTo>
                <a:lnTo>
                  <a:pt x="6082884" y="1358320"/>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1672158" y="1063123"/>
                </a:moveTo>
                <a:lnTo>
                  <a:pt x="11701760" y="1063123"/>
                </a:lnTo>
                <a:lnTo>
                  <a:pt x="11701760" y="1092617"/>
                </a:lnTo>
                <a:lnTo>
                  <a:pt x="11672158" y="1092617"/>
                </a:lnTo>
                <a:close/>
                <a:moveTo>
                  <a:pt x="5825310" y="1063123"/>
                </a:moveTo>
                <a:lnTo>
                  <a:pt x="5854913" y="1063123"/>
                </a:lnTo>
                <a:lnTo>
                  <a:pt x="5854913" y="1092617"/>
                </a:lnTo>
                <a:lnTo>
                  <a:pt x="5825310" y="1092617"/>
                </a:lnTo>
                <a:close/>
                <a:moveTo>
                  <a:pt x="11405961" y="1063120"/>
                </a:moveTo>
                <a:lnTo>
                  <a:pt x="11435563" y="1063120"/>
                </a:lnTo>
                <a:lnTo>
                  <a:pt x="11435563" y="1092615"/>
                </a:lnTo>
                <a:lnTo>
                  <a:pt x="11405961" y="1092615"/>
                </a:lnTo>
                <a:close/>
                <a:moveTo>
                  <a:pt x="5559113" y="1063120"/>
                </a:moveTo>
                <a:lnTo>
                  <a:pt x="5588715" y="1063120"/>
                </a:lnTo>
                <a:lnTo>
                  <a:pt x="5588715" y="1092615"/>
                </a:lnTo>
                <a:lnTo>
                  <a:pt x="5559113" y="1092615"/>
                </a:lnTo>
                <a:close/>
                <a:moveTo>
                  <a:pt x="11139872" y="1063117"/>
                </a:moveTo>
                <a:lnTo>
                  <a:pt x="11169474" y="1063117"/>
                </a:lnTo>
                <a:lnTo>
                  <a:pt x="11169474" y="1092612"/>
                </a:lnTo>
                <a:lnTo>
                  <a:pt x="11139872" y="1092612"/>
                </a:lnTo>
                <a:close/>
                <a:moveTo>
                  <a:pt x="5293024" y="1063117"/>
                </a:moveTo>
                <a:lnTo>
                  <a:pt x="5322626" y="1063117"/>
                </a:lnTo>
                <a:lnTo>
                  <a:pt x="5322626" y="1092612"/>
                </a:lnTo>
                <a:lnTo>
                  <a:pt x="5293024" y="1092612"/>
                </a:lnTo>
                <a:close/>
                <a:moveTo>
                  <a:pt x="10873675" y="1063114"/>
                </a:moveTo>
                <a:lnTo>
                  <a:pt x="10903277" y="1063114"/>
                </a:lnTo>
                <a:lnTo>
                  <a:pt x="10903277" y="1092608"/>
                </a:lnTo>
                <a:lnTo>
                  <a:pt x="10873675" y="1092608"/>
                </a:lnTo>
                <a:close/>
                <a:moveTo>
                  <a:pt x="5026827" y="1063114"/>
                </a:moveTo>
                <a:lnTo>
                  <a:pt x="5056429" y="1063114"/>
                </a:lnTo>
                <a:lnTo>
                  <a:pt x="5056429" y="1092608"/>
                </a:lnTo>
                <a:lnTo>
                  <a:pt x="5026827" y="1092608"/>
                </a:lnTo>
                <a:close/>
                <a:moveTo>
                  <a:pt x="10607478" y="1063111"/>
                </a:moveTo>
                <a:lnTo>
                  <a:pt x="10637188" y="1063111"/>
                </a:lnTo>
                <a:lnTo>
                  <a:pt x="10637188" y="1092605"/>
                </a:lnTo>
                <a:lnTo>
                  <a:pt x="10607478" y="1092605"/>
                </a:lnTo>
                <a:close/>
                <a:moveTo>
                  <a:pt x="4760630" y="1063111"/>
                </a:moveTo>
                <a:lnTo>
                  <a:pt x="4790340" y="1063111"/>
                </a:lnTo>
                <a:lnTo>
                  <a:pt x="4790340" y="1092605"/>
                </a:lnTo>
                <a:lnTo>
                  <a:pt x="4760630" y="1092605"/>
                </a:lnTo>
                <a:close/>
                <a:moveTo>
                  <a:pt x="10341389" y="1063108"/>
                </a:moveTo>
                <a:lnTo>
                  <a:pt x="10370992" y="1063108"/>
                </a:lnTo>
                <a:lnTo>
                  <a:pt x="10370992" y="1092602"/>
                </a:lnTo>
                <a:lnTo>
                  <a:pt x="10341389" y="1092602"/>
                </a:lnTo>
                <a:close/>
                <a:moveTo>
                  <a:pt x="4494541" y="1063108"/>
                </a:moveTo>
                <a:lnTo>
                  <a:pt x="4524144" y="1063108"/>
                </a:lnTo>
                <a:lnTo>
                  <a:pt x="4524144" y="1092602"/>
                </a:lnTo>
                <a:lnTo>
                  <a:pt x="4494541" y="1092602"/>
                </a:lnTo>
                <a:close/>
                <a:moveTo>
                  <a:pt x="10075192" y="1063105"/>
                </a:moveTo>
                <a:lnTo>
                  <a:pt x="10104794" y="1063105"/>
                </a:lnTo>
                <a:lnTo>
                  <a:pt x="10104794" y="1092599"/>
                </a:lnTo>
                <a:lnTo>
                  <a:pt x="10075192" y="1092599"/>
                </a:lnTo>
                <a:close/>
                <a:moveTo>
                  <a:pt x="4228344" y="1063105"/>
                </a:moveTo>
                <a:lnTo>
                  <a:pt x="4257946" y="1063105"/>
                </a:lnTo>
                <a:lnTo>
                  <a:pt x="4257946" y="1092599"/>
                </a:lnTo>
                <a:lnTo>
                  <a:pt x="4228344" y="1092599"/>
                </a:lnTo>
                <a:close/>
                <a:moveTo>
                  <a:pt x="9809103" y="1063102"/>
                </a:moveTo>
                <a:lnTo>
                  <a:pt x="9838705" y="1063102"/>
                </a:lnTo>
                <a:lnTo>
                  <a:pt x="9838705" y="1092596"/>
                </a:lnTo>
                <a:lnTo>
                  <a:pt x="9809103" y="1092596"/>
                </a:lnTo>
                <a:close/>
                <a:moveTo>
                  <a:pt x="3962255" y="1063102"/>
                </a:moveTo>
                <a:lnTo>
                  <a:pt x="3991857" y="1063102"/>
                </a:lnTo>
                <a:lnTo>
                  <a:pt x="3991857" y="1092596"/>
                </a:lnTo>
                <a:lnTo>
                  <a:pt x="3962255" y="1092596"/>
                </a:lnTo>
                <a:close/>
                <a:moveTo>
                  <a:pt x="9542906" y="1063099"/>
                </a:moveTo>
                <a:lnTo>
                  <a:pt x="9572509" y="1063099"/>
                </a:lnTo>
                <a:lnTo>
                  <a:pt x="9572509" y="1092593"/>
                </a:lnTo>
                <a:lnTo>
                  <a:pt x="9542906" y="1092593"/>
                </a:lnTo>
                <a:close/>
                <a:moveTo>
                  <a:pt x="3696058" y="1063099"/>
                </a:moveTo>
                <a:lnTo>
                  <a:pt x="3725661" y="1063099"/>
                </a:lnTo>
                <a:lnTo>
                  <a:pt x="3725661" y="1092593"/>
                </a:lnTo>
                <a:lnTo>
                  <a:pt x="3696058" y="1092593"/>
                </a:lnTo>
                <a:close/>
                <a:moveTo>
                  <a:pt x="9276817" y="1063096"/>
                </a:moveTo>
                <a:lnTo>
                  <a:pt x="9306420" y="1063096"/>
                </a:lnTo>
                <a:lnTo>
                  <a:pt x="9306420" y="1092590"/>
                </a:lnTo>
                <a:lnTo>
                  <a:pt x="9276817" y="1092590"/>
                </a:lnTo>
                <a:close/>
                <a:moveTo>
                  <a:pt x="3429969" y="1063096"/>
                </a:moveTo>
                <a:lnTo>
                  <a:pt x="3459572" y="1063096"/>
                </a:lnTo>
                <a:lnTo>
                  <a:pt x="3459572" y="1092590"/>
                </a:lnTo>
                <a:lnTo>
                  <a:pt x="3429969" y="1092590"/>
                </a:lnTo>
                <a:close/>
                <a:moveTo>
                  <a:pt x="9010620" y="1063093"/>
                </a:moveTo>
                <a:lnTo>
                  <a:pt x="9040222" y="1063093"/>
                </a:lnTo>
                <a:lnTo>
                  <a:pt x="9040222" y="1092587"/>
                </a:lnTo>
                <a:lnTo>
                  <a:pt x="9010620" y="1092587"/>
                </a:lnTo>
                <a:close/>
                <a:moveTo>
                  <a:pt x="3163772" y="1063093"/>
                </a:moveTo>
                <a:lnTo>
                  <a:pt x="3193374" y="1063093"/>
                </a:lnTo>
                <a:lnTo>
                  <a:pt x="3193374" y="1092587"/>
                </a:lnTo>
                <a:lnTo>
                  <a:pt x="3163772" y="1092587"/>
                </a:lnTo>
                <a:close/>
                <a:moveTo>
                  <a:pt x="8744423" y="1063090"/>
                </a:moveTo>
                <a:lnTo>
                  <a:pt x="8774026" y="1063090"/>
                </a:lnTo>
                <a:lnTo>
                  <a:pt x="8774026" y="1092584"/>
                </a:lnTo>
                <a:lnTo>
                  <a:pt x="8744423" y="1092584"/>
                </a:lnTo>
                <a:close/>
                <a:moveTo>
                  <a:pt x="2897575" y="1063090"/>
                </a:moveTo>
                <a:lnTo>
                  <a:pt x="2927178" y="1063090"/>
                </a:lnTo>
                <a:lnTo>
                  <a:pt x="2927178" y="1092584"/>
                </a:lnTo>
                <a:lnTo>
                  <a:pt x="2897575" y="1092584"/>
                </a:lnTo>
                <a:close/>
                <a:moveTo>
                  <a:pt x="8478226" y="1063087"/>
                </a:moveTo>
                <a:lnTo>
                  <a:pt x="8507828" y="1063087"/>
                </a:lnTo>
                <a:lnTo>
                  <a:pt x="8507828" y="1092581"/>
                </a:lnTo>
                <a:lnTo>
                  <a:pt x="8478226" y="1092581"/>
                </a:lnTo>
                <a:close/>
                <a:moveTo>
                  <a:pt x="2631378" y="1063087"/>
                </a:moveTo>
                <a:lnTo>
                  <a:pt x="2660980" y="1063087"/>
                </a:lnTo>
                <a:lnTo>
                  <a:pt x="2660980" y="1092581"/>
                </a:lnTo>
                <a:lnTo>
                  <a:pt x="2631378" y="1092581"/>
                </a:lnTo>
                <a:close/>
                <a:moveTo>
                  <a:pt x="8212137" y="1063084"/>
                </a:moveTo>
                <a:lnTo>
                  <a:pt x="8241740" y="1063084"/>
                </a:lnTo>
                <a:lnTo>
                  <a:pt x="8241740" y="1092578"/>
                </a:lnTo>
                <a:lnTo>
                  <a:pt x="8212137" y="1092578"/>
                </a:lnTo>
                <a:close/>
                <a:moveTo>
                  <a:pt x="2365289" y="1063084"/>
                </a:moveTo>
                <a:lnTo>
                  <a:pt x="2394892" y="1063084"/>
                </a:lnTo>
                <a:lnTo>
                  <a:pt x="2394892" y="1092578"/>
                </a:lnTo>
                <a:lnTo>
                  <a:pt x="2365289" y="1092578"/>
                </a:lnTo>
                <a:close/>
                <a:moveTo>
                  <a:pt x="7945940" y="1063081"/>
                </a:moveTo>
                <a:lnTo>
                  <a:pt x="7975543" y="1063081"/>
                </a:lnTo>
                <a:lnTo>
                  <a:pt x="7975543" y="1092575"/>
                </a:lnTo>
                <a:lnTo>
                  <a:pt x="7945940" y="1092575"/>
                </a:lnTo>
                <a:close/>
                <a:moveTo>
                  <a:pt x="2099092" y="1063081"/>
                </a:moveTo>
                <a:lnTo>
                  <a:pt x="2128695" y="1063081"/>
                </a:lnTo>
                <a:lnTo>
                  <a:pt x="2128695" y="1092575"/>
                </a:lnTo>
                <a:lnTo>
                  <a:pt x="2099092" y="1092575"/>
                </a:lnTo>
                <a:close/>
                <a:moveTo>
                  <a:pt x="7679743" y="1063078"/>
                </a:moveTo>
                <a:lnTo>
                  <a:pt x="7709346" y="1063078"/>
                </a:lnTo>
                <a:lnTo>
                  <a:pt x="7709346" y="1092572"/>
                </a:lnTo>
                <a:lnTo>
                  <a:pt x="7679743" y="1092572"/>
                </a:lnTo>
                <a:close/>
                <a:moveTo>
                  <a:pt x="1832898" y="1063078"/>
                </a:moveTo>
                <a:lnTo>
                  <a:pt x="1862498" y="1063078"/>
                </a:lnTo>
                <a:lnTo>
                  <a:pt x="1862498" y="1092572"/>
                </a:lnTo>
                <a:lnTo>
                  <a:pt x="1832898" y="1092572"/>
                </a:lnTo>
                <a:close/>
                <a:moveTo>
                  <a:pt x="7413653" y="1063075"/>
                </a:moveTo>
                <a:lnTo>
                  <a:pt x="7443256" y="1063075"/>
                </a:lnTo>
                <a:lnTo>
                  <a:pt x="7443256" y="1092569"/>
                </a:lnTo>
                <a:lnTo>
                  <a:pt x="7413653" y="1092569"/>
                </a:lnTo>
                <a:close/>
                <a:moveTo>
                  <a:pt x="1566808" y="1063075"/>
                </a:moveTo>
                <a:lnTo>
                  <a:pt x="1596409" y="1063075"/>
                </a:lnTo>
                <a:lnTo>
                  <a:pt x="1596409" y="1092569"/>
                </a:lnTo>
                <a:lnTo>
                  <a:pt x="1566808" y="1092569"/>
                </a:lnTo>
                <a:close/>
                <a:moveTo>
                  <a:pt x="7147456" y="1063072"/>
                </a:moveTo>
                <a:lnTo>
                  <a:pt x="7177058" y="1063072"/>
                </a:lnTo>
                <a:lnTo>
                  <a:pt x="7177058" y="1092566"/>
                </a:lnTo>
                <a:lnTo>
                  <a:pt x="7147456" y="1092566"/>
                </a:lnTo>
                <a:close/>
                <a:moveTo>
                  <a:pt x="1300611" y="1063072"/>
                </a:moveTo>
                <a:lnTo>
                  <a:pt x="1330213" y="1063072"/>
                </a:lnTo>
                <a:lnTo>
                  <a:pt x="1330213" y="1092566"/>
                </a:lnTo>
                <a:lnTo>
                  <a:pt x="1300611" y="1092566"/>
                </a:lnTo>
                <a:close/>
                <a:moveTo>
                  <a:pt x="6881367" y="1063069"/>
                </a:moveTo>
                <a:lnTo>
                  <a:pt x="6910970" y="1063069"/>
                </a:lnTo>
                <a:lnTo>
                  <a:pt x="6910970" y="1092563"/>
                </a:lnTo>
                <a:lnTo>
                  <a:pt x="6881367" y="1092563"/>
                </a:lnTo>
                <a:close/>
                <a:moveTo>
                  <a:pt x="1034520" y="1063069"/>
                </a:moveTo>
                <a:lnTo>
                  <a:pt x="1064123" y="1063069"/>
                </a:lnTo>
                <a:lnTo>
                  <a:pt x="1064123" y="1092563"/>
                </a:lnTo>
                <a:lnTo>
                  <a:pt x="1034520" y="1092563"/>
                </a:lnTo>
                <a:close/>
                <a:moveTo>
                  <a:pt x="6615170" y="1063066"/>
                </a:moveTo>
                <a:lnTo>
                  <a:pt x="6644773" y="1063066"/>
                </a:lnTo>
                <a:lnTo>
                  <a:pt x="6644773" y="1092560"/>
                </a:lnTo>
                <a:lnTo>
                  <a:pt x="6615170" y="1092560"/>
                </a:lnTo>
                <a:close/>
                <a:moveTo>
                  <a:pt x="768326" y="1063066"/>
                </a:moveTo>
                <a:lnTo>
                  <a:pt x="797926" y="1063066"/>
                </a:lnTo>
                <a:lnTo>
                  <a:pt x="797926" y="1092560"/>
                </a:lnTo>
                <a:lnTo>
                  <a:pt x="768326" y="1092560"/>
                </a:lnTo>
                <a:close/>
                <a:moveTo>
                  <a:pt x="6349081" y="1063063"/>
                </a:moveTo>
                <a:lnTo>
                  <a:pt x="6378683" y="1063063"/>
                </a:lnTo>
                <a:lnTo>
                  <a:pt x="6378683" y="1092557"/>
                </a:lnTo>
                <a:lnTo>
                  <a:pt x="6349081" y="1092557"/>
                </a:lnTo>
                <a:close/>
                <a:moveTo>
                  <a:pt x="502235" y="1063063"/>
                </a:moveTo>
                <a:lnTo>
                  <a:pt x="531838" y="1063063"/>
                </a:lnTo>
                <a:lnTo>
                  <a:pt x="531838" y="1092557"/>
                </a:lnTo>
                <a:lnTo>
                  <a:pt x="502235" y="1092557"/>
                </a:lnTo>
                <a:close/>
                <a:moveTo>
                  <a:pt x="6082884" y="1063059"/>
                </a:moveTo>
                <a:lnTo>
                  <a:pt x="6112486" y="1063059"/>
                </a:lnTo>
                <a:lnTo>
                  <a:pt x="6112486" y="1092554"/>
                </a:lnTo>
                <a:lnTo>
                  <a:pt x="6082884" y="1092554"/>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1672158" y="797337"/>
                </a:moveTo>
                <a:lnTo>
                  <a:pt x="11701760" y="797337"/>
                </a:lnTo>
                <a:lnTo>
                  <a:pt x="11701760" y="826844"/>
                </a:lnTo>
                <a:lnTo>
                  <a:pt x="11672158" y="826844"/>
                </a:lnTo>
                <a:close/>
                <a:moveTo>
                  <a:pt x="5825310" y="797337"/>
                </a:moveTo>
                <a:lnTo>
                  <a:pt x="5854913" y="797337"/>
                </a:lnTo>
                <a:lnTo>
                  <a:pt x="5854913" y="826844"/>
                </a:lnTo>
                <a:lnTo>
                  <a:pt x="5825310" y="826844"/>
                </a:lnTo>
                <a:close/>
                <a:moveTo>
                  <a:pt x="11405961" y="797335"/>
                </a:moveTo>
                <a:lnTo>
                  <a:pt x="11435563" y="797335"/>
                </a:lnTo>
                <a:lnTo>
                  <a:pt x="11435563" y="826841"/>
                </a:lnTo>
                <a:lnTo>
                  <a:pt x="11405961" y="826841"/>
                </a:lnTo>
                <a:close/>
                <a:moveTo>
                  <a:pt x="5559113" y="797335"/>
                </a:moveTo>
                <a:lnTo>
                  <a:pt x="5588715" y="797335"/>
                </a:lnTo>
                <a:lnTo>
                  <a:pt x="5588715" y="826841"/>
                </a:lnTo>
                <a:lnTo>
                  <a:pt x="5559113" y="826841"/>
                </a:lnTo>
                <a:close/>
                <a:moveTo>
                  <a:pt x="11139872" y="797333"/>
                </a:moveTo>
                <a:lnTo>
                  <a:pt x="11169474" y="797333"/>
                </a:lnTo>
                <a:lnTo>
                  <a:pt x="11169474" y="826839"/>
                </a:lnTo>
                <a:lnTo>
                  <a:pt x="11139872" y="826839"/>
                </a:lnTo>
                <a:close/>
                <a:moveTo>
                  <a:pt x="5293024" y="797333"/>
                </a:moveTo>
                <a:lnTo>
                  <a:pt x="5322626" y="797333"/>
                </a:lnTo>
                <a:lnTo>
                  <a:pt x="5322626" y="826839"/>
                </a:lnTo>
                <a:lnTo>
                  <a:pt x="5293024" y="826839"/>
                </a:lnTo>
                <a:close/>
                <a:moveTo>
                  <a:pt x="10873675" y="797331"/>
                </a:moveTo>
                <a:lnTo>
                  <a:pt x="10903277" y="797331"/>
                </a:lnTo>
                <a:lnTo>
                  <a:pt x="10903277" y="826836"/>
                </a:lnTo>
                <a:lnTo>
                  <a:pt x="10873675" y="826836"/>
                </a:lnTo>
                <a:close/>
                <a:moveTo>
                  <a:pt x="5026827" y="797331"/>
                </a:moveTo>
                <a:lnTo>
                  <a:pt x="5056429" y="797331"/>
                </a:lnTo>
                <a:lnTo>
                  <a:pt x="5056429" y="826836"/>
                </a:lnTo>
                <a:lnTo>
                  <a:pt x="5026827" y="826836"/>
                </a:lnTo>
                <a:close/>
                <a:moveTo>
                  <a:pt x="10607478" y="797329"/>
                </a:moveTo>
                <a:lnTo>
                  <a:pt x="10637188" y="797329"/>
                </a:lnTo>
                <a:lnTo>
                  <a:pt x="10637188" y="826833"/>
                </a:lnTo>
                <a:lnTo>
                  <a:pt x="10607478" y="826833"/>
                </a:lnTo>
                <a:close/>
                <a:moveTo>
                  <a:pt x="4760630" y="797329"/>
                </a:moveTo>
                <a:lnTo>
                  <a:pt x="4790340" y="797329"/>
                </a:lnTo>
                <a:lnTo>
                  <a:pt x="4790340" y="826833"/>
                </a:lnTo>
                <a:lnTo>
                  <a:pt x="4760630" y="826833"/>
                </a:lnTo>
                <a:close/>
                <a:moveTo>
                  <a:pt x="10341389" y="797327"/>
                </a:moveTo>
                <a:lnTo>
                  <a:pt x="10370992" y="797327"/>
                </a:lnTo>
                <a:lnTo>
                  <a:pt x="10370992" y="826831"/>
                </a:lnTo>
                <a:lnTo>
                  <a:pt x="10341389" y="826831"/>
                </a:lnTo>
                <a:close/>
                <a:moveTo>
                  <a:pt x="4494541" y="797327"/>
                </a:moveTo>
                <a:lnTo>
                  <a:pt x="4524144" y="797327"/>
                </a:lnTo>
                <a:lnTo>
                  <a:pt x="4524144" y="826831"/>
                </a:lnTo>
                <a:lnTo>
                  <a:pt x="4494541" y="826831"/>
                </a:lnTo>
                <a:close/>
                <a:moveTo>
                  <a:pt x="10075192" y="797325"/>
                </a:moveTo>
                <a:lnTo>
                  <a:pt x="10104794" y="797325"/>
                </a:lnTo>
                <a:lnTo>
                  <a:pt x="10104794" y="826828"/>
                </a:lnTo>
                <a:lnTo>
                  <a:pt x="10075192" y="826828"/>
                </a:lnTo>
                <a:close/>
                <a:moveTo>
                  <a:pt x="4228344" y="797325"/>
                </a:moveTo>
                <a:lnTo>
                  <a:pt x="4257946" y="797325"/>
                </a:lnTo>
                <a:lnTo>
                  <a:pt x="4257946" y="826828"/>
                </a:lnTo>
                <a:lnTo>
                  <a:pt x="4228344" y="826828"/>
                </a:lnTo>
                <a:close/>
                <a:moveTo>
                  <a:pt x="9809103" y="797323"/>
                </a:moveTo>
                <a:lnTo>
                  <a:pt x="9838705" y="797323"/>
                </a:lnTo>
                <a:lnTo>
                  <a:pt x="9838705" y="826826"/>
                </a:lnTo>
                <a:lnTo>
                  <a:pt x="9809103" y="826826"/>
                </a:lnTo>
                <a:close/>
                <a:moveTo>
                  <a:pt x="3962255" y="797323"/>
                </a:moveTo>
                <a:lnTo>
                  <a:pt x="3991857" y="797323"/>
                </a:lnTo>
                <a:lnTo>
                  <a:pt x="3991857" y="826826"/>
                </a:lnTo>
                <a:lnTo>
                  <a:pt x="3962255" y="826826"/>
                </a:lnTo>
                <a:close/>
                <a:moveTo>
                  <a:pt x="9542906" y="797321"/>
                </a:moveTo>
                <a:lnTo>
                  <a:pt x="9572509" y="797321"/>
                </a:lnTo>
                <a:lnTo>
                  <a:pt x="9572509" y="826823"/>
                </a:lnTo>
                <a:lnTo>
                  <a:pt x="9542906" y="826823"/>
                </a:lnTo>
                <a:close/>
                <a:moveTo>
                  <a:pt x="3696058" y="797321"/>
                </a:moveTo>
                <a:lnTo>
                  <a:pt x="3725661" y="797321"/>
                </a:lnTo>
                <a:lnTo>
                  <a:pt x="3725661" y="826823"/>
                </a:lnTo>
                <a:lnTo>
                  <a:pt x="3696058" y="826823"/>
                </a:lnTo>
                <a:close/>
                <a:moveTo>
                  <a:pt x="9276817" y="797319"/>
                </a:moveTo>
                <a:lnTo>
                  <a:pt x="9306420" y="797319"/>
                </a:lnTo>
                <a:lnTo>
                  <a:pt x="9306420" y="826820"/>
                </a:lnTo>
                <a:lnTo>
                  <a:pt x="9276817" y="826820"/>
                </a:lnTo>
                <a:close/>
                <a:moveTo>
                  <a:pt x="3429969" y="797319"/>
                </a:moveTo>
                <a:lnTo>
                  <a:pt x="3459572" y="797319"/>
                </a:lnTo>
                <a:lnTo>
                  <a:pt x="3459572" y="826820"/>
                </a:lnTo>
                <a:lnTo>
                  <a:pt x="3429969" y="826820"/>
                </a:lnTo>
                <a:close/>
                <a:moveTo>
                  <a:pt x="9010620" y="797317"/>
                </a:moveTo>
                <a:lnTo>
                  <a:pt x="9040222" y="797317"/>
                </a:lnTo>
                <a:lnTo>
                  <a:pt x="9040222" y="826818"/>
                </a:lnTo>
                <a:lnTo>
                  <a:pt x="9010620" y="826818"/>
                </a:lnTo>
                <a:close/>
                <a:moveTo>
                  <a:pt x="3163772" y="797317"/>
                </a:moveTo>
                <a:lnTo>
                  <a:pt x="3193374" y="797317"/>
                </a:lnTo>
                <a:lnTo>
                  <a:pt x="3193374" y="826818"/>
                </a:lnTo>
                <a:lnTo>
                  <a:pt x="3163772" y="826818"/>
                </a:lnTo>
                <a:close/>
                <a:moveTo>
                  <a:pt x="8744423" y="797315"/>
                </a:moveTo>
                <a:lnTo>
                  <a:pt x="8774026" y="797315"/>
                </a:lnTo>
                <a:lnTo>
                  <a:pt x="8774026" y="826815"/>
                </a:lnTo>
                <a:lnTo>
                  <a:pt x="8744423" y="826815"/>
                </a:lnTo>
                <a:close/>
                <a:moveTo>
                  <a:pt x="2897575" y="797315"/>
                </a:moveTo>
                <a:lnTo>
                  <a:pt x="2927178" y="797315"/>
                </a:lnTo>
                <a:lnTo>
                  <a:pt x="2927178" y="826815"/>
                </a:lnTo>
                <a:lnTo>
                  <a:pt x="2897575" y="826815"/>
                </a:lnTo>
                <a:close/>
                <a:moveTo>
                  <a:pt x="8478226" y="797312"/>
                </a:moveTo>
                <a:lnTo>
                  <a:pt x="8507828" y="797312"/>
                </a:lnTo>
                <a:lnTo>
                  <a:pt x="8507828" y="826812"/>
                </a:lnTo>
                <a:lnTo>
                  <a:pt x="8478226" y="826812"/>
                </a:lnTo>
                <a:close/>
                <a:moveTo>
                  <a:pt x="2631378" y="797312"/>
                </a:moveTo>
                <a:lnTo>
                  <a:pt x="2660980" y="797312"/>
                </a:lnTo>
                <a:lnTo>
                  <a:pt x="2660980" y="826812"/>
                </a:lnTo>
                <a:lnTo>
                  <a:pt x="2631378" y="826812"/>
                </a:lnTo>
                <a:close/>
                <a:moveTo>
                  <a:pt x="8212137" y="797310"/>
                </a:moveTo>
                <a:lnTo>
                  <a:pt x="8241740" y="797310"/>
                </a:lnTo>
                <a:lnTo>
                  <a:pt x="8241740" y="826810"/>
                </a:lnTo>
                <a:lnTo>
                  <a:pt x="8212137" y="826810"/>
                </a:lnTo>
                <a:close/>
                <a:moveTo>
                  <a:pt x="2365289" y="797310"/>
                </a:moveTo>
                <a:lnTo>
                  <a:pt x="2394892" y="797310"/>
                </a:lnTo>
                <a:lnTo>
                  <a:pt x="2394892" y="826810"/>
                </a:lnTo>
                <a:lnTo>
                  <a:pt x="2365289" y="826810"/>
                </a:lnTo>
                <a:close/>
                <a:moveTo>
                  <a:pt x="7945940" y="797308"/>
                </a:moveTo>
                <a:lnTo>
                  <a:pt x="7975543" y="797308"/>
                </a:lnTo>
                <a:lnTo>
                  <a:pt x="7975543" y="826807"/>
                </a:lnTo>
                <a:lnTo>
                  <a:pt x="7945940" y="826807"/>
                </a:lnTo>
                <a:close/>
                <a:moveTo>
                  <a:pt x="2099092" y="797308"/>
                </a:moveTo>
                <a:lnTo>
                  <a:pt x="2128695" y="797308"/>
                </a:lnTo>
                <a:lnTo>
                  <a:pt x="2128695" y="826807"/>
                </a:lnTo>
                <a:lnTo>
                  <a:pt x="2099092" y="826807"/>
                </a:lnTo>
                <a:close/>
                <a:moveTo>
                  <a:pt x="7679743" y="797306"/>
                </a:moveTo>
                <a:lnTo>
                  <a:pt x="7709346" y="797306"/>
                </a:lnTo>
                <a:lnTo>
                  <a:pt x="7709346" y="826805"/>
                </a:lnTo>
                <a:lnTo>
                  <a:pt x="7679743" y="826805"/>
                </a:lnTo>
                <a:close/>
                <a:moveTo>
                  <a:pt x="1832898" y="797306"/>
                </a:moveTo>
                <a:lnTo>
                  <a:pt x="1862498" y="797306"/>
                </a:lnTo>
                <a:lnTo>
                  <a:pt x="1862498" y="826805"/>
                </a:lnTo>
                <a:lnTo>
                  <a:pt x="1832898" y="826805"/>
                </a:lnTo>
                <a:close/>
                <a:moveTo>
                  <a:pt x="7413653" y="797304"/>
                </a:moveTo>
                <a:lnTo>
                  <a:pt x="7443256" y="797304"/>
                </a:lnTo>
                <a:lnTo>
                  <a:pt x="7443256" y="826802"/>
                </a:lnTo>
                <a:lnTo>
                  <a:pt x="7413653" y="826802"/>
                </a:lnTo>
                <a:close/>
                <a:moveTo>
                  <a:pt x="1566808" y="797304"/>
                </a:moveTo>
                <a:lnTo>
                  <a:pt x="1596409" y="797304"/>
                </a:lnTo>
                <a:lnTo>
                  <a:pt x="1596409" y="826802"/>
                </a:lnTo>
                <a:lnTo>
                  <a:pt x="1566808" y="826802"/>
                </a:lnTo>
                <a:close/>
                <a:moveTo>
                  <a:pt x="7147456" y="797302"/>
                </a:moveTo>
                <a:lnTo>
                  <a:pt x="7177058" y="797302"/>
                </a:lnTo>
                <a:lnTo>
                  <a:pt x="7177058" y="826799"/>
                </a:lnTo>
                <a:lnTo>
                  <a:pt x="7147456" y="826799"/>
                </a:lnTo>
                <a:close/>
                <a:moveTo>
                  <a:pt x="1300611" y="797302"/>
                </a:moveTo>
                <a:lnTo>
                  <a:pt x="1330213" y="797302"/>
                </a:lnTo>
                <a:lnTo>
                  <a:pt x="1330213" y="826799"/>
                </a:lnTo>
                <a:lnTo>
                  <a:pt x="1300611" y="826799"/>
                </a:lnTo>
                <a:close/>
                <a:moveTo>
                  <a:pt x="6881367" y="797300"/>
                </a:moveTo>
                <a:lnTo>
                  <a:pt x="6910970" y="797300"/>
                </a:lnTo>
                <a:lnTo>
                  <a:pt x="6910970" y="826797"/>
                </a:lnTo>
                <a:lnTo>
                  <a:pt x="6881367" y="826797"/>
                </a:lnTo>
                <a:close/>
                <a:moveTo>
                  <a:pt x="1034520" y="797300"/>
                </a:moveTo>
                <a:lnTo>
                  <a:pt x="1064123" y="797300"/>
                </a:lnTo>
                <a:lnTo>
                  <a:pt x="1064123" y="826797"/>
                </a:lnTo>
                <a:lnTo>
                  <a:pt x="1034520" y="826797"/>
                </a:lnTo>
                <a:close/>
                <a:moveTo>
                  <a:pt x="6615170" y="797298"/>
                </a:moveTo>
                <a:lnTo>
                  <a:pt x="6644773" y="797298"/>
                </a:lnTo>
                <a:lnTo>
                  <a:pt x="6644773" y="826794"/>
                </a:lnTo>
                <a:lnTo>
                  <a:pt x="6615170" y="826794"/>
                </a:lnTo>
                <a:close/>
                <a:moveTo>
                  <a:pt x="768326" y="797298"/>
                </a:moveTo>
                <a:lnTo>
                  <a:pt x="797926" y="797298"/>
                </a:lnTo>
                <a:lnTo>
                  <a:pt x="797926" y="826794"/>
                </a:lnTo>
                <a:lnTo>
                  <a:pt x="768326" y="826794"/>
                </a:lnTo>
                <a:close/>
                <a:moveTo>
                  <a:pt x="6349081" y="797296"/>
                </a:moveTo>
                <a:lnTo>
                  <a:pt x="6378683" y="797296"/>
                </a:lnTo>
                <a:lnTo>
                  <a:pt x="6378683" y="826792"/>
                </a:lnTo>
                <a:lnTo>
                  <a:pt x="6349081" y="826792"/>
                </a:lnTo>
                <a:close/>
                <a:moveTo>
                  <a:pt x="502235" y="797296"/>
                </a:moveTo>
                <a:lnTo>
                  <a:pt x="531838" y="797296"/>
                </a:lnTo>
                <a:lnTo>
                  <a:pt x="531838" y="826792"/>
                </a:lnTo>
                <a:lnTo>
                  <a:pt x="502235" y="826792"/>
                </a:lnTo>
                <a:close/>
                <a:moveTo>
                  <a:pt x="6082884" y="797294"/>
                </a:moveTo>
                <a:lnTo>
                  <a:pt x="6112486" y="797294"/>
                </a:lnTo>
                <a:lnTo>
                  <a:pt x="6112486" y="826789"/>
                </a:lnTo>
                <a:lnTo>
                  <a:pt x="6082884" y="826789"/>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1672158" y="531575"/>
                </a:moveTo>
                <a:lnTo>
                  <a:pt x="11701760" y="531575"/>
                </a:lnTo>
                <a:lnTo>
                  <a:pt x="11701760" y="561177"/>
                </a:lnTo>
                <a:lnTo>
                  <a:pt x="11672158" y="561177"/>
                </a:lnTo>
                <a:close/>
                <a:moveTo>
                  <a:pt x="5825310" y="531575"/>
                </a:moveTo>
                <a:lnTo>
                  <a:pt x="5854913" y="531575"/>
                </a:lnTo>
                <a:lnTo>
                  <a:pt x="5854913" y="561177"/>
                </a:lnTo>
                <a:lnTo>
                  <a:pt x="5825310" y="561177"/>
                </a:lnTo>
                <a:close/>
                <a:moveTo>
                  <a:pt x="11405961" y="531573"/>
                </a:moveTo>
                <a:lnTo>
                  <a:pt x="11435563" y="531573"/>
                </a:lnTo>
                <a:lnTo>
                  <a:pt x="11435563" y="561175"/>
                </a:lnTo>
                <a:lnTo>
                  <a:pt x="11405961" y="561175"/>
                </a:lnTo>
                <a:close/>
                <a:moveTo>
                  <a:pt x="5559113" y="531573"/>
                </a:moveTo>
                <a:lnTo>
                  <a:pt x="5588715" y="531573"/>
                </a:lnTo>
                <a:lnTo>
                  <a:pt x="5588715" y="561175"/>
                </a:lnTo>
                <a:lnTo>
                  <a:pt x="5559113" y="561175"/>
                </a:lnTo>
                <a:close/>
                <a:moveTo>
                  <a:pt x="11139872" y="531571"/>
                </a:moveTo>
                <a:lnTo>
                  <a:pt x="11169474" y="531571"/>
                </a:lnTo>
                <a:lnTo>
                  <a:pt x="11169474" y="561173"/>
                </a:lnTo>
                <a:lnTo>
                  <a:pt x="11139872" y="561173"/>
                </a:lnTo>
                <a:close/>
                <a:moveTo>
                  <a:pt x="5293024" y="531571"/>
                </a:moveTo>
                <a:lnTo>
                  <a:pt x="5322626" y="531571"/>
                </a:lnTo>
                <a:lnTo>
                  <a:pt x="5322626" y="561173"/>
                </a:lnTo>
                <a:lnTo>
                  <a:pt x="5293024" y="561173"/>
                </a:lnTo>
                <a:close/>
                <a:moveTo>
                  <a:pt x="10873675" y="531568"/>
                </a:moveTo>
                <a:lnTo>
                  <a:pt x="10903277" y="531568"/>
                </a:lnTo>
                <a:lnTo>
                  <a:pt x="10903277" y="561170"/>
                </a:lnTo>
                <a:lnTo>
                  <a:pt x="10873675" y="561170"/>
                </a:lnTo>
                <a:close/>
                <a:moveTo>
                  <a:pt x="5026827" y="531568"/>
                </a:moveTo>
                <a:lnTo>
                  <a:pt x="5056429" y="531568"/>
                </a:lnTo>
                <a:lnTo>
                  <a:pt x="5056429" y="561170"/>
                </a:lnTo>
                <a:lnTo>
                  <a:pt x="5026827" y="561170"/>
                </a:lnTo>
                <a:close/>
                <a:moveTo>
                  <a:pt x="10607478" y="531566"/>
                </a:moveTo>
                <a:lnTo>
                  <a:pt x="10637188" y="531566"/>
                </a:lnTo>
                <a:lnTo>
                  <a:pt x="10637188" y="561168"/>
                </a:lnTo>
                <a:lnTo>
                  <a:pt x="10607478" y="561168"/>
                </a:lnTo>
                <a:close/>
                <a:moveTo>
                  <a:pt x="4760630" y="531566"/>
                </a:moveTo>
                <a:lnTo>
                  <a:pt x="4790340" y="531566"/>
                </a:lnTo>
                <a:lnTo>
                  <a:pt x="4790340" y="561168"/>
                </a:lnTo>
                <a:lnTo>
                  <a:pt x="4760630" y="561168"/>
                </a:lnTo>
                <a:close/>
                <a:moveTo>
                  <a:pt x="10341389" y="531564"/>
                </a:moveTo>
                <a:lnTo>
                  <a:pt x="10370992" y="531564"/>
                </a:lnTo>
                <a:lnTo>
                  <a:pt x="10370992" y="561166"/>
                </a:lnTo>
                <a:lnTo>
                  <a:pt x="10341389" y="561166"/>
                </a:lnTo>
                <a:close/>
                <a:moveTo>
                  <a:pt x="4494541" y="531564"/>
                </a:moveTo>
                <a:lnTo>
                  <a:pt x="4524144" y="531564"/>
                </a:lnTo>
                <a:lnTo>
                  <a:pt x="4524144" y="561166"/>
                </a:lnTo>
                <a:lnTo>
                  <a:pt x="4494541" y="561166"/>
                </a:lnTo>
                <a:close/>
                <a:moveTo>
                  <a:pt x="10075192" y="531562"/>
                </a:moveTo>
                <a:lnTo>
                  <a:pt x="10104794" y="531562"/>
                </a:lnTo>
                <a:lnTo>
                  <a:pt x="10104794" y="561164"/>
                </a:lnTo>
                <a:lnTo>
                  <a:pt x="10075192" y="561164"/>
                </a:lnTo>
                <a:close/>
                <a:moveTo>
                  <a:pt x="4228344" y="531562"/>
                </a:moveTo>
                <a:lnTo>
                  <a:pt x="4257946" y="531562"/>
                </a:lnTo>
                <a:lnTo>
                  <a:pt x="4257946" y="561164"/>
                </a:lnTo>
                <a:lnTo>
                  <a:pt x="4228344" y="561164"/>
                </a:lnTo>
                <a:close/>
                <a:moveTo>
                  <a:pt x="9809103" y="531560"/>
                </a:moveTo>
                <a:lnTo>
                  <a:pt x="9838705" y="531560"/>
                </a:lnTo>
                <a:lnTo>
                  <a:pt x="9838705" y="561162"/>
                </a:lnTo>
                <a:lnTo>
                  <a:pt x="9809103" y="561162"/>
                </a:lnTo>
                <a:close/>
                <a:moveTo>
                  <a:pt x="3962255" y="531560"/>
                </a:moveTo>
                <a:lnTo>
                  <a:pt x="3991857" y="531560"/>
                </a:lnTo>
                <a:lnTo>
                  <a:pt x="3991857" y="561162"/>
                </a:lnTo>
                <a:lnTo>
                  <a:pt x="3962255" y="561162"/>
                </a:lnTo>
                <a:close/>
                <a:moveTo>
                  <a:pt x="9542906" y="531558"/>
                </a:moveTo>
                <a:lnTo>
                  <a:pt x="9572509" y="531558"/>
                </a:lnTo>
                <a:lnTo>
                  <a:pt x="9572509" y="561160"/>
                </a:lnTo>
                <a:lnTo>
                  <a:pt x="9542906" y="561160"/>
                </a:lnTo>
                <a:close/>
                <a:moveTo>
                  <a:pt x="3696058" y="531558"/>
                </a:moveTo>
                <a:lnTo>
                  <a:pt x="3725661" y="531558"/>
                </a:lnTo>
                <a:lnTo>
                  <a:pt x="3725661" y="561160"/>
                </a:lnTo>
                <a:lnTo>
                  <a:pt x="3696058" y="561160"/>
                </a:lnTo>
                <a:close/>
                <a:moveTo>
                  <a:pt x="9276817" y="531556"/>
                </a:moveTo>
                <a:lnTo>
                  <a:pt x="9306420" y="531556"/>
                </a:lnTo>
                <a:lnTo>
                  <a:pt x="9306420" y="561158"/>
                </a:lnTo>
                <a:lnTo>
                  <a:pt x="9276817" y="561158"/>
                </a:lnTo>
                <a:close/>
                <a:moveTo>
                  <a:pt x="3429969" y="531556"/>
                </a:moveTo>
                <a:lnTo>
                  <a:pt x="3459572" y="531556"/>
                </a:lnTo>
                <a:lnTo>
                  <a:pt x="3459572" y="561158"/>
                </a:lnTo>
                <a:lnTo>
                  <a:pt x="3429969" y="561158"/>
                </a:lnTo>
                <a:close/>
                <a:moveTo>
                  <a:pt x="9010620" y="531554"/>
                </a:moveTo>
                <a:lnTo>
                  <a:pt x="9040222" y="531554"/>
                </a:lnTo>
                <a:lnTo>
                  <a:pt x="9040222" y="561156"/>
                </a:lnTo>
                <a:lnTo>
                  <a:pt x="9010620" y="561156"/>
                </a:lnTo>
                <a:close/>
                <a:moveTo>
                  <a:pt x="3163772" y="531554"/>
                </a:moveTo>
                <a:lnTo>
                  <a:pt x="3193374" y="531554"/>
                </a:lnTo>
                <a:lnTo>
                  <a:pt x="3193374" y="561156"/>
                </a:lnTo>
                <a:lnTo>
                  <a:pt x="3163772" y="561156"/>
                </a:lnTo>
                <a:close/>
                <a:moveTo>
                  <a:pt x="8744423" y="531551"/>
                </a:moveTo>
                <a:lnTo>
                  <a:pt x="8774026" y="531551"/>
                </a:lnTo>
                <a:lnTo>
                  <a:pt x="8774026" y="561154"/>
                </a:lnTo>
                <a:lnTo>
                  <a:pt x="8744423" y="561154"/>
                </a:lnTo>
                <a:close/>
                <a:moveTo>
                  <a:pt x="2897575" y="531551"/>
                </a:moveTo>
                <a:lnTo>
                  <a:pt x="2927178" y="531551"/>
                </a:lnTo>
                <a:lnTo>
                  <a:pt x="2927178" y="561154"/>
                </a:lnTo>
                <a:lnTo>
                  <a:pt x="2897575" y="561154"/>
                </a:lnTo>
                <a:close/>
                <a:moveTo>
                  <a:pt x="8478226" y="531549"/>
                </a:moveTo>
                <a:lnTo>
                  <a:pt x="8507828" y="531549"/>
                </a:lnTo>
                <a:lnTo>
                  <a:pt x="8507828" y="561152"/>
                </a:lnTo>
                <a:lnTo>
                  <a:pt x="8478226" y="561152"/>
                </a:lnTo>
                <a:close/>
                <a:moveTo>
                  <a:pt x="2631378" y="531549"/>
                </a:moveTo>
                <a:lnTo>
                  <a:pt x="2660980" y="531549"/>
                </a:lnTo>
                <a:lnTo>
                  <a:pt x="2660980" y="561152"/>
                </a:lnTo>
                <a:lnTo>
                  <a:pt x="2631378" y="561152"/>
                </a:lnTo>
                <a:close/>
                <a:moveTo>
                  <a:pt x="8212137" y="531547"/>
                </a:moveTo>
                <a:lnTo>
                  <a:pt x="8241740" y="531547"/>
                </a:lnTo>
                <a:lnTo>
                  <a:pt x="8241740" y="561149"/>
                </a:lnTo>
                <a:lnTo>
                  <a:pt x="8212137" y="561149"/>
                </a:lnTo>
                <a:close/>
                <a:moveTo>
                  <a:pt x="2365289" y="531547"/>
                </a:moveTo>
                <a:lnTo>
                  <a:pt x="2394892" y="531547"/>
                </a:lnTo>
                <a:lnTo>
                  <a:pt x="2394892" y="561149"/>
                </a:lnTo>
                <a:lnTo>
                  <a:pt x="2365289" y="561149"/>
                </a:lnTo>
                <a:close/>
                <a:moveTo>
                  <a:pt x="7945940" y="531545"/>
                </a:moveTo>
                <a:lnTo>
                  <a:pt x="7975543" y="531545"/>
                </a:lnTo>
                <a:lnTo>
                  <a:pt x="7975543" y="561147"/>
                </a:lnTo>
                <a:lnTo>
                  <a:pt x="7945940" y="561147"/>
                </a:lnTo>
                <a:close/>
                <a:moveTo>
                  <a:pt x="2099092" y="531545"/>
                </a:moveTo>
                <a:lnTo>
                  <a:pt x="2128695" y="531545"/>
                </a:lnTo>
                <a:lnTo>
                  <a:pt x="2128695" y="561147"/>
                </a:lnTo>
                <a:lnTo>
                  <a:pt x="2099092" y="561147"/>
                </a:lnTo>
                <a:close/>
                <a:moveTo>
                  <a:pt x="7679743" y="531543"/>
                </a:moveTo>
                <a:lnTo>
                  <a:pt x="7709346" y="531543"/>
                </a:lnTo>
                <a:lnTo>
                  <a:pt x="7709346" y="561145"/>
                </a:lnTo>
                <a:lnTo>
                  <a:pt x="7679743" y="561145"/>
                </a:lnTo>
                <a:close/>
                <a:moveTo>
                  <a:pt x="1832898" y="531543"/>
                </a:moveTo>
                <a:lnTo>
                  <a:pt x="1862498" y="531543"/>
                </a:lnTo>
                <a:lnTo>
                  <a:pt x="1862498" y="561145"/>
                </a:lnTo>
                <a:lnTo>
                  <a:pt x="1832898" y="561145"/>
                </a:lnTo>
                <a:close/>
                <a:moveTo>
                  <a:pt x="7413653" y="531541"/>
                </a:moveTo>
                <a:lnTo>
                  <a:pt x="7443256" y="531541"/>
                </a:lnTo>
                <a:lnTo>
                  <a:pt x="7443256" y="561143"/>
                </a:lnTo>
                <a:lnTo>
                  <a:pt x="7413653" y="561143"/>
                </a:lnTo>
                <a:close/>
                <a:moveTo>
                  <a:pt x="1566808" y="531541"/>
                </a:moveTo>
                <a:lnTo>
                  <a:pt x="1596409" y="531541"/>
                </a:lnTo>
                <a:lnTo>
                  <a:pt x="1596409" y="561143"/>
                </a:lnTo>
                <a:lnTo>
                  <a:pt x="1566808" y="561143"/>
                </a:lnTo>
                <a:close/>
                <a:moveTo>
                  <a:pt x="7147456" y="531539"/>
                </a:moveTo>
                <a:lnTo>
                  <a:pt x="7177058" y="531539"/>
                </a:lnTo>
                <a:lnTo>
                  <a:pt x="7177058" y="561141"/>
                </a:lnTo>
                <a:lnTo>
                  <a:pt x="7147456" y="561141"/>
                </a:lnTo>
                <a:close/>
                <a:moveTo>
                  <a:pt x="1300611" y="531539"/>
                </a:moveTo>
                <a:lnTo>
                  <a:pt x="1330213" y="531539"/>
                </a:lnTo>
                <a:lnTo>
                  <a:pt x="1330213" y="561141"/>
                </a:lnTo>
                <a:lnTo>
                  <a:pt x="1300611" y="561141"/>
                </a:lnTo>
                <a:close/>
                <a:moveTo>
                  <a:pt x="6881367" y="531537"/>
                </a:moveTo>
                <a:lnTo>
                  <a:pt x="6910970" y="531537"/>
                </a:lnTo>
                <a:lnTo>
                  <a:pt x="6910970" y="561139"/>
                </a:lnTo>
                <a:lnTo>
                  <a:pt x="6881367" y="561139"/>
                </a:lnTo>
                <a:close/>
                <a:moveTo>
                  <a:pt x="1034520" y="531537"/>
                </a:moveTo>
                <a:lnTo>
                  <a:pt x="1064123" y="531537"/>
                </a:lnTo>
                <a:lnTo>
                  <a:pt x="1064123" y="561139"/>
                </a:lnTo>
                <a:lnTo>
                  <a:pt x="1034520" y="561139"/>
                </a:lnTo>
                <a:close/>
                <a:moveTo>
                  <a:pt x="6615170" y="531534"/>
                </a:moveTo>
                <a:lnTo>
                  <a:pt x="6644773" y="531534"/>
                </a:lnTo>
                <a:lnTo>
                  <a:pt x="6644773" y="561137"/>
                </a:lnTo>
                <a:lnTo>
                  <a:pt x="6615170" y="561137"/>
                </a:lnTo>
                <a:close/>
                <a:moveTo>
                  <a:pt x="768326" y="531534"/>
                </a:moveTo>
                <a:lnTo>
                  <a:pt x="797926" y="531534"/>
                </a:lnTo>
                <a:lnTo>
                  <a:pt x="797926" y="561137"/>
                </a:lnTo>
                <a:lnTo>
                  <a:pt x="768326" y="561137"/>
                </a:lnTo>
                <a:close/>
                <a:moveTo>
                  <a:pt x="6349081" y="531532"/>
                </a:moveTo>
                <a:lnTo>
                  <a:pt x="6378683" y="531532"/>
                </a:lnTo>
                <a:lnTo>
                  <a:pt x="6378683" y="561135"/>
                </a:lnTo>
                <a:lnTo>
                  <a:pt x="6349081" y="561135"/>
                </a:lnTo>
                <a:close/>
                <a:moveTo>
                  <a:pt x="502235" y="531532"/>
                </a:moveTo>
                <a:lnTo>
                  <a:pt x="531838" y="531532"/>
                </a:lnTo>
                <a:lnTo>
                  <a:pt x="531838" y="561135"/>
                </a:lnTo>
                <a:lnTo>
                  <a:pt x="502235" y="561135"/>
                </a:lnTo>
                <a:close/>
                <a:moveTo>
                  <a:pt x="6082884" y="531530"/>
                </a:moveTo>
                <a:lnTo>
                  <a:pt x="6112486" y="531530"/>
                </a:lnTo>
                <a:lnTo>
                  <a:pt x="6112486" y="561133"/>
                </a:lnTo>
                <a:lnTo>
                  <a:pt x="6082884" y="561133"/>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1672158" y="265811"/>
                </a:moveTo>
                <a:lnTo>
                  <a:pt x="11701760" y="265811"/>
                </a:lnTo>
                <a:lnTo>
                  <a:pt x="11701760" y="295414"/>
                </a:lnTo>
                <a:lnTo>
                  <a:pt x="11672158" y="295414"/>
                </a:lnTo>
                <a:close/>
                <a:moveTo>
                  <a:pt x="5825310" y="265811"/>
                </a:moveTo>
                <a:lnTo>
                  <a:pt x="5854913" y="265811"/>
                </a:lnTo>
                <a:lnTo>
                  <a:pt x="5854913" y="295414"/>
                </a:lnTo>
                <a:lnTo>
                  <a:pt x="5825310" y="295414"/>
                </a:lnTo>
                <a:close/>
                <a:moveTo>
                  <a:pt x="11405961" y="265809"/>
                </a:moveTo>
                <a:lnTo>
                  <a:pt x="11435563" y="265809"/>
                </a:lnTo>
                <a:lnTo>
                  <a:pt x="11435563" y="295412"/>
                </a:lnTo>
                <a:lnTo>
                  <a:pt x="11405961" y="295412"/>
                </a:lnTo>
                <a:close/>
                <a:moveTo>
                  <a:pt x="5559113" y="265809"/>
                </a:moveTo>
                <a:lnTo>
                  <a:pt x="5588715" y="265809"/>
                </a:lnTo>
                <a:lnTo>
                  <a:pt x="5588715" y="295412"/>
                </a:lnTo>
                <a:lnTo>
                  <a:pt x="5559113" y="295412"/>
                </a:lnTo>
                <a:close/>
                <a:moveTo>
                  <a:pt x="11139872" y="265807"/>
                </a:moveTo>
                <a:lnTo>
                  <a:pt x="11169474" y="265807"/>
                </a:lnTo>
                <a:lnTo>
                  <a:pt x="11169474" y="295409"/>
                </a:lnTo>
                <a:lnTo>
                  <a:pt x="11139872" y="295409"/>
                </a:lnTo>
                <a:close/>
                <a:moveTo>
                  <a:pt x="5293024" y="265807"/>
                </a:moveTo>
                <a:lnTo>
                  <a:pt x="5322626" y="265807"/>
                </a:lnTo>
                <a:lnTo>
                  <a:pt x="5322626" y="295409"/>
                </a:lnTo>
                <a:lnTo>
                  <a:pt x="5293024" y="295409"/>
                </a:lnTo>
                <a:close/>
                <a:moveTo>
                  <a:pt x="10873675" y="265805"/>
                </a:moveTo>
                <a:lnTo>
                  <a:pt x="10903277" y="265805"/>
                </a:lnTo>
                <a:lnTo>
                  <a:pt x="10903277" y="295407"/>
                </a:lnTo>
                <a:lnTo>
                  <a:pt x="10873675" y="295407"/>
                </a:lnTo>
                <a:close/>
                <a:moveTo>
                  <a:pt x="5026827" y="265805"/>
                </a:moveTo>
                <a:lnTo>
                  <a:pt x="5056429" y="265805"/>
                </a:lnTo>
                <a:lnTo>
                  <a:pt x="5056429" y="295407"/>
                </a:lnTo>
                <a:lnTo>
                  <a:pt x="5026827" y="295407"/>
                </a:lnTo>
                <a:close/>
                <a:moveTo>
                  <a:pt x="10607478" y="265803"/>
                </a:moveTo>
                <a:lnTo>
                  <a:pt x="10637188" y="265803"/>
                </a:lnTo>
                <a:lnTo>
                  <a:pt x="10637188" y="295405"/>
                </a:lnTo>
                <a:lnTo>
                  <a:pt x="10607478" y="295405"/>
                </a:lnTo>
                <a:close/>
                <a:moveTo>
                  <a:pt x="4760630" y="265803"/>
                </a:moveTo>
                <a:lnTo>
                  <a:pt x="4790340" y="265803"/>
                </a:lnTo>
                <a:lnTo>
                  <a:pt x="4790340" y="295405"/>
                </a:lnTo>
                <a:lnTo>
                  <a:pt x="4760630" y="295405"/>
                </a:lnTo>
                <a:close/>
                <a:moveTo>
                  <a:pt x="10341389" y="265800"/>
                </a:moveTo>
                <a:lnTo>
                  <a:pt x="10370992" y="265800"/>
                </a:lnTo>
                <a:lnTo>
                  <a:pt x="10370992" y="295403"/>
                </a:lnTo>
                <a:lnTo>
                  <a:pt x="10341389" y="295403"/>
                </a:lnTo>
                <a:close/>
                <a:moveTo>
                  <a:pt x="4494541" y="265800"/>
                </a:moveTo>
                <a:lnTo>
                  <a:pt x="4524144" y="265800"/>
                </a:lnTo>
                <a:lnTo>
                  <a:pt x="4524144" y="295403"/>
                </a:lnTo>
                <a:lnTo>
                  <a:pt x="4494541" y="295403"/>
                </a:lnTo>
                <a:close/>
                <a:moveTo>
                  <a:pt x="10075192" y="265798"/>
                </a:moveTo>
                <a:lnTo>
                  <a:pt x="10104794" y="265798"/>
                </a:lnTo>
                <a:lnTo>
                  <a:pt x="10104794" y="295401"/>
                </a:lnTo>
                <a:lnTo>
                  <a:pt x="10075192" y="295401"/>
                </a:lnTo>
                <a:close/>
                <a:moveTo>
                  <a:pt x="4228344" y="265798"/>
                </a:moveTo>
                <a:lnTo>
                  <a:pt x="4257946" y="265798"/>
                </a:lnTo>
                <a:lnTo>
                  <a:pt x="4257946" y="295401"/>
                </a:lnTo>
                <a:lnTo>
                  <a:pt x="4228344" y="295401"/>
                </a:lnTo>
                <a:close/>
                <a:moveTo>
                  <a:pt x="9809103" y="265796"/>
                </a:moveTo>
                <a:lnTo>
                  <a:pt x="9838705" y="265796"/>
                </a:lnTo>
                <a:lnTo>
                  <a:pt x="9838705" y="295398"/>
                </a:lnTo>
                <a:lnTo>
                  <a:pt x="9809103" y="295398"/>
                </a:lnTo>
                <a:close/>
                <a:moveTo>
                  <a:pt x="3962255" y="265796"/>
                </a:moveTo>
                <a:lnTo>
                  <a:pt x="3991857" y="265796"/>
                </a:lnTo>
                <a:lnTo>
                  <a:pt x="3991857" y="295398"/>
                </a:lnTo>
                <a:lnTo>
                  <a:pt x="3962255" y="295398"/>
                </a:lnTo>
                <a:close/>
                <a:moveTo>
                  <a:pt x="9542906" y="265794"/>
                </a:moveTo>
                <a:lnTo>
                  <a:pt x="9572509" y="265794"/>
                </a:lnTo>
                <a:lnTo>
                  <a:pt x="9572509" y="295396"/>
                </a:lnTo>
                <a:lnTo>
                  <a:pt x="9542906" y="295396"/>
                </a:lnTo>
                <a:close/>
                <a:moveTo>
                  <a:pt x="3696058" y="265794"/>
                </a:moveTo>
                <a:lnTo>
                  <a:pt x="3725661" y="265794"/>
                </a:lnTo>
                <a:lnTo>
                  <a:pt x="3725661" y="295396"/>
                </a:lnTo>
                <a:lnTo>
                  <a:pt x="3696058" y="295396"/>
                </a:lnTo>
                <a:close/>
                <a:moveTo>
                  <a:pt x="9276817" y="265792"/>
                </a:moveTo>
                <a:lnTo>
                  <a:pt x="9306420" y="265792"/>
                </a:lnTo>
                <a:lnTo>
                  <a:pt x="9306420" y="295394"/>
                </a:lnTo>
                <a:lnTo>
                  <a:pt x="9276817" y="295394"/>
                </a:lnTo>
                <a:close/>
                <a:moveTo>
                  <a:pt x="3429969" y="265792"/>
                </a:moveTo>
                <a:lnTo>
                  <a:pt x="3459572" y="265792"/>
                </a:lnTo>
                <a:lnTo>
                  <a:pt x="3459572" y="295394"/>
                </a:lnTo>
                <a:lnTo>
                  <a:pt x="3429969" y="295394"/>
                </a:lnTo>
                <a:close/>
                <a:moveTo>
                  <a:pt x="9010620" y="265789"/>
                </a:moveTo>
                <a:lnTo>
                  <a:pt x="9040222" y="265789"/>
                </a:lnTo>
                <a:lnTo>
                  <a:pt x="9040222" y="295392"/>
                </a:lnTo>
                <a:lnTo>
                  <a:pt x="9010620" y="295392"/>
                </a:lnTo>
                <a:close/>
                <a:moveTo>
                  <a:pt x="3163772" y="265789"/>
                </a:moveTo>
                <a:lnTo>
                  <a:pt x="3193374" y="265789"/>
                </a:lnTo>
                <a:lnTo>
                  <a:pt x="3193374" y="295392"/>
                </a:lnTo>
                <a:lnTo>
                  <a:pt x="3163772" y="295392"/>
                </a:lnTo>
                <a:close/>
                <a:moveTo>
                  <a:pt x="8744423" y="265787"/>
                </a:moveTo>
                <a:lnTo>
                  <a:pt x="8774026" y="265787"/>
                </a:lnTo>
                <a:lnTo>
                  <a:pt x="8774026" y="295390"/>
                </a:lnTo>
                <a:lnTo>
                  <a:pt x="8744423" y="295390"/>
                </a:lnTo>
                <a:close/>
                <a:moveTo>
                  <a:pt x="2897575" y="265787"/>
                </a:moveTo>
                <a:lnTo>
                  <a:pt x="2927178" y="265787"/>
                </a:lnTo>
                <a:lnTo>
                  <a:pt x="2927178" y="295390"/>
                </a:lnTo>
                <a:lnTo>
                  <a:pt x="2897575" y="295390"/>
                </a:lnTo>
                <a:close/>
                <a:moveTo>
                  <a:pt x="8478226" y="265785"/>
                </a:moveTo>
                <a:lnTo>
                  <a:pt x="8507828" y="265785"/>
                </a:lnTo>
                <a:lnTo>
                  <a:pt x="8507828" y="295387"/>
                </a:lnTo>
                <a:lnTo>
                  <a:pt x="8478226" y="295387"/>
                </a:lnTo>
                <a:close/>
                <a:moveTo>
                  <a:pt x="2631378" y="265785"/>
                </a:moveTo>
                <a:lnTo>
                  <a:pt x="2660980" y="265785"/>
                </a:lnTo>
                <a:lnTo>
                  <a:pt x="2660980" y="295387"/>
                </a:lnTo>
                <a:lnTo>
                  <a:pt x="2631378" y="295387"/>
                </a:lnTo>
                <a:close/>
                <a:moveTo>
                  <a:pt x="8212137" y="265783"/>
                </a:moveTo>
                <a:lnTo>
                  <a:pt x="8241740" y="265783"/>
                </a:lnTo>
                <a:lnTo>
                  <a:pt x="8241740" y="295385"/>
                </a:lnTo>
                <a:lnTo>
                  <a:pt x="8212137" y="295385"/>
                </a:lnTo>
                <a:close/>
                <a:moveTo>
                  <a:pt x="2365289" y="265783"/>
                </a:moveTo>
                <a:lnTo>
                  <a:pt x="2394892" y="265783"/>
                </a:lnTo>
                <a:lnTo>
                  <a:pt x="2394892" y="295385"/>
                </a:lnTo>
                <a:lnTo>
                  <a:pt x="2365289" y="295385"/>
                </a:lnTo>
                <a:close/>
                <a:moveTo>
                  <a:pt x="7945940" y="265781"/>
                </a:moveTo>
                <a:lnTo>
                  <a:pt x="7975543" y="265781"/>
                </a:lnTo>
                <a:lnTo>
                  <a:pt x="7975543" y="295383"/>
                </a:lnTo>
                <a:lnTo>
                  <a:pt x="7945940" y="295383"/>
                </a:lnTo>
                <a:close/>
                <a:moveTo>
                  <a:pt x="2099092" y="265781"/>
                </a:moveTo>
                <a:lnTo>
                  <a:pt x="2128695" y="265781"/>
                </a:lnTo>
                <a:lnTo>
                  <a:pt x="2128695" y="295383"/>
                </a:lnTo>
                <a:lnTo>
                  <a:pt x="2099092" y="295383"/>
                </a:lnTo>
                <a:close/>
                <a:moveTo>
                  <a:pt x="7679743" y="265778"/>
                </a:moveTo>
                <a:lnTo>
                  <a:pt x="7709346" y="265778"/>
                </a:lnTo>
                <a:lnTo>
                  <a:pt x="7709346" y="295381"/>
                </a:lnTo>
                <a:lnTo>
                  <a:pt x="7679743" y="295381"/>
                </a:lnTo>
                <a:close/>
                <a:moveTo>
                  <a:pt x="1832898" y="265778"/>
                </a:moveTo>
                <a:lnTo>
                  <a:pt x="1862498" y="265778"/>
                </a:lnTo>
                <a:lnTo>
                  <a:pt x="1862498" y="295381"/>
                </a:lnTo>
                <a:lnTo>
                  <a:pt x="1832898" y="295381"/>
                </a:lnTo>
                <a:close/>
                <a:moveTo>
                  <a:pt x="7413653" y="265776"/>
                </a:moveTo>
                <a:lnTo>
                  <a:pt x="7443256" y="265776"/>
                </a:lnTo>
                <a:lnTo>
                  <a:pt x="7443256" y="295379"/>
                </a:lnTo>
                <a:lnTo>
                  <a:pt x="7413653" y="295379"/>
                </a:lnTo>
                <a:close/>
                <a:moveTo>
                  <a:pt x="1566808" y="265776"/>
                </a:moveTo>
                <a:lnTo>
                  <a:pt x="1596409" y="265776"/>
                </a:lnTo>
                <a:lnTo>
                  <a:pt x="1596409" y="295379"/>
                </a:lnTo>
                <a:lnTo>
                  <a:pt x="1566808" y="295379"/>
                </a:lnTo>
                <a:close/>
                <a:moveTo>
                  <a:pt x="7147456" y="265774"/>
                </a:moveTo>
                <a:lnTo>
                  <a:pt x="7177058" y="265774"/>
                </a:lnTo>
                <a:lnTo>
                  <a:pt x="7177058" y="295376"/>
                </a:lnTo>
                <a:lnTo>
                  <a:pt x="7147456" y="295376"/>
                </a:lnTo>
                <a:close/>
                <a:moveTo>
                  <a:pt x="1300611" y="265774"/>
                </a:moveTo>
                <a:lnTo>
                  <a:pt x="1330213" y="265774"/>
                </a:lnTo>
                <a:lnTo>
                  <a:pt x="1330213" y="295376"/>
                </a:lnTo>
                <a:lnTo>
                  <a:pt x="1300611" y="295376"/>
                </a:lnTo>
                <a:close/>
                <a:moveTo>
                  <a:pt x="6881367" y="265772"/>
                </a:moveTo>
                <a:lnTo>
                  <a:pt x="6910970" y="265772"/>
                </a:lnTo>
                <a:lnTo>
                  <a:pt x="6910970" y="295374"/>
                </a:lnTo>
                <a:lnTo>
                  <a:pt x="6881367" y="295374"/>
                </a:lnTo>
                <a:close/>
                <a:moveTo>
                  <a:pt x="1034520" y="265772"/>
                </a:moveTo>
                <a:lnTo>
                  <a:pt x="1064123" y="265772"/>
                </a:lnTo>
                <a:lnTo>
                  <a:pt x="1064123" y="295374"/>
                </a:lnTo>
                <a:lnTo>
                  <a:pt x="1034520" y="295374"/>
                </a:lnTo>
                <a:close/>
                <a:moveTo>
                  <a:pt x="6615170" y="265770"/>
                </a:moveTo>
                <a:lnTo>
                  <a:pt x="6644773" y="265770"/>
                </a:lnTo>
                <a:lnTo>
                  <a:pt x="6644773" y="295372"/>
                </a:lnTo>
                <a:lnTo>
                  <a:pt x="6615170" y="295372"/>
                </a:lnTo>
                <a:close/>
                <a:moveTo>
                  <a:pt x="768326" y="265770"/>
                </a:moveTo>
                <a:lnTo>
                  <a:pt x="797926" y="265770"/>
                </a:lnTo>
                <a:lnTo>
                  <a:pt x="797926" y="295372"/>
                </a:lnTo>
                <a:lnTo>
                  <a:pt x="768326" y="295372"/>
                </a:lnTo>
                <a:close/>
                <a:moveTo>
                  <a:pt x="6349081" y="265767"/>
                </a:moveTo>
                <a:lnTo>
                  <a:pt x="6378683" y="265767"/>
                </a:lnTo>
                <a:lnTo>
                  <a:pt x="6378683" y="295370"/>
                </a:lnTo>
                <a:lnTo>
                  <a:pt x="6349081" y="295370"/>
                </a:lnTo>
                <a:close/>
                <a:moveTo>
                  <a:pt x="502235" y="265767"/>
                </a:moveTo>
                <a:lnTo>
                  <a:pt x="531838" y="265767"/>
                </a:lnTo>
                <a:lnTo>
                  <a:pt x="531838" y="295370"/>
                </a:lnTo>
                <a:lnTo>
                  <a:pt x="502235" y="295370"/>
                </a:lnTo>
                <a:close/>
                <a:moveTo>
                  <a:pt x="6082884" y="265765"/>
                </a:moveTo>
                <a:lnTo>
                  <a:pt x="6112486" y="265765"/>
                </a:lnTo>
                <a:lnTo>
                  <a:pt x="6112486" y="295368"/>
                </a:lnTo>
                <a:lnTo>
                  <a:pt x="6082884" y="295368"/>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1672158" y="48"/>
                </a:moveTo>
                <a:lnTo>
                  <a:pt x="11701760" y="48"/>
                </a:lnTo>
                <a:lnTo>
                  <a:pt x="11701760" y="29651"/>
                </a:lnTo>
                <a:lnTo>
                  <a:pt x="11672158" y="29651"/>
                </a:lnTo>
                <a:close/>
                <a:moveTo>
                  <a:pt x="5825310" y="48"/>
                </a:moveTo>
                <a:lnTo>
                  <a:pt x="5854913" y="48"/>
                </a:lnTo>
                <a:lnTo>
                  <a:pt x="5854913" y="29651"/>
                </a:lnTo>
                <a:lnTo>
                  <a:pt x="5825310" y="29651"/>
                </a:lnTo>
                <a:close/>
                <a:moveTo>
                  <a:pt x="11405961" y="46"/>
                </a:moveTo>
                <a:lnTo>
                  <a:pt x="11435563" y="46"/>
                </a:lnTo>
                <a:lnTo>
                  <a:pt x="11435563" y="29648"/>
                </a:lnTo>
                <a:lnTo>
                  <a:pt x="11405961" y="29648"/>
                </a:lnTo>
                <a:close/>
                <a:moveTo>
                  <a:pt x="5559113" y="46"/>
                </a:moveTo>
                <a:lnTo>
                  <a:pt x="5588715" y="46"/>
                </a:lnTo>
                <a:lnTo>
                  <a:pt x="5588715" y="29648"/>
                </a:lnTo>
                <a:lnTo>
                  <a:pt x="5559113" y="29648"/>
                </a:lnTo>
                <a:close/>
                <a:moveTo>
                  <a:pt x="11139872" y="44"/>
                </a:moveTo>
                <a:lnTo>
                  <a:pt x="11169474" y="44"/>
                </a:lnTo>
                <a:lnTo>
                  <a:pt x="11169474" y="29646"/>
                </a:lnTo>
                <a:lnTo>
                  <a:pt x="11139872" y="29646"/>
                </a:lnTo>
                <a:close/>
                <a:moveTo>
                  <a:pt x="5293024" y="44"/>
                </a:moveTo>
                <a:lnTo>
                  <a:pt x="5322626" y="44"/>
                </a:lnTo>
                <a:lnTo>
                  <a:pt x="5322626" y="29646"/>
                </a:lnTo>
                <a:lnTo>
                  <a:pt x="5293024" y="29646"/>
                </a:lnTo>
                <a:close/>
                <a:moveTo>
                  <a:pt x="10873675" y="41"/>
                </a:moveTo>
                <a:lnTo>
                  <a:pt x="10903277" y="41"/>
                </a:lnTo>
                <a:lnTo>
                  <a:pt x="10903277" y="29644"/>
                </a:lnTo>
                <a:lnTo>
                  <a:pt x="10873675" y="29644"/>
                </a:lnTo>
                <a:close/>
                <a:moveTo>
                  <a:pt x="5026827" y="41"/>
                </a:moveTo>
                <a:lnTo>
                  <a:pt x="5056429" y="41"/>
                </a:lnTo>
                <a:lnTo>
                  <a:pt x="5056429" y="29644"/>
                </a:lnTo>
                <a:lnTo>
                  <a:pt x="5026827" y="29644"/>
                </a:lnTo>
                <a:close/>
                <a:moveTo>
                  <a:pt x="10607478" y="39"/>
                </a:moveTo>
                <a:lnTo>
                  <a:pt x="10637188" y="39"/>
                </a:lnTo>
                <a:lnTo>
                  <a:pt x="10637188" y="29641"/>
                </a:lnTo>
                <a:lnTo>
                  <a:pt x="10607478" y="29641"/>
                </a:lnTo>
                <a:close/>
                <a:moveTo>
                  <a:pt x="4760630" y="39"/>
                </a:moveTo>
                <a:lnTo>
                  <a:pt x="4790340" y="39"/>
                </a:lnTo>
                <a:lnTo>
                  <a:pt x="4790340" y="29641"/>
                </a:lnTo>
                <a:lnTo>
                  <a:pt x="4760630" y="29641"/>
                </a:lnTo>
                <a:close/>
                <a:moveTo>
                  <a:pt x="10341389" y="37"/>
                </a:moveTo>
                <a:lnTo>
                  <a:pt x="10370992" y="37"/>
                </a:lnTo>
                <a:lnTo>
                  <a:pt x="10370992" y="29639"/>
                </a:lnTo>
                <a:lnTo>
                  <a:pt x="10341389" y="29639"/>
                </a:lnTo>
                <a:close/>
                <a:moveTo>
                  <a:pt x="4494541" y="37"/>
                </a:moveTo>
                <a:lnTo>
                  <a:pt x="4524144" y="37"/>
                </a:lnTo>
                <a:lnTo>
                  <a:pt x="4524144" y="29639"/>
                </a:lnTo>
                <a:lnTo>
                  <a:pt x="4494541" y="29639"/>
                </a:lnTo>
                <a:close/>
                <a:moveTo>
                  <a:pt x="10075192" y="34"/>
                </a:moveTo>
                <a:lnTo>
                  <a:pt x="10104794" y="34"/>
                </a:lnTo>
                <a:lnTo>
                  <a:pt x="10104794" y="29637"/>
                </a:lnTo>
                <a:lnTo>
                  <a:pt x="10075192" y="29637"/>
                </a:lnTo>
                <a:close/>
                <a:moveTo>
                  <a:pt x="4228344" y="34"/>
                </a:moveTo>
                <a:lnTo>
                  <a:pt x="4257946" y="34"/>
                </a:lnTo>
                <a:lnTo>
                  <a:pt x="4257946" y="29637"/>
                </a:lnTo>
                <a:lnTo>
                  <a:pt x="4228344" y="29637"/>
                </a:lnTo>
                <a:close/>
                <a:moveTo>
                  <a:pt x="9809103" y="32"/>
                </a:moveTo>
                <a:lnTo>
                  <a:pt x="9838705" y="32"/>
                </a:lnTo>
                <a:lnTo>
                  <a:pt x="9838705" y="29635"/>
                </a:lnTo>
                <a:lnTo>
                  <a:pt x="9809103" y="29635"/>
                </a:lnTo>
                <a:close/>
                <a:moveTo>
                  <a:pt x="3962255" y="32"/>
                </a:moveTo>
                <a:lnTo>
                  <a:pt x="3991857" y="32"/>
                </a:lnTo>
                <a:lnTo>
                  <a:pt x="3991857" y="29635"/>
                </a:lnTo>
                <a:lnTo>
                  <a:pt x="3962255" y="29635"/>
                </a:lnTo>
                <a:close/>
                <a:moveTo>
                  <a:pt x="9542906" y="30"/>
                </a:moveTo>
                <a:lnTo>
                  <a:pt x="9572509" y="30"/>
                </a:lnTo>
                <a:lnTo>
                  <a:pt x="9572509" y="29632"/>
                </a:lnTo>
                <a:lnTo>
                  <a:pt x="9542906" y="29632"/>
                </a:lnTo>
                <a:close/>
                <a:moveTo>
                  <a:pt x="3696058" y="30"/>
                </a:moveTo>
                <a:lnTo>
                  <a:pt x="3725661" y="30"/>
                </a:lnTo>
                <a:lnTo>
                  <a:pt x="3725661" y="29632"/>
                </a:lnTo>
                <a:lnTo>
                  <a:pt x="3696058" y="29632"/>
                </a:lnTo>
                <a:close/>
                <a:moveTo>
                  <a:pt x="9276817" y="28"/>
                </a:moveTo>
                <a:lnTo>
                  <a:pt x="9306420" y="28"/>
                </a:lnTo>
                <a:lnTo>
                  <a:pt x="9306420" y="29630"/>
                </a:lnTo>
                <a:lnTo>
                  <a:pt x="9276817" y="29630"/>
                </a:lnTo>
                <a:close/>
                <a:moveTo>
                  <a:pt x="3429969" y="28"/>
                </a:moveTo>
                <a:lnTo>
                  <a:pt x="3459572" y="28"/>
                </a:lnTo>
                <a:lnTo>
                  <a:pt x="3459572" y="29630"/>
                </a:lnTo>
                <a:lnTo>
                  <a:pt x="3429969" y="29630"/>
                </a:lnTo>
                <a:close/>
                <a:moveTo>
                  <a:pt x="9010620" y="25"/>
                </a:moveTo>
                <a:lnTo>
                  <a:pt x="9040222" y="25"/>
                </a:lnTo>
                <a:lnTo>
                  <a:pt x="9040222" y="29628"/>
                </a:lnTo>
                <a:lnTo>
                  <a:pt x="9010620" y="29628"/>
                </a:lnTo>
                <a:close/>
                <a:moveTo>
                  <a:pt x="3163772" y="25"/>
                </a:moveTo>
                <a:lnTo>
                  <a:pt x="3193374" y="25"/>
                </a:lnTo>
                <a:lnTo>
                  <a:pt x="3193374" y="29628"/>
                </a:lnTo>
                <a:lnTo>
                  <a:pt x="3163772" y="29628"/>
                </a:lnTo>
                <a:close/>
                <a:moveTo>
                  <a:pt x="8744423" y="23"/>
                </a:moveTo>
                <a:lnTo>
                  <a:pt x="8774026" y="23"/>
                </a:lnTo>
                <a:lnTo>
                  <a:pt x="8774026" y="29625"/>
                </a:lnTo>
                <a:lnTo>
                  <a:pt x="8744423" y="29625"/>
                </a:lnTo>
                <a:close/>
                <a:moveTo>
                  <a:pt x="2897575" y="23"/>
                </a:moveTo>
                <a:lnTo>
                  <a:pt x="2927178" y="23"/>
                </a:lnTo>
                <a:lnTo>
                  <a:pt x="2927178" y="29625"/>
                </a:lnTo>
                <a:lnTo>
                  <a:pt x="2897575" y="29625"/>
                </a:lnTo>
                <a:close/>
                <a:moveTo>
                  <a:pt x="8478226" y="21"/>
                </a:moveTo>
                <a:lnTo>
                  <a:pt x="8507828" y="21"/>
                </a:lnTo>
                <a:lnTo>
                  <a:pt x="8507828" y="29623"/>
                </a:lnTo>
                <a:lnTo>
                  <a:pt x="8478226" y="29623"/>
                </a:lnTo>
                <a:close/>
                <a:moveTo>
                  <a:pt x="2631378" y="21"/>
                </a:moveTo>
                <a:lnTo>
                  <a:pt x="2660980" y="21"/>
                </a:lnTo>
                <a:lnTo>
                  <a:pt x="2660980" y="29623"/>
                </a:lnTo>
                <a:lnTo>
                  <a:pt x="2631378" y="29623"/>
                </a:lnTo>
                <a:close/>
                <a:moveTo>
                  <a:pt x="8212137" y="18"/>
                </a:moveTo>
                <a:lnTo>
                  <a:pt x="8241740" y="18"/>
                </a:lnTo>
                <a:lnTo>
                  <a:pt x="8241740" y="29621"/>
                </a:lnTo>
                <a:lnTo>
                  <a:pt x="8212137" y="29621"/>
                </a:lnTo>
                <a:close/>
                <a:moveTo>
                  <a:pt x="2365289" y="18"/>
                </a:moveTo>
                <a:lnTo>
                  <a:pt x="2394892" y="18"/>
                </a:lnTo>
                <a:lnTo>
                  <a:pt x="2394892" y="29621"/>
                </a:lnTo>
                <a:lnTo>
                  <a:pt x="2365289" y="29621"/>
                </a:lnTo>
                <a:close/>
                <a:moveTo>
                  <a:pt x="7945940" y="16"/>
                </a:moveTo>
                <a:lnTo>
                  <a:pt x="7975543" y="16"/>
                </a:lnTo>
                <a:lnTo>
                  <a:pt x="7975543" y="29618"/>
                </a:lnTo>
                <a:lnTo>
                  <a:pt x="7945940" y="29618"/>
                </a:lnTo>
                <a:close/>
                <a:moveTo>
                  <a:pt x="2099092" y="16"/>
                </a:moveTo>
                <a:lnTo>
                  <a:pt x="2128695" y="16"/>
                </a:lnTo>
                <a:lnTo>
                  <a:pt x="2128695" y="29618"/>
                </a:lnTo>
                <a:lnTo>
                  <a:pt x="2099092" y="29618"/>
                </a:lnTo>
                <a:close/>
                <a:moveTo>
                  <a:pt x="7679743" y="14"/>
                </a:moveTo>
                <a:lnTo>
                  <a:pt x="7709346" y="14"/>
                </a:lnTo>
                <a:lnTo>
                  <a:pt x="7709346" y="29616"/>
                </a:lnTo>
                <a:lnTo>
                  <a:pt x="7679743" y="29616"/>
                </a:lnTo>
                <a:close/>
                <a:moveTo>
                  <a:pt x="1832898" y="14"/>
                </a:moveTo>
                <a:lnTo>
                  <a:pt x="1862498" y="14"/>
                </a:lnTo>
                <a:lnTo>
                  <a:pt x="1862498" y="29616"/>
                </a:lnTo>
                <a:lnTo>
                  <a:pt x="1832898" y="29616"/>
                </a:lnTo>
                <a:close/>
                <a:moveTo>
                  <a:pt x="7413653" y="12"/>
                </a:moveTo>
                <a:lnTo>
                  <a:pt x="7443256" y="12"/>
                </a:lnTo>
                <a:lnTo>
                  <a:pt x="7443256" y="29614"/>
                </a:lnTo>
                <a:lnTo>
                  <a:pt x="7413653" y="29614"/>
                </a:lnTo>
                <a:close/>
                <a:moveTo>
                  <a:pt x="1566808" y="12"/>
                </a:moveTo>
                <a:lnTo>
                  <a:pt x="1596409" y="12"/>
                </a:lnTo>
                <a:lnTo>
                  <a:pt x="1596409" y="29614"/>
                </a:lnTo>
                <a:lnTo>
                  <a:pt x="1566808" y="29614"/>
                </a:lnTo>
                <a:close/>
                <a:moveTo>
                  <a:pt x="7147456" y="9"/>
                </a:moveTo>
                <a:lnTo>
                  <a:pt x="7177058" y="9"/>
                </a:lnTo>
                <a:lnTo>
                  <a:pt x="7177058" y="29612"/>
                </a:lnTo>
                <a:lnTo>
                  <a:pt x="7147456" y="29612"/>
                </a:lnTo>
                <a:close/>
                <a:moveTo>
                  <a:pt x="1300611" y="9"/>
                </a:moveTo>
                <a:lnTo>
                  <a:pt x="1330213" y="9"/>
                </a:lnTo>
                <a:lnTo>
                  <a:pt x="1330213" y="29612"/>
                </a:lnTo>
                <a:lnTo>
                  <a:pt x="1300611" y="29612"/>
                </a:lnTo>
                <a:close/>
                <a:moveTo>
                  <a:pt x="6881367" y="7"/>
                </a:moveTo>
                <a:lnTo>
                  <a:pt x="6910970" y="7"/>
                </a:lnTo>
                <a:lnTo>
                  <a:pt x="6910970" y="29609"/>
                </a:lnTo>
                <a:lnTo>
                  <a:pt x="6881367" y="29609"/>
                </a:lnTo>
                <a:close/>
                <a:moveTo>
                  <a:pt x="1034520" y="7"/>
                </a:moveTo>
                <a:lnTo>
                  <a:pt x="1064123" y="7"/>
                </a:lnTo>
                <a:lnTo>
                  <a:pt x="1064123" y="29609"/>
                </a:lnTo>
                <a:lnTo>
                  <a:pt x="1034520" y="29609"/>
                </a:lnTo>
                <a:close/>
                <a:moveTo>
                  <a:pt x="6615170" y="5"/>
                </a:moveTo>
                <a:lnTo>
                  <a:pt x="6644773" y="5"/>
                </a:lnTo>
                <a:lnTo>
                  <a:pt x="6644773" y="29607"/>
                </a:lnTo>
                <a:lnTo>
                  <a:pt x="6615170" y="29607"/>
                </a:lnTo>
                <a:close/>
                <a:moveTo>
                  <a:pt x="768326" y="5"/>
                </a:moveTo>
                <a:lnTo>
                  <a:pt x="797926" y="5"/>
                </a:lnTo>
                <a:lnTo>
                  <a:pt x="797926" y="29607"/>
                </a:lnTo>
                <a:lnTo>
                  <a:pt x="768326" y="29607"/>
                </a:lnTo>
                <a:close/>
                <a:moveTo>
                  <a:pt x="6349081" y="2"/>
                </a:moveTo>
                <a:lnTo>
                  <a:pt x="6378683" y="2"/>
                </a:lnTo>
                <a:lnTo>
                  <a:pt x="6378683" y="29605"/>
                </a:lnTo>
                <a:lnTo>
                  <a:pt x="6349081" y="29605"/>
                </a:lnTo>
                <a:close/>
                <a:moveTo>
                  <a:pt x="502235" y="2"/>
                </a:moveTo>
                <a:lnTo>
                  <a:pt x="531838" y="2"/>
                </a:lnTo>
                <a:lnTo>
                  <a:pt x="531838" y="29605"/>
                </a:lnTo>
                <a:lnTo>
                  <a:pt x="502235" y="29605"/>
                </a:lnTo>
                <a:close/>
                <a:moveTo>
                  <a:pt x="6082884" y="0"/>
                </a:moveTo>
                <a:lnTo>
                  <a:pt x="6112486" y="0"/>
                </a:lnTo>
                <a:lnTo>
                  <a:pt x="6112486" y="29602"/>
                </a:lnTo>
                <a:lnTo>
                  <a:pt x="6082884" y="29602"/>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tx1">
              <a:alpha val="20000"/>
            </a:schemeClr>
          </a:solidFill>
          <a:ln w="10797" cap="flat">
            <a:noFill/>
            <a:prstDash val="solid"/>
            <a:miter/>
          </a:ln>
        </p:spPr>
        <p:txBody>
          <a:bodyPr rtlCol="0" anchor="ctr"/>
          <a:lstStyle/>
          <a:p>
            <a:endParaRPr lang="en-US"/>
          </a:p>
        </p:txBody>
      </p:sp>
      <p:sp>
        <p:nvSpPr>
          <p:cNvPr id="44" name="Rectangle 43">
            <a:extLst>
              <a:ext uri="{FF2B5EF4-FFF2-40B4-BE49-F238E27FC236}">
                <a16:creationId xmlns:a16="http://schemas.microsoft.com/office/drawing/2014/main" id="{A8E10246-5221-4B62-8FAF-B31A6B93FAA9}"/>
              </a:ext>
            </a:extLst>
          </p:cNvPr>
          <p:cNvSpPr/>
          <p:nvPr userDrawn="1"/>
        </p:nvSpPr>
        <p:spPr>
          <a:xfrm rot="5400000">
            <a:off x="1301606" y="5034089"/>
            <a:ext cx="703530" cy="2636858"/>
          </a:xfrm>
          <a:prstGeom prst="rect">
            <a:avLst/>
          </a:prstGeom>
          <a:solidFill>
            <a:srgbClr val="DFE3E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GB" sz="1400" b="0" i="0" err="1">
              <a:latin typeface="Arial"/>
              <a:cs typeface="Arial"/>
            </a:endParaRPr>
          </a:p>
        </p:txBody>
      </p:sp>
      <p:sp>
        <p:nvSpPr>
          <p:cNvPr id="24" name="Text Placeholder 7">
            <a:extLst>
              <a:ext uri="{FF2B5EF4-FFF2-40B4-BE49-F238E27FC236}">
                <a16:creationId xmlns:a16="http://schemas.microsoft.com/office/drawing/2014/main" id="{2E77F839-1906-4B62-993E-E3534B67AD9B}"/>
              </a:ext>
            </a:extLst>
          </p:cNvPr>
          <p:cNvSpPr>
            <a:spLocks noGrp="1"/>
          </p:cNvSpPr>
          <p:nvPr userDrawn="1">
            <p:ph type="body" sz="quarter" idx="13" hasCustomPrompt="1"/>
          </p:nvPr>
        </p:nvSpPr>
        <p:spPr>
          <a:xfrm>
            <a:off x="382972" y="330897"/>
            <a:ext cx="3712777" cy="557212"/>
          </a:xfrm>
        </p:spPr>
        <p:txBody>
          <a:bodyPr/>
          <a:lstStyle>
            <a:lvl1pPr>
              <a:spcBef>
                <a:spcPts val="0"/>
              </a:spcBef>
              <a:defRPr sz="900">
                <a:solidFill>
                  <a:schemeClr val="tx2"/>
                </a:solidFill>
              </a:defRPr>
            </a:lvl1pPr>
            <a:lvl2pPr marL="112713" indent="-112713">
              <a:spcBef>
                <a:spcPts val="0"/>
              </a:spcBef>
              <a:buClr>
                <a:schemeClr val="tx2"/>
              </a:buClr>
              <a:defRPr sz="900">
                <a:solidFill>
                  <a:schemeClr val="tx1"/>
                </a:solidFill>
              </a:defRPr>
            </a:lvl2pPr>
            <a:lvl3pPr marL="225425" indent="-112713">
              <a:spcBef>
                <a:spcPts val="0"/>
              </a:spcBef>
              <a:buClr>
                <a:schemeClr val="tx2"/>
              </a:buClr>
              <a:defRPr sz="900">
                <a:solidFill>
                  <a:schemeClr val="tx1"/>
                </a:solidFill>
              </a:defRPr>
            </a:lvl3pPr>
            <a:lvl4pPr marL="339725" indent="-114300">
              <a:spcBef>
                <a:spcPts val="0"/>
              </a:spcBef>
              <a:buClr>
                <a:schemeClr val="tx2"/>
              </a:buClr>
              <a:defRPr sz="900"/>
            </a:lvl4pPr>
            <a:lvl5pPr marL="460375" indent="-120650">
              <a:spcBef>
                <a:spcPts val="0"/>
              </a:spcBef>
              <a:buClr>
                <a:schemeClr val="tx2"/>
              </a:buClr>
              <a:tabLst/>
              <a:defRPr sz="900"/>
            </a:lvl5pPr>
          </a:lstStyle>
          <a:p>
            <a:pPr lvl="0"/>
            <a:r>
              <a:rPr lang="en-US"/>
              <a:t>Insert Date Here</a:t>
            </a:r>
          </a:p>
          <a:p>
            <a:pPr lvl="0"/>
            <a:endParaRPr lang="en-US"/>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descr="A close up of a sign&#10;&#10;Description automatically generated">
            <a:extLst>
              <a:ext uri="{FF2B5EF4-FFF2-40B4-BE49-F238E27FC236}">
                <a16:creationId xmlns:a16="http://schemas.microsoft.com/office/drawing/2014/main" id="{F9271E5E-DB33-4CAF-8A70-DD6F64B876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212" y="6081015"/>
            <a:ext cx="2448162" cy="560909"/>
          </a:xfrm>
          <a:prstGeom prst="rect">
            <a:avLst/>
          </a:prstGeom>
        </p:spPr>
      </p:pic>
      <p:grpSp>
        <p:nvGrpSpPr>
          <p:cNvPr id="146" name="Group 145">
            <a:extLst>
              <a:ext uri="{FF2B5EF4-FFF2-40B4-BE49-F238E27FC236}">
                <a16:creationId xmlns:a16="http://schemas.microsoft.com/office/drawing/2014/main" id="{ABC9B9D2-2893-4A7D-B069-73C0BF967000}"/>
              </a:ext>
            </a:extLst>
          </p:cNvPr>
          <p:cNvGrpSpPr/>
          <p:nvPr userDrawn="1"/>
        </p:nvGrpSpPr>
        <p:grpSpPr>
          <a:xfrm>
            <a:off x="6085991" y="0"/>
            <a:ext cx="6102834" cy="6860999"/>
            <a:chOff x="7712625" y="0"/>
            <a:chExt cx="6102834" cy="6860999"/>
          </a:xfrm>
          <a:solidFill>
            <a:schemeClr val="bg1"/>
          </a:solidFill>
        </p:grpSpPr>
        <p:sp>
          <p:nvSpPr>
            <p:cNvPr id="147" name="Text Placeholder 46">
              <a:extLst>
                <a:ext uri="{FF2B5EF4-FFF2-40B4-BE49-F238E27FC236}">
                  <a16:creationId xmlns:a16="http://schemas.microsoft.com/office/drawing/2014/main" id="{257E82BD-A0A5-4FB4-B3EA-74D36354E1F3}"/>
                </a:ext>
              </a:extLst>
            </p:cNvPr>
            <p:cNvSpPr txBox="1">
              <a:spLocks/>
            </p:cNvSpPr>
            <p:nvPr/>
          </p:nvSpPr>
          <p:spPr>
            <a:xfrm>
              <a:off x="9043800" y="3"/>
              <a:ext cx="1059710" cy="1030447"/>
            </a:xfrm>
            <a:custGeom>
              <a:avLst/>
              <a:gdLst>
                <a:gd name="connsiteX0" fmla="*/ 0 w 1059710"/>
                <a:gd name="connsiteY0" fmla="*/ 0 h 1030447"/>
                <a:gd name="connsiteX1" fmla="*/ 530730 w 1059710"/>
                <a:gd name="connsiteY1" fmla="*/ 0 h 1030447"/>
                <a:gd name="connsiteX2" fmla="*/ 538263 w 1059710"/>
                <a:gd name="connsiteY2" fmla="*/ 74726 h 1030447"/>
                <a:gd name="connsiteX3" fmla="*/ 1059710 w 1059710"/>
                <a:gd name="connsiteY3" fmla="*/ 499718 h 1030447"/>
                <a:gd name="connsiteX4" fmla="*/ 1059710 w 1059710"/>
                <a:gd name="connsiteY4" fmla="*/ 1030447 h 1030447"/>
                <a:gd name="connsiteX5" fmla="*/ 18316 w 1059710"/>
                <a:gd name="connsiteY5" fmla="*/ 181687 h 103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9710" h="1030447">
                  <a:moveTo>
                    <a:pt x="0" y="0"/>
                  </a:moveTo>
                  <a:lnTo>
                    <a:pt x="530730" y="0"/>
                  </a:lnTo>
                  <a:lnTo>
                    <a:pt x="538263" y="74726"/>
                  </a:lnTo>
                  <a:cubicBezTo>
                    <a:pt x="587894" y="317268"/>
                    <a:pt x="802496" y="499718"/>
                    <a:pt x="1059710" y="499718"/>
                  </a:cubicBezTo>
                  <a:lnTo>
                    <a:pt x="1059710" y="1030447"/>
                  </a:lnTo>
                  <a:cubicBezTo>
                    <a:pt x="546021" y="1030447"/>
                    <a:pt x="117435" y="666073"/>
                    <a:pt x="18316" y="181687"/>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48" name="Text Placeholder 49">
              <a:extLst>
                <a:ext uri="{FF2B5EF4-FFF2-40B4-BE49-F238E27FC236}">
                  <a16:creationId xmlns:a16="http://schemas.microsoft.com/office/drawing/2014/main" id="{FB2EAA38-8EDA-4537-AFB7-1837E6B69A63}"/>
                </a:ext>
              </a:extLst>
            </p:cNvPr>
            <p:cNvSpPr txBox="1">
              <a:spLocks/>
            </p:cNvSpPr>
            <p:nvPr/>
          </p:nvSpPr>
          <p:spPr>
            <a:xfrm>
              <a:off x="7721045" y="1551001"/>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49" name="Freeform: Shape 71">
              <a:extLst>
                <a:ext uri="{FF2B5EF4-FFF2-40B4-BE49-F238E27FC236}">
                  <a16:creationId xmlns:a16="http://schemas.microsoft.com/office/drawing/2014/main" id="{704DBD7D-F47A-4844-B2D2-A454884ADC66}"/>
                </a:ext>
              </a:extLst>
            </p:cNvPr>
            <p:cNvSpPr txBox="1">
              <a:spLocks/>
            </p:cNvSpPr>
            <p:nvPr/>
          </p:nvSpPr>
          <p:spPr>
            <a:xfrm>
              <a:off x="10906489" y="1"/>
              <a:ext cx="530877" cy="1010939"/>
            </a:xfrm>
            <a:custGeom>
              <a:avLst/>
              <a:gdLst>
                <a:gd name="connsiteX0" fmla="*/ 0 w 530877"/>
                <a:gd name="connsiteY0" fmla="*/ 0 h 1010939"/>
                <a:gd name="connsiteX1" fmla="*/ 530877 w 530877"/>
                <a:gd name="connsiteY1" fmla="*/ 0 h 1010939"/>
                <a:gd name="connsiteX2" fmla="*/ 530877 w 530877"/>
                <a:gd name="connsiteY2" fmla="*/ 1010939 h 1010939"/>
                <a:gd name="connsiteX3" fmla="*/ 0 w 530877"/>
                <a:gd name="connsiteY3" fmla="*/ 1010939 h 1010939"/>
              </a:gdLst>
              <a:ahLst/>
              <a:cxnLst>
                <a:cxn ang="0">
                  <a:pos x="connsiteX0" y="connsiteY0"/>
                </a:cxn>
                <a:cxn ang="0">
                  <a:pos x="connsiteX1" y="connsiteY1"/>
                </a:cxn>
                <a:cxn ang="0">
                  <a:pos x="connsiteX2" y="connsiteY2"/>
                </a:cxn>
                <a:cxn ang="0">
                  <a:pos x="connsiteX3" y="connsiteY3"/>
                </a:cxn>
              </a:cxnLst>
              <a:rect l="l" t="t" r="r" b="b"/>
              <a:pathLst>
                <a:path w="530877" h="1010939">
                  <a:moveTo>
                    <a:pt x="0" y="0"/>
                  </a:moveTo>
                  <a:lnTo>
                    <a:pt x="530877" y="0"/>
                  </a:lnTo>
                  <a:lnTo>
                    <a:pt x="530877" y="1010939"/>
                  </a:lnTo>
                  <a:lnTo>
                    <a:pt x="0" y="1010939"/>
                  </a:lnTo>
                  <a:close/>
                </a:path>
              </a:pathLst>
            </a:custGeom>
            <a:solidFill>
              <a:schemeClr val="accent1"/>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0" name="Freeform: Shape 72">
              <a:extLst>
                <a:ext uri="{FF2B5EF4-FFF2-40B4-BE49-F238E27FC236}">
                  <a16:creationId xmlns:a16="http://schemas.microsoft.com/office/drawing/2014/main" id="{A1E36768-181C-4287-BCD7-8F7E05988C53}"/>
                </a:ext>
              </a:extLst>
            </p:cNvPr>
            <p:cNvSpPr txBox="1">
              <a:spLocks/>
            </p:cNvSpPr>
            <p:nvPr/>
          </p:nvSpPr>
          <p:spPr>
            <a:xfrm>
              <a:off x="12218834" y="0"/>
              <a:ext cx="1596624" cy="1030511"/>
            </a:xfrm>
            <a:custGeom>
              <a:avLst/>
              <a:gdLst>
                <a:gd name="connsiteX0" fmla="*/ 0 w 1596624"/>
                <a:gd name="connsiteY0" fmla="*/ 0 h 1030511"/>
                <a:gd name="connsiteX1" fmla="*/ 530728 w 1596624"/>
                <a:gd name="connsiteY1" fmla="*/ 0 h 1030511"/>
                <a:gd name="connsiteX2" fmla="*/ 538268 w 1596624"/>
                <a:gd name="connsiteY2" fmla="*/ 74789 h 1030511"/>
                <a:gd name="connsiteX3" fmla="*/ 1059716 w 1596624"/>
                <a:gd name="connsiteY3" fmla="*/ 499781 h 1030511"/>
                <a:gd name="connsiteX4" fmla="*/ 1581162 w 1596624"/>
                <a:gd name="connsiteY4" fmla="*/ 74789 h 1030511"/>
                <a:gd name="connsiteX5" fmla="*/ 1588702 w 1596624"/>
                <a:gd name="connsiteY5" fmla="*/ 0 h 1030511"/>
                <a:gd name="connsiteX6" fmla="*/ 1596624 w 1596624"/>
                <a:gd name="connsiteY6" fmla="*/ 0 h 1030511"/>
                <a:gd name="connsiteX7" fmla="*/ 1596624 w 1596624"/>
                <a:gd name="connsiteY7" fmla="*/ 880135 h 1030511"/>
                <a:gd name="connsiteX8" fmla="*/ 1473479 w 1596624"/>
                <a:gd name="connsiteY8" fmla="*/ 946976 h 1030511"/>
                <a:gd name="connsiteX9" fmla="*/ 1059716 w 1596624"/>
                <a:gd name="connsiteY9" fmla="*/ 1030511 h 1030511"/>
                <a:gd name="connsiteX10" fmla="*/ 18322 w 1596624"/>
                <a:gd name="connsiteY10" fmla="*/ 181750 h 103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6624" h="1030511">
                  <a:moveTo>
                    <a:pt x="0" y="0"/>
                  </a:moveTo>
                  <a:lnTo>
                    <a:pt x="530728" y="0"/>
                  </a:lnTo>
                  <a:lnTo>
                    <a:pt x="538268" y="74789"/>
                  </a:lnTo>
                  <a:cubicBezTo>
                    <a:pt x="587899" y="317331"/>
                    <a:pt x="802501" y="499781"/>
                    <a:pt x="1059716" y="499781"/>
                  </a:cubicBezTo>
                  <a:cubicBezTo>
                    <a:pt x="1316929" y="499781"/>
                    <a:pt x="1531531" y="317331"/>
                    <a:pt x="1581162" y="74789"/>
                  </a:cubicBezTo>
                  <a:lnTo>
                    <a:pt x="1588702" y="0"/>
                  </a:lnTo>
                  <a:lnTo>
                    <a:pt x="1596624" y="0"/>
                  </a:lnTo>
                  <a:lnTo>
                    <a:pt x="1596624" y="880135"/>
                  </a:lnTo>
                  <a:lnTo>
                    <a:pt x="1473479" y="946976"/>
                  </a:lnTo>
                  <a:cubicBezTo>
                    <a:pt x="1346305" y="1000766"/>
                    <a:pt x="1206484" y="1030511"/>
                    <a:pt x="1059716" y="1030511"/>
                  </a:cubicBezTo>
                  <a:cubicBezTo>
                    <a:pt x="546026" y="1030511"/>
                    <a:pt x="117442" y="666137"/>
                    <a:pt x="18322" y="18175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1" name="Text Placeholder 64">
              <a:extLst>
                <a:ext uri="{FF2B5EF4-FFF2-40B4-BE49-F238E27FC236}">
                  <a16:creationId xmlns:a16="http://schemas.microsoft.com/office/drawing/2014/main" id="{214D0A95-ECC1-4E5E-A009-85CA15413A62}"/>
                </a:ext>
              </a:extLst>
            </p:cNvPr>
            <p:cNvSpPr txBox="1">
              <a:spLocks/>
            </p:cNvSpPr>
            <p:nvPr/>
          </p:nvSpPr>
          <p:spPr>
            <a:xfrm>
              <a:off x="9305269" y="1545516"/>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2" name="Text Placeholder 70">
              <a:extLst>
                <a:ext uri="{FF2B5EF4-FFF2-40B4-BE49-F238E27FC236}">
                  <a16:creationId xmlns:a16="http://schemas.microsoft.com/office/drawing/2014/main" id="{3180A081-2B64-482F-9313-6DECE598CB78}"/>
                </a:ext>
              </a:extLst>
            </p:cNvPr>
            <p:cNvSpPr txBox="1">
              <a:spLocks/>
            </p:cNvSpPr>
            <p:nvPr/>
          </p:nvSpPr>
          <p:spPr>
            <a:xfrm>
              <a:off x="13284581" y="1564235"/>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3" name="Text Placeholder 73">
              <a:extLst>
                <a:ext uri="{FF2B5EF4-FFF2-40B4-BE49-F238E27FC236}">
                  <a16:creationId xmlns:a16="http://schemas.microsoft.com/office/drawing/2014/main" id="{81B0186E-019E-45A6-A80C-F7D23CCB6D9B}"/>
                </a:ext>
              </a:extLst>
            </p:cNvPr>
            <p:cNvSpPr txBox="1">
              <a:spLocks/>
            </p:cNvSpPr>
            <p:nvPr/>
          </p:nvSpPr>
          <p:spPr>
            <a:xfrm>
              <a:off x="13284582" y="4225925"/>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4" name="Text Placeholder 76">
              <a:extLst>
                <a:ext uri="{FF2B5EF4-FFF2-40B4-BE49-F238E27FC236}">
                  <a16:creationId xmlns:a16="http://schemas.microsoft.com/office/drawing/2014/main" id="{B21FD8A7-3762-472E-BA9B-8A572D14C2A4}"/>
                </a:ext>
              </a:extLst>
            </p:cNvPr>
            <p:cNvSpPr txBox="1">
              <a:spLocks/>
            </p:cNvSpPr>
            <p:nvPr/>
          </p:nvSpPr>
          <p:spPr>
            <a:xfrm>
              <a:off x="11170855" y="6330122"/>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5" name="Text Placeholder 79">
              <a:extLst>
                <a:ext uri="{FF2B5EF4-FFF2-40B4-BE49-F238E27FC236}">
                  <a16:creationId xmlns:a16="http://schemas.microsoft.com/office/drawing/2014/main" id="{4C3E19FE-E848-48B7-8BFE-53F8683F9C71}"/>
                </a:ext>
              </a:extLst>
            </p:cNvPr>
            <p:cNvSpPr txBox="1">
              <a:spLocks/>
            </p:cNvSpPr>
            <p:nvPr/>
          </p:nvSpPr>
          <p:spPr>
            <a:xfrm>
              <a:off x="11955082" y="5160862"/>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6" name="Text Placeholder 81">
              <a:extLst>
                <a:ext uri="{FF2B5EF4-FFF2-40B4-BE49-F238E27FC236}">
                  <a16:creationId xmlns:a16="http://schemas.microsoft.com/office/drawing/2014/main" id="{48E6F19E-3ABD-480F-B71A-469C4837732B}"/>
                </a:ext>
              </a:extLst>
            </p:cNvPr>
            <p:cNvSpPr txBox="1">
              <a:spLocks/>
            </p:cNvSpPr>
            <p:nvPr/>
          </p:nvSpPr>
          <p:spPr>
            <a:xfrm>
              <a:off x="9587145" y="2890470"/>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7" name="Text Placeholder 83">
              <a:extLst>
                <a:ext uri="{FF2B5EF4-FFF2-40B4-BE49-F238E27FC236}">
                  <a16:creationId xmlns:a16="http://schemas.microsoft.com/office/drawing/2014/main" id="{793B8924-740A-4A64-B68A-BB8B00E5BFAF}"/>
                </a:ext>
              </a:extLst>
            </p:cNvPr>
            <p:cNvSpPr txBox="1">
              <a:spLocks/>
            </p:cNvSpPr>
            <p:nvPr/>
          </p:nvSpPr>
          <p:spPr>
            <a:xfrm flipV="1">
              <a:off x="10642478" y="3160396"/>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8" name="Text Placeholder 84">
              <a:extLst>
                <a:ext uri="{FF2B5EF4-FFF2-40B4-BE49-F238E27FC236}">
                  <a16:creationId xmlns:a16="http://schemas.microsoft.com/office/drawing/2014/main" id="{DFE189F0-FC48-41CE-A6C5-AB8F80A9CAAA}"/>
                </a:ext>
              </a:extLst>
            </p:cNvPr>
            <p:cNvSpPr txBox="1">
              <a:spLocks/>
            </p:cNvSpPr>
            <p:nvPr/>
          </p:nvSpPr>
          <p:spPr>
            <a:xfrm rot="5400000" flipV="1">
              <a:off x="7198845" y="3427722"/>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9" name="Freeform: Shape 81">
              <a:extLst>
                <a:ext uri="{FF2B5EF4-FFF2-40B4-BE49-F238E27FC236}">
                  <a16:creationId xmlns:a16="http://schemas.microsoft.com/office/drawing/2014/main" id="{672C214A-08DE-4B66-8172-BB3D9DE757F9}"/>
                </a:ext>
              </a:extLst>
            </p:cNvPr>
            <p:cNvSpPr txBox="1">
              <a:spLocks/>
            </p:cNvSpPr>
            <p:nvPr/>
          </p:nvSpPr>
          <p:spPr>
            <a:xfrm>
              <a:off x="7712625" y="5822950"/>
              <a:ext cx="530877" cy="1035050"/>
            </a:xfrm>
            <a:custGeom>
              <a:avLst/>
              <a:gdLst>
                <a:gd name="connsiteX0" fmla="*/ 0 w 530877"/>
                <a:gd name="connsiteY0" fmla="*/ 0 h 1035050"/>
                <a:gd name="connsiteX1" fmla="*/ 530877 w 530877"/>
                <a:gd name="connsiteY1" fmla="*/ 0 h 1035050"/>
                <a:gd name="connsiteX2" fmla="*/ 530877 w 530877"/>
                <a:gd name="connsiteY2" fmla="*/ 1035050 h 1035050"/>
                <a:gd name="connsiteX3" fmla="*/ 0 w 530877"/>
                <a:gd name="connsiteY3" fmla="*/ 1035050 h 1035050"/>
              </a:gdLst>
              <a:ahLst/>
              <a:cxnLst>
                <a:cxn ang="0">
                  <a:pos x="connsiteX0" y="connsiteY0"/>
                </a:cxn>
                <a:cxn ang="0">
                  <a:pos x="connsiteX1" y="connsiteY1"/>
                </a:cxn>
                <a:cxn ang="0">
                  <a:pos x="connsiteX2" y="connsiteY2"/>
                </a:cxn>
                <a:cxn ang="0">
                  <a:pos x="connsiteX3" y="connsiteY3"/>
                </a:cxn>
              </a:cxnLst>
              <a:rect l="l" t="t" r="r" b="b"/>
              <a:pathLst>
                <a:path w="530877" h="1035050">
                  <a:moveTo>
                    <a:pt x="0" y="0"/>
                  </a:moveTo>
                  <a:lnTo>
                    <a:pt x="530877" y="0"/>
                  </a:lnTo>
                  <a:lnTo>
                    <a:pt x="530877" y="1035050"/>
                  </a:lnTo>
                  <a:lnTo>
                    <a:pt x="0" y="1035050"/>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0" name="Text Placeholder 83">
              <a:extLst>
                <a:ext uri="{FF2B5EF4-FFF2-40B4-BE49-F238E27FC236}">
                  <a16:creationId xmlns:a16="http://schemas.microsoft.com/office/drawing/2014/main" id="{3ADD7C25-404E-4118-A90A-7663B9C93662}"/>
                </a:ext>
              </a:extLst>
            </p:cNvPr>
            <p:cNvSpPr txBox="1">
              <a:spLocks/>
            </p:cNvSpPr>
            <p:nvPr/>
          </p:nvSpPr>
          <p:spPr>
            <a:xfrm rot="10800000" flipV="1">
              <a:off x="8793203" y="5277700"/>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accent1"/>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1" name="Freeform: Shape 83">
              <a:extLst>
                <a:ext uri="{FF2B5EF4-FFF2-40B4-BE49-F238E27FC236}">
                  <a16:creationId xmlns:a16="http://schemas.microsoft.com/office/drawing/2014/main" id="{6952A224-84AC-44CA-81A2-E9D52FF5CC3F}"/>
                </a:ext>
              </a:extLst>
            </p:cNvPr>
            <p:cNvSpPr txBox="1">
              <a:spLocks/>
            </p:cNvSpPr>
            <p:nvPr/>
          </p:nvSpPr>
          <p:spPr>
            <a:xfrm>
              <a:off x="7716399" y="0"/>
              <a:ext cx="530877" cy="1012276"/>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2" name="Text Placeholder 89">
              <a:extLst>
                <a:ext uri="{FF2B5EF4-FFF2-40B4-BE49-F238E27FC236}">
                  <a16:creationId xmlns:a16="http://schemas.microsoft.com/office/drawing/2014/main" id="{34D268BB-C293-4D15-B231-ECD7BF790CF7}"/>
                </a:ext>
              </a:extLst>
            </p:cNvPr>
            <p:cNvSpPr txBox="1">
              <a:spLocks/>
            </p:cNvSpPr>
            <p:nvPr/>
          </p:nvSpPr>
          <p:spPr>
            <a:xfrm>
              <a:off x="11955082" y="1828841"/>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spTree>
    <p:extLst>
      <p:ext uri="{BB962C8B-B14F-4D97-AF65-F5344CB8AC3E}">
        <p14:creationId xmlns:p14="http://schemas.microsoft.com/office/powerpoint/2010/main" val="16780201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2927351" y="1828800"/>
            <a:ext cx="7972424"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
        <p:nvSpPr>
          <p:cNvPr id="4" name="Text Placeholder 12">
            <a:extLst>
              <a:ext uri="{FF2B5EF4-FFF2-40B4-BE49-F238E27FC236}">
                <a16:creationId xmlns:a16="http://schemas.microsoft.com/office/drawing/2014/main" id="{A7FE044F-6493-4ECB-B580-2318E1DA6255}"/>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3371923768"/>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hasCustomPrompt="1"/>
          </p:nvPr>
        </p:nvSpPr>
        <p:spPr>
          <a:xfrm>
            <a:off x="381001"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88273" y="1171575"/>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hasCustomPrompt="1"/>
          </p:nvPr>
        </p:nvSpPr>
        <p:spPr>
          <a:xfrm>
            <a:off x="4285005"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95545" y="1171575"/>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hasCustomPrompt="1"/>
          </p:nvPr>
        </p:nvSpPr>
        <p:spPr>
          <a:xfrm>
            <a:off x="8189009"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381001" y="3831313"/>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Content Placeholder 2">
            <a:extLst>
              <a:ext uri="{FF2B5EF4-FFF2-40B4-BE49-F238E27FC236}">
                <a16:creationId xmlns:a16="http://schemas.microsoft.com/office/drawing/2014/main" id="{641F7901-0058-4543-B156-041351228BF3}"/>
              </a:ext>
            </a:extLst>
          </p:cNvPr>
          <p:cNvSpPr>
            <a:spLocks noGrp="1"/>
          </p:cNvSpPr>
          <p:nvPr>
            <p:ph idx="26" hasCustomPrompt="1"/>
          </p:nvPr>
        </p:nvSpPr>
        <p:spPr>
          <a:xfrm>
            <a:off x="381001"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288273" y="3831313"/>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4" name="Content Placeholder 2">
            <a:extLst>
              <a:ext uri="{FF2B5EF4-FFF2-40B4-BE49-F238E27FC236}">
                <a16:creationId xmlns:a16="http://schemas.microsoft.com/office/drawing/2014/main" id="{C9E62CC6-7DD7-4F2C-92A7-592426B1F84C}"/>
              </a:ext>
            </a:extLst>
          </p:cNvPr>
          <p:cNvSpPr>
            <a:spLocks noGrp="1"/>
          </p:cNvSpPr>
          <p:nvPr>
            <p:ph idx="28" hasCustomPrompt="1"/>
          </p:nvPr>
        </p:nvSpPr>
        <p:spPr>
          <a:xfrm>
            <a:off x="4285005"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195545" y="3831313"/>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Content Placeholder 2">
            <a:extLst>
              <a:ext uri="{FF2B5EF4-FFF2-40B4-BE49-F238E27FC236}">
                <a16:creationId xmlns:a16="http://schemas.microsoft.com/office/drawing/2014/main" id="{62DFB085-0C55-4FCF-A2C8-2D229DB955D0}"/>
              </a:ext>
            </a:extLst>
          </p:cNvPr>
          <p:cNvSpPr>
            <a:spLocks noGrp="1"/>
          </p:cNvSpPr>
          <p:nvPr>
            <p:ph idx="30" hasCustomPrompt="1"/>
          </p:nvPr>
        </p:nvSpPr>
        <p:spPr>
          <a:xfrm>
            <a:off x="8189009"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a:extLst>
              <a:ext uri="{FF2B5EF4-FFF2-40B4-BE49-F238E27FC236}">
                <a16:creationId xmlns:a16="http://schemas.microsoft.com/office/drawing/2014/main" id="{6CE697B4-F430-4CA7-935A-2F894B6230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8172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3" name="Content Placeholder 2"/>
          <p:cNvSpPr>
            <a:spLocks noGrp="1"/>
          </p:cNvSpPr>
          <p:nvPr>
            <p:ph idx="1"/>
          </p:nvPr>
        </p:nvSpPr>
        <p:spPr>
          <a:xfrm>
            <a:off x="381002" y="1781173"/>
            <a:ext cx="5341141" cy="4429127"/>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83" y="1171575"/>
            <a:ext cx="5340398"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4CFEC3F1-CFF8-4AA4-BEA2-C7220A4A3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248573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3811993"/>
            <a:ext cx="2710314"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Text Placeholder 4">
            <a:extLst>
              <a:ext uri="{FF2B5EF4-FFF2-40B4-BE49-F238E27FC236}">
                <a16:creationId xmlns:a16="http://schemas.microsoft.com/office/drawing/2014/main" id="{B5A77170-A9FD-45D4-8584-19D45A2A8F9B}"/>
              </a:ext>
            </a:extLst>
          </p:cNvPr>
          <p:cNvSpPr>
            <a:spLocks noGrp="1"/>
          </p:cNvSpPr>
          <p:nvPr>
            <p:ph type="body" sz="quarter" idx="15"/>
          </p:nvPr>
        </p:nvSpPr>
        <p:spPr>
          <a:xfrm>
            <a:off x="381001" y="4421592"/>
            <a:ext cx="2710691" cy="1141008"/>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833665" y="1737114"/>
            <a:ext cx="1804987" cy="1804988"/>
          </a:xfrm>
          <a:prstGeom prst="ellipse">
            <a:avLst/>
          </a:prstGeom>
        </p:spPr>
        <p:txBody>
          <a:bodyPr anchor="ctr"/>
          <a:lstStyle>
            <a:lvl1pPr algn="ctr">
              <a:defRPr/>
            </a:lvl1pPr>
          </a:lstStyle>
          <a:p>
            <a:endParaRPr lang="en-US"/>
          </a:p>
        </p:txBody>
      </p:sp>
      <p:sp>
        <p:nvSpPr>
          <p:cNvPr id="11" name="Text Placeholder 14">
            <a:extLst>
              <a:ext uri="{FF2B5EF4-FFF2-40B4-BE49-F238E27FC236}">
                <a16:creationId xmlns:a16="http://schemas.microsoft.com/office/drawing/2014/main" id="{5B70EEE1-61F9-44E3-AE83-70A2FCDE4726}"/>
              </a:ext>
            </a:extLst>
          </p:cNvPr>
          <p:cNvSpPr>
            <a:spLocks noGrp="1"/>
          </p:cNvSpPr>
          <p:nvPr>
            <p:ph type="body" sz="quarter" idx="17" hasCustomPrompt="1"/>
          </p:nvPr>
        </p:nvSpPr>
        <p:spPr>
          <a:xfrm>
            <a:off x="3286454" y="3811993"/>
            <a:ext cx="2710314"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Text Placeholder 4">
            <a:extLst>
              <a:ext uri="{FF2B5EF4-FFF2-40B4-BE49-F238E27FC236}">
                <a16:creationId xmlns:a16="http://schemas.microsoft.com/office/drawing/2014/main" id="{CBF3F0D4-7BA6-430E-8092-94251D51115F}"/>
              </a:ext>
            </a:extLst>
          </p:cNvPr>
          <p:cNvSpPr>
            <a:spLocks noGrp="1"/>
          </p:cNvSpPr>
          <p:nvPr>
            <p:ph type="body" sz="quarter" idx="18"/>
          </p:nvPr>
        </p:nvSpPr>
        <p:spPr>
          <a:xfrm>
            <a:off x="3286379" y="4421592"/>
            <a:ext cx="2710691" cy="1141008"/>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739118" y="1737114"/>
            <a:ext cx="1804987" cy="1804988"/>
          </a:xfrm>
          <a:prstGeom prst="ellipse">
            <a:avLst/>
          </a:prstGeom>
        </p:spPr>
        <p:txBody>
          <a:bodyPr anchor="ctr"/>
          <a:lstStyle>
            <a:lvl1pPr algn="ctr">
              <a:defRPr/>
            </a:lvl1pPr>
          </a:lstStyle>
          <a:p>
            <a:endParaRPr lang="en-US"/>
          </a:p>
        </p:txBody>
      </p:sp>
      <p:sp>
        <p:nvSpPr>
          <p:cNvPr id="14" name="Text Placeholder 14">
            <a:extLst>
              <a:ext uri="{FF2B5EF4-FFF2-40B4-BE49-F238E27FC236}">
                <a16:creationId xmlns:a16="http://schemas.microsoft.com/office/drawing/2014/main" id="{178182FC-A485-4780-8095-1090C2B8ED14}"/>
              </a:ext>
            </a:extLst>
          </p:cNvPr>
          <p:cNvSpPr>
            <a:spLocks noGrp="1"/>
          </p:cNvSpPr>
          <p:nvPr>
            <p:ph type="body" sz="quarter" idx="20" hasCustomPrompt="1"/>
          </p:nvPr>
        </p:nvSpPr>
        <p:spPr>
          <a:xfrm>
            <a:off x="6191907" y="3811993"/>
            <a:ext cx="2710314"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Text Placeholder 4">
            <a:extLst>
              <a:ext uri="{FF2B5EF4-FFF2-40B4-BE49-F238E27FC236}">
                <a16:creationId xmlns:a16="http://schemas.microsoft.com/office/drawing/2014/main" id="{B467F341-791E-49E5-84A8-2C48795FE71D}"/>
              </a:ext>
            </a:extLst>
          </p:cNvPr>
          <p:cNvSpPr>
            <a:spLocks noGrp="1"/>
          </p:cNvSpPr>
          <p:nvPr>
            <p:ph type="body" sz="quarter" idx="21"/>
          </p:nvPr>
        </p:nvSpPr>
        <p:spPr>
          <a:xfrm>
            <a:off x="6191757" y="4421592"/>
            <a:ext cx="2710691" cy="1141008"/>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644571" y="1737114"/>
            <a:ext cx="1804987" cy="1804988"/>
          </a:xfrm>
          <a:prstGeom prst="ellipse">
            <a:avLst/>
          </a:prstGeom>
        </p:spPr>
        <p:txBody>
          <a:bodyPr anchor="ctr"/>
          <a:lstStyle>
            <a:lvl1pPr algn="ctr">
              <a:defRPr/>
            </a:lvl1pPr>
          </a:lstStyle>
          <a:p>
            <a:endParaRPr lang="en-US"/>
          </a:p>
        </p:txBody>
      </p:sp>
      <p:sp>
        <p:nvSpPr>
          <p:cNvPr id="19" name="Text Placeholder 14">
            <a:extLst>
              <a:ext uri="{FF2B5EF4-FFF2-40B4-BE49-F238E27FC236}">
                <a16:creationId xmlns:a16="http://schemas.microsoft.com/office/drawing/2014/main" id="{6666DD00-9E5D-4272-9205-D57612EE559E}"/>
              </a:ext>
            </a:extLst>
          </p:cNvPr>
          <p:cNvSpPr>
            <a:spLocks noGrp="1"/>
          </p:cNvSpPr>
          <p:nvPr>
            <p:ph type="body" sz="quarter" idx="23" hasCustomPrompt="1"/>
          </p:nvPr>
        </p:nvSpPr>
        <p:spPr>
          <a:xfrm>
            <a:off x="9097361" y="3811993"/>
            <a:ext cx="2710314"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Text Placeholder 4">
            <a:extLst>
              <a:ext uri="{FF2B5EF4-FFF2-40B4-BE49-F238E27FC236}">
                <a16:creationId xmlns:a16="http://schemas.microsoft.com/office/drawing/2014/main" id="{3A0CC58B-4150-475B-A65A-9286B8F46A89}"/>
              </a:ext>
            </a:extLst>
          </p:cNvPr>
          <p:cNvSpPr>
            <a:spLocks noGrp="1"/>
          </p:cNvSpPr>
          <p:nvPr>
            <p:ph type="body" sz="quarter" idx="24"/>
          </p:nvPr>
        </p:nvSpPr>
        <p:spPr>
          <a:xfrm>
            <a:off x="9097134" y="4421592"/>
            <a:ext cx="2710691" cy="1141008"/>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9550025" y="1737114"/>
            <a:ext cx="1804987" cy="1804988"/>
          </a:xfrm>
          <a:prstGeom prst="ellipse">
            <a:avLst/>
          </a:prstGeom>
        </p:spPr>
        <p:txBody>
          <a:bodyPr anchor="ctr"/>
          <a:lstStyle>
            <a:lvl1pPr algn="ctr">
              <a:defRPr/>
            </a:lvl1pPr>
          </a:lstStyle>
          <a:p>
            <a:endParaRPr lang="en-US"/>
          </a:p>
        </p:txBody>
      </p:sp>
      <p:sp>
        <p:nvSpPr>
          <p:cNvPr id="2" name="Title 1">
            <a:extLst>
              <a:ext uri="{FF2B5EF4-FFF2-40B4-BE49-F238E27FC236}">
                <a16:creationId xmlns:a16="http://schemas.microsoft.com/office/drawing/2014/main" id="{ED7CC241-9D6F-48F3-989A-87A4641E972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502705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11426823" cy="4887912"/>
          </a:xfrm>
        </p:spPr>
        <p:txBody>
          <a:bodyPr anchor="ctr"/>
          <a:lstStyle>
            <a:lvl1pPr algn="ctr">
              <a:defRPr/>
            </a:lvl1pPr>
          </a:lstStyle>
          <a:p>
            <a:endParaRPr lang="en-US"/>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83067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ank you + Contacts">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2392071"/>
            <a:ext cx="2068454" cy="55410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381001" y="3024574"/>
            <a:ext cx="2068211" cy="974383"/>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0" name="Text Placeholder 29"/>
          <p:cNvSpPr>
            <a:spLocks noGrp="1"/>
          </p:cNvSpPr>
          <p:nvPr>
            <p:ph type="body" sz="quarter" idx="28" hasCustomPrompt="1"/>
          </p:nvPr>
        </p:nvSpPr>
        <p:spPr>
          <a:xfrm>
            <a:off x="381002" y="4077353"/>
            <a:ext cx="8788398" cy="1061529"/>
          </a:xfrm>
        </p:spPr>
        <p:txBody>
          <a:bodyPr/>
          <a:lstStyle>
            <a:lvl1pPr>
              <a:defRPr sz="900"/>
            </a:lvl1pPr>
            <a:lvl2pPr marL="114300" indent="-114300">
              <a:spcBef>
                <a:spcPts val="100"/>
              </a:spcBef>
              <a:buClr>
                <a:schemeClr val="accent1"/>
              </a:buClr>
              <a:tabLst/>
              <a:defRPr sz="900"/>
            </a:lvl2pPr>
            <a:lvl3pPr marL="230188" indent="-115888">
              <a:spcBef>
                <a:spcPts val="100"/>
              </a:spcBef>
              <a:buClr>
                <a:schemeClr val="accent1"/>
              </a:buClr>
              <a:tabLst/>
              <a:defRPr sz="900"/>
            </a:lvl3pPr>
            <a:lvl4pPr marL="346075" indent="-115888">
              <a:spcBef>
                <a:spcPts val="100"/>
              </a:spcBef>
              <a:buClr>
                <a:schemeClr val="accent1"/>
              </a:buClr>
              <a:tabLst/>
              <a:defRPr sz="900"/>
            </a:lvl4pPr>
            <a:lvl5pPr marL="460375" indent="-114300">
              <a:spcBef>
                <a:spcPts val="100"/>
              </a:spcBef>
              <a:buClr>
                <a:schemeClr val="accent1"/>
              </a:buClr>
              <a:tabLst/>
              <a:defRPr sz="900"/>
            </a:lvl5pPr>
          </a:lstStyle>
          <a:p>
            <a:pPr lvl="0"/>
            <a:r>
              <a:rPr lang="en-US"/>
              <a:t>Insert Legal Copy</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E338DBE-2C15-4F70-8277-DDD730F975BE}"/>
              </a:ext>
            </a:extLst>
          </p:cNvPr>
          <p:cNvSpPr>
            <a:spLocks noGrp="1"/>
          </p:cNvSpPr>
          <p:nvPr>
            <p:ph type="title"/>
          </p:nvPr>
        </p:nvSpPr>
        <p:spPr/>
        <p:txBody>
          <a:bodyPr/>
          <a:lstStyle/>
          <a:p>
            <a:r>
              <a:rPr lang="en-US"/>
              <a:t>Click to edit Master title style</a:t>
            </a:r>
          </a:p>
        </p:txBody>
      </p:sp>
      <p:sp>
        <p:nvSpPr>
          <p:cNvPr id="29" name="Text Placeholder 14">
            <a:extLst>
              <a:ext uri="{FF2B5EF4-FFF2-40B4-BE49-F238E27FC236}">
                <a16:creationId xmlns:a16="http://schemas.microsoft.com/office/drawing/2014/main" id="{AC53361B-5856-4302-8CF7-6BF7C17066C3}"/>
              </a:ext>
            </a:extLst>
          </p:cNvPr>
          <p:cNvSpPr>
            <a:spLocks noGrp="1"/>
          </p:cNvSpPr>
          <p:nvPr>
            <p:ph type="body" sz="quarter" idx="29" hasCustomPrompt="1"/>
          </p:nvPr>
        </p:nvSpPr>
        <p:spPr>
          <a:xfrm>
            <a:off x="2620983" y="2392071"/>
            <a:ext cx="2068454" cy="55410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1" name="Text Placeholder 20">
            <a:extLst>
              <a:ext uri="{FF2B5EF4-FFF2-40B4-BE49-F238E27FC236}">
                <a16:creationId xmlns:a16="http://schemas.microsoft.com/office/drawing/2014/main" id="{95A3F7CB-6CED-43C7-A382-F2A8F2EBD76B}"/>
              </a:ext>
            </a:extLst>
          </p:cNvPr>
          <p:cNvSpPr>
            <a:spLocks noGrp="1"/>
          </p:cNvSpPr>
          <p:nvPr>
            <p:ph type="body" sz="quarter" idx="30" hasCustomPrompt="1"/>
          </p:nvPr>
        </p:nvSpPr>
        <p:spPr>
          <a:xfrm>
            <a:off x="2621064" y="3024574"/>
            <a:ext cx="2068211" cy="974383"/>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2" name="Text Placeholder 14">
            <a:extLst>
              <a:ext uri="{FF2B5EF4-FFF2-40B4-BE49-F238E27FC236}">
                <a16:creationId xmlns:a16="http://schemas.microsoft.com/office/drawing/2014/main" id="{A59C17CE-8E20-47E7-9745-BD8DF5D69E9F}"/>
              </a:ext>
            </a:extLst>
          </p:cNvPr>
          <p:cNvSpPr>
            <a:spLocks noGrp="1"/>
          </p:cNvSpPr>
          <p:nvPr>
            <p:ph type="body" sz="quarter" idx="31" hasCustomPrompt="1"/>
          </p:nvPr>
        </p:nvSpPr>
        <p:spPr>
          <a:xfrm>
            <a:off x="4860965" y="2392071"/>
            <a:ext cx="2068454" cy="55410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3" name="Text Placeholder 20">
            <a:extLst>
              <a:ext uri="{FF2B5EF4-FFF2-40B4-BE49-F238E27FC236}">
                <a16:creationId xmlns:a16="http://schemas.microsoft.com/office/drawing/2014/main" id="{0231F24C-AA35-4993-B9E0-BBEE487530C5}"/>
              </a:ext>
            </a:extLst>
          </p:cNvPr>
          <p:cNvSpPr>
            <a:spLocks noGrp="1"/>
          </p:cNvSpPr>
          <p:nvPr>
            <p:ph type="body" sz="quarter" idx="32" hasCustomPrompt="1"/>
          </p:nvPr>
        </p:nvSpPr>
        <p:spPr>
          <a:xfrm>
            <a:off x="4861127" y="3024574"/>
            <a:ext cx="2068211" cy="974383"/>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4" name="Text Placeholder 14">
            <a:extLst>
              <a:ext uri="{FF2B5EF4-FFF2-40B4-BE49-F238E27FC236}">
                <a16:creationId xmlns:a16="http://schemas.microsoft.com/office/drawing/2014/main" id="{4A5AC34E-3B4C-469E-B9C4-C085D8EC0272}"/>
              </a:ext>
            </a:extLst>
          </p:cNvPr>
          <p:cNvSpPr>
            <a:spLocks noGrp="1"/>
          </p:cNvSpPr>
          <p:nvPr>
            <p:ph type="body" sz="quarter" idx="33" hasCustomPrompt="1"/>
          </p:nvPr>
        </p:nvSpPr>
        <p:spPr>
          <a:xfrm>
            <a:off x="7100946" y="2392071"/>
            <a:ext cx="2068454" cy="55410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5" name="Text Placeholder 20">
            <a:extLst>
              <a:ext uri="{FF2B5EF4-FFF2-40B4-BE49-F238E27FC236}">
                <a16:creationId xmlns:a16="http://schemas.microsoft.com/office/drawing/2014/main" id="{A0A6254F-A341-4409-90BD-661FAACB8D44}"/>
              </a:ext>
            </a:extLst>
          </p:cNvPr>
          <p:cNvSpPr>
            <a:spLocks noGrp="1"/>
          </p:cNvSpPr>
          <p:nvPr>
            <p:ph type="body" sz="quarter" idx="34" hasCustomPrompt="1"/>
          </p:nvPr>
        </p:nvSpPr>
        <p:spPr>
          <a:xfrm>
            <a:off x="7101189" y="3024574"/>
            <a:ext cx="2068211" cy="974383"/>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Tree>
    <p:extLst>
      <p:ext uri="{BB962C8B-B14F-4D97-AF65-F5344CB8AC3E}">
        <p14:creationId xmlns:p14="http://schemas.microsoft.com/office/powerpoint/2010/main" val="2960570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hank you + Contacts">
    <p:spTree>
      <p:nvGrpSpPr>
        <p:cNvPr id="1" name=""/>
        <p:cNvGrpSpPr/>
        <p:nvPr/>
      </p:nvGrpSpPr>
      <p:grpSpPr>
        <a:xfrm>
          <a:off x="0" y="0"/>
          <a:ext cx="0" cy="0"/>
          <a:chOff x="0" y="0"/>
          <a:chExt cx="0" cy="0"/>
        </a:xfrm>
      </p:grpSpPr>
      <p:sp>
        <p:nvSpPr>
          <p:cNvPr id="2" name="Title 1"/>
          <p:cNvSpPr>
            <a:spLocks noGrp="1"/>
          </p:cNvSpPr>
          <p:nvPr>
            <p:ph type="title"/>
          </p:nvPr>
        </p:nvSpPr>
        <p:spPr>
          <a:xfrm>
            <a:off x="388112" y="912311"/>
            <a:ext cx="11428413" cy="916491"/>
          </a:xfrm>
        </p:spPr>
        <p:txBody>
          <a:bodyPr/>
          <a:lstStyle/>
          <a:p>
            <a:r>
              <a:rPr lang="en-US"/>
              <a:t>Click to edit Master title style</a:t>
            </a:r>
          </a:p>
        </p:txBody>
      </p:sp>
      <p:sp>
        <p:nvSpPr>
          <p:cNvPr id="15" name="Text Placeholder 14"/>
          <p:cNvSpPr>
            <a:spLocks noGrp="1"/>
          </p:cNvSpPr>
          <p:nvPr>
            <p:ph type="body" sz="quarter" idx="14" hasCustomPrompt="1"/>
          </p:nvPr>
        </p:nvSpPr>
        <p:spPr>
          <a:xfrm>
            <a:off x="391918" y="3087148"/>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392114" y="3592650"/>
            <a:ext cx="1663699" cy="861191"/>
          </a:xfrm>
        </p:spPr>
        <p:txBody>
          <a:bodyPr/>
          <a:lstStyle>
            <a:lvl1pPr>
              <a:lnSpc>
                <a:spcPct val="110000"/>
              </a:lnSpc>
              <a:spcBef>
                <a:spcPts val="0"/>
              </a:spcBef>
              <a:defRPr sz="1200" baseline="0"/>
            </a:lvl1pPr>
            <a:lvl2pPr marL="112679" indent="-112679">
              <a:lnSpc>
                <a:spcPct val="110000"/>
              </a:lnSpc>
              <a:spcBef>
                <a:spcPts val="0"/>
              </a:spcBef>
              <a:defRPr sz="1200"/>
            </a:lvl2pPr>
            <a:lvl3pPr marL="225357" indent="-112679">
              <a:lnSpc>
                <a:spcPct val="110000"/>
              </a:lnSpc>
              <a:spcBef>
                <a:spcPts val="0"/>
              </a:spcBef>
              <a:defRPr sz="1200"/>
            </a:lvl3pPr>
            <a:lvl4pPr marL="339623" indent="-114266">
              <a:lnSpc>
                <a:spcPct val="110000"/>
              </a:lnSpc>
              <a:spcBef>
                <a:spcPts val="0"/>
              </a:spcBef>
              <a:defRPr sz="1200"/>
            </a:lvl4pPr>
            <a:lvl5pPr marL="460237" indent="-120614">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22" name="Text Placeholder 14"/>
          <p:cNvSpPr>
            <a:spLocks noGrp="1"/>
          </p:cNvSpPr>
          <p:nvPr>
            <p:ph type="body" sz="quarter" idx="22" hasCustomPrompt="1"/>
          </p:nvPr>
        </p:nvSpPr>
        <p:spPr>
          <a:xfrm>
            <a:off x="2297788" y="3087148"/>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3" name="Text Placeholder 20"/>
          <p:cNvSpPr>
            <a:spLocks noGrp="1"/>
          </p:cNvSpPr>
          <p:nvPr>
            <p:ph type="body" sz="quarter" idx="23" hasCustomPrompt="1"/>
          </p:nvPr>
        </p:nvSpPr>
        <p:spPr>
          <a:xfrm>
            <a:off x="2297982" y="3592650"/>
            <a:ext cx="1663699" cy="861191"/>
          </a:xfrm>
        </p:spPr>
        <p:txBody>
          <a:bodyPr/>
          <a:lstStyle>
            <a:lvl1pPr>
              <a:lnSpc>
                <a:spcPct val="110000"/>
              </a:lnSpc>
              <a:spcBef>
                <a:spcPts val="0"/>
              </a:spcBef>
              <a:defRPr sz="1200" baseline="0"/>
            </a:lvl1pPr>
            <a:lvl2pPr marL="112679" indent="-112679">
              <a:lnSpc>
                <a:spcPct val="110000"/>
              </a:lnSpc>
              <a:spcBef>
                <a:spcPts val="0"/>
              </a:spcBef>
              <a:defRPr sz="1200"/>
            </a:lvl2pPr>
            <a:lvl3pPr marL="225357" indent="-112679">
              <a:lnSpc>
                <a:spcPct val="110000"/>
              </a:lnSpc>
              <a:spcBef>
                <a:spcPts val="0"/>
              </a:spcBef>
              <a:defRPr sz="1200"/>
            </a:lvl3pPr>
            <a:lvl4pPr marL="339623" indent="-114266">
              <a:lnSpc>
                <a:spcPct val="110000"/>
              </a:lnSpc>
              <a:spcBef>
                <a:spcPts val="0"/>
              </a:spcBef>
              <a:defRPr sz="1200"/>
            </a:lvl4pPr>
            <a:lvl5pPr marL="460237" indent="-120614">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24" name="Text Placeholder 14"/>
          <p:cNvSpPr>
            <a:spLocks noGrp="1"/>
          </p:cNvSpPr>
          <p:nvPr>
            <p:ph type="body" sz="quarter" idx="24" hasCustomPrompt="1"/>
          </p:nvPr>
        </p:nvSpPr>
        <p:spPr>
          <a:xfrm>
            <a:off x="4203656" y="3087148"/>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5" name="Text Placeholder 20"/>
          <p:cNvSpPr>
            <a:spLocks noGrp="1"/>
          </p:cNvSpPr>
          <p:nvPr>
            <p:ph type="body" sz="quarter" idx="25" hasCustomPrompt="1"/>
          </p:nvPr>
        </p:nvSpPr>
        <p:spPr>
          <a:xfrm>
            <a:off x="4203852" y="3592650"/>
            <a:ext cx="1663699" cy="861191"/>
          </a:xfrm>
        </p:spPr>
        <p:txBody>
          <a:bodyPr/>
          <a:lstStyle>
            <a:lvl1pPr>
              <a:lnSpc>
                <a:spcPct val="110000"/>
              </a:lnSpc>
              <a:spcBef>
                <a:spcPts val="0"/>
              </a:spcBef>
              <a:defRPr sz="1200" baseline="0"/>
            </a:lvl1pPr>
            <a:lvl2pPr marL="112679" indent="-112679">
              <a:lnSpc>
                <a:spcPct val="110000"/>
              </a:lnSpc>
              <a:spcBef>
                <a:spcPts val="0"/>
              </a:spcBef>
              <a:defRPr sz="1200"/>
            </a:lvl2pPr>
            <a:lvl3pPr marL="225357" indent="-112679">
              <a:lnSpc>
                <a:spcPct val="110000"/>
              </a:lnSpc>
              <a:spcBef>
                <a:spcPts val="0"/>
              </a:spcBef>
              <a:defRPr sz="1200"/>
            </a:lvl3pPr>
            <a:lvl4pPr marL="339623" indent="-114266">
              <a:lnSpc>
                <a:spcPct val="110000"/>
              </a:lnSpc>
              <a:spcBef>
                <a:spcPts val="0"/>
              </a:spcBef>
              <a:defRPr sz="1200"/>
            </a:lvl4pPr>
            <a:lvl5pPr marL="460237" indent="-120614">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26" name="Text Placeholder 14"/>
          <p:cNvSpPr>
            <a:spLocks noGrp="1"/>
          </p:cNvSpPr>
          <p:nvPr>
            <p:ph type="body" sz="quarter" idx="26" hasCustomPrompt="1"/>
          </p:nvPr>
        </p:nvSpPr>
        <p:spPr>
          <a:xfrm>
            <a:off x="6109525" y="3087148"/>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7" name="Text Placeholder 20"/>
          <p:cNvSpPr>
            <a:spLocks noGrp="1"/>
          </p:cNvSpPr>
          <p:nvPr>
            <p:ph type="body" sz="quarter" idx="27" hasCustomPrompt="1"/>
          </p:nvPr>
        </p:nvSpPr>
        <p:spPr>
          <a:xfrm>
            <a:off x="6109719" y="3592650"/>
            <a:ext cx="1663699" cy="861191"/>
          </a:xfrm>
        </p:spPr>
        <p:txBody>
          <a:bodyPr/>
          <a:lstStyle>
            <a:lvl1pPr>
              <a:lnSpc>
                <a:spcPct val="110000"/>
              </a:lnSpc>
              <a:spcBef>
                <a:spcPts val="0"/>
              </a:spcBef>
              <a:defRPr sz="1200" baseline="0"/>
            </a:lvl1pPr>
            <a:lvl2pPr marL="112679" indent="-112679">
              <a:lnSpc>
                <a:spcPct val="110000"/>
              </a:lnSpc>
              <a:spcBef>
                <a:spcPts val="0"/>
              </a:spcBef>
              <a:defRPr sz="1200"/>
            </a:lvl2pPr>
            <a:lvl3pPr marL="225357" indent="-112679">
              <a:lnSpc>
                <a:spcPct val="110000"/>
              </a:lnSpc>
              <a:spcBef>
                <a:spcPts val="0"/>
              </a:spcBef>
              <a:defRPr sz="1200"/>
            </a:lvl3pPr>
            <a:lvl4pPr marL="339623" indent="-114266">
              <a:lnSpc>
                <a:spcPct val="110000"/>
              </a:lnSpc>
              <a:spcBef>
                <a:spcPts val="0"/>
              </a:spcBef>
              <a:defRPr sz="1200"/>
            </a:lvl4pPr>
            <a:lvl5pPr marL="460237" indent="-120614">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Tree>
    <p:extLst>
      <p:ext uri="{BB962C8B-B14F-4D97-AF65-F5344CB8AC3E}">
        <p14:creationId xmlns:p14="http://schemas.microsoft.com/office/powerpoint/2010/main" val="11259869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7"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0"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pic>
        <p:nvPicPr>
          <p:cNvPr id="9" name="Picture 8" descr="A picture containing clock&#10;&#10;Description automatically generated">
            <a:extLst>
              <a:ext uri="{FF2B5EF4-FFF2-40B4-BE49-F238E27FC236}">
                <a16:creationId xmlns:a16="http://schemas.microsoft.com/office/drawing/2014/main" id="{D3B18E52-BE6F-4331-A4BD-0F4DC9506B1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21174091">
            <a:off x="6042409" y="2555084"/>
            <a:ext cx="2833886" cy="1440940"/>
          </a:xfrm>
          <a:prstGeom prst="rect">
            <a:avLst/>
          </a:prstGeom>
        </p:spPr>
      </p:pic>
    </p:spTree>
    <p:extLst>
      <p:ext uri="{BB962C8B-B14F-4D97-AF65-F5344CB8AC3E}">
        <p14:creationId xmlns:p14="http://schemas.microsoft.com/office/powerpoint/2010/main" val="2903046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nodeType="withEffect">
                                  <p:stCondLst>
                                    <p:cond delay="0"/>
                                  </p:stCondLst>
                                  <p:childTnLst>
                                    <p:animMotion origin="layout" path="M 1.90675E-6 -0.0007 C 0.04467 0.05671 0.28718 0.20879 0.46679 -0.10162 " pathEditMode="relative" rAng="0" ptsTypes="AA">
                                      <p:cBhvr>
                                        <p:cTn id="6" dur="2000" spd="-100000" fill="hold"/>
                                        <p:tgtEl>
                                          <p:spTgt spid="9"/>
                                        </p:tgtEl>
                                        <p:attrNameLst>
                                          <p:attrName>ppt_x</p:attrName>
                                          <p:attrName>ppt_y</p:attrName>
                                        </p:attrNameLst>
                                      </p:cBhvr>
                                      <p:rCtr x="23339" y="-648"/>
                                    </p:animMotion>
                                  </p:childTnLst>
                                </p:cTn>
                              </p:par>
                              <p:par>
                                <p:cTn id="7" presetID="42" presetClass="path" presetSubtype="0" repeatCount="indefinite" accel="16000" decel="19000" autoRev="1" fill="hold" nodeType="withEffect">
                                  <p:stCondLst>
                                    <p:cond delay="2000"/>
                                  </p:stCondLst>
                                  <p:childTnLst>
                                    <p:animMotion origin="layout" path="M 1.90675E-6 3.7037E-6 L 1.90675E-6 0.01458 " pathEditMode="relative" rAng="0" ptsTypes="AA">
                                      <p:cBhvr>
                                        <p:cTn id="8" dur="1500" fill="hold"/>
                                        <p:tgtEl>
                                          <p:spTgt spid="9"/>
                                        </p:tgtEl>
                                        <p:attrNameLst>
                                          <p:attrName>ppt_x</p:attrName>
                                          <p:attrName>ppt_y</p:attrName>
                                        </p:attrNameLst>
                                      </p:cBhvr>
                                      <p:rCtr x="0" y="71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2_Title – Grid Light">
    <p:bg>
      <p:bgPr>
        <a:solidFill>
          <a:schemeClr val="accent1"/>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rcRect/>
          <a:stretch/>
        </p:blipFill>
        <p:spPr>
          <a:xfrm>
            <a:off x="431878" y="6081015"/>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p:ph type="subTitle" idx="1" hasCustomPrompt="1"/>
          </p:nvPr>
        </p:nvSpPr>
        <p:spPr>
          <a:xfrm>
            <a:off x="382971" y="3759200"/>
            <a:ext cx="7648381" cy="1510886"/>
          </a:xfrm>
        </p:spPr>
        <p:txBody>
          <a:bodyPr lIns="0" tIns="0" rIns="0" bIns="0" anchor="t" anchorCtr="0">
            <a:normAutofit/>
          </a:bodyPr>
          <a:lstStyle>
            <a:lvl1pPr marL="0" indent="0" algn="l">
              <a:lnSpc>
                <a:spcPct val="100000"/>
              </a:lnSpc>
              <a:spcBef>
                <a:spcPts val="0"/>
              </a:spcBef>
              <a:buNone/>
              <a:defRPr sz="6000" b="1" i="0" spc="-10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p:ph type="body" sz="quarter" idx="12" hasCustomPrompt="1"/>
          </p:nvPr>
        </p:nvSpPr>
        <p:spPr>
          <a:xfrm>
            <a:off x="386020" y="3078730"/>
            <a:ext cx="7648381" cy="510040"/>
          </a:xfrm>
        </p:spPr>
        <p:txBody>
          <a:bodyPr anchor="ctr" anchorCtr="0"/>
          <a:lstStyle>
            <a:lvl1pPr>
              <a:defRPr sz="6000" b="1" spc="-100" baseline="0">
                <a:solidFill>
                  <a:schemeClr val="bg1"/>
                </a:solidFill>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p:ph type="ctrTitle" hasCustomPrompt="1"/>
          </p:nvPr>
        </p:nvSpPr>
        <p:spPr>
          <a:xfrm>
            <a:off x="382971" y="880649"/>
            <a:ext cx="7657943" cy="2027651"/>
          </a:xfrm>
        </p:spPr>
        <p:txBody>
          <a:bodyPr lIns="0" tIns="0" rIns="0" bIns="0" anchor="b" anchorCtr="0">
            <a:noAutofit/>
          </a:bodyPr>
          <a:lstStyle>
            <a:lvl1pPr algn="l">
              <a:lnSpc>
                <a:spcPct val="100000"/>
              </a:lnSpc>
              <a:defRPr sz="6000" b="1" i="0" spc="-100">
                <a:solidFill>
                  <a:schemeClr val="bg1"/>
                </a:solidFill>
                <a:latin typeface="Arial"/>
                <a:cs typeface="Arial"/>
              </a:defRPr>
            </a:lvl1pPr>
          </a:lstStyle>
          <a:p>
            <a:r>
              <a:rPr lang="en-US"/>
              <a:t>Click to edit </a:t>
            </a:r>
            <a:br>
              <a:rPr lang="en-US"/>
            </a:br>
            <a:r>
              <a:rPr lang="en-US"/>
              <a:t>Master title style</a:t>
            </a:r>
          </a:p>
        </p:txBody>
      </p:sp>
      <p:grpSp>
        <p:nvGrpSpPr>
          <p:cNvPr id="6" name="Group 5">
            <a:extLst>
              <a:ext uri="{FF2B5EF4-FFF2-40B4-BE49-F238E27FC236}">
                <a16:creationId xmlns:a16="http://schemas.microsoft.com/office/drawing/2014/main" id="{13C630F6-5777-4826-A8BA-A5E5F67ED8DE}"/>
              </a:ext>
            </a:extLst>
          </p:cNvPr>
          <p:cNvGrpSpPr/>
          <p:nvPr userDrawn="1"/>
        </p:nvGrpSpPr>
        <p:grpSpPr>
          <a:xfrm>
            <a:off x="9346573" y="258374"/>
            <a:ext cx="2592719" cy="6341252"/>
            <a:chOff x="9346573" y="258374"/>
            <a:chExt cx="2592719" cy="6341252"/>
          </a:xfrm>
          <a:solidFill>
            <a:schemeClr val="accent1">
              <a:lumMod val="75000"/>
            </a:schemeClr>
          </a:solidFill>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a:grpFill/>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a:p>
          </p:txBody>
        </p:sp>
        <p:sp>
          <p:nvSpPr>
            <p:cNvPr id="30" name="Freeform: Shape 29">
              <a:extLst>
                <a:ext uri="{FF2B5EF4-FFF2-40B4-BE49-F238E27FC236}">
                  <a16:creationId xmlns:a16="http://schemas.microsoft.com/office/drawing/2014/main" id="{01610C87-FCDE-46C3-9E2E-739916D61405}"/>
                </a:ext>
              </a:extLst>
            </p:cNvPr>
            <p:cNvSpPr/>
            <p:nvPr userDrawn="1"/>
          </p:nvSpPr>
          <p:spPr>
            <a:xfrm>
              <a:off x="9346573"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a:p>
          </p:txBody>
        </p:sp>
      </p:gr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2700000" flipH="1" flipV="1">
            <a:off x="9044758" y="5894614"/>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rot="16200000" flipV="1">
            <a:off x="10498451" y="1143711"/>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rot="16200000">
            <a:off x="9917919" y="3148489"/>
            <a:ext cx="574904" cy="1706308"/>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a:off x="9935038" y="2296382"/>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a:off x="10878327" y="5270086"/>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a:off x="10198402" y="0"/>
            <a:ext cx="574904" cy="851154"/>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158843678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2" name="Slide Numb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4007015445"/>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bg2"/>
        </a:solidFill>
        <a:effectLst/>
      </p:bgPr>
    </p:bg>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 y="0"/>
            <a:ext cx="12188825" cy="6858000"/>
          </a:xfrm>
          <a:solidFill>
            <a:schemeClr val="bg2"/>
          </a:solidFill>
        </p:spPr>
        <p:txBody>
          <a:bodyPr anchor="ctr"/>
          <a:lstStyle>
            <a:lvl1pPr algn="ctr">
              <a:defRPr/>
            </a:lvl1pPr>
          </a:lstStyle>
          <a:p>
            <a:endParaRPr lang="en-US"/>
          </a:p>
        </p:txBody>
      </p:sp>
    </p:spTree>
    <p:extLst>
      <p:ext uri="{BB962C8B-B14F-4D97-AF65-F5344CB8AC3E}">
        <p14:creationId xmlns:p14="http://schemas.microsoft.com/office/powerpoint/2010/main" val="2373690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 Quote Testimonial">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1941513" y="1828800"/>
            <a:ext cx="4443409"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
        <p:nvSpPr>
          <p:cNvPr id="4" name="Text Placeholder 5">
            <a:extLst>
              <a:ext uri="{FF2B5EF4-FFF2-40B4-BE49-F238E27FC236}">
                <a16:creationId xmlns:a16="http://schemas.microsoft.com/office/drawing/2014/main" id="{B02B4AF2-3D2F-4674-99A2-58ABCF020A77}"/>
              </a:ext>
            </a:extLst>
          </p:cNvPr>
          <p:cNvSpPr>
            <a:spLocks noGrp="1"/>
          </p:cNvSpPr>
          <p:nvPr>
            <p:ph type="body" sz="quarter" idx="15" hasCustomPrompt="1"/>
          </p:nvPr>
        </p:nvSpPr>
        <p:spPr>
          <a:xfrm>
            <a:off x="7366004" y="1828800"/>
            <a:ext cx="4443409"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cxnSp>
        <p:nvCxnSpPr>
          <p:cNvPr id="3" name="Straight Connector 2">
            <a:extLst>
              <a:ext uri="{FF2B5EF4-FFF2-40B4-BE49-F238E27FC236}">
                <a16:creationId xmlns:a16="http://schemas.microsoft.com/office/drawing/2014/main" id="{D6D1AC86-28F2-46B3-8E9D-1D3BF1F6A8AC}"/>
              </a:ext>
            </a:extLst>
          </p:cNvPr>
          <p:cNvCxnSpPr/>
          <p:nvPr userDrawn="1"/>
        </p:nvCxnSpPr>
        <p:spPr>
          <a:xfrm>
            <a:off x="6875463" y="1828800"/>
            <a:ext cx="0" cy="3932238"/>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Text Placeholder 12">
            <a:extLst>
              <a:ext uri="{FF2B5EF4-FFF2-40B4-BE49-F238E27FC236}">
                <a16:creationId xmlns:a16="http://schemas.microsoft.com/office/drawing/2014/main" id="{E796A42C-DE52-45B9-BFE0-FB44316D1178}"/>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
        <p:nvSpPr>
          <p:cNvPr id="16" name="Rectangle 15">
            <a:extLst>
              <a:ext uri="{FF2B5EF4-FFF2-40B4-BE49-F238E27FC236}">
                <a16:creationId xmlns:a16="http://schemas.microsoft.com/office/drawing/2014/main" id="{92991E79-C023-4B16-9A60-E1C474F3893C}"/>
              </a:ext>
            </a:extLst>
          </p:cNvPr>
          <p:cNvSpPr/>
          <p:nvPr userDrawn="1"/>
        </p:nvSpPr>
        <p:spPr>
          <a:xfrm>
            <a:off x="-1" y="1"/>
            <a:ext cx="156625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Shape 28">
            <a:extLst>
              <a:ext uri="{FF2B5EF4-FFF2-40B4-BE49-F238E27FC236}">
                <a16:creationId xmlns:a16="http://schemas.microsoft.com/office/drawing/2014/main" id="{A35D0ECC-A500-49AA-8E65-794BE8887D81}"/>
              </a:ext>
            </a:extLst>
          </p:cNvPr>
          <p:cNvSpPr/>
          <p:nvPr userDrawn="1"/>
        </p:nvSpPr>
        <p:spPr>
          <a:xfrm>
            <a:off x="252827" y="222349"/>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2657443 h 6407421"/>
              <a:gd name="connsiteX221" fmla="*/ 1064123 w 1064123"/>
              <a:gd name="connsiteY221" fmla="*/ 2657443 h 6407421"/>
              <a:gd name="connsiteX222" fmla="*/ 1064123 w 1064123"/>
              <a:gd name="connsiteY222" fmla="*/ 2687045 h 6407421"/>
              <a:gd name="connsiteX223" fmla="*/ 1034520 w 1064123"/>
              <a:gd name="connsiteY223" fmla="*/ 2687045 h 6407421"/>
              <a:gd name="connsiteX224" fmla="*/ 768327 w 1064123"/>
              <a:gd name="connsiteY224" fmla="*/ 2657440 h 6407421"/>
              <a:gd name="connsiteX225" fmla="*/ 797926 w 1064123"/>
              <a:gd name="connsiteY225" fmla="*/ 2657440 h 6407421"/>
              <a:gd name="connsiteX226" fmla="*/ 797926 w 1064123"/>
              <a:gd name="connsiteY226" fmla="*/ 2687042 h 6407421"/>
              <a:gd name="connsiteX227" fmla="*/ 768327 w 1064123"/>
              <a:gd name="connsiteY227" fmla="*/ 2687042 h 6407421"/>
              <a:gd name="connsiteX228" fmla="*/ 502236 w 1064123"/>
              <a:gd name="connsiteY228" fmla="*/ 2657437 h 6407421"/>
              <a:gd name="connsiteX229" fmla="*/ 531838 w 1064123"/>
              <a:gd name="connsiteY229" fmla="*/ 2657437 h 6407421"/>
              <a:gd name="connsiteX230" fmla="*/ 531838 w 1064123"/>
              <a:gd name="connsiteY230" fmla="*/ 2687039 h 6407421"/>
              <a:gd name="connsiteX231" fmla="*/ 502236 w 1064123"/>
              <a:gd name="connsiteY231" fmla="*/ 2687039 h 6407421"/>
              <a:gd name="connsiteX232" fmla="*/ 236037 w 1064123"/>
              <a:gd name="connsiteY232" fmla="*/ 2657434 h 6407421"/>
              <a:gd name="connsiteX233" fmla="*/ 265639 w 1064123"/>
              <a:gd name="connsiteY233" fmla="*/ 2657434 h 6407421"/>
              <a:gd name="connsiteX234" fmla="*/ 265639 w 1064123"/>
              <a:gd name="connsiteY234" fmla="*/ 2687036 h 6407421"/>
              <a:gd name="connsiteX235" fmla="*/ 236037 w 1064123"/>
              <a:gd name="connsiteY235" fmla="*/ 2687036 h 6407421"/>
              <a:gd name="connsiteX236" fmla="*/ 1 w 1064123"/>
              <a:gd name="connsiteY236" fmla="*/ 2657434 h 6407421"/>
              <a:gd name="connsiteX237" fmla="*/ 29603 w 1064123"/>
              <a:gd name="connsiteY237" fmla="*/ 2657434 h 6407421"/>
              <a:gd name="connsiteX238" fmla="*/ 29603 w 1064123"/>
              <a:gd name="connsiteY238" fmla="*/ 2687036 h 6407421"/>
              <a:gd name="connsiteX239" fmla="*/ 1 w 1064123"/>
              <a:gd name="connsiteY239" fmla="*/ 2687036 h 6407421"/>
              <a:gd name="connsiteX240" fmla="*/ 1034520 w 1064123"/>
              <a:gd name="connsiteY240" fmla="*/ 2391678 h 6407421"/>
              <a:gd name="connsiteX241" fmla="*/ 1064123 w 1064123"/>
              <a:gd name="connsiteY241" fmla="*/ 2391678 h 6407421"/>
              <a:gd name="connsiteX242" fmla="*/ 1064123 w 1064123"/>
              <a:gd name="connsiteY242" fmla="*/ 2421288 h 6407421"/>
              <a:gd name="connsiteX243" fmla="*/ 1034520 w 1064123"/>
              <a:gd name="connsiteY243" fmla="*/ 2421288 h 6407421"/>
              <a:gd name="connsiteX244" fmla="*/ 768327 w 1064123"/>
              <a:gd name="connsiteY244" fmla="*/ 2391675 h 6407421"/>
              <a:gd name="connsiteX245" fmla="*/ 797926 w 1064123"/>
              <a:gd name="connsiteY245" fmla="*/ 2391675 h 6407421"/>
              <a:gd name="connsiteX246" fmla="*/ 797926 w 1064123"/>
              <a:gd name="connsiteY246" fmla="*/ 2421283 h 6407421"/>
              <a:gd name="connsiteX247" fmla="*/ 768327 w 1064123"/>
              <a:gd name="connsiteY247" fmla="*/ 2421283 h 6407421"/>
              <a:gd name="connsiteX248" fmla="*/ 502236 w 1064123"/>
              <a:gd name="connsiteY248" fmla="*/ 2391672 h 6407421"/>
              <a:gd name="connsiteX249" fmla="*/ 531838 w 1064123"/>
              <a:gd name="connsiteY249" fmla="*/ 2391672 h 6407421"/>
              <a:gd name="connsiteX250" fmla="*/ 531838 w 1064123"/>
              <a:gd name="connsiteY250" fmla="*/ 2421278 h 6407421"/>
              <a:gd name="connsiteX251" fmla="*/ 502236 w 1064123"/>
              <a:gd name="connsiteY251" fmla="*/ 2421278 h 6407421"/>
              <a:gd name="connsiteX252" fmla="*/ 236037 w 1064123"/>
              <a:gd name="connsiteY252" fmla="*/ 2391669 h 6407421"/>
              <a:gd name="connsiteX253" fmla="*/ 265639 w 1064123"/>
              <a:gd name="connsiteY253" fmla="*/ 2391669 h 6407421"/>
              <a:gd name="connsiteX254" fmla="*/ 265639 w 1064123"/>
              <a:gd name="connsiteY254" fmla="*/ 2421272 h 6407421"/>
              <a:gd name="connsiteX255" fmla="*/ 236037 w 1064123"/>
              <a:gd name="connsiteY255" fmla="*/ 2421272 h 6407421"/>
              <a:gd name="connsiteX256" fmla="*/ 1 w 1064123"/>
              <a:gd name="connsiteY256" fmla="*/ 2391669 h 6407421"/>
              <a:gd name="connsiteX257" fmla="*/ 29603 w 1064123"/>
              <a:gd name="connsiteY257" fmla="*/ 2391669 h 6407421"/>
              <a:gd name="connsiteX258" fmla="*/ 29603 w 1064123"/>
              <a:gd name="connsiteY258" fmla="*/ 2421272 h 6407421"/>
              <a:gd name="connsiteX259" fmla="*/ 1 w 1064123"/>
              <a:gd name="connsiteY259" fmla="*/ 2421272 h 6407421"/>
              <a:gd name="connsiteX260" fmla="*/ 1034520 w 1064123"/>
              <a:gd name="connsiteY260" fmla="*/ 2126020 h 6407421"/>
              <a:gd name="connsiteX261" fmla="*/ 1064123 w 1064123"/>
              <a:gd name="connsiteY261" fmla="*/ 2126020 h 6407421"/>
              <a:gd name="connsiteX262" fmla="*/ 1064123 w 1064123"/>
              <a:gd name="connsiteY262" fmla="*/ 2155517 h 6407421"/>
              <a:gd name="connsiteX263" fmla="*/ 1034520 w 1064123"/>
              <a:gd name="connsiteY263" fmla="*/ 2155517 h 6407421"/>
              <a:gd name="connsiteX264" fmla="*/ 768327 w 1064123"/>
              <a:gd name="connsiteY264" fmla="*/ 2126017 h 6407421"/>
              <a:gd name="connsiteX265" fmla="*/ 797926 w 1064123"/>
              <a:gd name="connsiteY265" fmla="*/ 2126017 h 6407421"/>
              <a:gd name="connsiteX266" fmla="*/ 797926 w 1064123"/>
              <a:gd name="connsiteY266" fmla="*/ 2155513 h 6407421"/>
              <a:gd name="connsiteX267" fmla="*/ 768327 w 1064123"/>
              <a:gd name="connsiteY267" fmla="*/ 2155513 h 6407421"/>
              <a:gd name="connsiteX268" fmla="*/ 502236 w 1064123"/>
              <a:gd name="connsiteY268" fmla="*/ 2126014 h 6407421"/>
              <a:gd name="connsiteX269" fmla="*/ 531838 w 1064123"/>
              <a:gd name="connsiteY269" fmla="*/ 2126014 h 6407421"/>
              <a:gd name="connsiteX270" fmla="*/ 531838 w 1064123"/>
              <a:gd name="connsiteY270" fmla="*/ 2155510 h 6407421"/>
              <a:gd name="connsiteX271" fmla="*/ 502236 w 1064123"/>
              <a:gd name="connsiteY271" fmla="*/ 2155510 h 6407421"/>
              <a:gd name="connsiteX272" fmla="*/ 236037 w 1064123"/>
              <a:gd name="connsiteY272" fmla="*/ 2126012 h 6407421"/>
              <a:gd name="connsiteX273" fmla="*/ 265639 w 1064123"/>
              <a:gd name="connsiteY273" fmla="*/ 2126012 h 6407421"/>
              <a:gd name="connsiteX274" fmla="*/ 265639 w 1064123"/>
              <a:gd name="connsiteY274" fmla="*/ 2155506 h 6407421"/>
              <a:gd name="connsiteX275" fmla="*/ 236037 w 1064123"/>
              <a:gd name="connsiteY275" fmla="*/ 2155506 h 6407421"/>
              <a:gd name="connsiteX276" fmla="*/ 1 w 1064123"/>
              <a:gd name="connsiteY276" fmla="*/ 2126012 h 6407421"/>
              <a:gd name="connsiteX277" fmla="*/ 29603 w 1064123"/>
              <a:gd name="connsiteY277" fmla="*/ 2126012 h 6407421"/>
              <a:gd name="connsiteX278" fmla="*/ 29603 w 1064123"/>
              <a:gd name="connsiteY278" fmla="*/ 2155506 h 6407421"/>
              <a:gd name="connsiteX279" fmla="*/ 1 w 1064123"/>
              <a:gd name="connsiteY279" fmla="*/ 2155506 h 6407421"/>
              <a:gd name="connsiteX280" fmla="*/ 1034520 w 1064123"/>
              <a:gd name="connsiteY280" fmla="*/ 1860254 h 6407421"/>
              <a:gd name="connsiteX281" fmla="*/ 1064123 w 1064123"/>
              <a:gd name="connsiteY281" fmla="*/ 1860254 h 6407421"/>
              <a:gd name="connsiteX282" fmla="*/ 1064123 w 1064123"/>
              <a:gd name="connsiteY282" fmla="*/ 1889747 h 6407421"/>
              <a:gd name="connsiteX283" fmla="*/ 1034520 w 1064123"/>
              <a:gd name="connsiteY283" fmla="*/ 1889747 h 6407421"/>
              <a:gd name="connsiteX284" fmla="*/ 768327 w 1064123"/>
              <a:gd name="connsiteY284" fmla="*/ 1860252 h 6407421"/>
              <a:gd name="connsiteX285" fmla="*/ 797926 w 1064123"/>
              <a:gd name="connsiteY285" fmla="*/ 1860252 h 6407421"/>
              <a:gd name="connsiteX286" fmla="*/ 797926 w 1064123"/>
              <a:gd name="connsiteY286" fmla="*/ 1889745 h 6407421"/>
              <a:gd name="connsiteX287" fmla="*/ 768327 w 1064123"/>
              <a:gd name="connsiteY287" fmla="*/ 1889745 h 6407421"/>
              <a:gd name="connsiteX288" fmla="*/ 502236 w 1064123"/>
              <a:gd name="connsiteY288" fmla="*/ 1860249 h 6407421"/>
              <a:gd name="connsiteX289" fmla="*/ 531838 w 1064123"/>
              <a:gd name="connsiteY289" fmla="*/ 1860249 h 6407421"/>
              <a:gd name="connsiteX290" fmla="*/ 531838 w 1064123"/>
              <a:gd name="connsiteY290" fmla="*/ 1889744 h 6407421"/>
              <a:gd name="connsiteX291" fmla="*/ 502236 w 1064123"/>
              <a:gd name="connsiteY291" fmla="*/ 1889744 h 6407421"/>
              <a:gd name="connsiteX292" fmla="*/ 236037 w 1064123"/>
              <a:gd name="connsiteY292" fmla="*/ 1860247 h 6407421"/>
              <a:gd name="connsiteX293" fmla="*/ 265639 w 1064123"/>
              <a:gd name="connsiteY293" fmla="*/ 1860247 h 6407421"/>
              <a:gd name="connsiteX294" fmla="*/ 265639 w 1064123"/>
              <a:gd name="connsiteY294" fmla="*/ 1889742 h 6407421"/>
              <a:gd name="connsiteX295" fmla="*/ 236037 w 1064123"/>
              <a:gd name="connsiteY295" fmla="*/ 1889742 h 6407421"/>
              <a:gd name="connsiteX296" fmla="*/ 1 w 1064123"/>
              <a:gd name="connsiteY296" fmla="*/ 1860247 h 6407421"/>
              <a:gd name="connsiteX297" fmla="*/ 29603 w 1064123"/>
              <a:gd name="connsiteY297" fmla="*/ 1860247 h 6407421"/>
              <a:gd name="connsiteX298" fmla="*/ 29603 w 1064123"/>
              <a:gd name="connsiteY298" fmla="*/ 1889742 h 6407421"/>
              <a:gd name="connsiteX299" fmla="*/ 1 w 1064123"/>
              <a:gd name="connsiteY299" fmla="*/ 1889742 h 6407421"/>
              <a:gd name="connsiteX300" fmla="*/ 1034520 w 1064123"/>
              <a:gd name="connsiteY300" fmla="*/ 1594489 h 6407421"/>
              <a:gd name="connsiteX301" fmla="*/ 1064123 w 1064123"/>
              <a:gd name="connsiteY301" fmla="*/ 1594489 h 6407421"/>
              <a:gd name="connsiteX302" fmla="*/ 1064123 w 1064123"/>
              <a:gd name="connsiteY302" fmla="*/ 1624092 h 6407421"/>
              <a:gd name="connsiteX303" fmla="*/ 1034520 w 1064123"/>
              <a:gd name="connsiteY303" fmla="*/ 1624092 h 6407421"/>
              <a:gd name="connsiteX304" fmla="*/ 768327 w 1064123"/>
              <a:gd name="connsiteY304" fmla="*/ 1594486 h 6407421"/>
              <a:gd name="connsiteX305" fmla="*/ 797926 w 1064123"/>
              <a:gd name="connsiteY305" fmla="*/ 1594486 h 6407421"/>
              <a:gd name="connsiteX306" fmla="*/ 797926 w 1064123"/>
              <a:gd name="connsiteY306" fmla="*/ 1624090 h 6407421"/>
              <a:gd name="connsiteX307" fmla="*/ 768327 w 1064123"/>
              <a:gd name="connsiteY307" fmla="*/ 1624090 h 6407421"/>
              <a:gd name="connsiteX308" fmla="*/ 502236 w 1064123"/>
              <a:gd name="connsiteY308" fmla="*/ 1594484 h 6407421"/>
              <a:gd name="connsiteX309" fmla="*/ 531838 w 1064123"/>
              <a:gd name="connsiteY309" fmla="*/ 1594484 h 6407421"/>
              <a:gd name="connsiteX310" fmla="*/ 531838 w 1064123"/>
              <a:gd name="connsiteY310" fmla="*/ 1624087 h 6407421"/>
              <a:gd name="connsiteX311" fmla="*/ 502236 w 1064123"/>
              <a:gd name="connsiteY311" fmla="*/ 1624087 h 6407421"/>
              <a:gd name="connsiteX312" fmla="*/ 236037 w 1064123"/>
              <a:gd name="connsiteY312" fmla="*/ 1594482 h 6407421"/>
              <a:gd name="connsiteX313" fmla="*/ 265639 w 1064123"/>
              <a:gd name="connsiteY313" fmla="*/ 1594482 h 6407421"/>
              <a:gd name="connsiteX314" fmla="*/ 265639 w 1064123"/>
              <a:gd name="connsiteY314" fmla="*/ 1624085 h 6407421"/>
              <a:gd name="connsiteX315" fmla="*/ 236037 w 1064123"/>
              <a:gd name="connsiteY315" fmla="*/ 1624085 h 6407421"/>
              <a:gd name="connsiteX316" fmla="*/ 1 w 1064123"/>
              <a:gd name="connsiteY316" fmla="*/ 1594482 h 6407421"/>
              <a:gd name="connsiteX317" fmla="*/ 29603 w 1064123"/>
              <a:gd name="connsiteY317" fmla="*/ 1594482 h 6407421"/>
              <a:gd name="connsiteX318" fmla="*/ 29603 w 1064123"/>
              <a:gd name="connsiteY318" fmla="*/ 1624085 h 6407421"/>
              <a:gd name="connsiteX319" fmla="*/ 1 w 1064123"/>
              <a:gd name="connsiteY319" fmla="*/ 1624085 h 6407421"/>
              <a:gd name="connsiteX320" fmla="*/ 1034520 w 1064123"/>
              <a:gd name="connsiteY320" fmla="*/ 1328724 h 6407421"/>
              <a:gd name="connsiteX321" fmla="*/ 1064123 w 1064123"/>
              <a:gd name="connsiteY321" fmla="*/ 1328724 h 6407421"/>
              <a:gd name="connsiteX322" fmla="*/ 1064123 w 1064123"/>
              <a:gd name="connsiteY322" fmla="*/ 1358328 h 6407421"/>
              <a:gd name="connsiteX323" fmla="*/ 1034520 w 1064123"/>
              <a:gd name="connsiteY323" fmla="*/ 1358328 h 6407421"/>
              <a:gd name="connsiteX324" fmla="*/ 768327 w 1064123"/>
              <a:gd name="connsiteY324" fmla="*/ 1328722 h 6407421"/>
              <a:gd name="connsiteX325" fmla="*/ 797926 w 1064123"/>
              <a:gd name="connsiteY325" fmla="*/ 1328722 h 6407421"/>
              <a:gd name="connsiteX326" fmla="*/ 797926 w 1064123"/>
              <a:gd name="connsiteY326" fmla="*/ 1358325 h 6407421"/>
              <a:gd name="connsiteX327" fmla="*/ 768327 w 1064123"/>
              <a:gd name="connsiteY327" fmla="*/ 1358325 h 6407421"/>
              <a:gd name="connsiteX328" fmla="*/ 502236 w 1064123"/>
              <a:gd name="connsiteY328" fmla="*/ 1328719 h 6407421"/>
              <a:gd name="connsiteX329" fmla="*/ 531838 w 1064123"/>
              <a:gd name="connsiteY329" fmla="*/ 1328719 h 6407421"/>
              <a:gd name="connsiteX330" fmla="*/ 531838 w 1064123"/>
              <a:gd name="connsiteY330" fmla="*/ 1358323 h 6407421"/>
              <a:gd name="connsiteX331" fmla="*/ 502236 w 1064123"/>
              <a:gd name="connsiteY331" fmla="*/ 1358323 h 6407421"/>
              <a:gd name="connsiteX332" fmla="*/ 236036 w 1064123"/>
              <a:gd name="connsiteY332" fmla="*/ 1328717 h 6407421"/>
              <a:gd name="connsiteX333" fmla="*/ 265639 w 1064123"/>
              <a:gd name="connsiteY333" fmla="*/ 1328717 h 6407421"/>
              <a:gd name="connsiteX334" fmla="*/ 265639 w 1064123"/>
              <a:gd name="connsiteY334" fmla="*/ 1358320 h 6407421"/>
              <a:gd name="connsiteX335" fmla="*/ 236036 w 1064123"/>
              <a:gd name="connsiteY335" fmla="*/ 1358320 h 6407421"/>
              <a:gd name="connsiteX336" fmla="*/ 1 w 1064123"/>
              <a:gd name="connsiteY336" fmla="*/ 1328717 h 6407421"/>
              <a:gd name="connsiteX337" fmla="*/ 29602 w 1064123"/>
              <a:gd name="connsiteY337" fmla="*/ 1328717 h 6407421"/>
              <a:gd name="connsiteX338" fmla="*/ 29602 w 1064123"/>
              <a:gd name="connsiteY338" fmla="*/ 1358320 h 6407421"/>
              <a:gd name="connsiteX339" fmla="*/ 1 w 1064123"/>
              <a:gd name="connsiteY339" fmla="*/ 1358320 h 6407421"/>
              <a:gd name="connsiteX340" fmla="*/ 1034520 w 1064123"/>
              <a:gd name="connsiteY340" fmla="*/ 1063069 h 6407421"/>
              <a:gd name="connsiteX341" fmla="*/ 1064123 w 1064123"/>
              <a:gd name="connsiteY341" fmla="*/ 1063069 h 6407421"/>
              <a:gd name="connsiteX342" fmla="*/ 1064123 w 1064123"/>
              <a:gd name="connsiteY342" fmla="*/ 1092563 h 6407421"/>
              <a:gd name="connsiteX343" fmla="*/ 1034520 w 1064123"/>
              <a:gd name="connsiteY343" fmla="*/ 1092563 h 6407421"/>
              <a:gd name="connsiteX344" fmla="*/ 768326 w 1064123"/>
              <a:gd name="connsiteY344" fmla="*/ 1063066 h 6407421"/>
              <a:gd name="connsiteX345" fmla="*/ 797926 w 1064123"/>
              <a:gd name="connsiteY345" fmla="*/ 1063066 h 6407421"/>
              <a:gd name="connsiteX346" fmla="*/ 797926 w 1064123"/>
              <a:gd name="connsiteY346" fmla="*/ 1092560 h 6407421"/>
              <a:gd name="connsiteX347" fmla="*/ 768326 w 1064123"/>
              <a:gd name="connsiteY347" fmla="*/ 1092560 h 6407421"/>
              <a:gd name="connsiteX348" fmla="*/ 502235 w 1064123"/>
              <a:gd name="connsiteY348" fmla="*/ 1063063 h 6407421"/>
              <a:gd name="connsiteX349" fmla="*/ 531838 w 1064123"/>
              <a:gd name="connsiteY349" fmla="*/ 1063063 h 6407421"/>
              <a:gd name="connsiteX350" fmla="*/ 531838 w 1064123"/>
              <a:gd name="connsiteY350" fmla="*/ 1092557 h 6407421"/>
              <a:gd name="connsiteX351" fmla="*/ 502235 w 1064123"/>
              <a:gd name="connsiteY351" fmla="*/ 1092557 h 6407421"/>
              <a:gd name="connsiteX352" fmla="*/ 236036 w 1064123"/>
              <a:gd name="connsiteY352" fmla="*/ 1063059 h 6407421"/>
              <a:gd name="connsiteX353" fmla="*/ 265639 w 1064123"/>
              <a:gd name="connsiteY353" fmla="*/ 1063059 h 6407421"/>
              <a:gd name="connsiteX354" fmla="*/ 265639 w 1064123"/>
              <a:gd name="connsiteY354" fmla="*/ 1092554 h 6407421"/>
              <a:gd name="connsiteX355" fmla="*/ 236036 w 1064123"/>
              <a:gd name="connsiteY355" fmla="*/ 1092554 h 6407421"/>
              <a:gd name="connsiteX356" fmla="*/ 0 w 1064123"/>
              <a:gd name="connsiteY356" fmla="*/ 1063059 h 6407421"/>
              <a:gd name="connsiteX357" fmla="*/ 29602 w 1064123"/>
              <a:gd name="connsiteY357" fmla="*/ 1063059 h 6407421"/>
              <a:gd name="connsiteX358" fmla="*/ 29602 w 1064123"/>
              <a:gd name="connsiteY358" fmla="*/ 1092554 h 6407421"/>
              <a:gd name="connsiteX359" fmla="*/ 0 w 1064123"/>
              <a:gd name="connsiteY359" fmla="*/ 1092554 h 6407421"/>
              <a:gd name="connsiteX360" fmla="*/ 1034520 w 1064123"/>
              <a:gd name="connsiteY360" fmla="*/ 797300 h 6407421"/>
              <a:gd name="connsiteX361" fmla="*/ 1064123 w 1064123"/>
              <a:gd name="connsiteY361" fmla="*/ 797300 h 6407421"/>
              <a:gd name="connsiteX362" fmla="*/ 1064123 w 1064123"/>
              <a:gd name="connsiteY362" fmla="*/ 826797 h 6407421"/>
              <a:gd name="connsiteX363" fmla="*/ 1034520 w 1064123"/>
              <a:gd name="connsiteY363" fmla="*/ 826797 h 6407421"/>
              <a:gd name="connsiteX364" fmla="*/ 768326 w 1064123"/>
              <a:gd name="connsiteY364" fmla="*/ 797298 h 6407421"/>
              <a:gd name="connsiteX365" fmla="*/ 797926 w 1064123"/>
              <a:gd name="connsiteY365" fmla="*/ 797298 h 6407421"/>
              <a:gd name="connsiteX366" fmla="*/ 797926 w 1064123"/>
              <a:gd name="connsiteY366" fmla="*/ 826794 h 6407421"/>
              <a:gd name="connsiteX367" fmla="*/ 768326 w 1064123"/>
              <a:gd name="connsiteY367" fmla="*/ 826794 h 6407421"/>
              <a:gd name="connsiteX368" fmla="*/ 502235 w 1064123"/>
              <a:gd name="connsiteY368" fmla="*/ 797296 h 6407421"/>
              <a:gd name="connsiteX369" fmla="*/ 531838 w 1064123"/>
              <a:gd name="connsiteY369" fmla="*/ 797296 h 6407421"/>
              <a:gd name="connsiteX370" fmla="*/ 531838 w 1064123"/>
              <a:gd name="connsiteY370" fmla="*/ 826792 h 6407421"/>
              <a:gd name="connsiteX371" fmla="*/ 502235 w 1064123"/>
              <a:gd name="connsiteY371" fmla="*/ 826792 h 6407421"/>
              <a:gd name="connsiteX372" fmla="*/ 236036 w 1064123"/>
              <a:gd name="connsiteY372" fmla="*/ 797294 h 6407421"/>
              <a:gd name="connsiteX373" fmla="*/ 265639 w 1064123"/>
              <a:gd name="connsiteY373" fmla="*/ 797294 h 6407421"/>
              <a:gd name="connsiteX374" fmla="*/ 265639 w 1064123"/>
              <a:gd name="connsiteY374" fmla="*/ 826789 h 6407421"/>
              <a:gd name="connsiteX375" fmla="*/ 236036 w 1064123"/>
              <a:gd name="connsiteY375" fmla="*/ 826789 h 6407421"/>
              <a:gd name="connsiteX376" fmla="*/ 0 w 1064123"/>
              <a:gd name="connsiteY376" fmla="*/ 797294 h 6407421"/>
              <a:gd name="connsiteX377" fmla="*/ 29602 w 1064123"/>
              <a:gd name="connsiteY377" fmla="*/ 797294 h 6407421"/>
              <a:gd name="connsiteX378" fmla="*/ 29602 w 1064123"/>
              <a:gd name="connsiteY378" fmla="*/ 826789 h 6407421"/>
              <a:gd name="connsiteX379" fmla="*/ 0 w 1064123"/>
              <a:gd name="connsiteY379" fmla="*/ 826789 h 6407421"/>
              <a:gd name="connsiteX380" fmla="*/ 1034520 w 1064123"/>
              <a:gd name="connsiteY380" fmla="*/ 531537 h 6407421"/>
              <a:gd name="connsiteX381" fmla="*/ 1064123 w 1064123"/>
              <a:gd name="connsiteY381" fmla="*/ 531537 h 6407421"/>
              <a:gd name="connsiteX382" fmla="*/ 1064123 w 1064123"/>
              <a:gd name="connsiteY382" fmla="*/ 561139 h 6407421"/>
              <a:gd name="connsiteX383" fmla="*/ 1034520 w 1064123"/>
              <a:gd name="connsiteY383" fmla="*/ 561139 h 6407421"/>
              <a:gd name="connsiteX384" fmla="*/ 768326 w 1064123"/>
              <a:gd name="connsiteY384" fmla="*/ 531534 h 6407421"/>
              <a:gd name="connsiteX385" fmla="*/ 797926 w 1064123"/>
              <a:gd name="connsiteY385" fmla="*/ 531534 h 6407421"/>
              <a:gd name="connsiteX386" fmla="*/ 797926 w 1064123"/>
              <a:gd name="connsiteY386" fmla="*/ 561137 h 6407421"/>
              <a:gd name="connsiteX387" fmla="*/ 768326 w 1064123"/>
              <a:gd name="connsiteY387" fmla="*/ 561137 h 6407421"/>
              <a:gd name="connsiteX388" fmla="*/ 502235 w 1064123"/>
              <a:gd name="connsiteY388" fmla="*/ 531532 h 6407421"/>
              <a:gd name="connsiteX389" fmla="*/ 531838 w 1064123"/>
              <a:gd name="connsiteY389" fmla="*/ 531532 h 6407421"/>
              <a:gd name="connsiteX390" fmla="*/ 531838 w 1064123"/>
              <a:gd name="connsiteY390" fmla="*/ 561135 h 6407421"/>
              <a:gd name="connsiteX391" fmla="*/ 502235 w 1064123"/>
              <a:gd name="connsiteY391" fmla="*/ 561135 h 6407421"/>
              <a:gd name="connsiteX392" fmla="*/ 236036 w 1064123"/>
              <a:gd name="connsiteY392" fmla="*/ 531530 h 6407421"/>
              <a:gd name="connsiteX393" fmla="*/ 265639 w 1064123"/>
              <a:gd name="connsiteY393" fmla="*/ 531530 h 6407421"/>
              <a:gd name="connsiteX394" fmla="*/ 265639 w 1064123"/>
              <a:gd name="connsiteY394" fmla="*/ 561133 h 6407421"/>
              <a:gd name="connsiteX395" fmla="*/ 236036 w 1064123"/>
              <a:gd name="connsiteY395" fmla="*/ 561133 h 6407421"/>
              <a:gd name="connsiteX396" fmla="*/ 0 w 1064123"/>
              <a:gd name="connsiteY396" fmla="*/ 531530 h 6407421"/>
              <a:gd name="connsiteX397" fmla="*/ 29602 w 1064123"/>
              <a:gd name="connsiteY397" fmla="*/ 531530 h 6407421"/>
              <a:gd name="connsiteX398" fmla="*/ 29602 w 1064123"/>
              <a:gd name="connsiteY398" fmla="*/ 561133 h 6407421"/>
              <a:gd name="connsiteX399" fmla="*/ 0 w 1064123"/>
              <a:gd name="connsiteY399" fmla="*/ 561133 h 6407421"/>
              <a:gd name="connsiteX400" fmla="*/ 1034520 w 1064123"/>
              <a:gd name="connsiteY400" fmla="*/ 265772 h 6407421"/>
              <a:gd name="connsiteX401" fmla="*/ 1064123 w 1064123"/>
              <a:gd name="connsiteY401" fmla="*/ 265772 h 6407421"/>
              <a:gd name="connsiteX402" fmla="*/ 1064123 w 1064123"/>
              <a:gd name="connsiteY402" fmla="*/ 295374 h 6407421"/>
              <a:gd name="connsiteX403" fmla="*/ 1034520 w 1064123"/>
              <a:gd name="connsiteY403" fmla="*/ 295374 h 6407421"/>
              <a:gd name="connsiteX404" fmla="*/ 768326 w 1064123"/>
              <a:gd name="connsiteY404" fmla="*/ 265770 h 6407421"/>
              <a:gd name="connsiteX405" fmla="*/ 797926 w 1064123"/>
              <a:gd name="connsiteY405" fmla="*/ 265770 h 6407421"/>
              <a:gd name="connsiteX406" fmla="*/ 797926 w 1064123"/>
              <a:gd name="connsiteY406" fmla="*/ 295372 h 6407421"/>
              <a:gd name="connsiteX407" fmla="*/ 768326 w 1064123"/>
              <a:gd name="connsiteY407" fmla="*/ 295372 h 6407421"/>
              <a:gd name="connsiteX408" fmla="*/ 502235 w 1064123"/>
              <a:gd name="connsiteY408" fmla="*/ 265767 h 6407421"/>
              <a:gd name="connsiteX409" fmla="*/ 531838 w 1064123"/>
              <a:gd name="connsiteY409" fmla="*/ 265767 h 6407421"/>
              <a:gd name="connsiteX410" fmla="*/ 531838 w 1064123"/>
              <a:gd name="connsiteY410" fmla="*/ 295370 h 6407421"/>
              <a:gd name="connsiteX411" fmla="*/ 502235 w 1064123"/>
              <a:gd name="connsiteY411" fmla="*/ 295370 h 6407421"/>
              <a:gd name="connsiteX412" fmla="*/ 236036 w 1064123"/>
              <a:gd name="connsiteY412" fmla="*/ 265765 h 6407421"/>
              <a:gd name="connsiteX413" fmla="*/ 265639 w 1064123"/>
              <a:gd name="connsiteY413" fmla="*/ 265765 h 6407421"/>
              <a:gd name="connsiteX414" fmla="*/ 265639 w 1064123"/>
              <a:gd name="connsiteY414" fmla="*/ 295368 h 6407421"/>
              <a:gd name="connsiteX415" fmla="*/ 236036 w 1064123"/>
              <a:gd name="connsiteY415" fmla="*/ 295368 h 6407421"/>
              <a:gd name="connsiteX416" fmla="*/ 0 w 1064123"/>
              <a:gd name="connsiteY416" fmla="*/ 265765 h 6407421"/>
              <a:gd name="connsiteX417" fmla="*/ 29602 w 1064123"/>
              <a:gd name="connsiteY417" fmla="*/ 265765 h 6407421"/>
              <a:gd name="connsiteX418" fmla="*/ 29602 w 1064123"/>
              <a:gd name="connsiteY418" fmla="*/ 295368 h 6407421"/>
              <a:gd name="connsiteX419" fmla="*/ 0 w 1064123"/>
              <a:gd name="connsiteY419" fmla="*/ 295368 h 6407421"/>
              <a:gd name="connsiteX420" fmla="*/ 1034520 w 1064123"/>
              <a:gd name="connsiteY420" fmla="*/ 7 h 6407421"/>
              <a:gd name="connsiteX421" fmla="*/ 1064123 w 1064123"/>
              <a:gd name="connsiteY421" fmla="*/ 7 h 6407421"/>
              <a:gd name="connsiteX422" fmla="*/ 1064123 w 1064123"/>
              <a:gd name="connsiteY422" fmla="*/ 29609 h 6407421"/>
              <a:gd name="connsiteX423" fmla="*/ 1034520 w 1064123"/>
              <a:gd name="connsiteY423" fmla="*/ 29609 h 6407421"/>
              <a:gd name="connsiteX424" fmla="*/ 768326 w 1064123"/>
              <a:gd name="connsiteY424" fmla="*/ 5 h 6407421"/>
              <a:gd name="connsiteX425" fmla="*/ 797926 w 1064123"/>
              <a:gd name="connsiteY425" fmla="*/ 5 h 6407421"/>
              <a:gd name="connsiteX426" fmla="*/ 797926 w 1064123"/>
              <a:gd name="connsiteY426" fmla="*/ 29607 h 6407421"/>
              <a:gd name="connsiteX427" fmla="*/ 768326 w 1064123"/>
              <a:gd name="connsiteY427" fmla="*/ 29607 h 6407421"/>
              <a:gd name="connsiteX428" fmla="*/ 502235 w 1064123"/>
              <a:gd name="connsiteY428" fmla="*/ 2 h 6407421"/>
              <a:gd name="connsiteX429" fmla="*/ 531838 w 1064123"/>
              <a:gd name="connsiteY429" fmla="*/ 2 h 6407421"/>
              <a:gd name="connsiteX430" fmla="*/ 531838 w 1064123"/>
              <a:gd name="connsiteY430" fmla="*/ 29605 h 6407421"/>
              <a:gd name="connsiteX431" fmla="*/ 502235 w 1064123"/>
              <a:gd name="connsiteY431" fmla="*/ 29605 h 6407421"/>
              <a:gd name="connsiteX432" fmla="*/ 236036 w 1064123"/>
              <a:gd name="connsiteY432" fmla="*/ 0 h 6407421"/>
              <a:gd name="connsiteX433" fmla="*/ 265638 w 1064123"/>
              <a:gd name="connsiteY433" fmla="*/ 0 h 6407421"/>
              <a:gd name="connsiteX434" fmla="*/ 265638 w 1064123"/>
              <a:gd name="connsiteY434" fmla="*/ 29602 h 6407421"/>
              <a:gd name="connsiteX435" fmla="*/ 236036 w 1064123"/>
              <a:gd name="connsiteY435" fmla="*/ 29602 h 6407421"/>
              <a:gd name="connsiteX436" fmla="*/ 0 w 1064123"/>
              <a:gd name="connsiteY436" fmla="*/ 0 h 6407421"/>
              <a:gd name="connsiteX437" fmla="*/ 29602 w 1064123"/>
              <a:gd name="connsiteY437" fmla="*/ 0 h 6407421"/>
              <a:gd name="connsiteX438" fmla="*/ 29602 w 1064123"/>
              <a:gd name="connsiteY438" fmla="*/ 29602 h 6407421"/>
              <a:gd name="connsiteX439" fmla="*/ 0 w 1064123"/>
              <a:gd name="connsiteY43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40000"/>
            </a:schemeClr>
          </a:solidFill>
          <a:ln w="10797" cap="flat">
            <a:noFill/>
            <a:prstDash val="solid"/>
            <a:miter/>
          </a:ln>
        </p:spPr>
        <p:txBody>
          <a:bodyPr wrap="square" rtlCol="0" anchor="ctr">
            <a:noAutofit/>
          </a:bodyPr>
          <a:lstStyle/>
          <a:p>
            <a:endParaRPr lang="en-US"/>
          </a:p>
        </p:txBody>
      </p:sp>
      <p:grpSp>
        <p:nvGrpSpPr>
          <p:cNvPr id="19" name="Group 18">
            <a:extLst>
              <a:ext uri="{FF2B5EF4-FFF2-40B4-BE49-F238E27FC236}">
                <a16:creationId xmlns:a16="http://schemas.microsoft.com/office/drawing/2014/main" id="{CBAC028C-EC3F-435B-9DE8-13BCD26C5165}"/>
              </a:ext>
            </a:extLst>
          </p:cNvPr>
          <p:cNvGrpSpPr/>
          <p:nvPr userDrawn="1"/>
        </p:nvGrpSpPr>
        <p:grpSpPr>
          <a:xfrm>
            <a:off x="-3221" y="0"/>
            <a:ext cx="1570603" cy="6342667"/>
            <a:chOff x="-3221" y="0"/>
            <a:chExt cx="1570603" cy="6342667"/>
          </a:xfrm>
        </p:grpSpPr>
        <p:sp>
          <p:nvSpPr>
            <p:cNvPr id="20" name="Freeform: Shape 41">
              <a:extLst>
                <a:ext uri="{FF2B5EF4-FFF2-40B4-BE49-F238E27FC236}">
                  <a16:creationId xmlns:a16="http://schemas.microsoft.com/office/drawing/2014/main" id="{092BA1EB-2C6C-4E12-AB7D-72F5E1A4BD2A}"/>
                </a:ext>
              </a:extLst>
            </p:cNvPr>
            <p:cNvSpPr txBox="1">
              <a:spLocks/>
            </p:cNvSpPr>
            <p:nvPr/>
          </p:nvSpPr>
          <p:spPr>
            <a:xfrm>
              <a:off x="771720" y="1305465"/>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Freeform: Shape 42">
              <a:extLst>
                <a:ext uri="{FF2B5EF4-FFF2-40B4-BE49-F238E27FC236}">
                  <a16:creationId xmlns:a16="http://schemas.microsoft.com/office/drawing/2014/main" id="{D4D4DDAE-2EFC-4241-AC8C-8B7DCE39EA30}"/>
                </a:ext>
              </a:extLst>
            </p:cNvPr>
            <p:cNvSpPr txBox="1">
              <a:spLocks/>
            </p:cNvSpPr>
            <p:nvPr/>
          </p:nvSpPr>
          <p:spPr>
            <a:xfrm rot="16200000">
              <a:off x="653257" y="1982983"/>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Freeform: Shape 81">
              <a:extLst>
                <a:ext uri="{FF2B5EF4-FFF2-40B4-BE49-F238E27FC236}">
                  <a16:creationId xmlns:a16="http://schemas.microsoft.com/office/drawing/2014/main" id="{2AC27067-A52C-40F3-BB3C-698744CFAFBF}"/>
                </a:ext>
              </a:extLst>
            </p:cNvPr>
            <p:cNvSpPr txBox="1">
              <a:spLocks/>
            </p:cNvSpPr>
            <p:nvPr/>
          </p:nvSpPr>
          <p:spPr>
            <a:xfrm rot="5400000">
              <a:off x="522214" y="5297589"/>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3" name="Freeform: Shape 41">
              <a:extLst>
                <a:ext uri="{FF2B5EF4-FFF2-40B4-BE49-F238E27FC236}">
                  <a16:creationId xmlns:a16="http://schemas.microsoft.com/office/drawing/2014/main" id="{1C0FA829-2C18-4B1F-9649-F2CAC02C699E}"/>
                </a:ext>
              </a:extLst>
            </p:cNvPr>
            <p:cNvSpPr txBox="1">
              <a:spLocks/>
            </p:cNvSpPr>
            <p:nvPr/>
          </p:nvSpPr>
          <p:spPr>
            <a:xfrm>
              <a:off x="253539" y="422329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4" name="Freeform: Shape 81">
              <a:extLst>
                <a:ext uri="{FF2B5EF4-FFF2-40B4-BE49-F238E27FC236}">
                  <a16:creationId xmlns:a16="http://schemas.microsoft.com/office/drawing/2014/main" id="{CCCD273D-DE19-4933-94D2-E7940BB47430}"/>
                </a:ext>
              </a:extLst>
            </p:cNvPr>
            <p:cNvSpPr txBox="1">
              <a:spLocks/>
            </p:cNvSpPr>
            <p:nvPr/>
          </p:nvSpPr>
          <p:spPr>
            <a:xfrm rot="16200000">
              <a:off x="11410" y="-14631"/>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pic>
        <p:nvPicPr>
          <p:cNvPr id="15" name="Picture 14">
            <a:extLst>
              <a:ext uri="{FF2B5EF4-FFF2-40B4-BE49-F238E27FC236}">
                <a16:creationId xmlns:a16="http://schemas.microsoft.com/office/drawing/2014/main" id="{D1FE48FD-A268-44E1-A33A-FD3B9E35EB58}"/>
              </a:ext>
            </a:extLst>
          </p:cNvPr>
          <p:cNvPicPr>
            <a:picLocks noChangeAspect="1"/>
          </p:cNvPicPr>
          <p:nvPr userDrawn="1"/>
        </p:nvPicPr>
        <p:blipFill>
          <a:blip r:embed="rId2"/>
          <a:srcRect/>
          <a:stretch/>
        </p:blipFill>
        <p:spPr>
          <a:xfrm>
            <a:off x="260487" y="3152155"/>
            <a:ext cx="1053566" cy="542008"/>
          </a:xfrm>
          <a:prstGeom prst="rect">
            <a:avLst/>
          </a:prstGeom>
        </p:spPr>
      </p:pic>
    </p:spTree>
    <p:extLst>
      <p:ext uri="{BB962C8B-B14F-4D97-AF65-F5344CB8AC3E}">
        <p14:creationId xmlns:p14="http://schemas.microsoft.com/office/powerpoint/2010/main" val="2197362637"/>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19" name="Text Placeholder 15">
            <a:extLst>
              <a:ext uri="{FF2B5EF4-FFF2-40B4-BE49-F238E27FC236}">
                <a16:creationId xmlns:a16="http://schemas.microsoft.com/office/drawing/2014/main" id="{672E509B-1543-40DA-99A1-533251FBA0A3}"/>
              </a:ext>
            </a:extLst>
          </p:cNvPr>
          <p:cNvSpPr>
            <a:spLocks noGrp="1"/>
          </p:cNvSpPr>
          <p:nvPr>
            <p:ph type="body" sz="quarter" idx="14" hasCustomPrompt="1"/>
          </p:nvPr>
        </p:nvSpPr>
        <p:spPr>
          <a:xfrm>
            <a:off x="8823799" y="2877529"/>
            <a:ext cx="2985614" cy="466987"/>
          </a:xfrm>
          <a:prstGeom prst="roundRect">
            <a:avLst>
              <a:gd name="adj" fmla="val 50000"/>
            </a:avLst>
          </a:prstGeom>
          <a:solidFill>
            <a:schemeClr val="accent1">
              <a:lumMod val="20000"/>
              <a:lumOff val="80000"/>
            </a:schemeClr>
          </a:solidFill>
        </p:spPr>
        <p:txBody>
          <a:bodyPr wrap="square" lIns="640080" anchor="ctr">
            <a:noAutofit/>
          </a:bodyPr>
          <a:lstStyle>
            <a:lvl1pPr>
              <a:defRPr lang="en-US" sz="1800" b="1" dirty="0" smtClean="0">
                <a:solidFill>
                  <a:schemeClr val="accent1"/>
                </a:solidFill>
                <a:latin typeface="+mn-lt"/>
                <a:cs typeface="+mn-cs"/>
              </a:defRPr>
            </a:lvl1pPr>
            <a:lvl2pPr>
              <a:defRPr lang="en-US" sz="1800" dirty="0" smtClean="0">
                <a:latin typeface="+mn-lt"/>
                <a:cs typeface="+mn-cs"/>
              </a:defRPr>
            </a:lvl2pPr>
            <a:lvl3pPr>
              <a:defRPr lang="en-US" sz="1800" dirty="0" smtClean="0">
                <a:latin typeface="+mn-lt"/>
                <a:cs typeface="+mn-cs"/>
              </a:defRPr>
            </a:lvl3pPr>
            <a:lvl4pPr>
              <a:defRPr lang="en-US" sz="1800" dirty="0" smtClean="0">
                <a:latin typeface="+mn-lt"/>
                <a:cs typeface="+mn-cs"/>
              </a:defRPr>
            </a:lvl4pPr>
            <a:lvl5pPr>
              <a:defRPr lang="en-US" sz="1800" dirty="0">
                <a:latin typeface="+mn-lt"/>
                <a:cs typeface="+mn-cs"/>
              </a:defRPr>
            </a:lvl5pPr>
          </a:lstStyle>
          <a:p>
            <a:pPr lvl="0"/>
            <a:r>
              <a:rPr lang="en-US"/>
              <a:t>Section Header</a:t>
            </a:r>
          </a:p>
        </p:txBody>
      </p:sp>
      <p:sp>
        <p:nvSpPr>
          <p:cNvPr id="18" name="Text Placeholder 15">
            <a:extLst>
              <a:ext uri="{FF2B5EF4-FFF2-40B4-BE49-F238E27FC236}">
                <a16:creationId xmlns:a16="http://schemas.microsoft.com/office/drawing/2014/main" id="{258B8059-8218-4B05-AD63-70D232577BB8}"/>
              </a:ext>
            </a:extLst>
          </p:cNvPr>
          <p:cNvSpPr>
            <a:spLocks noGrp="1"/>
          </p:cNvSpPr>
          <p:nvPr>
            <p:ph type="body" sz="quarter" idx="13" hasCustomPrompt="1"/>
          </p:nvPr>
        </p:nvSpPr>
        <p:spPr>
          <a:xfrm>
            <a:off x="4581525" y="2877529"/>
            <a:ext cx="3163652" cy="466987"/>
          </a:xfrm>
          <a:prstGeom prst="roundRect">
            <a:avLst>
              <a:gd name="adj" fmla="val 50000"/>
            </a:avLst>
          </a:prstGeom>
          <a:solidFill>
            <a:schemeClr val="accent1">
              <a:lumMod val="20000"/>
              <a:lumOff val="80000"/>
            </a:schemeClr>
          </a:solidFill>
        </p:spPr>
        <p:txBody>
          <a:bodyPr wrap="square" lIns="640080" anchor="ctr">
            <a:noAutofit/>
          </a:bodyPr>
          <a:lstStyle>
            <a:lvl1pPr>
              <a:defRPr lang="en-US" sz="1800" b="1" dirty="0" smtClean="0">
                <a:solidFill>
                  <a:schemeClr val="accent1"/>
                </a:solidFill>
                <a:latin typeface="+mn-lt"/>
                <a:cs typeface="+mn-cs"/>
              </a:defRPr>
            </a:lvl1pPr>
            <a:lvl2pPr>
              <a:defRPr lang="en-US" sz="1800" dirty="0" smtClean="0">
                <a:latin typeface="+mn-lt"/>
                <a:cs typeface="+mn-cs"/>
              </a:defRPr>
            </a:lvl2pPr>
            <a:lvl3pPr>
              <a:defRPr lang="en-US" sz="1800" dirty="0" smtClean="0">
                <a:latin typeface="+mn-lt"/>
                <a:cs typeface="+mn-cs"/>
              </a:defRPr>
            </a:lvl3pPr>
            <a:lvl4pPr>
              <a:defRPr lang="en-US" sz="1800" dirty="0" smtClean="0">
                <a:latin typeface="+mn-lt"/>
                <a:cs typeface="+mn-cs"/>
              </a:defRPr>
            </a:lvl4pPr>
            <a:lvl5pPr>
              <a:defRPr lang="en-US" sz="1800" dirty="0">
                <a:latin typeface="+mn-lt"/>
                <a:cs typeface="+mn-cs"/>
              </a:defRPr>
            </a:lvl5pPr>
          </a:lstStyle>
          <a:p>
            <a:pPr lvl="0"/>
            <a:r>
              <a:rPr lang="en-US"/>
              <a:t>Section Header</a:t>
            </a:r>
          </a:p>
        </p:txBody>
      </p:sp>
      <p:sp>
        <p:nvSpPr>
          <p:cNvPr id="3" name="Title 2">
            <a:extLst>
              <a:ext uri="{FF2B5EF4-FFF2-40B4-BE49-F238E27FC236}">
                <a16:creationId xmlns:a16="http://schemas.microsoft.com/office/drawing/2014/main" id="{81E04C22-D44C-41A9-AAFB-C8BC9F54E63F}"/>
              </a:ext>
            </a:extLst>
          </p:cNvPr>
          <p:cNvSpPr>
            <a:spLocks noGrp="1"/>
          </p:cNvSpPr>
          <p:nvPr>
            <p:ph type="title"/>
          </p:nvPr>
        </p:nvSpPr>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3CDC6719-0E5D-46B4-B322-7B9A1A7E01A9}"/>
              </a:ext>
            </a:extLst>
          </p:cNvPr>
          <p:cNvCxnSpPr>
            <a:cxnSpLocks/>
          </p:cNvCxnSpPr>
          <p:nvPr userDrawn="1"/>
        </p:nvCxnSpPr>
        <p:spPr>
          <a:xfrm>
            <a:off x="4148415" y="3439630"/>
            <a:ext cx="0" cy="277067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8FDBA6BC-7F14-4908-AF29-339EE6ADC856}"/>
              </a:ext>
            </a:extLst>
          </p:cNvPr>
          <p:cNvCxnSpPr>
            <a:cxnSpLocks/>
          </p:cNvCxnSpPr>
          <p:nvPr userDrawn="1"/>
        </p:nvCxnSpPr>
        <p:spPr>
          <a:xfrm>
            <a:off x="8041997" y="3439630"/>
            <a:ext cx="0" cy="277067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Picture Placeholder 13">
            <a:extLst>
              <a:ext uri="{FF2B5EF4-FFF2-40B4-BE49-F238E27FC236}">
                <a16:creationId xmlns:a16="http://schemas.microsoft.com/office/drawing/2014/main" id="{8D5FED81-674F-4D86-8DB8-9089C11C1D75}"/>
              </a:ext>
            </a:extLst>
          </p:cNvPr>
          <p:cNvSpPr>
            <a:spLocks noGrp="1"/>
          </p:cNvSpPr>
          <p:nvPr>
            <p:ph type="pic" sz="quarter" idx="10"/>
          </p:nvPr>
        </p:nvSpPr>
        <p:spPr>
          <a:xfrm>
            <a:off x="403228" y="1071567"/>
            <a:ext cx="1443638" cy="1443638"/>
          </a:xfrm>
          <a:prstGeom prst="ellipse">
            <a:avLst/>
          </a:prstGeom>
          <a:ln w="34925">
            <a:solidFill>
              <a:schemeClr val="accent1"/>
            </a:solidFill>
          </a:ln>
        </p:spPr>
        <p:txBody>
          <a:bodyPr/>
          <a:lstStyle/>
          <a:p>
            <a:endParaRPr lang="en-US"/>
          </a:p>
        </p:txBody>
      </p:sp>
      <p:sp>
        <p:nvSpPr>
          <p:cNvPr id="16" name="Text Placeholder 15">
            <a:extLst>
              <a:ext uri="{FF2B5EF4-FFF2-40B4-BE49-F238E27FC236}">
                <a16:creationId xmlns:a16="http://schemas.microsoft.com/office/drawing/2014/main" id="{02259C69-40AB-413B-A191-25145B793D6E}"/>
              </a:ext>
            </a:extLst>
          </p:cNvPr>
          <p:cNvSpPr>
            <a:spLocks noGrp="1"/>
          </p:cNvSpPr>
          <p:nvPr>
            <p:ph type="body" sz="quarter" idx="11"/>
          </p:nvPr>
        </p:nvSpPr>
        <p:spPr>
          <a:xfrm>
            <a:off x="2076450" y="1631072"/>
            <a:ext cx="6091238" cy="276999"/>
          </a:xfrm>
          <a:noFill/>
        </p:spPr>
        <p:txBody>
          <a:bodyPr wrap="square" lIns="0" anchor="ctr">
            <a:spAutoFit/>
          </a:bodyPr>
          <a:lstStyle>
            <a:lvl1pPr>
              <a:defRPr lang="en-US" sz="1800" b="1" dirty="0" smtClean="0">
                <a:latin typeface="+mn-lt"/>
                <a:cs typeface="+mn-cs"/>
              </a:defRPr>
            </a:lvl1pPr>
            <a:lvl2pPr>
              <a:defRPr lang="en-US" sz="1800" dirty="0" smtClean="0">
                <a:latin typeface="+mn-lt"/>
                <a:cs typeface="+mn-cs"/>
              </a:defRPr>
            </a:lvl2pPr>
            <a:lvl3pPr>
              <a:defRPr lang="en-US" sz="1800" dirty="0" smtClean="0">
                <a:latin typeface="+mn-lt"/>
                <a:cs typeface="+mn-cs"/>
              </a:defRPr>
            </a:lvl3pPr>
            <a:lvl4pPr>
              <a:defRPr lang="en-US" sz="1800" dirty="0" smtClean="0">
                <a:latin typeface="+mn-lt"/>
                <a:cs typeface="+mn-cs"/>
              </a:defRPr>
            </a:lvl4pPr>
            <a:lvl5pPr>
              <a:defRPr lang="en-US" sz="1800" dirty="0">
                <a:latin typeface="+mn-lt"/>
                <a:cs typeface="+mn-cs"/>
              </a:defRPr>
            </a:lvl5pPr>
          </a:lstStyle>
          <a:p>
            <a:pPr lvl="0"/>
            <a:r>
              <a:rPr lang="en-US"/>
              <a:t>Click to edit Master text styles</a:t>
            </a:r>
          </a:p>
        </p:txBody>
      </p:sp>
      <p:sp>
        <p:nvSpPr>
          <p:cNvPr id="17" name="Text Placeholder 15">
            <a:extLst>
              <a:ext uri="{FF2B5EF4-FFF2-40B4-BE49-F238E27FC236}">
                <a16:creationId xmlns:a16="http://schemas.microsoft.com/office/drawing/2014/main" id="{65125F89-152B-4679-AF8A-EB55C1D4C8EB}"/>
              </a:ext>
            </a:extLst>
          </p:cNvPr>
          <p:cNvSpPr>
            <a:spLocks noGrp="1"/>
          </p:cNvSpPr>
          <p:nvPr>
            <p:ph type="body" sz="quarter" idx="12" hasCustomPrompt="1"/>
          </p:nvPr>
        </p:nvSpPr>
        <p:spPr>
          <a:xfrm>
            <a:off x="695325" y="2877529"/>
            <a:ext cx="2985614" cy="466987"/>
          </a:xfrm>
          <a:prstGeom prst="roundRect">
            <a:avLst>
              <a:gd name="adj" fmla="val 50000"/>
            </a:avLst>
          </a:prstGeom>
          <a:solidFill>
            <a:schemeClr val="accent1">
              <a:lumMod val="20000"/>
              <a:lumOff val="80000"/>
            </a:schemeClr>
          </a:solidFill>
        </p:spPr>
        <p:txBody>
          <a:bodyPr wrap="square" lIns="640080" anchor="ctr">
            <a:noAutofit/>
          </a:bodyPr>
          <a:lstStyle>
            <a:lvl1pPr>
              <a:defRPr lang="en-US" sz="1800" b="1" dirty="0" smtClean="0">
                <a:solidFill>
                  <a:schemeClr val="accent1"/>
                </a:solidFill>
                <a:latin typeface="+mn-lt"/>
                <a:cs typeface="+mn-cs"/>
              </a:defRPr>
            </a:lvl1pPr>
            <a:lvl2pPr>
              <a:defRPr lang="en-US" sz="1800" dirty="0" smtClean="0">
                <a:latin typeface="+mn-lt"/>
                <a:cs typeface="+mn-cs"/>
              </a:defRPr>
            </a:lvl2pPr>
            <a:lvl3pPr>
              <a:defRPr lang="en-US" sz="1800" dirty="0" smtClean="0">
                <a:latin typeface="+mn-lt"/>
                <a:cs typeface="+mn-cs"/>
              </a:defRPr>
            </a:lvl3pPr>
            <a:lvl4pPr>
              <a:defRPr lang="en-US" sz="1800" dirty="0" smtClean="0">
                <a:latin typeface="+mn-lt"/>
                <a:cs typeface="+mn-cs"/>
              </a:defRPr>
            </a:lvl4pPr>
            <a:lvl5pPr>
              <a:defRPr lang="en-US" sz="1800" dirty="0">
                <a:latin typeface="+mn-lt"/>
                <a:cs typeface="+mn-cs"/>
              </a:defRPr>
            </a:lvl5pPr>
          </a:lstStyle>
          <a:p>
            <a:pPr lvl="0"/>
            <a:r>
              <a:rPr lang="en-US"/>
              <a:t>Section Header</a:t>
            </a:r>
          </a:p>
        </p:txBody>
      </p:sp>
      <p:sp>
        <p:nvSpPr>
          <p:cNvPr id="23" name="Text Placeholder 15">
            <a:extLst>
              <a:ext uri="{FF2B5EF4-FFF2-40B4-BE49-F238E27FC236}">
                <a16:creationId xmlns:a16="http://schemas.microsoft.com/office/drawing/2014/main" id="{E84A2B58-F0AD-470F-AA8E-1CEB9A53D746}"/>
              </a:ext>
            </a:extLst>
          </p:cNvPr>
          <p:cNvSpPr>
            <a:spLocks noGrp="1"/>
          </p:cNvSpPr>
          <p:nvPr>
            <p:ph type="body" sz="quarter" idx="15"/>
          </p:nvPr>
        </p:nvSpPr>
        <p:spPr>
          <a:xfrm>
            <a:off x="381001" y="3666656"/>
            <a:ext cx="3641242" cy="2543644"/>
          </a:xfrm>
          <a:noFill/>
        </p:spPr>
        <p:txBody>
          <a:bodyPr wrap="square" lIns="0" anchor="t">
            <a:noAutofit/>
          </a:bodyPr>
          <a:lstStyle>
            <a:lvl1pPr marL="182880" indent="-182880">
              <a:spcBef>
                <a:spcPts val="600"/>
              </a:spcBef>
              <a:buClr>
                <a:schemeClr val="accent1"/>
              </a:buClr>
              <a:buFont typeface="Arial" panose="020B0604020202020204" pitchFamily="34" charset="0"/>
              <a:buChar char="•"/>
              <a:defRPr lang="en-US" sz="1100" b="0" dirty="0" smtClean="0">
                <a:latin typeface="+mn-lt"/>
                <a:cs typeface="+mn-cs"/>
              </a:defRPr>
            </a:lvl1pPr>
            <a:lvl2pPr>
              <a:defRPr lang="en-US" sz="1800" dirty="0" smtClean="0">
                <a:latin typeface="+mn-lt"/>
                <a:cs typeface="+mn-cs"/>
              </a:defRPr>
            </a:lvl2pPr>
            <a:lvl3pPr>
              <a:defRPr lang="en-US" sz="1800" dirty="0" smtClean="0">
                <a:latin typeface="+mn-lt"/>
                <a:cs typeface="+mn-cs"/>
              </a:defRPr>
            </a:lvl3pPr>
            <a:lvl4pPr>
              <a:defRPr lang="en-US" sz="1800" dirty="0" smtClean="0">
                <a:latin typeface="+mn-lt"/>
                <a:cs typeface="+mn-cs"/>
              </a:defRPr>
            </a:lvl4pPr>
            <a:lvl5pPr>
              <a:defRPr lang="en-US" sz="1800" dirty="0">
                <a:latin typeface="+mn-lt"/>
                <a:cs typeface="+mn-cs"/>
              </a:defRPr>
            </a:lvl5pPr>
          </a:lstStyle>
          <a:p>
            <a:pPr lvl="0"/>
            <a:r>
              <a:rPr lang="en-US"/>
              <a:t>Click to edit Master text styles</a:t>
            </a:r>
          </a:p>
        </p:txBody>
      </p:sp>
      <p:sp>
        <p:nvSpPr>
          <p:cNvPr id="24" name="Text Placeholder 15">
            <a:extLst>
              <a:ext uri="{FF2B5EF4-FFF2-40B4-BE49-F238E27FC236}">
                <a16:creationId xmlns:a16="http://schemas.microsoft.com/office/drawing/2014/main" id="{6D9F9106-6307-46FA-AAC9-1481112EF926}"/>
              </a:ext>
            </a:extLst>
          </p:cNvPr>
          <p:cNvSpPr>
            <a:spLocks noGrp="1"/>
          </p:cNvSpPr>
          <p:nvPr>
            <p:ph type="body" sz="quarter" idx="16"/>
          </p:nvPr>
        </p:nvSpPr>
        <p:spPr>
          <a:xfrm>
            <a:off x="4274587" y="3666656"/>
            <a:ext cx="3641242" cy="2543644"/>
          </a:xfrm>
          <a:noFill/>
        </p:spPr>
        <p:txBody>
          <a:bodyPr wrap="square" lIns="0" anchor="t">
            <a:noAutofit/>
          </a:bodyPr>
          <a:lstStyle>
            <a:lvl1pPr marL="182880" indent="-182880">
              <a:spcBef>
                <a:spcPts val="600"/>
              </a:spcBef>
              <a:buClr>
                <a:schemeClr val="accent1"/>
              </a:buClr>
              <a:buFont typeface="Arial" panose="020B0604020202020204" pitchFamily="34" charset="0"/>
              <a:buChar char="•"/>
              <a:defRPr lang="en-US" sz="1100" b="0" dirty="0" smtClean="0">
                <a:latin typeface="+mn-lt"/>
                <a:cs typeface="+mn-cs"/>
              </a:defRPr>
            </a:lvl1pPr>
            <a:lvl2pPr>
              <a:defRPr lang="en-US" sz="1800" dirty="0" smtClean="0">
                <a:latin typeface="+mn-lt"/>
                <a:cs typeface="+mn-cs"/>
              </a:defRPr>
            </a:lvl2pPr>
            <a:lvl3pPr>
              <a:defRPr lang="en-US" sz="1800" dirty="0" smtClean="0">
                <a:latin typeface="+mn-lt"/>
                <a:cs typeface="+mn-cs"/>
              </a:defRPr>
            </a:lvl3pPr>
            <a:lvl4pPr>
              <a:defRPr lang="en-US" sz="1800" dirty="0" smtClean="0">
                <a:latin typeface="+mn-lt"/>
                <a:cs typeface="+mn-cs"/>
              </a:defRPr>
            </a:lvl4pPr>
            <a:lvl5pPr>
              <a:defRPr lang="en-US" sz="1800" dirty="0">
                <a:latin typeface="+mn-lt"/>
                <a:cs typeface="+mn-cs"/>
              </a:defRPr>
            </a:lvl5pPr>
          </a:lstStyle>
          <a:p>
            <a:pPr lvl="0"/>
            <a:r>
              <a:rPr lang="en-US"/>
              <a:t>Click to edit Master text styles</a:t>
            </a:r>
          </a:p>
        </p:txBody>
      </p:sp>
      <p:sp>
        <p:nvSpPr>
          <p:cNvPr id="25" name="Text Placeholder 15">
            <a:extLst>
              <a:ext uri="{FF2B5EF4-FFF2-40B4-BE49-F238E27FC236}">
                <a16:creationId xmlns:a16="http://schemas.microsoft.com/office/drawing/2014/main" id="{868A536B-A064-423F-87A6-0B151D8D5FE5}"/>
              </a:ext>
            </a:extLst>
          </p:cNvPr>
          <p:cNvSpPr>
            <a:spLocks noGrp="1"/>
          </p:cNvSpPr>
          <p:nvPr>
            <p:ph type="body" sz="quarter" idx="17"/>
          </p:nvPr>
        </p:nvSpPr>
        <p:spPr>
          <a:xfrm>
            <a:off x="8168171" y="3666656"/>
            <a:ext cx="3641242" cy="2543644"/>
          </a:xfrm>
          <a:noFill/>
        </p:spPr>
        <p:txBody>
          <a:bodyPr wrap="square" lIns="0" anchor="t">
            <a:noAutofit/>
          </a:bodyPr>
          <a:lstStyle>
            <a:lvl1pPr marL="182880" indent="-182880">
              <a:spcBef>
                <a:spcPts val="600"/>
              </a:spcBef>
              <a:buClr>
                <a:schemeClr val="accent1"/>
              </a:buClr>
              <a:buFont typeface="Arial" panose="020B0604020202020204" pitchFamily="34" charset="0"/>
              <a:buChar char="•"/>
              <a:defRPr lang="en-US" sz="1100" b="0" dirty="0" smtClean="0">
                <a:latin typeface="+mn-lt"/>
                <a:cs typeface="+mn-cs"/>
              </a:defRPr>
            </a:lvl1pPr>
            <a:lvl2pPr>
              <a:defRPr lang="en-US" sz="1800" dirty="0" smtClean="0">
                <a:latin typeface="+mn-lt"/>
                <a:cs typeface="+mn-cs"/>
              </a:defRPr>
            </a:lvl2pPr>
            <a:lvl3pPr>
              <a:defRPr lang="en-US" sz="1800" dirty="0" smtClean="0">
                <a:latin typeface="+mn-lt"/>
                <a:cs typeface="+mn-cs"/>
              </a:defRPr>
            </a:lvl3pPr>
            <a:lvl4pPr>
              <a:defRPr lang="en-US" sz="1800" dirty="0" smtClean="0">
                <a:latin typeface="+mn-lt"/>
                <a:cs typeface="+mn-cs"/>
              </a:defRPr>
            </a:lvl4pPr>
            <a:lvl5pPr>
              <a:defRPr lang="en-US" sz="1800" dirty="0">
                <a:latin typeface="+mn-lt"/>
                <a:cs typeface="+mn-cs"/>
              </a:defRPr>
            </a:lvl5pPr>
          </a:lstStyle>
          <a:p>
            <a:pPr lvl="0"/>
            <a:r>
              <a:rPr lang="en-US"/>
              <a:t>Click to edit Master text styles</a:t>
            </a:r>
          </a:p>
        </p:txBody>
      </p:sp>
    </p:spTree>
    <p:extLst>
      <p:ext uri="{BB962C8B-B14F-4D97-AF65-F5344CB8AC3E}">
        <p14:creationId xmlns:p14="http://schemas.microsoft.com/office/powerpoint/2010/main" val="622139156"/>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331264" y="3155082"/>
            <a:ext cx="8478818" cy="1951736"/>
          </a:xfrm>
        </p:spPr>
        <p:txBody>
          <a:bodyPr numCol="1"/>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p>
            <a:r>
              <a:rPr lang="en-US"/>
              <a:t>Click to edit Master title style</a:t>
            </a:r>
          </a:p>
        </p:txBody>
      </p:sp>
      <p:sp>
        <p:nvSpPr>
          <p:cNvPr id="11" name="Rectangle 10">
            <a:extLst>
              <a:ext uri="{FF2B5EF4-FFF2-40B4-BE49-F238E27FC236}">
                <a16:creationId xmlns:a16="http://schemas.microsoft.com/office/drawing/2014/main" id="{3E0A1D18-0030-48F8-A12B-8701CC4E4C21}"/>
              </a:ext>
            </a:extLst>
          </p:cNvPr>
          <p:cNvSpPr/>
          <p:nvPr userDrawn="1"/>
        </p:nvSpPr>
        <p:spPr>
          <a:xfrm>
            <a:off x="3331264" y="2012417"/>
            <a:ext cx="8478149" cy="69002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0" tIns="0" rIns="0" bIns="0" rtlCol="0" anchor="ctr" anchorCtr="0"/>
          <a:lstStyle/>
          <a:p>
            <a:pPr algn="l"/>
            <a:r>
              <a:rPr lang="en-US" sz="2400" b="1" i="0">
                <a:latin typeface="Arial"/>
                <a:cs typeface="Arial"/>
              </a:rPr>
              <a:t>Your Objectives</a:t>
            </a:r>
          </a:p>
        </p:txBody>
      </p:sp>
      <p:pic>
        <p:nvPicPr>
          <p:cNvPr id="12" name="Picture 11">
            <a:extLst>
              <a:ext uri="{FF2B5EF4-FFF2-40B4-BE49-F238E27FC236}">
                <a16:creationId xmlns:a16="http://schemas.microsoft.com/office/drawing/2014/main" id="{98CFA442-B29B-4330-9553-C0BDC4D2C6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73966" y="2021115"/>
            <a:ext cx="2924187" cy="2799753"/>
          </a:xfrm>
          <a:prstGeom prst="rect">
            <a:avLst/>
          </a:prstGeom>
        </p:spPr>
      </p:pic>
      <p:pic>
        <p:nvPicPr>
          <p:cNvPr id="14" name="Graphic 13">
            <a:extLst>
              <a:ext uri="{FF2B5EF4-FFF2-40B4-BE49-F238E27FC236}">
                <a16:creationId xmlns:a16="http://schemas.microsoft.com/office/drawing/2014/main" id="{A4B7FA0E-8755-4E92-951C-365A763F2B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18360" y="2168861"/>
            <a:ext cx="377141" cy="377141"/>
          </a:xfrm>
          <a:prstGeom prst="rect">
            <a:avLst/>
          </a:prstGeom>
        </p:spPr>
      </p:pic>
    </p:spTree>
    <p:extLst>
      <p:ext uri="{BB962C8B-B14F-4D97-AF65-F5344CB8AC3E}">
        <p14:creationId xmlns:p14="http://schemas.microsoft.com/office/powerpoint/2010/main" val="2840560168"/>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9_Title – Grid Light">
    <p:bg>
      <p:bgPr>
        <a:solidFill>
          <a:schemeClr val="accent1"/>
        </a:soli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4FE2AA10-9D33-4410-A2F8-160018E84594}"/>
              </a:ext>
            </a:extLst>
          </p:cNvPr>
          <p:cNvSpPr txBox="1">
            <a:spLocks/>
          </p:cNvSpPr>
          <p:nvPr userDrawn="1"/>
        </p:nvSpPr>
        <p:spPr>
          <a:xfrm>
            <a:off x="6094412" y="5674866"/>
            <a:ext cx="1594964" cy="1183133"/>
          </a:xfrm>
          <a:custGeom>
            <a:avLst/>
            <a:gdLst>
              <a:gd name="connsiteX0" fmla="*/ 797482 w 1594964"/>
              <a:gd name="connsiteY0" fmla="*/ 0 h 1183133"/>
              <a:gd name="connsiteX1" fmla="*/ 1594964 w 1594964"/>
              <a:gd name="connsiteY1" fmla="*/ 797476 h 1183133"/>
              <a:gd name="connsiteX2" fmla="*/ 1532294 w 1594964"/>
              <a:gd name="connsiteY2" fmla="*/ 1107889 h 1183133"/>
              <a:gd name="connsiteX3" fmla="*/ 1491453 w 1594964"/>
              <a:gd name="connsiteY3" fmla="*/ 1183133 h 1183133"/>
              <a:gd name="connsiteX4" fmla="*/ 103512 w 1594964"/>
              <a:gd name="connsiteY4" fmla="*/ 1183133 h 1183133"/>
              <a:gd name="connsiteX5" fmla="*/ 62671 w 1594964"/>
              <a:gd name="connsiteY5" fmla="*/ 1107889 h 1183133"/>
              <a:gd name="connsiteX6" fmla="*/ 0 w 1594964"/>
              <a:gd name="connsiteY6" fmla="*/ 797476 h 1183133"/>
              <a:gd name="connsiteX7" fmla="*/ 797482 w 1594964"/>
              <a:gd name="connsiteY7" fmla="*/ 0 h 118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964" h="1183133">
                <a:moveTo>
                  <a:pt x="797482" y="0"/>
                </a:moveTo>
                <a:cubicBezTo>
                  <a:pt x="1237919" y="0"/>
                  <a:pt x="1594964" y="357042"/>
                  <a:pt x="1594964" y="797476"/>
                </a:cubicBezTo>
                <a:cubicBezTo>
                  <a:pt x="1594964" y="907584"/>
                  <a:pt x="1572649" y="1012481"/>
                  <a:pt x="1532294" y="1107889"/>
                </a:cubicBezTo>
                <a:lnTo>
                  <a:pt x="1491453" y="1183133"/>
                </a:lnTo>
                <a:lnTo>
                  <a:pt x="103512" y="1183133"/>
                </a:lnTo>
                <a:lnTo>
                  <a:pt x="62671" y="1107889"/>
                </a:lnTo>
                <a:cubicBezTo>
                  <a:pt x="22316" y="1012481"/>
                  <a:pt x="0" y="907584"/>
                  <a:pt x="0" y="797476"/>
                </a:cubicBezTo>
                <a:cubicBezTo>
                  <a:pt x="0" y="357042"/>
                  <a:pt x="357045" y="0"/>
                  <a:pt x="797482"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rot="16200000">
            <a:off x="9901665" y="3923141"/>
            <a:ext cx="1595707" cy="297861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1" y="2350042"/>
            <a:ext cx="5711441" cy="2157916"/>
          </a:xfrm>
        </p:spPr>
        <p:txBody>
          <a:bodyPr lIns="0" tIns="0" rIns="0" bIns="0" anchor="ctr" anchorCtr="0">
            <a:no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
        <p:nvSpPr>
          <p:cNvPr id="18" name="Freeform: Shape 17">
            <a:extLst>
              <a:ext uri="{FF2B5EF4-FFF2-40B4-BE49-F238E27FC236}">
                <a16:creationId xmlns:a16="http://schemas.microsoft.com/office/drawing/2014/main" id="{83BFAE12-AAE0-4AF1-91F9-6A8EBB22D4A9}"/>
              </a:ext>
            </a:extLst>
          </p:cNvPr>
          <p:cNvSpPr/>
          <p:nvPr userDrawn="1"/>
        </p:nvSpPr>
        <p:spPr>
          <a:xfrm>
            <a:off x="5150065" y="1"/>
            <a:ext cx="6562439" cy="2598057"/>
          </a:xfrm>
          <a:custGeom>
            <a:avLst/>
            <a:gdLst>
              <a:gd name="connsiteX0" fmla="*/ 0 w 6562439"/>
              <a:gd name="connsiteY0" fmla="*/ 0 h 2598057"/>
              <a:gd name="connsiteX1" fmla="*/ 1693279 w 6562439"/>
              <a:gd name="connsiteY1" fmla="*/ 0 h 2598057"/>
              <a:gd name="connsiteX2" fmla="*/ 1725475 w 6562439"/>
              <a:gd name="connsiteY2" fmla="*/ 66834 h 2598057"/>
              <a:gd name="connsiteX3" fmla="*/ 3281219 w 6562439"/>
              <a:gd name="connsiteY3" fmla="*/ 992774 h 2598057"/>
              <a:gd name="connsiteX4" fmla="*/ 4836964 w 6562439"/>
              <a:gd name="connsiteY4" fmla="*/ 66834 h 2598057"/>
              <a:gd name="connsiteX5" fmla="*/ 4869159 w 6562439"/>
              <a:gd name="connsiteY5" fmla="*/ 0 h 2598057"/>
              <a:gd name="connsiteX6" fmla="*/ 6562439 w 6562439"/>
              <a:gd name="connsiteY6" fmla="*/ 0 h 2598057"/>
              <a:gd name="connsiteX7" fmla="*/ 6504076 w 6562439"/>
              <a:gd name="connsiteY7" fmla="*/ 226980 h 2598057"/>
              <a:gd name="connsiteX8" fmla="*/ 3281219 w 6562439"/>
              <a:gd name="connsiteY8" fmla="*/ 2598057 h 2598057"/>
              <a:gd name="connsiteX9" fmla="*/ 58362 w 6562439"/>
              <a:gd name="connsiteY9" fmla="*/ 226980 h 259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2439" h="2598057">
                <a:moveTo>
                  <a:pt x="0" y="0"/>
                </a:moveTo>
                <a:lnTo>
                  <a:pt x="1693279" y="0"/>
                </a:lnTo>
                <a:lnTo>
                  <a:pt x="1725475" y="66834"/>
                </a:lnTo>
                <a:cubicBezTo>
                  <a:pt x="2025085" y="618366"/>
                  <a:pt x="2609428" y="992774"/>
                  <a:pt x="3281219" y="992774"/>
                </a:cubicBezTo>
                <a:cubicBezTo>
                  <a:pt x="3953010" y="992774"/>
                  <a:pt x="4537354" y="618366"/>
                  <a:pt x="4836964" y="66834"/>
                </a:cubicBezTo>
                <a:lnTo>
                  <a:pt x="4869159" y="0"/>
                </a:lnTo>
                <a:lnTo>
                  <a:pt x="6562439" y="0"/>
                </a:lnTo>
                <a:lnTo>
                  <a:pt x="6504076" y="226980"/>
                </a:lnTo>
                <a:cubicBezTo>
                  <a:pt x="6076817" y="1600662"/>
                  <a:pt x="4795495" y="2598057"/>
                  <a:pt x="3281219" y="2598057"/>
                </a:cubicBezTo>
                <a:cubicBezTo>
                  <a:pt x="1766944" y="2598057"/>
                  <a:pt x="485622" y="1600662"/>
                  <a:pt x="58362" y="226980"/>
                </a:cubicBezTo>
                <a:close/>
              </a:path>
            </a:pathLst>
          </a:custGeom>
          <a:solidFill>
            <a:schemeClr val="bg1">
              <a:alpha val="25000"/>
            </a:schemeClr>
          </a:solidFill>
        </p:spPr>
        <p:txBody>
          <a:bodyPr wrap="square">
            <a:noAutofit/>
          </a:bodyPr>
          <a:lstStyle/>
          <a:p>
            <a:pPr lvl="0" indent="0">
              <a:spcBef>
                <a:spcPts val="1000"/>
              </a:spcBef>
              <a:buFont typeface="Arial"/>
              <a:buNone/>
            </a:pPr>
            <a:endParaRPr lang="en-US" sz="2000" err="1">
              <a:solidFill>
                <a:schemeClr val="bg1">
                  <a:alpha val="0"/>
                </a:schemeClr>
              </a:solidFill>
              <a:latin typeface="Arial"/>
              <a:cs typeface="Arial"/>
            </a:endParaRPr>
          </a:p>
        </p:txBody>
      </p:sp>
      <p:sp>
        <p:nvSpPr>
          <p:cNvPr id="14" name="Text Placeholder 4">
            <a:extLst>
              <a:ext uri="{FF2B5EF4-FFF2-40B4-BE49-F238E27FC236}">
                <a16:creationId xmlns:a16="http://schemas.microsoft.com/office/drawing/2014/main" id="{49228C13-D9FB-49C9-BA4B-0101BFA9AC26}"/>
              </a:ext>
            </a:extLst>
          </p:cNvPr>
          <p:cNvSpPr>
            <a:spLocks noGrp="1"/>
          </p:cNvSpPr>
          <p:nvPr>
            <p:ph type="body" sz="quarter" idx="12" hasCustomPrompt="1"/>
          </p:nvPr>
        </p:nvSpPr>
        <p:spPr>
          <a:xfrm>
            <a:off x="386020" y="953068"/>
            <a:ext cx="5708393" cy="510040"/>
          </a:xfrm>
        </p:spPr>
        <p:txBody>
          <a:bodyPr anchor="ctr" anchorCtr="0"/>
          <a:lstStyle>
            <a:lvl1pPr>
              <a:defRPr sz="3200" b="0" spc="-150" baseline="0">
                <a:solidFill>
                  <a:schemeClr val="bg1"/>
                </a:solidFill>
                <a:latin typeface="+mj-lt"/>
              </a:defRPr>
            </a:lvl1pPr>
            <a:lvl2pPr marL="0" indent="0">
              <a:buNone/>
              <a:defRPr/>
            </a:lvl2pPr>
          </a:lstStyle>
          <a:p>
            <a:pPr lvl="0"/>
            <a:r>
              <a:rPr lang="en-US"/>
              <a:t>00</a:t>
            </a:r>
          </a:p>
        </p:txBody>
      </p:sp>
      <p:pic>
        <p:nvPicPr>
          <p:cNvPr id="5" name="Picture 4">
            <a:extLst>
              <a:ext uri="{FF2B5EF4-FFF2-40B4-BE49-F238E27FC236}">
                <a16:creationId xmlns:a16="http://schemas.microsoft.com/office/drawing/2014/main" id="{51A26804-D621-4219-A0DC-A22E3772F1C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20746536">
            <a:off x="9318171" y="2830900"/>
            <a:ext cx="1756229" cy="1947930"/>
          </a:xfrm>
          <a:prstGeom prst="rect">
            <a:avLst/>
          </a:prstGeom>
        </p:spPr>
      </p:pic>
    </p:spTree>
    <p:extLst>
      <p:ext uri="{BB962C8B-B14F-4D97-AF65-F5344CB8AC3E}">
        <p14:creationId xmlns:p14="http://schemas.microsoft.com/office/powerpoint/2010/main" val="1503639273"/>
      </p:ext>
    </p:extLst>
  </p:cSld>
  <p:clrMapOvr>
    <a:masterClrMapping/>
  </p:clrMapOvr>
  <p:extLst>
    <p:ext uri="{DCECCB84-F9BA-43D5-87BE-67443E8EF086}">
      <p15:sldGuideLst xmlns:p15="http://schemas.microsoft.com/office/powerpoint/2012/main">
        <p15:guide id="1" pos="3839">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0_Title – Grid Light">
    <p:bg>
      <p:bgPr>
        <a:solidFill>
          <a:schemeClr val="accent3"/>
        </a:soli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4FE2AA10-9D33-4410-A2F8-160018E84594}"/>
              </a:ext>
            </a:extLst>
          </p:cNvPr>
          <p:cNvSpPr txBox="1">
            <a:spLocks/>
          </p:cNvSpPr>
          <p:nvPr userDrawn="1"/>
        </p:nvSpPr>
        <p:spPr>
          <a:xfrm>
            <a:off x="6094412" y="5674866"/>
            <a:ext cx="1594964" cy="1183133"/>
          </a:xfrm>
          <a:custGeom>
            <a:avLst/>
            <a:gdLst>
              <a:gd name="connsiteX0" fmla="*/ 797482 w 1594964"/>
              <a:gd name="connsiteY0" fmla="*/ 0 h 1183133"/>
              <a:gd name="connsiteX1" fmla="*/ 1594964 w 1594964"/>
              <a:gd name="connsiteY1" fmla="*/ 797476 h 1183133"/>
              <a:gd name="connsiteX2" fmla="*/ 1532294 w 1594964"/>
              <a:gd name="connsiteY2" fmla="*/ 1107889 h 1183133"/>
              <a:gd name="connsiteX3" fmla="*/ 1491453 w 1594964"/>
              <a:gd name="connsiteY3" fmla="*/ 1183133 h 1183133"/>
              <a:gd name="connsiteX4" fmla="*/ 103512 w 1594964"/>
              <a:gd name="connsiteY4" fmla="*/ 1183133 h 1183133"/>
              <a:gd name="connsiteX5" fmla="*/ 62671 w 1594964"/>
              <a:gd name="connsiteY5" fmla="*/ 1107889 h 1183133"/>
              <a:gd name="connsiteX6" fmla="*/ 0 w 1594964"/>
              <a:gd name="connsiteY6" fmla="*/ 797476 h 1183133"/>
              <a:gd name="connsiteX7" fmla="*/ 797482 w 1594964"/>
              <a:gd name="connsiteY7" fmla="*/ 0 h 118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964" h="1183133">
                <a:moveTo>
                  <a:pt x="797482" y="0"/>
                </a:moveTo>
                <a:cubicBezTo>
                  <a:pt x="1237919" y="0"/>
                  <a:pt x="1594964" y="357042"/>
                  <a:pt x="1594964" y="797476"/>
                </a:cubicBezTo>
                <a:cubicBezTo>
                  <a:pt x="1594964" y="907584"/>
                  <a:pt x="1572649" y="1012481"/>
                  <a:pt x="1532294" y="1107889"/>
                </a:cubicBezTo>
                <a:lnTo>
                  <a:pt x="1491453" y="1183133"/>
                </a:lnTo>
                <a:lnTo>
                  <a:pt x="103512" y="1183133"/>
                </a:lnTo>
                <a:lnTo>
                  <a:pt x="62671" y="1107889"/>
                </a:lnTo>
                <a:cubicBezTo>
                  <a:pt x="22316" y="1012481"/>
                  <a:pt x="0" y="907584"/>
                  <a:pt x="0" y="797476"/>
                </a:cubicBezTo>
                <a:cubicBezTo>
                  <a:pt x="0" y="357042"/>
                  <a:pt x="357045" y="0"/>
                  <a:pt x="797482"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rot="16200000">
            <a:off x="9901665" y="3923141"/>
            <a:ext cx="1595707" cy="297861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1" y="2350042"/>
            <a:ext cx="5711441" cy="2157916"/>
          </a:xfrm>
        </p:spPr>
        <p:txBody>
          <a:bodyPr lIns="0" tIns="0" rIns="0" bIns="0" anchor="ctr" anchorCtr="0">
            <a:no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
        <p:nvSpPr>
          <p:cNvPr id="18" name="Freeform: Shape 17">
            <a:extLst>
              <a:ext uri="{FF2B5EF4-FFF2-40B4-BE49-F238E27FC236}">
                <a16:creationId xmlns:a16="http://schemas.microsoft.com/office/drawing/2014/main" id="{83BFAE12-AAE0-4AF1-91F9-6A8EBB22D4A9}"/>
              </a:ext>
            </a:extLst>
          </p:cNvPr>
          <p:cNvSpPr/>
          <p:nvPr userDrawn="1"/>
        </p:nvSpPr>
        <p:spPr>
          <a:xfrm>
            <a:off x="5150065" y="1"/>
            <a:ext cx="6562439" cy="2598057"/>
          </a:xfrm>
          <a:custGeom>
            <a:avLst/>
            <a:gdLst>
              <a:gd name="connsiteX0" fmla="*/ 0 w 6562439"/>
              <a:gd name="connsiteY0" fmla="*/ 0 h 2598057"/>
              <a:gd name="connsiteX1" fmla="*/ 1693279 w 6562439"/>
              <a:gd name="connsiteY1" fmla="*/ 0 h 2598057"/>
              <a:gd name="connsiteX2" fmla="*/ 1725475 w 6562439"/>
              <a:gd name="connsiteY2" fmla="*/ 66834 h 2598057"/>
              <a:gd name="connsiteX3" fmla="*/ 3281219 w 6562439"/>
              <a:gd name="connsiteY3" fmla="*/ 992774 h 2598057"/>
              <a:gd name="connsiteX4" fmla="*/ 4836964 w 6562439"/>
              <a:gd name="connsiteY4" fmla="*/ 66834 h 2598057"/>
              <a:gd name="connsiteX5" fmla="*/ 4869159 w 6562439"/>
              <a:gd name="connsiteY5" fmla="*/ 0 h 2598057"/>
              <a:gd name="connsiteX6" fmla="*/ 6562439 w 6562439"/>
              <a:gd name="connsiteY6" fmla="*/ 0 h 2598057"/>
              <a:gd name="connsiteX7" fmla="*/ 6504076 w 6562439"/>
              <a:gd name="connsiteY7" fmla="*/ 226980 h 2598057"/>
              <a:gd name="connsiteX8" fmla="*/ 3281219 w 6562439"/>
              <a:gd name="connsiteY8" fmla="*/ 2598057 h 2598057"/>
              <a:gd name="connsiteX9" fmla="*/ 58362 w 6562439"/>
              <a:gd name="connsiteY9" fmla="*/ 226980 h 259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2439" h="2598057">
                <a:moveTo>
                  <a:pt x="0" y="0"/>
                </a:moveTo>
                <a:lnTo>
                  <a:pt x="1693279" y="0"/>
                </a:lnTo>
                <a:lnTo>
                  <a:pt x="1725475" y="66834"/>
                </a:lnTo>
                <a:cubicBezTo>
                  <a:pt x="2025085" y="618366"/>
                  <a:pt x="2609428" y="992774"/>
                  <a:pt x="3281219" y="992774"/>
                </a:cubicBezTo>
                <a:cubicBezTo>
                  <a:pt x="3953010" y="992774"/>
                  <a:pt x="4537354" y="618366"/>
                  <a:pt x="4836964" y="66834"/>
                </a:cubicBezTo>
                <a:lnTo>
                  <a:pt x="4869159" y="0"/>
                </a:lnTo>
                <a:lnTo>
                  <a:pt x="6562439" y="0"/>
                </a:lnTo>
                <a:lnTo>
                  <a:pt x="6504076" y="226980"/>
                </a:lnTo>
                <a:cubicBezTo>
                  <a:pt x="6076817" y="1600662"/>
                  <a:pt x="4795495" y="2598057"/>
                  <a:pt x="3281219" y="2598057"/>
                </a:cubicBezTo>
                <a:cubicBezTo>
                  <a:pt x="1766944" y="2598057"/>
                  <a:pt x="485622" y="1600662"/>
                  <a:pt x="58362" y="226980"/>
                </a:cubicBezTo>
                <a:close/>
              </a:path>
            </a:pathLst>
          </a:custGeom>
          <a:solidFill>
            <a:schemeClr val="bg1">
              <a:alpha val="25000"/>
            </a:schemeClr>
          </a:solidFill>
        </p:spPr>
        <p:txBody>
          <a:bodyPr wrap="square">
            <a:noAutofit/>
          </a:bodyPr>
          <a:lstStyle/>
          <a:p>
            <a:pPr lvl="0" indent="0">
              <a:spcBef>
                <a:spcPts val="1000"/>
              </a:spcBef>
              <a:buFont typeface="Arial"/>
              <a:buNone/>
            </a:pPr>
            <a:endParaRPr lang="en-US" sz="2000" err="1">
              <a:solidFill>
                <a:schemeClr val="bg1">
                  <a:alpha val="0"/>
                </a:schemeClr>
              </a:solidFill>
              <a:latin typeface="Arial"/>
              <a:cs typeface="Arial"/>
            </a:endParaRPr>
          </a:p>
        </p:txBody>
      </p:sp>
      <p:sp>
        <p:nvSpPr>
          <p:cNvPr id="14" name="Text Placeholder 4">
            <a:extLst>
              <a:ext uri="{FF2B5EF4-FFF2-40B4-BE49-F238E27FC236}">
                <a16:creationId xmlns:a16="http://schemas.microsoft.com/office/drawing/2014/main" id="{49228C13-D9FB-49C9-BA4B-0101BFA9AC26}"/>
              </a:ext>
            </a:extLst>
          </p:cNvPr>
          <p:cNvSpPr>
            <a:spLocks noGrp="1"/>
          </p:cNvSpPr>
          <p:nvPr>
            <p:ph type="body" sz="quarter" idx="12" hasCustomPrompt="1"/>
          </p:nvPr>
        </p:nvSpPr>
        <p:spPr>
          <a:xfrm>
            <a:off x="386020" y="953068"/>
            <a:ext cx="5708393" cy="510040"/>
          </a:xfrm>
        </p:spPr>
        <p:txBody>
          <a:bodyPr anchor="ctr" anchorCtr="0"/>
          <a:lstStyle>
            <a:lvl1pPr>
              <a:defRPr sz="3200" b="0" spc="-150" baseline="0">
                <a:solidFill>
                  <a:schemeClr val="bg1"/>
                </a:solidFill>
                <a:latin typeface="+mj-lt"/>
              </a:defRPr>
            </a:lvl1pPr>
            <a:lvl2pPr marL="0" indent="0">
              <a:buNone/>
              <a:defRPr/>
            </a:lvl2pPr>
          </a:lstStyle>
          <a:p>
            <a:pPr lvl="0"/>
            <a:r>
              <a:rPr lang="en-US"/>
              <a:t>00</a:t>
            </a:r>
          </a:p>
        </p:txBody>
      </p:sp>
      <p:pic>
        <p:nvPicPr>
          <p:cNvPr id="11" name="Picture 10" descr="Icon&#10;&#10;Description automatically generated">
            <a:extLst>
              <a:ext uri="{FF2B5EF4-FFF2-40B4-BE49-F238E27FC236}">
                <a16:creationId xmlns:a16="http://schemas.microsoft.com/office/drawing/2014/main" id="{D61B03D8-5AFE-49DB-9667-7BC3C645C7CB}"/>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rot="439118">
            <a:off x="9527380" y="3472657"/>
            <a:ext cx="1107479" cy="1181311"/>
          </a:xfrm>
          <a:prstGeom prst="rect">
            <a:avLst/>
          </a:prstGeom>
        </p:spPr>
      </p:pic>
    </p:spTree>
    <p:extLst>
      <p:ext uri="{BB962C8B-B14F-4D97-AF65-F5344CB8AC3E}">
        <p14:creationId xmlns:p14="http://schemas.microsoft.com/office/powerpoint/2010/main" val="2766358671"/>
      </p:ext>
    </p:extLst>
  </p:cSld>
  <p:clrMapOvr>
    <a:masterClrMapping/>
  </p:clrMapOvr>
  <p:extLst>
    <p:ext uri="{DCECCB84-F9BA-43D5-87BE-67443E8EF086}">
      <p15:sldGuideLst xmlns:p15="http://schemas.microsoft.com/office/powerpoint/2012/main">
        <p15:guide id="1" pos="383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2_Benefits v4">
    <p:bg>
      <p:bgPr>
        <a:solidFill>
          <a:schemeClr val="accent1"/>
        </a:solidFill>
        <a:effectLst/>
      </p:bgPr>
    </p:bg>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D511C554-A32C-0F40-A6C8-6BBE6BE627A9}"/>
              </a:ext>
            </a:extLst>
          </p:cNvPr>
          <p:cNvSpPr/>
          <p:nvPr userDrawn="1"/>
        </p:nvSpPr>
        <p:spPr>
          <a:xfrm flipH="1">
            <a:off x="5346944" y="0"/>
            <a:ext cx="2895339"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a:latin typeface="Arial"/>
              <a:cs typeface="Arial"/>
            </a:endParaRPr>
          </a:p>
        </p:txBody>
      </p:sp>
      <p:sp>
        <p:nvSpPr>
          <p:cNvPr id="47" name="Rectangle 46">
            <a:extLst>
              <a:ext uri="{FF2B5EF4-FFF2-40B4-BE49-F238E27FC236}">
                <a16:creationId xmlns:a16="http://schemas.microsoft.com/office/drawing/2014/main" id="{8990210C-FA5A-8748-B4BF-D75515467231}"/>
              </a:ext>
            </a:extLst>
          </p:cNvPr>
          <p:cNvSpPr/>
          <p:nvPr userDrawn="1"/>
        </p:nvSpPr>
        <p:spPr>
          <a:xfrm flipH="1">
            <a:off x="8243753" y="0"/>
            <a:ext cx="394507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a:latin typeface="Arial"/>
              <a:cs typeface="Arial"/>
            </a:endParaRPr>
          </a:p>
        </p:txBody>
      </p:sp>
      <p:pic>
        <p:nvPicPr>
          <p:cNvPr id="52" name="Picture 51">
            <a:extLst>
              <a:ext uri="{FF2B5EF4-FFF2-40B4-BE49-F238E27FC236}">
                <a16:creationId xmlns:a16="http://schemas.microsoft.com/office/drawing/2014/main" id="{2E04B34F-CF2D-3740-B169-6FA9E43921A0}"/>
              </a:ext>
            </a:extLst>
          </p:cNvPr>
          <p:cNvPicPr>
            <a:picLocks noChangeAspect="1"/>
          </p:cNvPicPr>
          <p:nvPr userDrawn="1"/>
        </p:nvPicPr>
        <p:blipFill>
          <a:blip r:embed="rId2"/>
          <a:srcRect/>
          <a:stretch/>
        </p:blipFill>
        <p:spPr>
          <a:xfrm>
            <a:off x="383994" y="6240523"/>
            <a:ext cx="1625226" cy="372870"/>
          </a:xfrm>
          <a:prstGeom prst="rect">
            <a:avLst/>
          </a:prstGeom>
        </p:spPr>
      </p:pic>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94853" y="1355518"/>
            <a:ext cx="4621309" cy="996570"/>
          </a:xfrm>
        </p:spPr>
        <p:txBody>
          <a:bodyPr lIns="0" tIns="0" rIns="0" bIns="0" anchor="t" anchorCtr="0">
            <a:noAutofit/>
          </a:bodyPr>
          <a:lstStyle>
            <a:lvl1pPr algn="l">
              <a:lnSpc>
                <a:spcPct val="80000"/>
              </a:lnSpc>
              <a:defRPr sz="3200" b="1" i="0" spc="-100">
                <a:solidFill>
                  <a:schemeClr val="bg1"/>
                </a:solidFill>
                <a:latin typeface="Arial"/>
                <a:cs typeface="Arial"/>
              </a:defRPr>
            </a:lvl1pPr>
          </a:lstStyle>
          <a:p>
            <a:endParaRPr lang="en-US"/>
          </a:p>
        </p:txBody>
      </p:sp>
      <p:sp>
        <p:nvSpPr>
          <p:cNvPr id="116" name="Picture Placeholder 29">
            <a:extLst>
              <a:ext uri="{FF2B5EF4-FFF2-40B4-BE49-F238E27FC236}">
                <a16:creationId xmlns:a16="http://schemas.microsoft.com/office/drawing/2014/main" id="{18FA2DB6-125A-9D47-AF1A-6633CB50604D}"/>
              </a:ext>
            </a:extLst>
          </p:cNvPr>
          <p:cNvSpPr>
            <a:spLocks noGrp="1" noChangeAspect="1"/>
          </p:cNvSpPr>
          <p:nvPr>
            <p:ph type="pic" sz="quarter" idx="43" hasCustomPrompt="1"/>
          </p:nvPr>
        </p:nvSpPr>
        <p:spPr>
          <a:xfrm>
            <a:off x="9622624" y="652123"/>
            <a:ext cx="1191732" cy="1188720"/>
          </a:xfrm>
          <a:prstGeom prst="ellipse">
            <a:avLst/>
          </a:prstGeom>
          <a:solidFill>
            <a:schemeClr val="tx2">
              <a:lumMod val="60000"/>
              <a:lumOff val="40000"/>
            </a:schemeClr>
          </a:solidFill>
          <a:ln w="101600">
            <a:noFill/>
          </a:ln>
        </p:spPr>
        <p:txBody>
          <a:bodyPr anchor="ctr">
            <a:normAutofit/>
          </a:bodyPr>
          <a:lstStyle>
            <a:lvl1pPr algn="ctr">
              <a:defRPr sz="1200">
                <a:solidFill>
                  <a:schemeClr val="tx2">
                    <a:lumMod val="40000"/>
                    <a:lumOff val="60000"/>
                  </a:schemeClr>
                </a:solidFill>
                <a:latin typeface="+mj-lt"/>
              </a:defRPr>
            </a:lvl1pPr>
          </a:lstStyle>
          <a:p>
            <a:r>
              <a:rPr lang="en-US"/>
              <a:t>Happy</a:t>
            </a:r>
          </a:p>
        </p:txBody>
      </p:sp>
      <p:sp>
        <p:nvSpPr>
          <p:cNvPr id="119" name="Text Placeholder 99">
            <a:extLst>
              <a:ext uri="{FF2B5EF4-FFF2-40B4-BE49-F238E27FC236}">
                <a16:creationId xmlns:a16="http://schemas.microsoft.com/office/drawing/2014/main" id="{12E9196D-A03D-9545-866E-74833F29350B}"/>
              </a:ext>
            </a:extLst>
          </p:cNvPr>
          <p:cNvSpPr>
            <a:spLocks noGrp="1"/>
          </p:cNvSpPr>
          <p:nvPr>
            <p:ph type="body" sz="quarter" idx="54"/>
          </p:nvPr>
        </p:nvSpPr>
        <p:spPr>
          <a:xfrm>
            <a:off x="9019339" y="3351591"/>
            <a:ext cx="2393900" cy="246221"/>
          </a:xfrm>
          <a:prstGeom prst="rect">
            <a:avLst/>
          </a:prstGeom>
          <a:solidFill>
            <a:schemeClr val="bg1"/>
          </a:solidFill>
          <a:ln>
            <a:solidFill>
              <a:schemeClr val="tx2">
                <a:lumMod val="20000"/>
                <a:lumOff val="80000"/>
              </a:schemeClr>
            </a:solidFill>
          </a:ln>
        </p:spPr>
        <p:txBody>
          <a:bodyPr wrap="square" lIns="109728" tIns="45720" rIns="109728" bIns="45720" anchor="t" anchorCtr="0">
            <a:spAutoFit/>
          </a:bodyPr>
          <a:lstStyle>
            <a:lvl1pPr algn="ctr">
              <a:lnSpc>
                <a:spcPct val="100000"/>
              </a:lnSpc>
              <a:defRPr sz="10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8" name="Text Placeholder 99">
            <a:extLst>
              <a:ext uri="{FF2B5EF4-FFF2-40B4-BE49-F238E27FC236}">
                <a16:creationId xmlns:a16="http://schemas.microsoft.com/office/drawing/2014/main" id="{4C57F58D-F1F3-4445-A8D9-E55823CE8E17}"/>
              </a:ext>
            </a:extLst>
          </p:cNvPr>
          <p:cNvSpPr>
            <a:spLocks noGrp="1"/>
          </p:cNvSpPr>
          <p:nvPr>
            <p:ph type="body" sz="quarter" idx="51"/>
          </p:nvPr>
        </p:nvSpPr>
        <p:spPr>
          <a:xfrm>
            <a:off x="9019758" y="2837825"/>
            <a:ext cx="2393062" cy="400110"/>
          </a:xfrm>
          <a:prstGeom prst="rect">
            <a:avLst/>
          </a:prstGeom>
          <a:solidFill>
            <a:schemeClr val="accent1"/>
          </a:solidFill>
          <a:ln>
            <a:noFill/>
          </a:ln>
        </p:spPr>
        <p:txBody>
          <a:bodyPr wrap="square" lIns="109728" tIns="45720" rIns="109728" bIns="45720" anchor="t" anchorCtr="0">
            <a:spAutoFit/>
          </a:bodyPr>
          <a:lstStyle>
            <a:lvl1pPr marL="0" marR="0" indent="0" algn="ctr" defTabSz="777240" rtl="0" eaLnBrk="1" fontAlgn="auto" latinLnBrk="0" hangingPunct="1">
              <a:lnSpc>
                <a:spcPct val="100000"/>
              </a:lnSpc>
              <a:spcBef>
                <a:spcPts val="0"/>
              </a:spcBef>
              <a:spcAft>
                <a:spcPts val="0"/>
              </a:spcAft>
              <a:buClrTx/>
              <a:buSzTx/>
              <a:buFont typeface="Arial" panose="020B0604020202020204" pitchFamily="34" charset="0"/>
              <a:buNone/>
              <a:tabLst/>
              <a:defRPr sz="1000" b="0" i="0">
                <a:solidFill>
                  <a:schemeClr val="bg1"/>
                </a:solidFill>
                <a:latin typeface="+mj-lt"/>
              </a:defRPr>
            </a:lvl1pPr>
            <a:lvl2pPr>
              <a:defRPr sz="1200"/>
            </a:lvl2pPr>
            <a:lvl3pPr>
              <a:defRPr sz="1200"/>
            </a:lvl3pPr>
            <a:lvl4pPr>
              <a:defRPr sz="1200"/>
            </a:lvl4pPr>
            <a:lvl5pPr>
              <a:defRPr sz="1200"/>
            </a:lvl5pPr>
          </a:lstStyle>
          <a:p>
            <a:pPr lvl="0"/>
            <a:endParaRPr lang="en-US"/>
          </a:p>
        </p:txBody>
      </p:sp>
      <p:sp>
        <p:nvSpPr>
          <p:cNvPr id="120" name="Text Placeholder 99">
            <a:extLst>
              <a:ext uri="{FF2B5EF4-FFF2-40B4-BE49-F238E27FC236}">
                <a16:creationId xmlns:a16="http://schemas.microsoft.com/office/drawing/2014/main" id="{7127D168-046A-A848-871E-F30AD45F0F52}"/>
              </a:ext>
            </a:extLst>
          </p:cNvPr>
          <p:cNvSpPr>
            <a:spLocks noGrp="1"/>
          </p:cNvSpPr>
          <p:nvPr>
            <p:ph type="body" sz="quarter" idx="55"/>
          </p:nvPr>
        </p:nvSpPr>
        <p:spPr>
          <a:xfrm>
            <a:off x="9019758" y="3711468"/>
            <a:ext cx="2393062" cy="400110"/>
          </a:xfrm>
          <a:prstGeom prst="rect">
            <a:avLst/>
          </a:prstGeom>
          <a:solidFill>
            <a:schemeClr val="accent1"/>
          </a:solidFill>
          <a:ln>
            <a:noFill/>
          </a:ln>
        </p:spPr>
        <p:txBody>
          <a:bodyPr wrap="square" lIns="109728" tIns="45720" rIns="109728" bIns="45720" anchor="t" anchorCtr="0">
            <a:spAutoFit/>
          </a:bodyPr>
          <a:lstStyle>
            <a:lvl1pPr algn="ctr">
              <a:lnSpc>
                <a:spcPct val="100000"/>
              </a:lnSpc>
              <a:spcBef>
                <a:spcPts val="0"/>
              </a:spcBef>
              <a:defRPr sz="1000" b="0" i="0">
                <a:solidFill>
                  <a:schemeClr val="bg1"/>
                </a:solidFill>
                <a:latin typeface="+mj-lt"/>
              </a:defRPr>
            </a:lvl1pPr>
            <a:lvl2pPr>
              <a:defRPr sz="1200"/>
            </a:lvl2pPr>
            <a:lvl3pPr>
              <a:defRPr sz="1200"/>
            </a:lvl3pPr>
            <a:lvl4pPr>
              <a:defRPr sz="1200"/>
            </a:lvl4pPr>
            <a:lvl5pPr>
              <a:defRPr sz="1200"/>
            </a:lvl5pPr>
          </a:lstStyle>
          <a:p>
            <a:pPr lvl="0"/>
            <a:endParaRPr lang="en-US"/>
          </a:p>
        </p:txBody>
      </p:sp>
      <p:sp>
        <p:nvSpPr>
          <p:cNvPr id="121" name="Text Placeholder 99">
            <a:extLst>
              <a:ext uri="{FF2B5EF4-FFF2-40B4-BE49-F238E27FC236}">
                <a16:creationId xmlns:a16="http://schemas.microsoft.com/office/drawing/2014/main" id="{EF0AC621-4253-3C44-9AE9-4740AD252505}"/>
              </a:ext>
            </a:extLst>
          </p:cNvPr>
          <p:cNvSpPr>
            <a:spLocks noGrp="1"/>
          </p:cNvSpPr>
          <p:nvPr>
            <p:ph type="body" sz="quarter" idx="56"/>
          </p:nvPr>
        </p:nvSpPr>
        <p:spPr>
          <a:xfrm>
            <a:off x="9019314" y="4225234"/>
            <a:ext cx="2393950" cy="246221"/>
          </a:xfrm>
          <a:prstGeom prst="rect">
            <a:avLst/>
          </a:prstGeom>
          <a:solidFill>
            <a:schemeClr val="bg1"/>
          </a:solidFill>
          <a:ln>
            <a:solidFill>
              <a:schemeClr val="tx2">
                <a:lumMod val="20000"/>
                <a:lumOff val="80000"/>
              </a:schemeClr>
            </a:solidFill>
          </a:ln>
        </p:spPr>
        <p:txBody>
          <a:bodyPr wrap="square" lIns="109728" tIns="45720" rIns="109728" bIns="45720" anchor="t" anchorCtr="0">
            <a:spAutoFit/>
          </a:bodyPr>
          <a:lstStyle>
            <a:lvl1pPr algn="ctr">
              <a:lnSpc>
                <a:spcPct val="100000"/>
              </a:lnSpc>
              <a:defRPr sz="10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22" name="Text Placeholder 99">
            <a:extLst>
              <a:ext uri="{FF2B5EF4-FFF2-40B4-BE49-F238E27FC236}">
                <a16:creationId xmlns:a16="http://schemas.microsoft.com/office/drawing/2014/main" id="{D8FF2D79-0EB1-6F41-93D4-654E1854D20C}"/>
              </a:ext>
            </a:extLst>
          </p:cNvPr>
          <p:cNvSpPr>
            <a:spLocks noGrp="1"/>
          </p:cNvSpPr>
          <p:nvPr>
            <p:ph type="body" sz="quarter" idx="57"/>
          </p:nvPr>
        </p:nvSpPr>
        <p:spPr>
          <a:xfrm>
            <a:off x="9019758" y="4585111"/>
            <a:ext cx="2393062" cy="400110"/>
          </a:xfrm>
          <a:prstGeom prst="rect">
            <a:avLst/>
          </a:prstGeom>
          <a:solidFill>
            <a:schemeClr val="accent1"/>
          </a:solidFill>
          <a:ln>
            <a:noFill/>
          </a:ln>
        </p:spPr>
        <p:txBody>
          <a:bodyPr wrap="square" lIns="109728" tIns="45720" rIns="109728" bIns="45720" anchor="t" anchorCtr="0">
            <a:spAutoFit/>
          </a:bodyPr>
          <a:lstStyle>
            <a:lvl1pPr algn="ctr">
              <a:lnSpc>
                <a:spcPct val="100000"/>
              </a:lnSpc>
              <a:spcBef>
                <a:spcPts val="0"/>
              </a:spcBef>
              <a:defRPr sz="1000" b="0" i="0">
                <a:solidFill>
                  <a:schemeClr val="bg1"/>
                </a:solidFill>
                <a:latin typeface="+mj-lt"/>
              </a:defRPr>
            </a:lvl1pPr>
            <a:lvl2pPr>
              <a:defRPr sz="1200"/>
            </a:lvl2pPr>
            <a:lvl3pPr>
              <a:defRPr sz="1200"/>
            </a:lvl3pPr>
            <a:lvl4pPr>
              <a:defRPr sz="1200"/>
            </a:lvl4pPr>
            <a:lvl5pPr>
              <a:defRPr sz="1200"/>
            </a:lvl5pPr>
          </a:lstStyle>
          <a:p>
            <a:pPr lvl="0"/>
            <a:endParaRPr lang="en-US"/>
          </a:p>
        </p:txBody>
      </p:sp>
      <p:sp>
        <p:nvSpPr>
          <p:cNvPr id="127" name="TextBox 126">
            <a:extLst>
              <a:ext uri="{FF2B5EF4-FFF2-40B4-BE49-F238E27FC236}">
                <a16:creationId xmlns:a16="http://schemas.microsoft.com/office/drawing/2014/main" id="{FF2EB9B3-2FF4-A54D-8745-6982A49B46A8}"/>
              </a:ext>
            </a:extLst>
          </p:cNvPr>
          <p:cNvSpPr txBox="1"/>
          <p:nvPr userDrawn="1"/>
        </p:nvSpPr>
        <p:spPr>
          <a:xfrm>
            <a:off x="10342166" y="2624218"/>
            <a:ext cx="381515" cy="123111"/>
          </a:xfrm>
          <a:prstGeom prst="rect">
            <a:avLst/>
          </a:prstGeom>
          <a:noFill/>
        </p:spPr>
        <p:txBody>
          <a:bodyPr wrap="none" lIns="0" tIns="0" rIns="0" bIns="0" rtlCol="0" anchor="ctr">
            <a:spAutoFit/>
          </a:bodyPr>
          <a:lstStyle/>
          <a:p>
            <a:pPr algn="ctr"/>
            <a:r>
              <a:rPr lang="en-US" sz="800" b="0" i="0">
                <a:solidFill>
                  <a:schemeClr val="accent2"/>
                </a:solidFill>
                <a:latin typeface="+mj-lt"/>
              </a:rPr>
              <a:t>HUMAN</a:t>
            </a:r>
          </a:p>
        </p:txBody>
      </p:sp>
      <p:sp>
        <p:nvSpPr>
          <p:cNvPr id="128" name="Triangle 127">
            <a:extLst>
              <a:ext uri="{FF2B5EF4-FFF2-40B4-BE49-F238E27FC236}">
                <a16:creationId xmlns:a16="http://schemas.microsoft.com/office/drawing/2014/main" id="{C68848D4-42EA-5B4E-A98A-537BC9795CB6}"/>
              </a:ext>
            </a:extLst>
          </p:cNvPr>
          <p:cNvSpPr>
            <a:spLocks noChangeAspect="1"/>
          </p:cNvSpPr>
          <p:nvPr userDrawn="1"/>
        </p:nvSpPr>
        <p:spPr>
          <a:xfrm flipV="1">
            <a:off x="10171798" y="2657439"/>
            <a:ext cx="95464" cy="8229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6" name="TextBox 125">
            <a:extLst>
              <a:ext uri="{FF2B5EF4-FFF2-40B4-BE49-F238E27FC236}">
                <a16:creationId xmlns:a16="http://schemas.microsoft.com/office/drawing/2014/main" id="{439F3288-ED7C-BC41-81F6-4C96D5E98548}"/>
              </a:ext>
            </a:extLst>
          </p:cNvPr>
          <p:cNvSpPr txBox="1"/>
          <p:nvPr userDrawn="1"/>
        </p:nvSpPr>
        <p:spPr>
          <a:xfrm>
            <a:off x="9734615" y="2624218"/>
            <a:ext cx="362279" cy="123111"/>
          </a:xfrm>
          <a:prstGeom prst="rect">
            <a:avLst/>
          </a:prstGeom>
          <a:noFill/>
        </p:spPr>
        <p:txBody>
          <a:bodyPr wrap="none" lIns="0" tIns="0" rIns="0" bIns="0" rtlCol="0" anchor="ctr">
            <a:spAutoFit/>
          </a:bodyPr>
          <a:lstStyle/>
          <a:p>
            <a:pPr algn="ctr"/>
            <a:r>
              <a:rPr lang="en-US" sz="800" b="0" i="0">
                <a:solidFill>
                  <a:srgbClr val="FF0000"/>
                </a:solidFill>
                <a:latin typeface="+mj-lt"/>
              </a:rPr>
              <a:t>ROBOT</a:t>
            </a:r>
          </a:p>
        </p:txBody>
      </p:sp>
      <p:sp>
        <p:nvSpPr>
          <p:cNvPr id="133" name="Picture Placeholder 29">
            <a:extLst>
              <a:ext uri="{FF2B5EF4-FFF2-40B4-BE49-F238E27FC236}">
                <a16:creationId xmlns:a16="http://schemas.microsoft.com/office/drawing/2014/main" id="{B0966158-B7FE-B448-A99D-6940834735C9}"/>
              </a:ext>
            </a:extLst>
          </p:cNvPr>
          <p:cNvSpPr>
            <a:spLocks noGrp="1" noChangeAspect="1"/>
          </p:cNvSpPr>
          <p:nvPr>
            <p:ph type="pic" sz="quarter" idx="63" hasCustomPrompt="1"/>
          </p:nvPr>
        </p:nvSpPr>
        <p:spPr>
          <a:xfrm>
            <a:off x="6209019" y="652123"/>
            <a:ext cx="1185722" cy="1188720"/>
          </a:xfrm>
          <a:prstGeom prst="ellipse">
            <a:avLst/>
          </a:prstGeom>
          <a:solidFill>
            <a:schemeClr val="tx2">
              <a:lumMod val="60000"/>
              <a:lumOff val="40000"/>
            </a:schemeClr>
          </a:solidFill>
          <a:ln w="101600">
            <a:noFill/>
          </a:ln>
        </p:spPr>
        <p:txBody>
          <a:bodyPr anchor="ctr">
            <a:normAutofit/>
          </a:bodyPr>
          <a:lstStyle>
            <a:lvl1pPr algn="ctr">
              <a:defRPr sz="1200">
                <a:solidFill>
                  <a:schemeClr val="tx2">
                    <a:lumMod val="40000"/>
                    <a:lumOff val="60000"/>
                  </a:schemeClr>
                </a:solidFill>
                <a:latin typeface="+mj-lt"/>
              </a:defRPr>
            </a:lvl1pPr>
          </a:lstStyle>
          <a:p>
            <a:r>
              <a:rPr lang="en-US"/>
              <a:t>Sad</a:t>
            </a:r>
          </a:p>
        </p:txBody>
      </p:sp>
      <p:sp>
        <p:nvSpPr>
          <p:cNvPr id="151" name="Subtitle 2">
            <a:extLst>
              <a:ext uri="{FF2B5EF4-FFF2-40B4-BE49-F238E27FC236}">
                <a16:creationId xmlns:a16="http://schemas.microsoft.com/office/drawing/2014/main" id="{A2955C41-CD34-0346-93DF-F6BDFD3AADA2}"/>
              </a:ext>
            </a:extLst>
          </p:cNvPr>
          <p:cNvSpPr>
            <a:spLocks noGrp="1"/>
          </p:cNvSpPr>
          <p:nvPr>
            <p:ph type="subTitle" idx="1" hasCustomPrompt="1"/>
          </p:nvPr>
        </p:nvSpPr>
        <p:spPr>
          <a:xfrm>
            <a:off x="214210" y="2528640"/>
            <a:ext cx="4803552" cy="3626504"/>
          </a:xfrm>
        </p:spPr>
        <p:txBody>
          <a:bodyPr lIns="0" tIns="0" rIns="0" bIns="0" anchor="ctr" anchorCtr="0">
            <a:normAutofit/>
          </a:bodyPr>
          <a:lstStyle>
            <a:lvl1pPr marL="585216" indent="-365760" algn="l" fontAlgn="ctr">
              <a:lnSpc>
                <a:spcPct val="100000"/>
              </a:lnSpc>
              <a:spcBef>
                <a:spcPts val="0"/>
              </a:spcBef>
              <a:spcAft>
                <a:spcPts val="2400"/>
              </a:spcAft>
              <a:buSzPct val="100000"/>
              <a:buFont typeface="Arial" panose="020B0604020202020204" pitchFamily="34" charset="0"/>
              <a:buChar char="•"/>
              <a:tabLst/>
              <a:defRPr sz="1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benefit</a:t>
            </a:r>
          </a:p>
        </p:txBody>
      </p:sp>
      <p:sp>
        <p:nvSpPr>
          <p:cNvPr id="49" name="Oval 48">
            <a:extLst>
              <a:ext uri="{FF2B5EF4-FFF2-40B4-BE49-F238E27FC236}">
                <a16:creationId xmlns:a16="http://schemas.microsoft.com/office/drawing/2014/main" id="{6CE7EDC3-8355-3F40-8862-E49CF1D592DA}"/>
              </a:ext>
            </a:extLst>
          </p:cNvPr>
          <p:cNvSpPr>
            <a:spLocks noChangeAspect="1"/>
          </p:cNvSpPr>
          <p:nvPr userDrawn="1"/>
        </p:nvSpPr>
        <p:spPr>
          <a:xfrm>
            <a:off x="6472696" y="6035875"/>
            <a:ext cx="658368" cy="658368"/>
          </a:xfrm>
          <a:prstGeom prst="ellipse">
            <a:avLst/>
          </a:prstGeom>
          <a:solidFill>
            <a:schemeClr val="bg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sz="700" b="0" i="0" spc="-40" baseline="0">
              <a:solidFill>
                <a:schemeClr val="bg1"/>
              </a:solidFill>
              <a:latin typeface="+mj-lt"/>
            </a:endParaRPr>
          </a:p>
        </p:txBody>
      </p:sp>
      <p:sp>
        <p:nvSpPr>
          <p:cNvPr id="7" name="Text Placeholder 6">
            <a:extLst>
              <a:ext uri="{FF2B5EF4-FFF2-40B4-BE49-F238E27FC236}">
                <a16:creationId xmlns:a16="http://schemas.microsoft.com/office/drawing/2014/main" id="{847DC8B6-9FF6-FD44-91DA-3D791A83F67E}"/>
              </a:ext>
            </a:extLst>
          </p:cNvPr>
          <p:cNvSpPr>
            <a:spLocks noGrp="1"/>
          </p:cNvSpPr>
          <p:nvPr>
            <p:ph type="body" sz="quarter" idx="82"/>
          </p:nvPr>
        </p:nvSpPr>
        <p:spPr>
          <a:xfrm>
            <a:off x="8765090" y="2031474"/>
            <a:ext cx="2895338" cy="355350"/>
          </a:xfrm>
        </p:spPr>
        <p:txBody>
          <a:bodyPr anchor="t"/>
          <a:lstStyle>
            <a:lvl1pPr marL="0" indent="0" algn="ctr">
              <a:spcBef>
                <a:spcPts val="0"/>
              </a:spcBef>
              <a:buFont typeface="Arial" panose="020B0604020202020204" pitchFamily="34" charset="0"/>
              <a:buNone/>
              <a:defRPr sz="1200" b="1">
                <a:solidFill>
                  <a:schemeClr val="accent1"/>
                </a:solidFill>
              </a:defRPr>
            </a:lvl1pPr>
            <a:lvl2pPr marL="0" indent="0" algn="ctr">
              <a:spcBef>
                <a:spcPts val="0"/>
              </a:spcBef>
              <a:buNone/>
              <a:defRPr sz="1200"/>
            </a:lvl2pPr>
            <a:lvl3pPr marL="174625" indent="0" algn="ctr">
              <a:buNone/>
              <a:defRPr/>
            </a:lvl3pPr>
            <a:lvl4pPr marL="339725" indent="0" algn="ctr">
              <a:buNone/>
              <a:defRPr/>
            </a:lvl4pPr>
            <a:lvl5pPr marL="512763" indent="0" algn="ctr">
              <a:buNone/>
              <a:defRPr/>
            </a:lvl5pPr>
          </a:lstStyle>
          <a:p>
            <a:pPr lvl="0"/>
            <a:endParaRPr lang="en-US"/>
          </a:p>
        </p:txBody>
      </p:sp>
      <p:sp>
        <p:nvSpPr>
          <p:cNvPr id="8" name="TextBox 7">
            <a:extLst>
              <a:ext uri="{FF2B5EF4-FFF2-40B4-BE49-F238E27FC236}">
                <a16:creationId xmlns:a16="http://schemas.microsoft.com/office/drawing/2014/main" id="{1082BAE9-0E40-2342-867C-7109FF3E3075}"/>
              </a:ext>
            </a:extLst>
          </p:cNvPr>
          <p:cNvSpPr txBox="1"/>
          <p:nvPr userDrawn="1"/>
        </p:nvSpPr>
        <p:spPr>
          <a:xfrm>
            <a:off x="5354211" y="18308"/>
            <a:ext cx="2895340" cy="471861"/>
          </a:xfrm>
          <a:prstGeom prst="rect">
            <a:avLst/>
          </a:prstGeom>
          <a:noFill/>
        </p:spPr>
        <p:txBody>
          <a:bodyPr wrap="square" lIns="0" tIns="0" rIns="0" bIns="0" rtlCol="0" anchor="ctr">
            <a:noAutofit/>
          </a:bodyPr>
          <a:lstStyle/>
          <a:p>
            <a:pPr algn="ctr"/>
            <a:r>
              <a:rPr lang="en-US" sz="3200" b="1">
                <a:solidFill>
                  <a:schemeClr val="bg1"/>
                </a:solidFill>
                <a:latin typeface="Arial"/>
                <a:cs typeface="Arial"/>
              </a:rPr>
              <a:t>BEFORE</a:t>
            </a:r>
          </a:p>
        </p:txBody>
      </p:sp>
      <p:sp>
        <p:nvSpPr>
          <p:cNvPr id="53" name="TextBox 52">
            <a:extLst>
              <a:ext uri="{FF2B5EF4-FFF2-40B4-BE49-F238E27FC236}">
                <a16:creationId xmlns:a16="http://schemas.microsoft.com/office/drawing/2014/main" id="{199F9398-429C-D841-A27D-D107FE2935B9}"/>
              </a:ext>
            </a:extLst>
          </p:cNvPr>
          <p:cNvSpPr txBox="1"/>
          <p:nvPr userDrawn="1"/>
        </p:nvSpPr>
        <p:spPr>
          <a:xfrm>
            <a:off x="8250237" y="18308"/>
            <a:ext cx="3938585" cy="471861"/>
          </a:xfrm>
          <a:prstGeom prst="rect">
            <a:avLst/>
          </a:prstGeom>
          <a:noFill/>
        </p:spPr>
        <p:txBody>
          <a:bodyPr wrap="square" lIns="0" tIns="0" rIns="0" bIns="0" rtlCol="0" anchor="ctr">
            <a:noAutofit/>
          </a:bodyPr>
          <a:lstStyle/>
          <a:p>
            <a:pPr algn="ctr"/>
            <a:r>
              <a:rPr lang="en-US" sz="3200" b="1">
                <a:solidFill>
                  <a:schemeClr val="bg2"/>
                </a:solidFill>
                <a:latin typeface="Arial"/>
                <a:cs typeface="Arial"/>
              </a:rPr>
              <a:t>AFTER</a:t>
            </a:r>
          </a:p>
        </p:txBody>
      </p:sp>
      <p:sp>
        <p:nvSpPr>
          <p:cNvPr id="99" name="Text Placeholder 6">
            <a:extLst>
              <a:ext uri="{FF2B5EF4-FFF2-40B4-BE49-F238E27FC236}">
                <a16:creationId xmlns:a16="http://schemas.microsoft.com/office/drawing/2014/main" id="{EED301D7-55FE-7A4D-BFE1-5012BEA403FC}"/>
              </a:ext>
            </a:extLst>
          </p:cNvPr>
          <p:cNvSpPr>
            <a:spLocks noGrp="1"/>
          </p:cNvSpPr>
          <p:nvPr>
            <p:ph type="body" sz="quarter" idx="83"/>
          </p:nvPr>
        </p:nvSpPr>
        <p:spPr>
          <a:xfrm>
            <a:off x="5604906" y="2031473"/>
            <a:ext cx="2393950" cy="355350"/>
          </a:xfrm>
        </p:spPr>
        <p:txBody>
          <a:bodyPr anchor="t"/>
          <a:lstStyle>
            <a:lvl1pPr marL="0" indent="0" algn="ctr">
              <a:spcBef>
                <a:spcPts val="0"/>
              </a:spcBef>
              <a:buFont typeface="Arial" panose="020B0604020202020204" pitchFamily="34" charset="0"/>
              <a:buNone/>
              <a:defRPr sz="1200" b="1">
                <a:solidFill>
                  <a:schemeClr val="accent2"/>
                </a:solidFill>
              </a:defRPr>
            </a:lvl1pPr>
            <a:lvl2pPr marL="0" indent="0" algn="ctr">
              <a:spcBef>
                <a:spcPts val="0"/>
              </a:spcBef>
              <a:buNone/>
              <a:defRPr sz="1000"/>
            </a:lvl2pPr>
            <a:lvl3pPr marL="174625" indent="0" algn="ctr">
              <a:buNone/>
              <a:defRPr/>
            </a:lvl3pPr>
            <a:lvl4pPr marL="339725" indent="0" algn="ctr">
              <a:buNone/>
              <a:defRPr/>
            </a:lvl4pPr>
            <a:lvl5pPr marL="512763" indent="0" algn="ctr">
              <a:buNone/>
              <a:defRPr/>
            </a:lvl5pPr>
          </a:lstStyle>
          <a:p>
            <a:pPr lvl="0"/>
            <a:endParaRPr lang="en-US"/>
          </a:p>
        </p:txBody>
      </p:sp>
      <p:cxnSp>
        <p:nvCxnSpPr>
          <p:cNvPr id="101" name="Straight Arrow Connector 100">
            <a:extLst>
              <a:ext uri="{FF2B5EF4-FFF2-40B4-BE49-F238E27FC236}">
                <a16:creationId xmlns:a16="http://schemas.microsoft.com/office/drawing/2014/main" id="{5E5E5342-11A3-CF41-863A-4F39517D697D}"/>
              </a:ext>
            </a:extLst>
          </p:cNvPr>
          <p:cNvCxnSpPr>
            <a:cxnSpLocks/>
            <a:endCxn id="49" idx="0"/>
          </p:cNvCxnSpPr>
          <p:nvPr userDrawn="1"/>
        </p:nvCxnSpPr>
        <p:spPr>
          <a:xfrm flipH="1">
            <a:off x="6801880" y="2528640"/>
            <a:ext cx="2" cy="3507235"/>
          </a:xfrm>
          <a:prstGeom prst="straightConnector1">
            <a:avLst/>
          </a:prstGeom>
          <a:ln>
            <a:solidFill>
              <a:schemeClr val="accent2"/>
            </a:solidFill>
            <a:headEnd type="oval" w="lg" len="lg"/>
            <a:tailEnd type="none"/>
          </a:ln>
        </p:spPr>
        <p:style>
          <a:lnRef idx="1">
            <a:schemeClr val="accent1"/>
          </a:lnRef>
          <a:fillRef idx="0">
            <a:schemeClr val="accent1"/>
          </a:fillRef>
          <a:effectRef idx="0">
            <a:schemeClr val="accent1"/>
          </a:effectRef>
          <a:fontRef idx="minor">
            <a:schemeClr val="tx1"/>
          </a:fontRef>
        </p:style>
      </p:cxnSp>
      <p:sp>
        <p:nvSpPr>
          <p:cNvPr id="102" name="Text Placeholder 99">
            <a:extLst>
              <a:ext uri="{FF2B5EF4-FFF2-40B4-BE49-F238E27FC236}">
                <a16:creationId xmlns:a16="http://schemas.microsoft.com/office/drawing/2014/main" id="{EC9A829B-DCEE-574F-9EB2-756C00856688}"/>
              </a:ext>
            </a:extLst>
          </p:cNvPr>
          <p:cNvSpPr>
            <a:spLocks noGrp="1"/>
          </p:cNvSpPr>
          <p:nvPr>
            <p:ph type="body" sz="quarter" idx="84"/>
          </p:nvPr>
        </p:nvSpPr>
        <p:spPr>
          <a:xfrm>
            <a:off x="5604931" y="2830194"/>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03" name="TextBox 102">
            <a:extLst>
              <a:ext uri="{FF2B5EF4-FFF2-40B4-BE49-F238E27FC236}">
                <a16:creationId xmlns:a16="http://schemas.microsoft.com/office/drawing/2014/main" id="{0ADBE20E-E88C-724F-A5D6-E978152F49D6}"/>
              </a:ext>
            </a:extLst>
          </p:cNvPr>
          <p:cNvSpPr txBox="1"/>
          <p:nvPr userDrawn="1"/>
        </p:nvSpPr>
        <p:spPr>
          <a:xfrm>
            <a:off x="6924517" y="2640541"/>
            <a:ext cx="381515" cy="123111"/>
          </a:xfrm>
          <a:prstGeom prst="rect">
            <a:avLst/>
          </a:prstGeom>
          <a:noFill/>
        </p:spPr>
        <p:txBody>
          <a:bodyPr wrap="none" lIns="0" tIns="0" rIns="0" bIns="0" rtlCol="0" anchor="ctr">
            <a:spAutoFit/>
          </a:bodyPr>
          <a:lstStyle/>
          <a:p>
            <a:pPr algn="ctr"/>
            <a:r>
              <a:rPr lang="en-US" sz="800" b="0" i="0">
                <a:solidFill>
                  <a:schemeClr val="accent2"/>
                </a:solidFill>
                <a:latin typeface="+mj-lt"/>
              </a:rPr>
              <a:t>HUMAN</a:t>
            </a:r>
          </a:p>
        </p:txBody>
      </p:sp>
      <p:sp>
        <p:nvSpPr>
          <p:cNvPr id="104" name="Triangle 103">
            <a:extLst>
              <a:ext uri="{FF2B5EF4-FFF2-40B4-BE49-F238E27FC236}">
                <a16:creationId xmlns:a16="http://schemas.microsoft.com/office/drawing/2014/main" id="{F28FE4DA-DC6C-094B-A57A-30124162F4C2}"/>
              </a:ext>
            </a:extLst>
          </p:cNvPr>
          <p:cNvSpPr>
            <a:spLocks noChangeAspect="1"/>
          </p:cNvSpPr>
          <p:nvPr userDrawn="1"/>
        </p:nvSpPr>
        <p:spPr>
          <a:xfrm flipV="1">
            <a:off x="6754149" y="2664813"/>
            <a:ext cx="95464" cy="8229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7" name="Text Placeholder 99">
            <a:extLst>
              <a:ext uri="{FF2B5EF4-FFF2-40B4-BE49-F238E27FC236}">
                <a16:creationId xmlns:a16="http://schemas.microsoft.com/office/drawing/2014/main" id="{C6AA5DBE-A711-904F-B860-D88E97DFE1DF}"/>
              </a:ext>
            </a:extLst>
          </p:cNvPr>
          <p:cNvSpPr>
            <a:spLocks noGrp="1"/>
          </p:cNvSpPr>
          <p:nvPr>
            <p:ph type="body" sz="quarter" idx="85"/>
          </p:nvPr>
        </p:nvSpPr>
        <p:spPr>
          <a:xfrm>
            <a:off x="5604931" y="3134555"/>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08" name="Text Placeholder 99">
            <a:extLst>
              <a:ext uri="{FF2B5EF4-FFF2-40B4-BE49-F238E27FC236}">
                <a16:creationId xmlns:a16="http://schemas.microsoft.com/office/drawing/2014/main" id="{5430A494-1E90-7549-84BA-DF5329CC6AD9}"/>
              </a:ext>
            </a:extLst>
          </p:cNvPr>
          <p:cNvSpPr>
            <a:spLocks noGrp="1"/>
          </p:cNvSpPr>
          <p:nvPr>
            <p:ph type="body" sz="quarter" idx="86"/>
          </p:nvPr>
        </p:nvSpPr>
        <p:spPr>
          <a:xfrm>
            <a:off x="5604931" y="3438916"/>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09" name="Text Placeholder 99">
            <a:extLst>
              <a:ext uri="{FF2B5EF4-FFF2-40B4-BE49-F238E27FC236}">
                <a16:creationId xmlns:a16="http://schemas.microsoft.com/office/drawing/2014/main" id="{09504B2D-916D-D448-821E-7C82439C1B9D}"/>
              </a:ext>
            </a:extLst>
          </p:cNvPr>
          <p:cNvSpPr>
            <a:spLocks noGrp="1"/>
          </p:cNvSpPr>
          <p:nvPr>
            <p:ph type="body" sz="quarter" idx="87"/>
          </p:nvPr>
        </p:nvSpPr>
        <p:spPr>
          <a:xfrm>
            <a:off x="5604931" y="4047638"/>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0" name="Text Placeholder 99">
            <a:extLst>
              <a:ext uri="{FF2B5EF4-FFF2-40B4-BE49-F238E27FC236}">
                <a16:creationId xmlns:a16="http://schemas.microsoft.com/office/drawing/2014/main" id="{EE30CA6D-F48E-0745-8B38-907439D05D62}"/>
              </a:ext>
            </a:extLst>
          </p:cNvPr>
          <p:cNvSpPr>
            <a:spLocks noGrp="1"/>
          </p:cNvSpPr>
          <p:nvPr>
            <p:ph type="body" sz="quarter" idx="88"/>
          </p:nvPr>
        </p:nvSpPr>
        <p:spPr>
          <a:xfrm>
            <a:off x="5604931" y="4351999"/>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1" name="Text Placeholder 99">
            <a:extLst>
              <a:ext uri="{FF2B5EF4-FFF2-40B4-BE49-F238E27FC236}">
                <a16:creationId xmlns:a16="http://schemas.microsoft.com/office/drawing/2014/main" id="{5C9A31FB-10C6-6145-A214-800F3DE470F7}"/>
              </a:ext>
            </a:extLst>
          </p:cNvPr>
          <p:cNvSpPr>
            <a:spLocks noGrp="1"/>
          </p:cNvSpPr>
          <p:nvPr>
            <p:ph type="body" sz="quarter" idx="89"/>
          </p:nvPr>
        </p:nvSpPr>
        <p:spPr>
          <a:xfrm>
            <a:off x="5604931" y="4656360"/>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2" name="Text Placeholder 99">
            <a:extLst>
              <a:ext uri="{FF2B5EF4-FFF2-40B4-BE49-F238E27FC236}">
                <a16:creationId xmlns:a16="http://schemas.microsoft.com/office/drawing/2014/main" id="{5AF7DAB6-A8F4-AB46-8A28-162AAA63BB30}"/>
              </a:ext>
            </a:extLst>
          </p:cNvPr>
          <p:cNvSpPr>
            <a:spLocks noGrp="1"/>
          </p:cNvSpPr>
          <p:nvPr>
            <p:ph type="body" sz="quarter" idx="90"/>
          </p:nvPr>
        </p:nvSpPr>
        <p:spPr>
          <a:xfrm>
            <a:off x="5604931" y="4960721"/>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3" name="Text Placeholder 99">
            <a:extLst>
              <a:ext uri="{FF2B5EF4-FFF2-40B4-BE49-F238E27FC236}">
                <a16:creationId xmlns:a16="http://schemas.microsoft.com/office/drawing/2014/main" id="{F651B7F8-8E9D-2B4B-BA0E-39F5BE469EA3}"/>
              </a:ext>
            </a:extLst>
          </p:cNvPr>
          <p:cNvSpPr>
            <a:spLocks noGrp="1"/>
          </p:cNvSpPr>
          <p:nvPr>
            <p:ph type="body" sz="quarter" idx="91"/>
          </p:nvPr>
        </p:nvSpPr>
        <p:spPr>
          <a:xfrm>
            <a:off x="5604931" y="5265082"/>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52" name="Text Placeholder 99">
            <a:extLst>
              <a:ext uri="{FF2B5EF4-FFF2-40B4-BE49-F238E27FC236}">
                <a16:creationId xmlns:a16="http://schemas.microsoft.com/office/drawing/2014/main" id="{3735CBD5-2F06-D641-AC4D-C83511593DC9}"/>
              </a:ext>
            </a:extLst>
          </p:cNvPr>
          <p:cNvSpPr>
            <a:spLocks noGrp="1"/>
          </p:cNvSpPr>
          <p:nvPr>
            <p:ph type="body" sz="quarter" idx="92"/>
          </p:nvPr>
        </p:nvSpPr>
        <p:spPr>
          <a:xfrm>
            <a:off x="5604931" y="5569445"/>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53" name="Text Placeholder 99">
            <a:extLst>
              <a:ext uri="{FF2B5EF4-FFF2-40B4-BE49-F238E27FC236}">
                <a16:creationId xmlns:a16="http://schemas.microsoft.com/office/drawing/2014/main" id="{D05D1F34-3810-1943-BF40-85232D5650C5}"/>
              </a:ext>
            </a:extLst>
          </p:cNvPr>
          <p:cNvSpPr>
            <a:spLocks noGrp="1"/>
          </p:cNvSpPr>
          <p:nvPr>
            <p:ph type="body" sz="quarter" idx="93"/>
          </p:nvPr>
        </p:nvSpPr>
        <p:spPr>
          <a:xfrm>
            <a:off x="5604931" y="3743277"/>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54" name="Triangle 153">
            <a:extLst>
              <a:ext uri="{FF2B5EF4-FFF2-40B4-BE49-F238E27FC236}">
                <a16:creationId xmlns:a16="http://schemas.microsoft.com/office/drawing/2014/main" id="{43A9725E-EF8F-2842-9B90-67A5E08D259C}"/>
              </a:ext>
            </a:extLst>
          </p:cNvPr>
          <p:cNvSpPr>
            <a:spLocks noChangeAspect="1"/>
          </p:cNvSpPr>
          <p:nvPr userDrawn="1"/>
        </p:nvSpPr>
        <p:spPr>
          <a:xfrm flipV="1">
            <a:off x="6754149" y="5921093"/>
            <a:ext cx="95464" cy="8229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6" name="TextBox 105">
            <a:extLst>
              <a:ext uri="{FF2B5EF4-FFF2-40B4-BE49-F238E27FC236}">
                <a16:creationId xmlns:a16="http://schemas.microsoft.com/office/drawing/2014/main" id="{8368A7E0-AEA9-4B4C-965E-08312CFED32E}"/>
              </a:ext>
            </a:extLst>
          </p:cNvPr>
          <p:cNvSpPr txBox="1"/>
          <p:nvPr userDrawn="1"/>
        </p:nvSpPr>
        <p:spPr>
          <a:xfrm>
            <a:off x="6435986" y="6096848"/>
            <a:ext cx="724325" cy="472426"/>
          </a:xfrm>
          <a:prstGeom prst="rect">
            <a:avLst/>
          </a:prstGeom>
          <a:noFill/>
        </p:spPr>
        <p:txBody>
          <a:bodyPr wrap="square" lIns="0" tIns="0" rIns="0" bIns="0" rtlCol="0" anchor="ctr">
            <a:noAutofit/>
          </a:bodyPr>
          <a:lstStyle/>
          <a:p>
            <a:pPr algn="ctr"/>
            <a:r>
              <a:rPr lang="en-US" sz="700">
                <a:solidFill>
                  <a:schemeClr val="bg1"/>
                </a:solidFill>
                <a:latin typeface="Arial"/>
                <a:cs typeface="Arial"/>
              </a:rPr>
              <a:t>TASK</a:t>
            </a:r>
          </a:p>
          <a:p>
            <a:pPr algn="ctr"/>
            <a:r>
              <a:rPr lang="en-US" sz="700">
                <a:solidFill>
                  <a:schemeClr val="bg1"/>
                </a:solidFill>
                <a:latin typeface="Arial"/>
                <a:cs typeface="Arial"/>
              </a:rPr>
              <a:t>COMPLETED</a:t>
            </a:r>
          </a:p>
        </p:txBody>
      </p:sp>
      <p:sp>
        <p:nvSpPr>
          <p:cNvPr id="76" name="Freeform: Shape 41">
            <a:extLst>
              <a:ext uri="{FF2B5EF4-FFF2-40B4-BE49-F238E27FC236}">
                <a16:creationId xmlns:a16="http://schemas.microsoft.com/office/drawing/2014/main" id="{A322D1C6-0AE7-2A4F-AD3A-EAF7E776E9EF}"/>
              </a:ext>
            </a:extLst>
          </p:cNvPr>
          <p:cNvSpPr txBox="1">
            <a:spLocks/>
          </p:cNvSpPr>
          <p:nvPr userDrawn="1"/>
        </p:nvSpPr>
        <p:spPr>
          <a:xfrm rot="16200000">
            <a:off x="2521657"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40000"/>
              <a:lumOff val="60000"/>
              <a:alpha val="28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77" name="TextBox 76">
            <a:extLst>
              <a:ext uri="{FF2B5EF4-FFF2-40B4-BE49-F238E27FC236}">
                <a16:creationId xmlns:a16="http://schemas.microsoft.com/office/drawing/2014/main" id="{A30A9E43-4EF4-F542-8512-5930CCACAB51}"/>
              </a:ext>
            </a:extLst>
          </p:cNvPr>
          <p:cNvSpPr txBox="1">
            <a:spLocks/>
          </p:cNvSpPr>
          <p:nvPr userDrawn="1"/>
        </p:nvSpPr>
        <p:spPr>
          <a:xfrm>
            <a:off x="214209"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chemeClr val="accent1">
              <a:lumMod val="40000"/>
              <a:lumOff val="60000"/>
              <a:alpha val="28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78" name="Freeform: Shape 19">
            <a:extLst>
              <a:ext uri="{FF2B5EF4-FFF2-40B4-BE49-F238E27FC236}">
                <a16:creationId xmlns:a16="http://schemas.microsoft.com/office/drawing/2014/main" id="{A0694AAE-CF40-7A42-B792-ED906010BFEF}"/>
              </a:ext>
            </a:extLst>
          </p:cNvPr>
          <p:cNvSpPr/>
          <p:nvPr userDrawn="1"/>
        </p:nvSpPr>
        <p:spPr>
          <a:xfrm rot="5400000">
            <a:off x="4195870"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pPr lvl="0"/>
            <a:endParaRPr lang="en-US"/>
          </a:p>
        </p:txBody>
      </p:sp>
      <p:sp>
        <p:nvSpPr>
          <p:cNvPr id="79" name="Freeform: Shape 23">
            <a:extLst>
              <a:ext uri="{FF2B5EF4-FFF2-40B4-BE49-F238E27FC236}">
                <a16:creationId xmlns:a16="http://schemas.microsoft.com/office/drawing/2014/main" id="{B7569D3B-97DF-B244-ACE7-263217C8C906}"/>
              </a:ext>
            </a:extLst>
          </p:cNvPr>
          <p:cNvSpPr/>
          <p:nvPr userDrawn="1"/>
        </p:nvSpPr>
        <p:spPr>
          <a:xfrm rot="5400000">
            <a:off x="554370"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endParaRPr lang="en-US"/>
          </a:p>
        </p:txBody>
      </p:sp>
      <p:sp>
        <p:nvSpPr>
          <p:cNvPr id="80" name="Freeform: Shape 24">
            <a:extLst>
              <a:ext uri="{FF2B5EF4-FFF2-40B4-BE49-F238E27FC236}">
                <a16:creationId xmlns:a16="http://schemas.microsoft.com/office/drawing/2014/main" id="{E7BE56B3-0041-8045-B001-A4C351E21E20}"/>
              </a:ext>
            </a:extLst>
          </p:cNvPr>
          <p:cNvSpPr/>
          <p:nvPr userDrawn="1"/>
        </p:nvSpPr>
        <p:spPr>
          <a:xfrm rot="5400000">
            <a:off x="2115136"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endParaRPr lang="en-US"/>
          </a:p>
        </p:txBody>
      </p:sp>
      <p:sp>
        <p:nvSpPr>
          <p:cNvPr id="81" name="Freeform: Shape 25">
            <a:extLst>
              <a:ext uri="{FF2B5EF4-FFF2-40B4-BE49-F238E27FC236}">
                <a16:creationId xmlns:a16="http://schemas.microsoft.com/office/drawing/2014/main" id="{BC2CB261-A0DB-4E42-A255-4038F07C7ED5}"/>
              </a:ext>
            </a:extLst>
          </p:cNvPr>
          <p:cNvSpPr/>
          <p:nvPr userDrawn="1"/>
        </p:nvSpPr>
        <p:spPr>
          <a:xfrm rot="5400000">
            <a:off x="3155503" y="374704"/>
            <a:ext cx="549346" cy="289153"/>
          </a:xfrm>
          <a:custGeom>
            <a:avLst/>
            <a:gdLst>
              <a:gd name="connsiteX0" fmla="*/ 520400 w 549346"/>
              <a:gd name="connsiteY0" fmla="*/ 28953 h 289153"/>
              <a:gd name="connsiteX1" fmla="*/ 520400 w 549346"/>
              <a:gd name="connsiteY1" fmla="*/ 9 h 289153"/>
              <a:gd name="connsiteX2" fmla="*/ 549346 w 549346"/>
              <a:gd name="connsiteY2" fmla="*/ 9 h 289153"/>
              <a:gd name="connsiteX3" fmla="*/ 549346 w 549346"/>
              <a:gd name="connsiteY3" fmla="*/ 28953 h 289153"/>
              <a:gd name="connsiteX4" fmla="*/ 520400 w 549346"/>
              <a:gd name="connsiteY4" fmla="*/ 289153 h 289153"/>
              <a:gd name="connsiteX5" fmla="*/ 520400 w 549346"/>
              <a:gd name="connsiteY5" fmla="*/ 260209 h 289153"/>
              <a:gd name="connsiteX6" fmla="*/ 549346 w 549346"/>
              <a:gd name="connsiteY6" fmla="*/ 260209 h 289153"/>
              <a:gd name="connsiteX7" fmla="*/ 549346 w 549346"/>
              <a:gd name="connsiteY7" fmla="*/ 289153 h 289153"/>
              <a:gd name="connsiteX8" fmla="*/ 260201 w 549346"/>
              <a:gd name="connsiteY8" fmla="*/ 289151 h 289153"/>
              <a:gd name="connsiteX9" fmla="*/ 260201 w 549346"/>
              <a:gd name="connsiteY9" fmla="*/ 260207 h 289153"/>
              <a:gd name="connsiteX10" fmla="*/ 289145 w 549346"/>
              <a:gd name="connsiteY10" fmla="*/ 260207 h 289153"/>
              <a:gd name="connsiteX11" fmla="*/ 289145 w 549346"/>
              <a:gd name="connsiteY11" fmla="*/ 289151 h 289153"/>
              <a:gd name="connsiteX12" fmla="*/ 0 w 549346"/>
              <a:gd name="connsiteY12" fmla="*/ 28949 h 289153"/>
              <a:gd name="connsiteX13" fmla="*/ 0 w 549346"/>
              <a:gd name="connsiteY13" fmla="*/ 0 h 289153"/>
              <a:gd name="connsiteX14" fmla="*/ 28944 w 549346"/>
              <a:gd name="connsiteY14" fmla="*/ 0 h 289153"/>
              <a:gd name="connsiteX15" fmla="*/ 28944 w 549346"/>
              <a:gd name="connsiteY15" fmla="*/ 28949 h 289153"/>
              <a:gd name="connsiteX16" fmla="*/ 0 w 549346"/>
              <a:gd name="connsiteY16" fmla="*/ 289149 h 289153"/>
              <a:gd name="connsiteX17" fmla="*/ 0 w 549346"/>
              <a:gd name="connsiteY17" fmla="*/ 260205 h 289153"/>
              <a:gd name="connsiteX18" fmla="*/ 28944 w 549346"/>
              <a:gd name="connsiteY18" fmla="*/ 260205 h 289153"/>
              <a:gd name="connsiteX19" fmla="*/ 28944 w 549346"/>
              <a:gd name="connsiteY19" fmla="*/ 289149 h 28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9346" h="289153">
                <a:moveTo>
                  <a:pt x="520400" y="28953"/>
                </a:moveTo>
                <a:lnTo>
                  <a:pt x="520400" y="9"/>
                </a:lnTo>
                <a:lnTo>
                  <a:pt x="549346" y="9"/>
                </a:lnTo>
                <a:lnTo>
                  <a:pt x="549346" y="28953"/>
                </a:lnTo>
                <a:close/>
                <a:moveTo>
                  <a:pt x="520400" y="289153"/>
                </a:moveTo>
                <a:lnTo>
                  <a:pt x="520400" y="260209"/>
                </a:lnTo>
                <a:lnTo>
                  <a:pt x="549346" y="260209"/>
                </a:lnTo>
                <a:lnTo>
                  <a:pt x="549346" y="289153"/>
                </a:lnTo>
                <a:close/>
                <a:moveTo>
                  <a:pt x="260201" y="289151"/>
                </a:moveTo>
                <a:lnTo>
                  <a:pt x="260201" y="260207"/>
                </a:lnTo>
                <a:lnTo>
                  <a:pt x="289145" y="260207"/>
                </a:lnTo>
                <a:lnTo>
                  <a:pt x="289145" y="289151"/>
                </a:lnTo>
                <a:close/>
                <a:moveTo>
                  <a:pt x="0" y="28949"/>
                </a:moveTo>
                <a:lnTo>
                  <a:pt x="0" y="0"/>
                </a:lnTo>
                <a:lnTo>
                  <a:pt x="28944" y="0"/>
                </a:lnTo>
                <a:lnTo>
                  <a:pt x="28944" y="28949"/>
                </a:lnTo>
                <a:close/>
                <a:moveTo>
                  <a:pt x="0" y="289149"/>
                </a:moveTo>
                <a:lnTo>
                  <a:pt x="0" y="260205"/>
                </a:lnTo>
                <a:lnTo>
                  <a:pt x="28944" y="260205"/>
                </a:lnTo>
                <a:lnTo>
                  <a:pt x="28944" y="289149"/>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endParaRPr lang="en-US"/>
          </a:p>
        </p:txBody>
      </p:sp>
      <p:sp>
        <p:nvSpPr>
          <p:cNvPr id="87" name="Freeform: Shape 23">
            <a:extLst>
              <a:ext uri="{FF2B5EF4-FFF2-40B4-BE49-F238E27FC236}">
                <a16:creationId xmlns:a16="http://schemas.microsoft.com/office/drawing/2014/main" id="{37CBD28F-3B75-C749-A372-A1790A185A3E}"/>
              </a:ext>
            </a:extLst>
          </p:cNvPr>
          <p:cNvSpPr/>
          <p:nvPr userDrawn="1"/>
        </p:nvSpPr>
        <p:spPr>
          <a:xfrm rot="5400000">
            <a:off x="3934654"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635011977"/>
      </p:ext>
    </p:extLst>
  </p:cSld>
  <p:clrMapOvr>
    <a:masterClrMapping/>
  </p:clrMapOvr>
  <p:extLst>
    <p:ext uri="{DCECCB84-F9BA-43D5-87BE-67443E8EF086}">
      <p15:sldGuideLst xmlns:p15="http://schemas.microsoft.com/office/powerpoint/2012/main">
        <p15:guide id="1" pos="2567" userDrawn="1">
          <p15:clr>
            <a:srgbClr val="FBAE40"/>
          </p15:clr>
        </p15:guide>
        <p15:guide id="2" pos="5111"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ontent - Dark Grid Ba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C769E4-F1F0-410E-8A65-B7BA27B4B88A}"/>
              </a:ext>
            </a:extLst>
          </p:cNvPr>
          <p:cNvSpPr>
            <a:spLocks noGrp="1"/>
          </p:cNvSpPr>
          <p:nvPr>
            <p:ph type="title"/>
          </p:nvPr>
        </p:nvSpPr>
        <p:spPr>
          <a:xfrm>
            <a:off x="1941525" y="912309"/>
            <a:ext cx="9866528" cy="916491"/>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94C30CE9-D26C-43F4-8C71-DDC8B8D2AEC5}"/>
              </a:ext>
            </a:extLst>
          </p:cNvPr>
          <p:cNvSpPr>
            <a:spLocks noGrp="1"/>
          </p:cNvSpPr>
          <p:nvPr>
            <p:ph idx="1"/>
          </p:nvPr>
        </p:nvSpPr>
        <p:spPr>
          <a:xfrm>
            <a:off x="1941513" y="1828800"/>
            <a:ext cx="9867900" cy="4343400"/>
          </a:xfrm>
        </p:spPr>
        <p:txBody>
          <a:bodyPr tIns="0"/>
          <a:lstStyle>
            <a:lvl1pPr>
              <a:defRPr sz="2000"/>
            </a:lvl1pPr>
            <a:lvl2pPr>
              <a:buClr>
                <a:schemeClr val="accent1"/>
              </a:buClr>
              <a:defRPr sz="2000" baseline="0"/>
            </a:lvl2pPr>
            <a:lvl3pPr>
              <a:buClr>
                <a:schemeClr val="accent1"/>
              </a:buClr>
              <a:defRPr sz="2000"/>
            </a:lvl3pPr>
            <a:lvl4pPr>
              <a:buClr>
                <a:schemeClr val="accent1"/>
              </a:buClr>
              <a:defRPr sz="2000"/>
            </a:lvl4pPr>
            <a:lvl5pPr>
              <a:buClr>
                <a:schemeClr val="accent1"/>
              </a:buCl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3D5A7D88-ECAB-4F73-89A2-AC9423470703}"/>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196987365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C4DB7C0-FE35-4CCA-AED4-AAE08A2B5EEA}"/>
              </a:ext>
            </a:extLst>
          </p:cNvPr>
          <p:cNvPicPr/>
          <p:nvPr userDrawn="1"/>
        </p:nvPicPr>
        <p:blipFill>
          <a:blip r:embed="rId2"/>
          <a:srcRect/>
          <a:stretch/>
        </p:blipFill>
        <p:spPr bwMode="auto">
          <a:xfrm>
            <a:off x="0" y="1"/>
            <a:ext cx="12188822" cy="6857999"/>
          </a:xfrm>
          <a:prstGeom prst="rect">
            <a:avLst/>
          </a:prstGeom>
          <a:noFill/>
          <a:ln>
            <a:noFill/>
          </a:ln>
        </p:spPr>
      </p:pic>
      <p:sp>
        <p:nvSpPr>
          <p:cNvPr id="102403" name="Rectangle 3"/>
          <p:cNvSpPr>
            <a:spLocks noGrp="1" noChangeArrowheads="1"/>
          </p:cNvSpPr>
          <p:nvPr userDrawn="1">
            <p:ph type="ctrTitle"/>
          </p:nvPr>
        </p:nvSpPr>
        <p:spPr bwMode="white">
          <a:xfrm>
            <a:off x="645397" y="2634680"/>
            <a:ext cx="10577245" cy="1336997"/>
          </a:xfrm>
          <a:prstGeom prst="rect">
            <a:avLst/>
          </a:prstGeom>
        </p:spPr>
        <p:txBody>
          <a:bodyPr anchor="b" anchorCtr="0">
            <a:normAutofit/>
          </a:bodyPr>
          <a:lstStyle>
            <a:lvl1pPr algn="l">
              <a:lnSpc>
                <a:spcPct val="100000"/>
              </a:lnSpc>
              <a:defRPr sz="4799" b="0">
                <a:solidFill>
                  <a:schemeClr val="bg1"/>
                </a:solidFill>
                <a:effectLst/>
              </a:defRPr>
            </a:lvl1pPr>
          </a:lstStyle>
          <a:p>
            <a:r>
              <a:rPr lang="en-US" dirty="0"/>
              <a:t>Click to edit Master title style</a:t>
            </a:r>
          </a:p>
        </p:txBody>
      </p:sp>
      <p:sp>
        <p:nvSpPr>
          <p:cNvPr id="102404" name="Rectangle 4"/>
          <p:cNvSpPr>
            <a:spLocks noGrp="1" noChangeArrowheads="1"/>
          </p:cNvSpPr>
          <p:nvPr userDrawn="1">
            <p:ph type="subTitle" idx="1"/>
          </p:nvPr>
        </p:nvSpPr>
        <p:spPr bwMode="white">
          <a:xfrm>
            <a:off x="645615" y="4048882"/>
            <a:ext cx="10591201" cy="1272205"/>
          </a:xfrm>
          <a:prstGeom prst="rect">
            <a:avLst/>
          </a:prstGeom>
        </p:spPr>
        <p:txBody>
          <a:bodyPr>
            <a:normAutofit/>
          </a:bodyPr>
          <a:lstStyle>
            <a:lvl1pPr marL="0" indent="0" algn="l">
              <a:spcBef>
                <a:spcPts val="800"/>
              </a:spcBef>
              <a:buFont typeface="Webdings" pitchFamily="18" charset="2"/>
              <a:buNone/>
              <a:defRPr sz="2666" b="0">
                <a:solidFill>
                  <a:schemeClr val="bg1"/>
                </a:solidFill>
                <a:effectLst/>
              </a:defRPr>
            </a:lvl1pPr>
          </a:lstStyle>
          <a:p>
            <a:r>
              <a:rPr lang="en-US" dirty="0"/>
              <a:t>Click to edit Master subtitle styl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white">
          <a:xfrm>
            <a:off x="659789" y="1897573"/>
            <a:ext cx="2861875" cy="550811"/>
          </a:xfrm>
          <a:prstGeom prst="rect">
            <a:avLst/>
          </a:prstGeom>
        </p:spPr>
      </p:pic>
      <p:sp>
        <p:nvSpPr>
          <p:cNvPr id="16" name="Rectangle 15">
            <a:extLst>
              <a:ext uri="{FF2B5EF4-FFF2-40B4-BE49-F238E27FC236}">
                <a16:creationId xmlns:a16="http://schemas.microsoft.com/office/drawing/2014/main" id="{1F42BA5E-D219-4A23-B2A2-5999AAB9D8E5}"/>
              </a:ext>
            </a:extLst>
          </p:cNvPr>
          <p:cNvSpPr/>
          <p:nvPr userDrawn="1"/>
        </p:nvSpPr>
        <p:spPr bwMode="auto">
          <a:xfrm>
            <a:off x="-6991" y="6420090"/>
            <a:ext cx="12202809" cy="437911"/>
          </a:xfrm>
          <a:prstGeom prst="rect">
            <a:avLst/>
          </a:prstGeom>
          <a:solidFill>
            <a:srgbClr val="333333"/>
          </a:solidFill>
          <a:ln w="19050" cap="flat" cmpd="sng" algn="ctr">
            <a:noFill/>
            <a:prstDash val="solid"/>
            <a:round/>
            <a:headEnd type="none" w="med" len="med"/>
            <a:tailEnd type="none" w="med" len="med"/>
          </a:ln>
          <a:effectLst/>
        </p:spPr>
        <p:txBody>
          <a:bodyPr vert="horz" wrap="square" lIns="121888" tIns="60944" rIns="121888" bIns="60944" numCol="1" rtlCol="0" anchor="t" anchorCtr="0" compatLnSpc="1">
            <a:prstTxWarp prst="textNoShape">
              <a:avLst/>
            </a:prstTxWarp>
          </a:bodyPr>
          <a:lstStyle>
            <a:defPPr>
              <a:defRPr lang="en-US"/>
            </a:defPPr>
            <a:lvl1pPr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1pPr>
            <a:lvl2pPr marL="4572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2pPr>
            <a:lvl3pPr marL="9144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3pPr>
            <a:lvl4pPr marL="13716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4pPr>
            <a:lvl5pPr marL="18288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5pPr>
            <a:lvl6pPr marL="22860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6pPr>
            <a:lvl7pPr marL="27432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7pPr>
            <a:lvl8pPr marL="32004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8pPr>
            <a:lvl9pPr marL="36576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9pPr>
          </a:lstStyle>
          <a:p>
            <a:pPr marL="0" marR="0" indent="0" algn="l" defTabSz="1218895" rtl="0" eaLnBrk="0" fontAlgn="base" latinLnBrk="0" hangingPunct="0">
              <a:lnSpc>
                <a:spcPct val="100000"/>
              </a:lnSpc>
              <a:spcBef>
                <a:spcPct val="0"/>
              </a:spcBef>
              <a:spcAft>
                <a:spcPct val="0"/>
              </a:spcAft>
              <a:buClrTx/>
              <a:buSzTx/>
              <a:buFontTx/>
              <a:buNone/>
              <a:tabLst/>
            </a:pPr>
            <a:endParaRPr kumimoji="0" lang="en-US" sz="3732" b="1" i="0" u="none" strike="noStrike" cap="none" normalizeH="0" baseline="0" dirty="0">
              <a:ln>
                <a:noFill/>
              </a:ln>
              <a:solidFill>
                <a:srgbClr val="FDE000"/>
              </a:solidFill>
              <a:effectLst>
                <a:outerShdw blurRad="38100" dist="38100" dir="2700000" algn="tl">
                  <a:srgbClr val="000000">
                    <a:alpha val="43137"/>
                  </a:srgbClr>
                </a:outerShdw>
              </a:effectLst>
              <a:latin typeface="Arial" charset="0"/>
            </a:endParaRPr>
          </a:p>
        </p:txBody>
      </p:sp>
      <p:sp>
        <p:nvSpPr>
          <p:cNvPr id="17" name="Rectangle 16">
            <a:extLst>
              <a:ext uri="{FF2B5EF4-FFF2-40B4-BE49-F238E27FC236}">
                <a16:creationId xmlns:a16="http://schemas.microsoft.com/office/drawing/2014/main" id="{836408E3-1823-4435-A340-AFC9A9B80D5A}"/>
              </a:ext>
            </a:extLst>
          </p:cNvPr>
          <p:cNvSpPr>
            <a:spLocks noChangeArrowheads="1"/>
          </p:cNvSpPr>
          <p:nvPr userDrawn="1"/>
        </p:nvSpPr>
        <p:spPr bwMode="auto">
          <a:xfrm>
            <a:off x="236962" y="6591377"/>
            <a:ext cx="6772688" cy="143565"/>
          </a:xfrm>
          <a:prstGeom prst="rect">
            <a:avLst/>
          </a:prstGeom>
          <a:noFill/>
          <a:ln w="9525">
            <a:noFill/>
            <a:miter lim="800000"/>
            <a:headEnd/>
            <a:tailEnd/>
          </a:ln>
        </p:spPr>
        <p:txBody>
          <a:bodyPr wrap="none" lIns="0" tIns="0" rIns="0" bIns="0">
            <a:spAutoFit/>
          </a:bodyPr>
          <a:lstStyle>
            <a:defPPr>
              <a:defRPr lang="en-US"/>
            </a:defPPr>
            <a:lvl1pPr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1pPr>
            <a:lvl2pPr marL="4572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2pPr>
            <a:lvl3pPr marL="9144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3pPr>
            <a:lvl4pPr marL="13716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4pPr>
            <a:lvl5pPr marL="18288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5pPr>
            <a:lvl6pPr marL="22860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6pPr>
            <a:lvl7pPr marL="27432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7pPr>
            <a:lvl8pPr marL="32004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8pPr>
            <a:lvl9pPr marL="36576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9pPr>
          </a:lstStyle>
          <a:p>
            <a:r>
              <a:rPr lang="en-US" sz="933" b="0" dirty="0">
                <a:solidFill>
                  <a:schemeClr val="bg1"/>
                </a:solidFill>
                <a:effectLst/>
              </a:rPr>
              <a:t>Proprietary information of Ingram Micro Inc. — Do not distribute or duplicate without Ingram Micro's express written permission.</a:t>
            </a:r>
            <a:endParaRPr lang="en-US" sz="933" dirty="0">
              <a:solidFill>
                <a:schemeClr val="bg1"/>
              </a:solidFill>
              <a:effectLst>
                <a:outerShdw blurRad="38100" dist="38100" dir="2700000" algn="tl">
                  <a:srgbClr val="C0C0C0"/>
                </a:outerShdw>
              </a:effectLst>
            </a:endParaRPr>
          </a:p>
        </p:txBody>
      </p:sp>
    </p:spTree>
    <p:extLst>
      <p:ext uri="{BB962C8B-B14F-4D97-AF65-F5344CB8AC3E}">
        <p14:creationId xmlns:p14="http://schemas.microsoft.com/office/powerpoint/2010/main" val="3069075483"/>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stimonial Color - Orange Bar">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2926779" y="1828800"/>
            <a:ext cx="7973568" cy="3932238"/>
          </a:xfrm>
        </p:spPr>
        <p:txBody>
          <a:bodyPr anchor="ctr" anchorCtr="0"/>
          <a:lstStyle>
            <a:lvl1pPr>
              <a:defRPr sz="3200">
                <a:solidFill>
                  <a:schemeClr val="bg1"/>
                </a:solidFill>
              </a:defRPr>
            </a:lvl1pPr>
            <a:lvl2pPr marL="0" indent="0" algn="r">
              <a:spcBef>
                <a:spcPts val="1200"/>
              </a:spcBef>
              <a:buNone/>
              <a:defRPr sz="1800">
                <a:solidFill>
                  <a:schemeClr val="bg1"/>
                </a:solidFill>
              </a:defRPr>
            </a:lvl2pPr>
            <a:lvl3pPr marL="174625" indent="0" algn="r">
              <a:buNone/>
              <a:defRPr sz="1600">
                <a:solidFill>
                  <a:schemeClr val="bg1"/>
                </a:solidFill>
              </a:defRPr>
            </a:lvl3pPr>
          </a:lstStyle>
          <a:p>
            <a:pPr lvl="0"/>
            <a:r>
              <a:rPr lang="en-US"/>
              <a:t>“Quote text goes here”</a:t>
            </a:r>
          </a:p>
          <a:p>
            <a:pPr lvl="1"/>
            <a:r>
              <a:rPr lang="en-US"/>
              <a:t>Author Name goes here</a:t>
            </a:r>
          </a:p>
          <a:p>
            <a:pPr lvl="2"/>
            <a:r>
              <a:rPr lang="en-US"/>
              <a:t>Author Title goes here</a:t>
            </a:r>
          </a:p>
        </p:txBody>
      </p:sp>
      <p:sp>
        <p:nvSpPr>
          <p:cNvPr id="10" name="TextBox 9">
            <a:extLst>
              <a:ext uri="{FF2B5EF4-FFF2-40B4-BE49-F238E27FC236}">
                <a16:creationId xmlns:a16="http://schemas.microsoft.com/office/drawing/2014/main" id="{D4822471-3398-4552-96F7-7EA60CADBC26}"/>
              </a:ext>
            </a:extLst>
          </p:cNvPr>
          <p:cNvSpPr txBox="1"/>
          <p:nvPr userDrawn="1"/>
        </p:nvSpPr>
        <p:spPr>
          <a:xfrm>
            <a:off x="11454739" y="6472591"/>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Nr.›</a:t>
            </a:fld>
            <a:endParaRPr lang="en-US" sz="700" b="1" i="0" kern="1200" err="1">
              <a:solidFill>
                <a:schemeClr val="bg1"/>
              </a:solidFill>
              <a:latin typeface="Arial"/>
              <a:ea typeface="+mn-ea"/>
              <a:cs typeface="Arial"/>
            </a:endParaRPr>
          </a:p>
        </p:txBody>
      </p:sp>
      <p:sp>
        <p:nvSpPr>
          <p:cNvPr id="9" name="Text Placeholder 12">
            <a:extLst>
              <a:ext uri="{FF2B5EF4-FFF2-40B4-BE49-F238E27FC236}">
                <a16:creationId xmlns:a16="http://schemas.microsoft.com/office/drawing/2014/main" id="{42DD6031-164E-4831-8E83-587CABB29204}"/>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solidFill>
                  <a:schemeClr val="bg1"/>
                </a:solidFill>
              </a:defRPr>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
        <p:nvSpPr>
          <p:cNvPr id="13" name="Rectangle 12">
            <a:extLst>
              <a:ext uri="{FF2B5EF4-FFF2-40B4-BE49-F238E27FC236}">
                <a16:creationId xmlns:a16="http://schemas.microsoft.com/office/drawing/2014/main" id="{697A0B07-B0BE-486A-881E-FD6D79AB677C}"/>
              </a:ext>
            </a:extLst>
          </p:cNvPr>
          <p:cNvSpPr/>
          <p:nvPr userDrawn="1"/>
        </p:nvSpPr>
        <p:spPr>
          <a:xfrm>
            <a:off x="-1" y="1"/>
            <a:ext cx="156625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653D4285-1DB8-4656-B5D8-8657A77446AA}"/>
              </a:ext>
            </a:extLst>
          </p:cNvPr>
          <p:cNvSpPr/>
          <p:nvPr userDrawn="1"/>
        </p:nvSpPr>
        <p:spPr>
          <a:xfrm>
            <a:off x="252827" y="222349"/>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3454727 h 6407421"/>
              <a:gd name="connsiteX221" fmla="*/ 1064123 w 1064123"/>
              <a:gd name="connsiteY221" fmla="*/ 3454727 h 6407421"/>
              <a:gd name="connsiteX222" fmla="*/ 1064123 w 1064123"/>
              <a:gd name="connsiteY222" fmla="*/ 3484330 h 6407421"/>
              <a:gd name="connsiteX223" fmla="*/ 1034520 w 1064123"/>
              <a:gd name="connsiteY223" fmla="*/ 3484330 h 6407421"/>
              <a:gd name="connsiteX224" fmla="*/ 768327 w 1064123"/>
              <a:gd name="connsiteY224" fmla="*/ 3454727 h 6407421"/>
              <a:gd name="connsiteX225" fmla="*/ 797926 w 1064123"/>
              <a:gd name="connsiteY225" fmla="*/ 3454727 h 6407421"/>
              <a:gd name="connsiteX226" fmla="*/ 797926 w 1064123"/>
              <a:gd name="connsiteY226" fmla="*/ 3484330 h 6407421"/>
              <a:gd name="connsiteX227" fmla="*/ 768327 w 1064123"/>
              <a:gd name="connsiteY227" fmla="*/ 3484330 h 6407421"/>
              <a:gd name="connsiteX228" fmla="*/ 502236 w 1064123"/>
              <a:gd name="connsiteY228" fmla="*/ 3454727 h 6407421"/>
              <a:gd name="connsiteX229" fmla="*/ 531839 w 1064123"/>
              <a:gd name="connsiteY229" fmla="*/ 3454727 h 6407421"/>
              <a:gd name="connsiteX230" fmla="*/ 531839 w 1064123"/>
              <a:gd name="connsiteY230" fmla="*/ 3484330 h 6407421"/>
              <a:gd name="connsiteX231" fmla="*/ 502236 w 1064123"/>
              <a:gd name="connsiteY231" fmla="*/ 3484330 h 6407421"/>
              <a:gd name="connsiteX232" fmla="*/ 236037 w 1064123"/>
              <a:gd name="connsiteY232" fmla="*/ 3454727 h 6407421"/>
              <a:gd name="connsiteX233" fmla="*/ 265640 w 1064123"/>
              <a:gd name="connsiteY233" fmla="*/ 3454727 h 6407421"/>
              <a:gd name="connsiteX234" fmla="*/ 265640 w 1064123"/>
              <a:gd name="connsiteY234" fmla="*/ 3484330 h 6407421"/>
              <a:gd name="connsiteX235" fmla="*/ 236037 w 1064123"/>
              <a:gd name="connsiteY235" fmla="*/ 3484330 h 6407421"/>
              <a:gd name="connsiteX236" fmla="*/ 1 w 1064123"/>
              <a:gd name="connsiteY236" fmla="*/ 3454727 h 6407421"/>
              <a:gd name="connsiteX237" fmla="*/ 29603 w 1064123"/>
              <a:gd name="connsiteY237" fmla="*/ 3454727 h 6407421"/>
              <a:gd name="connsiteX238" fmla="*/ 29603 w 1064123"/>
              <a:gd name="connsiteY238" fmla="*/ 3484330 h 6407421"/>
              <a:gd name="connsiteX239" fmla="*/ 1 w 1064123"/>
              <a:gd name="connsiteY239" fmla="*/ 3484330 h 6407421"/>
              <a:gd name="connsiteX240" fmla="*/ 1034520 w 1064123"/>
              <a:gd name="connsiteY240" fmla="*/ 3189074 h 6407421"/>
              <a:gd name="connsiteX241" fmla="*/ 1064123 w 1064123"/>
              <a:gd name="connsiteY241" fmla="*/ 3189074 h 6407421"/>
              <a:gd name="connsiteX242" fmla="*/ 1064123 w 1064123"/>
              <a:gd name="connsiteY242" fmla="*/ 3218566 h 6407421"/>
              <a:gd name="connsiteX243" fmla="*/ 1034520 w 1064123"/>
              <a:gd name="connsiteY243" fmla="*/ 3218566 h 6407421"/>
              <a:gd name="connsiteX244" fmla="*/ 1 w 1064123"/>
              <a:gd name="connsiteY244" fmla="*/ 3189071 h 6407421"/>
              <a:gd name="connsiteX245" fmla="*/ 29603 w 1064123"/>
              <a:gd name="connsiteY245" fmla="*/ 3189071 h 6407421"/>
              <a:gd name="connsiteX246" fmla="*/ 29603 w 1064123"/>
              <a:gd name="connsiteY246" fmla="*/ 3218566 h 6407421"/>
              <a:gd name="connsiteX247" fmla="*/ 1 w 1064123"/>
              <a:gd name="connsiteY247" fmla="*/ 3218566 h 6407421"/>
              <a:gd name="connsiteX248" fmla="*/ 1034520 w 1064123"/>
              <a:gd name="connsiteY248" fmla="*/ 2923310 h 6407421"/>
              <a:gd name="connsiteX249" fmla="*/ 1064123 w 1064123"/>
              <a:gd name="connsiteY249" fmla="*/ 2923310 h 6407421"/>
              <a:gd name="connsiteX250" fmla="*/ 1064123 w 1064123"/>
              <a:gd name="connsiteY250" fmla="*/ 2952805 h 6407421"/>
              <a:gd name="connsiteX251" fmla="*/ 1034520 w 1064123"/>
              <a:gd name="connsiteY251" fmla="*/ 2952805 h 6407421"/>
              <a:gd name="connsiteX252" fmla="*/ 768327 w 1064123"/>
              <a:gd name="connsiteY252" fmla="*/ 2923309 h 6407421"/>
              <a:gd name="connsiteX253" fmla="*/ 797926 w 1064123"/>
              <a:gd name="connsiteY253" fmla="*/ 2923309 h 6407421"/>
              <a:gd name="connsiteX254" fmla="*/ 797926 w 1064123"/>
              <a:gd name="connsiteY254" fmla="*/ 2952804 h 6407421"/>
              <a:gd name="connsiteX255" fmla="*/ 768327 w 1064123"/>
              <a:gd name="connsiteY255" fmla="*/ 2952804 h 6407421"/>
              <a:gd name="connsiteX256" fmla="*/ 502236 w 1064123"/>
              <a:gd name="connsiteY256" fmla="*/ 2923308 h 6407421"/>
              <a:gd name="connsiteX257" fmla="*/ 531838 w 1064123"/>
              <a:gd name="connsiteY257" fmla="*/ 2923308 h 6407421"/>
              <a:gd name="connsiteX258" fmla="*/ 531838 w 1064123"/>
              <a:gd name="connsiteY258" fmla="*/ 2952803 h 6407421"/>
              <a:gd name="connsiteX259" fmla="*/ 502236 w 1064123"/>
              <a:gd name="connsiteY259" fmla="*/ 2952803 h 6407421"/>
              <a:gd name="connsiteX260" fmla="*/ 236037 w 1064123"/>
              <a:gd name="connsiteY260" fmla="*/ 2923307 h 6407421"/>
              <a:gd name="connsiteX261" fmla="*/ 265639 w 1064123"/>
              <a:gd name="connsiteY261" fmla="*/ 2923307 h 6407421"/>
              <a:gd name="connsiteX262" fmla="*/ 265639 w 1064123"/>
              <a:gd name="connsiteY262" fmla="*/ 2952802 h 6407421"/>
              <a:gd name="connsiteX263" fmla="*/ 236037 w 1064123"/>
              <a:gd name="connsiteY263" fmla="*/ 2952802 h 6407421"/>
              <a:gd name="connsiteX264" fmla="*/ 1 w 1064123"/>
              <a:gd name="connsiteY264" fmla="*/ 2923307 h 6407421"/>
              <a:gd name="connsiteX265" fmla="*/ 29603 w 1064123"/>
              <a:gd name="connsiteY265" fmla="*/ 2923307 h 6407421"/>
              <a:gd name="connsiteX266" fmla="*/ 29603 w 1064123"/>
              <a:gd name="connsiteY266" fmla="*/ 2952802 h 6407421"/>
              <a:gd name="connsiteX267" fmla="*/ 1 w 1064123"/>
              <a:gd name="connsiteY267" fmla="*/ 2952802 h 6407421"/>
              <a:gd name="connsiteX268" fmla="*/ 1034520 w 1064123"/>
              <a:gd name="connsiteY268" fmla="*/ 2657443 h 6407421"/>
              <a:gd name="connsiteX269" fmla="*/ 1064123 w 1064123"/>
              <a:gd name="connsiteY269" fmla="*/ 2657443 h 6407421"/>
              <a:gd name="connsiteX270" fmla="*/ 1064123 w 1064123"/>
              <a:gd name="connsiteY270" fmla="*/ 2687045 h 6407421"/>
              <a:gd name="connsiteX271" fmla="*/ 1034520 w 1064123"/>
              <a:gd name="connsiteY271" fmla="*/ 2687045 h 6407421"/>
              <a:gd name="connsiteX272" fmla="*/ 768327 w 1064123"/>
              <a:gd name="connsiteY272" fmla="*/ 2657440 h 6407421"/>
              <a:gd name="connsiteX273" fmla="*/ 797926 w 1064123"/>
              <a:gd name="connsiteY273" fmla="*/ 2657440 h 6407421"/>
              <a:gd name="connsiteX274" fmla="*/ 797926 w 1064123"/>
              <a:gd name="connsiteY274" fmla="*/ 2687042 h 6407421"/>
              <a:gd name="connsiteX275" fmla="*/ 768327 w 1064123"/>
              <a:gd name="connsiteY275" fmla="*/ 2687042 h 6407421"/>
              <a:gd name="connsiteX276" fmla="*/ 502236 w 1064123"/>
              <a:gd name="connsiteY276" fmla="*/ 2657437 h 6407421"/>
              <a:gd name="connsiteX277" fmla="*/ 531838 w 1064123"/>
              <a:gd name="connsiteY277" fmla="*/ 2657437 h 6407421"/>
              <a:gd name="connsiteX278" fmla="*/ 531838 w 1064123"/>
              <a:gd name="connsiteY278" fmla="*/ 2687039 h 6407421"/>
              <a:gd name="connsiteX279" fmla="*/ 502236 w 1064123"/>
              <a:gd name="connsiteY279" fmla="*/ 2687039 h 6407421"/>
              <a:gd name="connsiteX280" fmla="*/ 236037 w 1064123"/>
              <a:gd name="connsiteY280" fmla="*/ 2657434 h 6407421"/>
              <a:gd name="connsiteX281" fmla="*/ 265639 w 1064123"/>
              <a:gd name="connsiteY281" fmla="*/ 2657434 h 6407421"/>
              <a:gd name="connsiteX282" fmla="*/ 265639 w 1064123"/>
              <a:gd name="connsiteY282" fmla="*/ 2687036 h 6407421"/>
              <a:gd name="connsiteX283" fmla="*/ 236037 w 1064123"/>
              <a:gd name="connsiteY283" fmla="*/ 2687036 h 6407421"/>
              <a:gd name="connsiteX284" fmla="*/ 1 w 1064123"/>
              <a:gd name="connsiteY284" fmla="*/ 2657434 h 6407421"/>
              <a:gd name="connsiteX285" fmla="*/ 29603 w 1064123"/>
              <a:gd name="connsiteY285" fmla="*/ 2657434 h 6407421"/>
              <a:gd name="connsiteX286" fmla="*/ 29603 w 1064123"/>
              <a:gd name="connsiteY286" fmla="*/ 2687036 h 6407421"/>
              <a:gd name="connsiteX287" fmla="*/ 1 w 1064123"/>
              <a:gd name="connsiteY287" fmla="*/ 2687036 h 6407421"/>
              <a:gd name="connsiteX288" fmla="*/ 1034520 w 1064123"/>
              <a:gd name="connsiteY288" fmla="*/ 2391678 h 6407421"/>
              <a:gd name="connsiteX289" fmla="*/ 1064123 w 1064123"/>
              <a:gd name="connsiteY289" fmla="*/ 2391678 h 6407421"/>
              <a:gd name="connsiteX290" fmla="*/ 1064123 w 1064123"/>
              <a:gd name="connsiteY290" fmla="*/ 2421288 h 6407421"/>
              <a:gd name="connsiteX291" fmla="*/ 1034520 w 1064123"/>
              <a:gd name="connsiteY291" fmla="*/ 2421288 h 6407421"/>
              <a:gd name="connsiteX292" fmla="*/ 768327 w 1064123"/>
              <a:gd name="connsiteY292" fmla="*/ 2391675 h 6407421"/>
              <a:gd name="connsiteX293" fmla="*/ 797926 w 1064123"/>
              <a:gd name="connsiteY293" fmla="*/ 2391675 h 6407421"/>
              <a:gd name="connsiteX294" fmla="*/ 797926 w 1064123"/>
              <a:gd name="connsiteY294" fmla="*/ 2421283 h 6407421"/>
              <a:gd name="connsiteX295" fmla="*/ 768327 w 1064123"/>
              <a:gd name="connsiteY295" fmla="*/ 2421283 h 6407421"/>
              <a:gd name="connsiteX296" fmla="*/ 502236 w 1064123"/>
              <a:gd name="connsiteY296" fmla="*/ 2391672 h 6407421"/>
              <a:gd name="connsiteX297" fmla="*/ 531838 w 1064123"/>
              <a:gd name="connsiteY297" fmla="*/ 2391672 h 6407421"/>
              <a:gd name="connsiteX298" fmla="*/ 531838 w 1064123"/>
              <a:gd name="connsiteY298" fmla="*/ 2421278 h 6407421"/>
              <a:gd name="connsiteX299" fmla="*/ 502236 w 1064123"/>
              <a:gd name="connsiteY299" fmla="*/ 2421278 h 6407421"/>
              <a:gd name="connsiteX300" fmla="*/ 236037 w 1064123"/>
              <a:gd name="connsiteY300" fmla="*/ 2391669 h 6407421"/>
              <a:gd name="connsiteX301" fmla="*/ 265639 w 1064123"/>
              <a:gd name="connsiteY301" fmla="*/ 2391669 h 6407421"/>
              <a:gd name="connsiteX302" fmla="*/ 265639 w 1064123"/>
              <a:gd name="connsiteY302" fmla="*/ 2421272 h 6407421"/>
              <a:gd name="connsiteX303" fmla="*/ 236037 w 1064123"/>
              <a:gd name="connsiteY303" fmla="*/ 2421272 h 6407421"/>
              <a:gd name="connsiteX304" fmla="*/ 1 w 1064123"/>
              <a:gd name="connsiteY304" fmla="*/ 2391669 h 6407421"/>
              <a:gd name="connsiteX305" fmla="*/ 29603 w 1064123"/>
              <a:gd name="connsiteY305" fmla="*/ 2391669 h 6407421"/>
              <a:gd name="connsiteX306" fmla="*/ 29603 w 1064123"/>
              <a:gd name="connsiteY306" fmla="*/ 2421272 h 6407421"/>
              <a:gd name="connsiteX307" fmla="*/ 1 w 1064123"/>
              <a:gd name="connsiteY307" fmla="*/ 2421272 h 6407421"/>
              <a:gd name="connsiteX308" fmla="*/ 1034520 w 1064123"/>
              <a:gd name="connsiteY308" fmla="*/ 2126020 h 6407421"/>
              <a:gd name="connsiteX309" fmla="*/ 1064123 w 1064123"/>
              <a:gd name="connsiteY309" fmla="*/ 2126020 h 6407421"/>
              <a:gd name="connsiteX310" fmla="*/ 1064123 w 1064123"/>
              <a:gd name="connsiteY310" fmla="*/ 2155517 h 6407421"/>
              <a:gd name="connsiteX311" fmla="*/ 1034520 w 1064123"/>
              <a:gd name="connsiteY311" fmla="*/ 2155517 h 6407421"/>
              <a:gd name="connsiteX312" fmla="*/ 768327 w 1064123"/>
              <a:gd name="connsiteY312" fmla="*/ 2126017 h 6407421"/>
              <a:gd name="connsiteX313" fmla="*/ 797926 w 1064123"/>
              <a:gd name="connsiteY313" fmla="*/ 2126017 h 6407421"/>
              <a:gd name="connsiteX314" fmla="*/ 797926 w 1064123"/>
              <a:gd name="connsiteY314" fmla="*/ 2155513 h 6407421"/>
              <a:gd name="connsiteX315" fmla="*/ 768327 w 1064123"/>
              <a:gd name="connsiteY315" fmla="*/ 2155513 h 6407421"/>
              <a:gd name="connsiteX316" fmla="*/ 502236 w 1064123"/>
              <a:gd name="connsiteY316" fmla="*/ 2126014 h 6407421"/>
              <a:gd name="connsiteX317" fmla="*/ 531838 w 1064123"/>
              <a:gd name="connsiteY317" fmla="*/ 2126014 h 6407421"/>
              <a:gd name="connsiteX318" fmla="*/ 531838 w 1064123"/>
              <a:gd name="connsiteY318" fmla="*/ 2155510 h 6407421"/>
              <a:gd name="connsiteX319" fmla="*/ 502236 w 1064123"/>
              <a:gd name="connsiteY319" fmla="*/ 2155510 h 6407421"/>
              <a:gd name="connsiteX320" fmla="*/ 236037 w 1064123"/>
              <a:gd name="connsiteY320" fmla="*/ 2126012 h 6407421"/>
              <a:gd name="connsiteX321" fmla="*/ 265639 w 1064123"/>
              <a:gd name="connsiteY321" fmla="*/ 2126012 h 6407421"/>
              <a:gd name="connsiteX322" fmla="*/ 265639 w 1064123"/>
              <a:gd name="connsiteY322" fmla="*/ 2155506 h 6407421"/>
              <a:gd name="connsiteX323" fmla="*/ 236037 w 1064123"/>
              <a:gd name="connsiteY323" fmla="*/ 2155506 h 6407421"/>
              <a:gd name="connsiteX324" fmla="*/ 1 w 1064123"/>
              <a:gd name="connsiteY324" fmla="*/ 2126012 h 6407421"/>
              <a:gd name="connsiteX325" fmla="*/ 29603 w 1064123"/>
              <a:gd name="connsiteY325" fmla="*/ 2126012 h 6407421"/>
              <a:gd name="connsiteX326" fmla="*/ 29603 w 1064123"/>
              <a:gd name="connsiteY326" fmla="*/ 2155506 h 6407421"/>
              <a:gd name="connsiteX327" fmla="*/ 1 w 1064123"/>
              <a:gd name="connsiteY327" fmla="*/ 2155506 h 6407421"/>
              <a:gd name="connsiteX328" fmla="*/ 1034520 w 1064123"/>
              <a:gd name="connsiteY328" fmla="*/ 1860254 h 6407421"/>
              <a:gd name="connsiteX329" fmla="*/ 1064123 w 1064123"/>
              <a:gd name="connsiteY329" fmla="*/ 1860254 h 6407421"/>
              <a:gd name="connsiteX330" fmla="*/ 1064123 w 1064123"/>
              <a:gd name="connsiteY330" fmla="*/ 1889747 h 6407421"/>
              <a:gd name="connsiteX331" fmla="*/ 1034520 w 1064123"/>
              <a:gd name="connsiteY331" fmla="*/ 1889747 h 6407421"/>
              <a:gd name="connsiteX332" fmla="*/ 768327 w 1064123"/>
              <a:gd name="connsiteY332" fmla="*/ 1860252 h 6407421"/>
              <a:gd name="connsiteX333" fmla="*/ 797926 w 1064123"/>
              <a:gd name="connsiteY333" fmla="*/ 1860252 h 6407421"/>
              <a:gd name="connsiteX334" fmla="*/ 797926 w 1064123"/>
              <a:gd name="connsiteY334" fmla="*/ 1889745 h 6407421"/>
              <a:gd name="connsiteX335" fmla="*/ 768327 w 1064123"/>
              <a:gd name="connsiteY335" fmla="*/ 1889745 h 6407421"/>
              <a:gd name="connsiteX336" fmla="*/ 502236 w 1064123"/>
              <a:gd name="connsiteY336" fmla="*/ 1860249 h 6407421"/>
              <a:gd name="connsiteX337" fmla="*/ 531838 w 1064123"/>
              <a:gd name="connsiteY337" fmla="*/ 1860249 h 6407421"/>
              <a:gd name="connsiteX338" fmla="*/ 531838 w 1064123"/>
              <a:gd name="connsiteY338" fmla="*/ 1889744 h 6407421"/>
              <a:gd name="connsiteX339" fmla="*/ 502236 w 1064123"/>
              <a:gd name="connsiteY339" fmla="*/ 1889744 h 6407421"/>
              <a:gd name="connsiteX340" fmla="*/ 236037 w 1064123"/>
              <a:gd name="connsiteY340" fmla="*/ 1860247 h 6407421"/>
              <a:gd name="connsiteX341" fmla="*/ 265639 w 1064123"/>
              <a:gd name="connsiteY341" fmla="*/ 1860247 h 6407421"/>
              <a:gd name="connsiteX342" fmla="*/ 265639 w 1064123"/>
              <a:gd name="connsiteY342" fmla="*/ 1889742 h 6407421"/>
              <a:gd name="connsiteX343" fmla="*/ 236037 w 1064123"/>
              <a:gd name="connsiteY343" fmla="*/ 1889742 h 6407421"/>
              <a:gd name="connsiteX344" fmla="*/ 1 w 1064123"/>
              <a:gd name="connsiteY344" fmla="*/ 1860247 h 6407421"/>
              <a:gd name="connsiteX345" fmla="*/ 29603 w 1064123"/>
              <a:gd name="connsiteY345" fmla="*/ 1860247 h 6407421"/>
              <a:gd name="connsiteX346" fmla="*/ 29603 w 1064123"/>
              <a:gd name="connsiteY346" fmla="*/ 1889742 h 6407421"/>
              <a:gd name="connsiteX347" fmla="*/ 1 w 1064123"/>
              <a:gd name="connsiteY347" fmla="*/ 1889742 h 6407421"/>
              <a:gd name="connsiteX348" fmla="*/ 1034520 w 1064123"/>
              <a:gd name="connsiteY348" fmla="*/ 1594489 h 6407421"/>
              <a:gd name="connsiteX349" fmla="*/ 1064123 w 1064123"/>
              <a:gd name="connsiteY349" fmla="*/ 1594489 h 6407421"/>
              <a:gd name="connsiteX350" fmla="*/ 1064123 w 1064123"/>
              <a:gd name="connsiteY350" fmla="*/ 1624092 h 6407421"/>
              <a:gd name="connsiteX351" fmla="*/ 1034520 w 1064123"/>
              <a:gd name="connsiteY351" fmla="*/ 1624092 h 6407421"/>
              <a:gd name="connsiteX352" fmla="*/ 768327 w 1064123"/>
              <a:gd name="connsiteY352" fmla="*/ 1594486 h 6407421"/>
              <a:gd name="connsiteX353" fmla="*/ 797926 w 1064123"/>
              <a:gd name="connsiteY353" fmla="*/ 1594486 h 6407421"/>
              <a:gd name="connsiteX354" fmla="*/ 797926 w 1064123"/>
              <a:gd name="connsiteY354" fmla="*/ 1624090 h 6407421"/>
              <a:gd name="connsiteX355" fmla="*/ 768327 w 1064123"/>
              <a:gd name="connsiteY355" fmla="*/ 1624090 h 6407421"/>
              <a:gd name="connsiteX356" fmla="*/ 502236 w 1064123"/>
              <a:gd name="connsiteY356" fmla="*/ 1594484 h 6407421"/>
              <a:gd name="connsiteX357" fmla="*/ 531838 w 1064123"/>
              <a:gd name="connsiteY357" fmla="*/ 1594484 h 6407421"/>
              <a:gd name="connsiteX358" fmla="*/ 531838 w 1064123"/>
              <a:gd name="connsiteY358" fmla="*/ 1624087 h 6407421"/>
              <a:gd name="connsiteX359" fmla="*/ 502236 w 1064123"/>
              <a:gd name="connsiteY359" fmla="*/ 1624087 h 6407421"/>
              <a:gd name="connsiteX360" fmla="*/ 236037 w 1064123"/>
              <a:gd name="connsiteY360" fmla="*/ 1594482 h 6407421"/>
              <a:gd name="connsiteX361" fmla="*/ 265639 w 1064123"/>
              <a:gd name="connsiteY361" fmla="*/ 1594482 h 6407421"/>
              <a:gd name="connsiteX362" fmla="*/ 265639 w 1064123"/>
              <a:gd name="connsiteY362" fmla="*/ 1624085 h 6407421"/>
              <a:gd name="connsiteX363" fmla="*/ 236037 w 1064123"/>
              <a:gd name="connsiteY363" fmla="*/ 1624085 h 6407421"/>
              <a:gd name="connsiteX364" fmla="*/ 1 w 1064123"/>
              <a:gd name="connsiteY364" fmla="*/ 1594482 h 6407421"/>
              <a:gd name="connsiteX365" fmla="*/ 29603 w 1064123"/>
              <a:gd name="connsiteY365" fmla="*/ 1594482 h 6407421"/>
              <a:gd name="connsiteX366" fmla="*/ 29603 w 1064123"/>
              <a:gd name="connsiteY366" fmla="*/ 1624085 h 6407421"/>
              <a:gd name="connsiteX367" fmla="*/ 1 w 1064123"/>
              <a:gd name="connsiteY367" fmla="*/ 1624085 h 6407421"/>
              <a:gd name="connsiteX368" fmla="*/ 1034520 w 1064123"/>
              <a:gd name="connsiteY368" fmla="*/ 1328724 h 6407421"/>
              <a:gd name="connsiteX369" fmla="*/ 1064123 w 1064123"/>
              <a:gd name="connsiteY369" fmla="*/ 1328724 h 6407421"/>
              <a:gd name="connsiteX370" fmla="*/ 1064123 w 1064123"/>
              <a:gd name="connsiteY370" fmla="*/ 1358328 h 6407421"/>
              <a:gd name="connsiteX371" fmla="*/ 1034520 w 1064123"/>
              <a:gd name="connsiteY371" fmla="*/ 1358328 h 6407421"/>
              <a:gd name="connsiteX372" fmla="*/ 768327 w 1064123"/>
              <a:gd name="connsiteY372" fmla="*/ 1328722 h 6407421"/>
              <a:gd name="connsiteX373" fmla="*/ 797926 w 1064123"/>
              <a:gd name="connsiteY373" fmla="*/ 1328722 h 6407421"/>
              <a:gd name="connsiteX374" fmla="*/ 797926 w 1064123"/>
              <a:gd name="connsiteY374" fmla="*/ 1358325 h 6407421"/>
              <a:gd name="connsiteX375" fmla="*/ 768327 w 1064123"/>
              <a:gd name="connsiteY375" fmla="*/ 1358325 h 6407421"/>
              <a:gd name="connsiteX376" fmla="*/ 502236 w 1064123"/>
              <a:gd name="connsiteY376" fmla="*/ 1328719 h 6407421"/>
              <a:gd name="connsiteX377" fmla="*/ 531838 w 1064123"/>
              <a:gd name="connsiteY377" fmla="*/ 1328719 h 6407421"/>
              <a:gd name="connsiteX378" fmla="*/ 531838 w 1064123"/>
              <a:gd name="connsiteY378" fmla="*/ 1358323 h 6407421"/>
              <a:gd name="connsiteX379" fmla="*/ 502236 w 1064123"/>
              <a:gd name="connsiteY379" fmla="*/ 1358323 h 6407421"/>
              <a:gd name="connsiteX380" fmla="*/ 236036 w 1064123"/>
              <a:gd name="connsiteY380" fmla="*/ 1328717 h 6407421"/>
              <a:gd name="connsiteX381" fmla="*/ 265639 w 1064123"/>
              <a:gd name="connsiteY381" fmla="*/ 1328717 h 6407421"/>
              <a:gd name="connsiteX382" fmla="*/ 265639 w 1064123"/>
              <a:gd name="connsiteY382" fmla="*/ 1358320 h 6407421"/>
              <a:gd name="connsiteX383" fmla="*/ 236036 w 1064123"/>
              <a:gd name="connsiteY383" fmla="*/ 1358320 h 6407421"/>
              <a:gd name="connsiteX384" fmla="*/ 1 w 1064123"/>
              <a:gd name="connsiteY384" fmla="*/ 1328717 h 6407421"/>
              <a:gd name="connsiteX385" fmla="*/ 29602 w 1064123"/>
              <a:gd name="connsiteY385" fmla="*/ 1328717 h 6407421"/>
              <a:gd name="connsiteX386" fmla="*/ 29602 w 1064123"/>
              <a:gd name="connsiteY386" fmla="*/ 1358320 h 6407421"/>
              <a:gd name="connsiteX387" fmla="*/ 1 w 1064123"/>
              <a:gd name="connsiteY387" fmla="*/ 1358320 h 6407421"/>
              <a:gd name="connsiteX388" fmla="*/ 1034520 w 1064123"/>
              <a:gd name="connsiteY388" fmla="*/ 1063069 h 6407421"/>
              <a:gd name="connsiteX389" fmla="*/ 1064123 w 1064123"/>
              <a:gd name="connsiteY389" fmla="*/ 1063069 h 6407421"/>
              <a:gd name="connsiteX390" fmla="*/ 1064123 w 1064123"/>
              <a:gd name="connsiteY390" fmla="*/ 1092563 h 6407421"/>
              <a:gd name="connsiteX391" fmla="*/ 1034520 w 1064123"/>
              <a:gd name="connsiteY391" fmla="*/ 1092563 h 6407421"/>
              <a:gd name="connsiteX392" fmla="*/ 768326 w 1064123"/>
              <a:gd name="connsiteY392" fmla="*/ 1063066 h 6407421"/>
              <a:gd name="connsiteX393" fmla="*/ 797926 w 1064123"/>
              <a:gd name="connsiteY393" fmla="*/ 1063066 h 6407421"/>
              <a:gd name="connsiteX394" fmla="*/ 797926 w 1064123"/>
              <a:gd name="connsiteY394" fmla="*/ 1092560 h 6407421"/>
              <a:gd name="connsiteX395" fmla="*/ 768326 w 1064123"/>
              <a:gd name="connsiteY395" fmla="*/ 1092560 h 6407421"/>
              <a:gd name="connsiteX396" fmla="*/ 502235 w 1064123"/>
              <a:gd name="connsiteY396" fmla="*/ 1063063 h 6407421"/>
              <a:gd name="connsiteX397" fmla="*/ 531838 w 1064123"/>
              <a:gd name="connsiteY397" fmla="*/ 1063063 h 6407421"/>
              <a:gd name="connsiteX398" fmla="*/ 531838 w 1064123"/>
              <a:gd name="connsiteY398" fmla="*/ 1092557 h 6407421"/>
              <a:gd name="connsiteX399" fmla="*/ 502235 w 1064123"/>
              <a:gd name="connsiteY399" fmla="*/ 1092557 h 6407421"/>
              <a:gd name="connsiteX400" fmla="*/ 236036 w 1064123"/>
              <a:gd name="connsiteY400" fmla="*/ 1063059 h 6407421"/>
              <a:gd name="connsiteX401" fmla="*/ 265639 w 1064123"/>
              <a:gd name="connsiteY401" fmla="*/ 1063059 h 6407421"/>
              <a:gd name="connsiteX402" fmla="*/ 265639 w 1064123"/>
              <a:gd name="connsiteY402" fmla="*/ 1092554 h 6407421"/>
              <a:gd name="connsiteX403" fmla="*/ 236036 w 1064123"/>
              <a:gd name="connsiteY403" fmla="*/ 1092554 h 6407421"/>
              <a:gd name="connsiteX404" fmla="*/ 0 w 1064123"/>
              <a:gd name="connsiteY404" fmla="*/ 1063059 h 6407421"/>
              <a:gd name="connsiteX405" fmla="*/ 29602 w 1064123"/>
              <a:gd name="connsiteY405" fmla="*/ 1063059 h 6407421"/>
              <a:gd name="connsiteX406" fmla="*/ 29602 w 1064123"/>
              <a:gd name="connsiteY406" fmla="*/ 1092554 h 6407421"/>
              <a:gd name="connsiteX407" fmla="*/ 0 w 1064123"/>
              <a:gd name="connsiteY407" fmla="*/ 1092554 h 6407421"/>
              <a:gd name="connsiteX408" fmla="*/ 1034520 w 1064123"/>
              <a:gd name="connsiteY408" fmla="*/ 797300 h 6407421"/>
              <a:gd name="connsiteX409" fmla="*/ 1064123 w 1064123"/>
              <a:gd name="connsiteY409" fmla="*/ 797300 h 6407421"/>
              <a:gd name="connsiteX410" fmla="*/ 1064123 w 1064123"/>
              <a:gd name="connsiteY410" fmla="*/ 826797 h 6407421"/>
              <a:gd name="connsiteX411" fmla="*/ 1034520 w 1064123"/>
              <a:gd name="connsiteY411" fmla="*/ 826797 h 6407421"/>
              <a:gd name="connsiteX412" fmla="*/ 768326 w 1064123"/>
              <a:gd name="connsiteY412" fmla="*/ 797298 h 6407421"/>
              <a:gd name="connsiteX413" fmla="*/ 797926 w 1064123"/>
              <a:gd name="connsiteY413" fmla="*/ 797298 h 6407421"/>
              <a:gd name="connsiteX414" fmla="*/ 797926 w 1064123"/>
              <a:gd name="connsiteY414" fmla="*/ 826794 h 6407421"/>
              <a:gd name="connsiteX415" fmla="*/ 768326 w 1064123"/>
              <a:gd name="connsiteY415" fmla="*/ 826794 h 6407421"/>
              <a:gd name="connsiteX416" fmla="*/ 502235 w 1064123"/>
              <a:gd name="connsiteY416" fmla="*/ 797296 h 6407421"/>
              <a:gd name="connsiteX417" fmla="*/ 531838 w 1064123"/>
              <a:gd name="connsiteY417" fmla="*/ 797296 h 6407421"/>
              <a:gd name="connsiteX418" fmla="*/ 531838 w 1064123"/>
              <a:gd name="connsiteY418" fmla="*/ 826792 h 6407421"/>
              <a:gd name="connsiteX419" fmla="*/ 502235 w 1064123"/>
              <a:gd name="connsiteY419" fmla="*/ 826792 h 6407421"/>
              <a:gd name="connsiteX420" fmla="*/ 236036 w 1064123"/>
              <a:gd name="connsiteY420" fmla="*/ 797294 h 6407421"/>
              <a:gd name="connsiteX421" fmla="*/ 265639 w 1064123"/>
              <a:gd name="connsiteY421" fmla="*/ 797294 h 6407421"/>
              <a:gd name="connsiteX422" fmla="*/ 265639 w 1064123"/>
              <a:gd name="connsiteY422" fmla="*/ 826789 h 6407421"/>
              <a:gd name="connsiteX423" fmla="*/ 236036 w 1064123"/>
              <a:gd name="connsiteY423" fmla="*/ 826789 h 6407421"/>
              <a:gd name="connsiteX424" fmla="*/ 0 w 1064123"/>
              <a:gd name="connsiteY424" fmla="*/ 797294 h 6407421"/>
              <a:gd name="connsiteX425" fmla="*/ 29602 w 1064123"/>
              <a:gd name="connsiteY425" fmla="*/ 797294 h 6407421"/>
              <a:gd name="connsiteX426" fmla="*/ 29602 w 1064123"/>
              <a:gd name="connsiteY426" fmla="*/ 826789 h 6407421"/>
              <a:gd name="connsiteX427" fmla="*/ 0 w 1064123"/>
              <a:gd name="connsiteY427" fmla="*/ 826789 h 6407421"/>
              <a:gd name="connsiteX428" fmla="*/ 1034520 w 1064123"/>
              <a:gd name="connsiteY428" fmla="*/ 531537 h 6407421"/>
              <a:gd name="connsiteX429" fmla="*/ 1064123 w 1064123"/>
              <a:gd name="connsiteY429" fmla="*/ 531537 h 6407421"/>
              <a:gd name="connsiteX430" fmla="*/ 1064123 w 1064123"/>
              <a:gd name="connsiteY430" fmla="*/ 561139 h 6407421"/>
              <a:gd name="connsiteX431" fmla="*/ 1034520 w 1064123"/>
              <a:gd name="connsiteY431" fmla="*/ 561139 h 6407421"/>
              <a:gd name="connsiteX432" fmla="*/ 768326 w 1064123"/>
              <a:gd name="connsiteY432" fmla="*/ 531534 h 6407421"/>
              <a:gd name="connsiteX433" fmla="*/ 797926 w 1064123"/>
              <a:gd name="connsiteY433" fmla="*/ 531534 h 6407421"/>
              <a:gd name="connsiteX434" fmla="*/ 797926 w 1064123"/>
              <a:gd name="connsiteY434" fmla="*/ 561137 h 6407421"/>
              <a:gd name="connsiteX435" fmla="*/ 768326 w 1064123"/>
              <a:gd name="connsiteY435" fmla="*/ 561137 h 6407421"/>
              <a:gd name="connsiteX436" fmla="*/ 502235 w 1064123"/>
              <a:gd name="connsiteY436" fmla="*/ 531532 h 6407421"/>
              <a:gd name="connsiteX437" fmla="*/ 531838 w 1064123"/>
              <a:gd name="connsiteY437" fmla="*/ 531532 h 6407421"/>
              <a:gd name="connsiteX438" fmla="*/ 531838 w 1064123"/>
              <a:gd name="connsiteY438" fmla="*/ 561135 h 6407421"/>
              <a:gd name="connsiteX439" fmla="*/ 502235 w 1064123"/>
              <a:gd name="connsiteY439" fmla="*/ 561135 h 6407421"/>
              <a:gd name="connsiteX440" fmla="*/ 236036 w 1064123"/>
              <a:gd name="connsiteY440" fmla="*/ 531530 h 6407421"/>
              <a:gd name="connsiteX441" fmla="*/ 265639 w 1064123"/>
              <a:gd name="connsiteY441" fmla="*/ 531530 h 6407421"/>
              <a:gd name="connsiteX442" fmla="*/ 265639 w 1064123"/>
              <a:gd name="connsiteY442" fmla="*/ 561133 h 6407421"/>
              <a:gd name="connsiteX443" fmla="*/ 236036 w 1064123"/>
              <a:gd name="connsiteY443" fmla="*/ 561133 h 6407421"/>
              <a:gd name="connsiteX444" fmla="*/ 0 w 1064123"/>
              <a:gd name="connsiteY444" fmla="*/ 531530 h 6407421"/>
              <a:gd name="connsiteX445" fmla="*/ 29602 w 1064123"/>
              <a:gd name="connsiteY445" fmla="*/ 531530 h 6407421"/>
              <a:gd name="connsiteX446" fmla="*/ 29602 w 1064123"/>
              <a:gd name="connsiteY446" fmla="*/ 561133 h 6407421"/>
              <a:gd name="connsiteX447" fmla="*/ 0 w 1064123"/>
              <a:gd name="connsiteY447" fmla="*/ 561133 h 6407421"/>
              <a:gd name="connsiteX448" fmla="*/ 1034520 w 1064123"/>
              <a:gd name="connsiteY448" fmla="*/ 265772 h 6407421"/>
              <a:gd name="connsiteX449" fmla="*/ 1064123 w 1064123"/>
              <a:gd name="connsiteY449" fmla="*/ 265772 h 6407421"/>
              <a:gd name="connsiteX450" fmla="*/ 1064123 w 1064123"/>
              <a:gd name="connsiteY450" fmla="*/ 295374 h 6407421"/>
              <a:gd name="connsiteX451" fmla="*/ 1034520 w 1064123"/>
              <a:gd name="connsiteY451" fmla="*/ 295374 h 6407421"/>
              <a:gd name="connsiteX452" fmla="*/ 768326 w 1064123"/>
              <a:gd name="connsiteY452" fmla="*/ 265770 h 6407421"/>
              <a:gd name="connsiteX453" fmla="*/ 797926 w 1064123"/>
              <a:gd name="connsiteY453" fmla="*/ 265770 h 6407421"/>
              <a:gd name="connsiteX454" fmla="*/ 797926 w 1064123"/>
              <a:gd name="connsiteY454" fmla="*/ 295372 h 6407421"/>
              <a:gd name="connsiteX455" fmla="*/ 768326 w 1064123"/>
              <a:gd name="connsiteY455" fmla="*/ 295372 h 6407421"/>
              <a:gd name="connsiteX456" fmla="*/ 502235 w 1064123"/>
              <a:gd name="connsiteY456" fmla="*/ 265767 h 6407421"/>
              <a:gd name="connsiteX457" fmla="*/ 531838 w 1064123"/>
              <a:gd name="connsiteY457" fmla="*/ 265767 h 6407421"/>
              <a:gd name="connsiteX458" fmla="*/ 531838 w 1064123"/>
              <a:gd name="connsiteY458" fmla="*/ 295370 h 6407421"/>
              <a:gd name="connsiteX459" fmla="*/ 502235 w 1064123"/>
              <a:gd name="connsiteY459" fmla="*/ 295370 h 6407421"/>
              <a:gd name="connsiteX460" fmla="*/ 236036 w 1064123"/>
              <a:gd name="connsiteY460" fmla="*/ 265765 h 6407421"/>
              <a:gd name="connsiteX461" fmla="*/ 265639 w 1064123"/>
              <a:gd name="connsiteY461" fmla="*/ 265765 h 6407421"/>
              <a:gd name="connsiteX462" fmla="*/ 265639 w 1064123"/>
              <a:gd name="connsiteY462" fmla="*/ 295368 h 6407421"/>
              <a:gd name="connsiteX463" fmla="*/ 236036 w 1064123"/>
              <a:gd name="connsiteY463" fmla="*/ 295368 h 6407421"/>
              <a:gd name="connsiteX464" fmla="*/ 0 w 1064123"/>
              <a:gd name="connsiteY464" fmla="*/ 265765 h 6407421"/>
              <a:gd name="connsiteX465" fmla="*/ 29602 w 1064123"/>
              <a:gd name="connsiteY465" fmla="*/ 265765 h 6407421"/>
              <a:gd name="connsiteX466" fmla="*/ 29602 w 1064123"/>
              <a:gd name="connsiteY466" fmla="*/ 295368 h 6407421"/>
              <a:gd name="connsiteX467" fmla="*/ 0 w 1064123"/>
              <a:gd name="connsiteY467" fmla="*/ 295368 h 6407421"/>
              <a:gd name="connsiteX468" fmla="*/ 1034520 w 1064123"/>
              <a:gd name="connsiteY468" fmla="*/ 7 h 6407421"/>
              <a:gd name="connsiteX469" fmla="*/ 1064123 w 1064123"/>
              <a:gd name="connsiteY469" fmla="*/ 7 h 6407421"/>
              <a:gd name="connsiteX470" fmla="*/ 1064123 w 1064123"/>
              <a:gd name="connsiteY470" fmla="*/ 29609 h 6407421"/>
              <a:gd name="connsiteX471" fmla="*/ 1034520 w 1064123"/>
              <a:gd name="connsiteY471" fmla="*/ 29609 h 6407421"/>
              <a:gd name="connsiteX472" fmla="*/ 768326 w 1064123"/>
              <a:gd name="connsiteY472" fmla="*/ 5 h 6407421"/>
              <a:gd name="connsiteX473" fmla="*/ 797926 w 1064123"/>
              <a:gd name="connsiteY473" fmla="*/ 5 h 6407421"/>
              <a:gd name="connsiteX474" fmla="*/ 797926 w 1064123"/>
              <a:gd name="connsiteY474" fmla="*/ 29607 h 6407421"/>
              <a:gd name="connsiteX475" fmla="*/ 768326 w 1064123"/>
              <a:gd name="connsiteY475" fmla="*/ 29607 h 6407421"/>
              <a:gd name="connsiteX476" fmla="*/ 502235 w 1064123"/>
              <a:gd name="connsiteY476" fmla="*/ 2 h 6407421"/>
              <a:gd name="connsiteX477" fmla="*/ 531838 w 1064123"/>
              <a:gd name="connsiteY477" fmla="*/ 2 h 6407421"/>
              <a:gd name="connsiteX478" fmla="*/ 531838 w 1064123"/>
              <a:gd name="connsiteY478" fmla="*/ 29605 h 6407421"/>
              <a:gd name="connsiteX479" fmla="*/ 502235 w 1064123"/>
              <a:gd name="connsiteY479" fmla="*/ 29605 h 6407421"/>
              <a:gd name="connsiteX480" fmla="*/ 236036 w 1064123"/>
              <a:gd name="connsiteY480" fmla="*/ 0 h 6407421"/>
              <a:gd name="connsiteX481" fmla="*/ 265638 w 1064123"/>
              <a:gd name="connsiteY481" fmla="*/ 0 h 6407421"/>
              <a:gd name="connsiteX482" fmla="*/ 265638 w 1064123"/>
              <a:gd name="connsiteY482" fmla="*/ 29602 h 6407421"/>
              <a:gd name="connsiteX483" fmla="*/ 236036 w 1064123"/>
              <a:gd name="connsiteY483" fmla="*/ 29602 h 6407421"/>
              <a:gd name="connsiteX484" fmla="*/ 0 w 1064123"/>
              <a:gd name="connsiteY484" fmla="*/ 0 h 6407421"/>
              <a:gd name="connsiteX485" fmla="*/ 29602 w 1064123"/>
              <a:gd name="connsiteY485" fmla="*/ 0 h 6407421"/>
              <a:gd name="connsiteX486" fmla="*/ 29602 w 1064123"/>
              <a:gd name="connsiteY486" fmla="*/ 29602 h 6407421"/>
              <a:gd name="connsiteX487" fmla="*/ 0 w 1064123"/>
              <a:gd name="connsiteY487"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3454727"/>
                </a:moveTo>
                <a:lnTo>
                  <a:pt x="1064123" y="3454727"/>
                </a:lnTo>
                <a:lnTo>
                  <a:pt x="1064123" y="3484330"/>
                </a:lnTo>
                <a:lnTo>
                  <a:pt x="1034520" y="3484330"/>
                </a:lnTo>
                <a:close/>
                <a:moveTo>
                  <a:pt x="768327" y="3454727"/>
                </a:moveTo>
                <a:lnTo>
                  <a:pt x="797926" y="3454727"/>
                </a:lnTo>
                <a:lnTo>
                  <a:pt x="797926" y="3484330"/>
                </a:lnTo>
                <a:lnTo>
                  <a:pt x="768327" y="3484330"/>
                </a:lnTo>
                <a:close/>
                <a:moveTo>
                  <a:pt x="502236" y="3454727"/>
                </a:moveTo>
                <a:lnTo>
                  <a:pt x="531839" y="3454727"/>
                </a:lnTo>
                <a:lnTo>
                  <a:pt x="531839" y="3484330"/>
                </a:lnTo>
                <a:lnTo>
                  <a:pt x="502236" y="3484330"/>
                </a:lnTo>
                <a:close/>
                <a:moveTo>
                  <a:pt x="236037" y="3454727"/>
                </a:moveTo>
                <a:lnTo>
                  <a:pt x="265640" y="3454727"/>
                </a:lnTo>
                <a:lnTo>
                  <a:pt x="265640" y="3484330"/>
                </a:lnTo>
                <a:lnTo>
                  <a:pt x="236037" y="3484330"/>
                </a:lnTo>
                <a:close/>
                <a:moveTo>
                  <a:pt x="1" y="3454727"/>
                </a:moveTo>
                <a:lnTo>
                  <a:pt x="29603" y="3454727"/>
                </a:lnTo>
                <a:lnTo>
                  <a:pt x="29603" y="3484330"/>
                </a:lnTo>
                <a:lnTo>
                  <a:pt x="1" y="3484330"/>
                </a:lnTo>
                <a:close/>
                <a:moveTo>
                  <a:pt x="1034520" y="3189074"/>
                </a:moveTo>
                <a:lnTo>
                  <a:pt x="1064123" y="3189074"/>
                </a:lnTo>
                <a:lnTo>
                  <a:pt x="1064123" y="3218566"/>
                </a:lnTo>
                <a:lnTo>
                  <a:pt x="1034520" y="3218566"/>
                </a:lnTo>
                <a:close/>
                <a:moveTo>
                  <a:pt x="1" y="3189071"/>
                </a:moveTo>
                <a:lnTo>
                  <a:pt x="29603" y="3189071"/>
                </a:lnTo>
                <a:lnTo>
                  <a:pt x="29603" y="3218566"/>
                </a:lnTo>
                <a:lnTo>
                  <a:pt x="1" y="3218566"/>
                </a:lnTo>
                <a:close/>
                <a:moveTo>
                  <a:pt x="1034520" y="2923310"/>
                </a:moveTo>
                <a:lnTo>
                  <a:pt x="1064123" y="2923310"/>
                </a:lnTo>
                <a:lnTo>
                  <a:pt x="1064123" y="2952805"/>
                </a:lnTo>
                <a:lnTo>
                  <a:pt x="1034520" y="2952805"/>
                </a:lnTo>
                <a:close/>
                <a:moveTo>
                  <a:pt x="768327" y="2923309"/>
                </a:moveTo>
                <a:lnTo>
                  <a:pt x="797926" y="2923309"/>
                </a:lnTo>
                <a:lnTo>
                  <a:pt x="797926" y="2952804"/>
                </a:lnTo>
                <a:lnTo>
                  <a:pt x="768327" y="2952804"/>
                </a:lnTo>
                <a:close/>
                <a:moveTo>
                  <a:pt x="502236" y="2923308"/>
                </a:moveTo>
                <a:lnTo>
                  <a:pt x="531838" y="2923308"/>
                </a:lnTo>
                <a:lnTo>
                  <a:pt x="531838" y="2952803"/>
                </a:lnTo>
                <a:lnTo>
                  <a:pt x="502236" y="2952803"/>
                </a:lnTo>
                <a:close/>
                <a:moveTo>
                  <a:pt x="236037" y="2923307"/>
                </a:moveTo>
                <a:lnTo>
                  <a:pt x="265639" y="2923307"/>
                </a:lnTo>
                <a:lnTo>
                  <a:pt x="265639" y="2952802"/>
                </a:lnTo>
                <a:lnTo>
                  <a:pt x="236037" y="2952802"/>
                </a:lnTo>
                <a:close/>
                <a:moveTo>
                  <a:pt x="1" y="2923307"/>
                </a:moveTo>
                <a:lnTo>
                  <a:pt x="29603" y="2923307"/>
                </a:lnTo>
                <a:lnTo>
                  <a:pt x="29603" y="2952802"/>
                </a:lnTo>
                <a:lnTo>
                  <a:pt x="1" y="2952802"/>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40000"/>
            </a:schemeClr>
          </a:solidFill>
          <a:ln w="10797" cap="flat">
            <a:noFill/>
            <a:prstDash val="solid"/>
            <a:miter/>
          </a:ln>
        </p:spPr>
        <p:txBody>
          <a:bodyPr wrap="square" rtlCol="0" anchor="ctr">
            <a:noAutofit/>
          </a:bodyPr>
          <a:lstStyle/>
          <a:p>
            <a:endParaRPr lang="en-US"/>
          </a:p>
        </p:txBody>
      </p:sp>
      <p:grpSp>
        <p:nvGrpSpPr>
          <p:cNvPr id="12" name="Group 11">
            <a:extLst>
              <a:ext uri="{FF2B5EF4-FFF2-40B4-BE49-F238E27FC236}">
                <a16:creationId xmlns:a16="http://schemas.microsoft.com/office/drawing/2014/main" id="{B9B16792-2669-44C6-99F0-FBDEC98F5370}"/>
              </a:ext>
            </a:extLst>
          </p:cNvPr>
          <p:cNvGrpSpPr/>
          <p:nvPr userDrawn="1"/>
        </p:nvGrpSpPr>
        <p:grpSpPr>
          <a:xfrm>
            <a:off x="-3221" y="0"/>
            <a:ext cx="1570603" cy="6342667"/>
            <a:chOff x="-3221" y="0"/>
            <a:chExt cx="1570603" cy="6342667"/>
          </a:xfrm>
        </p:grpSpPr>
        <p:sp>
          <p:nvSpPr>
            <p:cNvPr id="15" name="Freeform: Shape 41">
              <a:extLst>
                <a:ext uri="{FF2B5EF4-FFF2-40B4-BE49-F238E27FC236}">
                  <a16:creationId xmlns:a16="http://schemas.microsoft.com/office/drawing/2014/main" id="{E6E49809-E893-468D-98B3-74D8A961DCCF}"/>
                </a:ext>
              </a:extLst>
            </p:cNvPr>
            <p:cNvSpPr txBox="1">
              <a:spLocks/>
            </p:cNvSpPr>
            <p:nvPr/>
          </p:nvSpPr>
          <p:spPr>
            <a:xfrm>
              <a:off x="771720" y="1305465"/>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7" name="Freeform: Shape 42">
              <a:extLst>
                <a:ext uri="{FF2B5EF4-FFF2-40B4-BE49-F238E27FC236}">
                  <a16:creationId xmlns:a16="http://schemas.microsoft.com/office/drawing/2014/main" id="{0710A4BE-62E5-41F4-9444-45003BFA549E}"/>
                </a:ext>
              </a:extLst>
            </p:cNvPr>
            <p:cNvSpPr txBox="1">
              <a:spLocks/>
            </p:cNvSpPr>
            <p:nvPr/>
          </p:nvSpPr>
          <p:spPr>
            <a:xfrm rot="16200000">
              <a:off x="653257" y="1982983"/>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8" name="Freeform: Shape 81">
              <a:extLst>
                <a:ext uri="{FF2B5EF4-FFF2-40B4-BE49-F238E27FC236}">
                  <a16:creationId xmlns:a16="http://schemas.microsoft.com/office/drawing/2014/main" id="{27FC0547-E2A2-4081-B1D7-6BE307AB3225}"/>
                </a:ext>
              </a:extLst>
            </p:cNvPr>
            <p:cNvSpPr txBox="1">
              <a:spLocks/>
            </p:cNvSpPr>
            <p:nvPr/>
          </p:nvSpPr>
          <p:spPr>
            <a:xfrm rot="5400000">
              <a:off x="522214" y="5297589"/>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9" name="Freeform: Shape 41">
              <a:extLst>
                <a:ext uri="{FF2B5EF4-FFF2-40B4-BE49-F238E27FC236}">
                  <a16:creationId xmlns:a16="http://schemas.microsoft.com/office/drawing/2014/main" id="{8C1F204C-8095-455F-9CD6-D9C61C26F743}"/>
                </a:ext>
              </a:extLst>
            </p:cNvPr>
            <p:cNvSpPr txBox="1">
              <a:spLocks/>
            </p:cNvSpPr>
            <p:nvPr/>
          </p:nvSpPr>
          <p:spPr>
            <a:xfrm>
              <a:off x="253539" y="422329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 name="Freeform: Shape 81">
              <a:extLst>
                <a:ext uri="{FF2B5EF4-FFF2-40B4-BE49-F238E27FC236}">
                  <a16:creationId xmlns:a16="http://schemas.microsoft.com/office/drawing/2014/main" id="{37826853-5609-472F-B8AA-C0A2F18E503C}"/>
                </a:ext>
              </a:extLst>
            </p:cNvPr>
            <p:cNvSpPr txBox="1">
              <a:spLocks/>
            </p:cNvSpPr>
            <p:nvPr/>
          </p:nvSpPr>
          <p:spPr>
            <a:xfrm rot="16200000">
              <a:off x="11410" y="-14631"/>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sp>
        <p:nvSpPr>
          <p:cNvPr id="22" name="Rectangle 21">
            <a:extLst>
              <a:ext uri="{FF2B5EF4-FFF2-40B4-BE49-F238E27FC236}">
                <a16:creationId xmlns:a16="http://schemas.microsoft.com/office/drawing/2014/main" id="{D0B6C81C-D688-4C16-9F56-79B9AB2E951D}"/>
              </a:ext>
            </a:extLst>
          </p:cNvPr>
          <p:cNvSpPr/>
          <p:nvPr userDrawn="1"/>
        </p:nvSpPr>
        <p:spPr>
          <a:xfrm>
            <a:off x="194629" y="3098800"/>
            <a:ext cx="1154181" cy="6572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GB" sz="1400" b="0" i="0" err="1">
              <a:latin typeface="Arial"/>
              <a:cs typeface="Arial"/>
            </a:endParaRPr>
          </a:p>
        </p:txBody>
      </p:sp>
      <p:pic>
        <p:nvPicPr>
          <p:cNvPr id="21" name="Picture 20">
            <a:extLst>
              <a:ext uri="{FF2B5EF4-FFF2-40B4-BE49-F238E27FC236}">
                <a16:creationId xmlns:a16="http://schemas.microsoft.com/office/drawing/2014/main" id="{6F793954-5228-4020-8119-9B8325C71F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60488" y="3149791"/>
            <a:ext cx="1053564" cy="546736"/>
          </a:xfrm>
          <a:prstGeom prst="rect">
            <a:avLst/>
          </a:prstGeom>
        </p:spPr>
      </p:pic>
    </p:spTree>
    <p:extLst>
      <p:ext uri="{BB962C8B-B14F-4D97-AF65-F5344CB8AC3E}">
        <p14:creationId xmlns:p14="http://schemas.microsoft.com/office/powerpoint/2010/main" val="129339772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estimonial Color - Blue Bar">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2926779" y="1828800"/>
            <a:ext cx="7973568" cy="3932238"/>
          </a:xfrm>
        </p:spPr>
        <p:txBody>
          <a:bodyPr anchor="ctr" anchorCtr="0"/>
          <a:lstStyle>
            <a:lvl1pPr>
              <a:defRPr sz="3200">
                <a:solidFill>
                  <a:schemeClr val="bg1"/>
                </a:solidFill>
              </a:defRPr>
            </a:lvl1pPr>
            <a:lvl2pPr marL="0" indent="0" algn="r">
              <a:spcBef>
                <a:spcPts val="1200"/>
              </a:spcBef>
              <a:buNone/>
              <a:defRPr sz="1800">
                <a:solidFill>
                  <a:schemeClr val="bg1"/>
                </a:solidFill>
              </a:defRPr>
            </a:lvl2pPr>
            <a:lvl3pPr marL="174625" indent="0" algn="r">
              <a:buNone/>
              <a:defRPr sz="1600">
                <a:solidFill>
                  <a:schemeClr val="bg1"/>
                </a:solidFill>
              </a:defRPr>
            </a:lvl3pPr>
          </a:lstStyle>
          <a:p>
            <a:pPr lvl="0"/>
            <a:r>
              <a:rPr lang="en-US"/>
              <a:t>“Quote text goes here”</a:t>
            </a:r>
          </a:p>
          <a:p>
            <a:pPr lvl="1"/>
            <a:r>
              <a:rPr lang="en-US"/>
              <a:t>Author Name goes here</a:t>
            </a:r>
          </a:p>
          <a:p>
            <a:pPr lvl="2"/>
            <a:r>
              <a:rPr lang="en-US"/>
              <a:t>Author Title goes here</a:t>
            </a:r>
          </a:p>
        </p:txBody>
      </p:sp>
      <p:sp>
        <p:nvSpPr>
          <p:cNvPr id="10" name="TextBox 9">
            <a:extLst>
              <a:ext uri="{FF2B5EF4-FFF2-40B4-BE49-F238E27FC236}">
                <a16:creationId xmlns:a16="http://schemas.microsoft.com/office/drawing/2014/main" id="{D4822471-3398-4552-96F7-7EA60CADBC26}"/>
              </a:ext>
            </a:extLst>
          </p:cNvPr>
          <p:cNvSpPr txBox="1"/>
          <p:nvPr userDrawn="1"/>
        </p:nvSpPr>
        <p:spPr>
          <a:xfrm>
            <a:off x="11454739" y="6472591"/>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Nr.›</a:t>
            </a:fld>
            <a:endParaRPr lang="en-US" sz="700" b="1" i="0" kern="1200" err="1">
              <a:solidFill>
                <a:schemeClr val="bg1"/>
              </a:solidFill>
              <a:latin typeface="Arial"/>
              <a:ea typeface="+mn-ea"/>
              <a:cs typeface="Arial"/>
            </a:endParaRPr>
          </a:p>
        </p:txBody>
      </p:sp>
      <p:sp>
        <p:nvSpPr>
          <p:cNvPr id="9" name="Text Placeholder 12">
            <a:extLst>
              <a:ext uri="{FF2B5EF4-FFF2-40B4-BE49-F238E27FC236}">
                <a16:creationId xmlns:a16="http://schemas.microsoft.com/office/drawing/2014/main" id="{42DD6031-164E-4831-8E83-587CABB29204}"/>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solidFill>
                  <a:schemeClr val="bg1"/>
                </a:solidFill>
              </a:defRPr>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
        <p:nvSpPr>
          <p:cNvPr id="8" name="Rectangle 7">
            <a:extLst>
              <a:ext uri="{FF2B5EF4-FFF2-40B4-BE49-F238E27FC236}">
                <a16:creationId xmlns:a16="http://schemas.microsoft.com/office/drawing/2014/main" id="{A95CF21C-E7B5-4439-B2DB-EEEB59FDED86}"/>
              </a:ext>
            </a:extLst>
          </p:cNvPr>
          <p:cNvSpPr/>
          <p:nvPr userDrawn="1"/>
        </p:nvSpPr>
        <p:spPr>
          <a:xfrm>
            <a:off x="-1" y="1"/>
            <a:ext cx="15662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A41559B3-96D0-4F48-A102-B609D1256790}"/>
              </a:ext>
            </a:extLst>
          </p:cNvPr>
          <p:cNvSpPr/>
          <p:nvPr userDrawn="1"/>
        </p:nvSpPr>
        <p:spPr>
          <a:xfrm>
            <a:off x="252827" y="222349"/>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3454727 h 6407421"/>
              <a:gd name="connsiteX221" fmla="*/ 1064123 w 1064123"/>
              <a:gd name="connsiteY221" fmla="*/ 3454727 h 6407421"/>
              <a:gd name="connsiteX222" fmla="*/ 1064123 w 1064123"/>
              <a:gd name="connsiteY222" fmla="*/ 3484330 h 6407421"/>
              <a:gd name="connsiteX223" fmla="*/ 1034520 w 1064123"/>
              <a:gd name="connsiteY223" fmla="*/ 3484330 h 6407421"/>
              <a:gd name="connsiteX224" fmla="*/ 768327 w 1064123"/>
              <a:gd name="connsiteY224" fmla="*/ 3454727 h 6407421"/>
              <a:gd name="connsiteX225" fmla="*/ 797926 w 1064123"/>
              <a:gd name="connsiteY225" fmla="*/ 3454727 h 6407421"/>
              <a:gd name="connsiteX226" fmla="*/ 797926 w 1064123"/>
              <a:gd name="connsiteY226" fmla="*/ 3484330 h 6407421"/>
              <a:gd name="connsiteX227" fmla="*/ 768327 w 1064123"/>
              <a:gd name="connsiteY227" fmla="*/ 3484330 h 6407421"/>
              <a:gd name="connsiteX228" fmla="*/ 502236 w 1064123"/>
              <a:gd name="connsiteY228" fmla="*/ 3454727 h 6407421"/>
              <a:gd name="connsiteX229" fmla="*/ 531839 w 1064123"/>
              <a:gd name="connsiteY229" fmla="*/ 3454727 h 6407421"/>
              <a:gd name="connsiteX230" fmla="*/ 531839 w 1064123"/>
              <a:gd name="connsiteY230" fmla="*/ 3484330 h 6407421"/>
              <a:gd name="connsiteX231" fmla="*/ 502236 w 1064123"/>
              <a:gd name="connsiteY231" fmla="*/ 3484330 h 6407421"/>
              <a:gd name="connsiteX232" fmla="*/ 236037 w 1064123"/>
              <a:gd name="connsiteY232" fmla="*/ 3454727 h 6407421"/>
              <a:gd name="connsiteX233" fmla="*/ 265640 w 1064123"/>
              <a:gd name="connsiteY233" fmla="*/ 3454727 h 6407421"/>
              <a:gd name="connsiteX234" fmla="*/ 265640 w 1064123"/>
              <a:gd name="connsiteY234" fmla="*/ 3484330 h 6407421"/>
              <a:gd name="connsiteX235" fmla="*/ 236037 w 1064123"/>
              <a:gd name="connsiteY235" fmla="*/ 3484330 h 6407421"/>
              <a:gd name="connsiteX236" fmla="*/ 1 w 1064123"/>
              <a:gd name="connsiteY236" fmla="*/ 3454727 h 6407421"/>
              <a:gd name="connsiteX237" fmla="*/ 29603 w 1064123"/>
              <a:gd name="connsiteY237" fmla="*/ 3454727 h 6407421"/>
              <a:gd name="connsiteX238" fmla="*/ 29603 w 1064123"/>
              <a:gd name="connsiteY238" fmla="*/ 3484330 h 6407421"/>
              <a:gd name="connsiteX239" fmla="*/ 1 w 1064123"/>
              <a:gd name="connsiteY239" fmla="*/ 3484330 h 6407421"/>
              <a:gd name="connsiteX240" fmla="*/ 1034520 w 1064123"/>
              <a:gd name="connsiteY240" fmla="*/ 3189074 h 6407421"/>
              <a:gd name="connsiteX241" fmla="*/ 1064123 w 1064123"/>
              <a:gd name="connsiteY241" fmla="*/ 3189074 h 6407421"/>
              <a:gd name="connsiteX242" fmla="*/ 1064123 w 1064123"/>
              <a:gd name="connsiteY242" fmla="*/ 3218566 h 6407421"/>
              <a:gd name="connsiteX243" fmla="*/ 1034520 w 1064123"/>
              <a:gd name="connsiteY243" fmla="*/ 3218566 h 6407421"/>
              <a:gd name="connsiteX244" fmla="*/ 1 w 1064123"/>
              <a:gd name="connsiteY244" fmla="*/ 3189071 h 6407421"/>
              <a:gd name="connsiteX245" fmla="*/ 29603 w 1064123"/>
              <a:gd name="connsiteY245" fmla="*/ 3189071 h 6407421"/>
              <a:gd name="connsiteX246" fmla="*/ 29603 w 1064123"/>
              <a:gd name="connsiteY246" fmla="*/ 3218566 h 6407421"/>
              <a:gd name="connsiteX247" fmla="*/ 1 w 1064123"/>
              <a:gd name="connsiteY247" fmla="*/ 3218566 h 6407421"/>
              <a:gd name="connsiteX248" fmla="*/ 1034520 w 1064123"/>
              <a:gd name="connsiteY248" fmla="*/ 2923310 h 6407421"/>
              <a:gd name="connsiteX249" fmla="*/ 1064123 w 1064123"/>
              <a:gd name="connsiteY249" fmla="*/ 2923310 h 6407421"/>
              <a:gd name="connsiteX250" fmla="*/ 1064123 w 1064123"/>
              <a:gd name="connsiteY250" fmla="*/ 2952805 h 6407421"/>
              <a:gd name="connsiteX251" fmla="*/ 1034520 w 1064123"/>
              <a:gd name="connsiteY251" fmla="*/ 2952805 h 6407421"/>
              <a:gd name="connsiteX252" fmla="*/ 768327 w 1064123"/>
              <a:gd name="connsiteY252" fmla="*/ 2923309 h 6407421"/>
              <a:gd name="connsiteX253" fmla="*/ 797926 w 1064123"/>
              <a:gd name="connsiteY253" fmla="*/ 2923309 h 6407421"/>
              <a:gd name="connsiteX254" fmla="*/ 797926 w 1064123"/>
              <a:gd name="connsiteY254" fmla="*/ 2952804 h 6407421"/>
              <a:gd name="connsiteX255" fmla="*/ 768327 w 1064123"/>
              <a:gd name="connsiteY255" fmla="*/ 2952804 h 6407421"/>
              <a:gd name="connsiteX256" fmla="*/ 502236 w 1064123"/>
              <a:gd name="connsiteY256" fmla="*/ 2923308 h 6407421"/>
              <a:gd name="connsiteX257" fmla="*/ 531838 w 1064123"/>
              <a:gd name="connsiteY257" fmla="*/ 2923308 h 6407421"/>
              <a:gd name="connsiteX258" fmla="*/ 531838 w 1064123"/>
              <a:gd name="connsiteY258" fmla="*/ 2952803 h 6407421"/>
              <a:gd name="connsiteX259" fmla="*/ 502236 w 1064123"/>
              <a:gd name="connsiteY259" fmla="*/ 2952803 h 6407421"/>
              <a:gd name="connsiteX260" fmla="*/ 236037 w 1064123"/>
              <a:gd name="connsiteY260" fmla="*/ 2923307 h 6407421"/>
              <a:gd name="connsiteX261" fmla="*/ 265639 w 1064123"/>
              <a:gd name="connsiteY261" fmla="*/ 2923307 h 6407421"/>
              <a:gd name="connsiteX262" fmla="*/ 265639 w 1064123"/>
              <a:gd name="connsiteY262" fmla="*/ 2952802 h 6407421"/>
              <a:gd name="connsiteX263" fmla="*/ 236037 w 1064123"/>
              <a:gd name="connsiteY263" fmla="*/ 2952802 h 6407421"/>
              <a:gd name="connsiteX264" fmla="*/ 1 w 1064123"/>
              <a:gd name="connsiteY264" fmla="*/ 2923307 h 6407421"/>
              <a:gd name="connsiteX265" fmla="*/ 29603 w 1064123"/>
              <a:gd name="connsiteY265" fmla="*/ 2923307 h 6407421"/>
              <a:gd name="connsiteX266" fmla="*/ 29603 w 1064123"/>
              <a:gd name="connsiteY266" fmla="*/ 2952802 h 6407421"/>
              <a:gd name="connsiteX267" fmla="*/ 1 w 1064123"/>
              <a:gd name="connsiteY267" fmla="*/ 2952802 h 6407421"/>
              <a:gd name="connsiteX268" fmla="*/ 1034520 w 1064123"/>
              <a:gd name="connsiteY268" fmla="*/ 2657443 h 6407421"/>
              <a:gd name="connsiteX269" fmla="*/ 1064123 w 1064123"/>
              <a:gd name="connsiteY269" fmla="*/ 2657443 h 6407421"/>
              <a:gd name="connsiteX270" fmla="*/ 1064123 w 1064123"/>
              <a:gd name="connsiteY270" fmla="*/ 2687045 h 6407421"/>
              <a:gd name="connsiteX271" fmla="*/ 1034520 w 1064123"/>
              <a:gd name="connsiteY271" fmla="*/ 2687045 h 6407421"/>
              <a:gd name="connsiteX272" fmla="*/ 768327 w 1064123"/>
              <a:gd name="connsiteY272" fmla="*/ 2657440 h 6407421"/>
              <a:gd name="connsiteX273" fmla="*/ 797926 w 1064123"/>
              <a:gd name="connsiteY273" fmla="*/ 2657440 h 6407421"/>
              <a:gd name="connsiteX274" fmla="*/ 797926 w 1064123"/>
              <a:gd name="connsiteY274" fmla="*/ 2687042 h 6407421"/>
              <a:gd name="connsiteX275" fmla="*/ 768327 w 1064123"/>
              <a:gd name="connsiteY275" fmla="*/ 2687042 h 6407421"/>
              <a:gd name="connsiteX276" fmla="*/ 502236 w 1064123"/>
              <a:gd name="connsiteY276" fmla="*/ 2657437 h 6407421"/>
              <a:gd name="connsiteX277" fmla="*/ 531838 w 1064123"/>
              <a:gd name="connsiteY277" fmla="*/ 2657437 h 6407421"/>
              <a:gd name="connsiteX278" fmla="*/ 531838 w 1064123"/>
              <a:gd name="connsiteY278" fmla="*/ 2687039 h 6407421"/>
              <a:gd name="connsiteX279" fmla="*/ 502236 w 1064123"/>
              <a:gd name="connsiteY279" fmla="*/ 2687039 h 6407421"/>
              <a:gd name="connsiteX280" fmla="*/ 236037 w 1064123"/>
              <a:gd name="connsiteY280" fmla="*/ 2657434 h 6407421"/>
              <a:gd name="connsiteX281" fmla="*/ 265639 w 1064123"/>
              <a:gd name="connsiteY281" fmla="*/ 2657434 h 6407421"/>
              <a:gd name="connsiteX282" fmla="*/ 265639 w 1064123"/>
              <a:gd name="connsiteY282" fmla="*/ 2687036 h 6407421"/>
              <a:gd name="connsiteX283" fmla="*/ 236037 w 1064123"/>
              <a:gd name="connsiteY283" fmla="*/ 2687036 h 6407421"/>
              <a:gd name="connsiteX284" fmla="*/ 1 w 1064123"/>
              <a:gd name="connsiteY284" fmla="*/ 2657434 h 6407421"/>
              <a:gd name="connsiteX285" fmla="*/ 29603 w 1064123"/>
              <a:gd name="connsiteY285" fmla="*/ 2657434 h 6407421"/>
              <a:gd name="connsiteX286" fmla="*/ 29603 w 1064123"/>
              <a:gd name="connsiteY286" fmla="*/ 2687036 h 6407421"/>
              <a:gd name="connsiteX287" fmla="*/ 1 w 1064123"/>
              <a:gd name="connsiteY287" fmla="*/ 2687036 h 6407421"/>
              <a:gd name="connsiteX288" fmla="*/ 1034520 w 1064123"/>
              <a:gd name="connsiteY288" fmla="*/ 2391678 h 6407421"/>
              <a:gd name="connsiteX289" fmla="*/ 1064123 w 1064123"/>
              <a:gd name="connsiteY289" fmla="*/ 2391678 h 6407421"/>
              <a:gd name="connsiteX290" fmla="*/ 1064123 w 1064123"/>
              <a:gd name="connsiteY290" fmla="*/ 2421288 h 6407421"/>
              <a:gd name="connsiteX291" fmla="*/ 1034520 w 1064123"/>
              <a:gd name="connsiteY291" fmla="*/ 2421288 h 6407421"/>
              <a:gd name="connsiteX292" fmla="*/ 768327 w 1064123"/>
              <a:gd name="connsiteY292" fmla="*/ 2391675 h 6407421"/>
              <a:gd name="connsiteX293" fmla="*/ 797926 w 1064123"/>
              <a:gd name="connsiteY293" fmla="*/ 2391675 h 6407421"/>
              <a:gd name="connsiteX294" fmla="*/ 797926 w 1064123"/>
              <a:gd name="connsiteY294" fmla="*/ 2421283 h 6407421"/>
              <a:gd name="connsiteX295" fmla="*/ 768327 w 1064123"/>
              <a:gd name="connsiteY295" fmla="*/ 2421283 h 6407421"/>
              <a:gd name="connsiteX296" fmla="*/ 502236 w 1064123"/>
              <a:gd name="connsiteY296" fmla="*/ 2391672 h 6407421"/>
              <a:gd name="connsiteX297" fmla="*/ 531838 w 1064123"/>
              <a:gd name="connsiteY297" fmla="*/ 2391672 h 6407421"/>
              <a:gd name="connsiteX298" fmla="*/ 531838 w 1064123"/>
              <a:gd name="connsiteY298" fmla="*/ 2421278 h 6407421"/>
              <a:gd name="connsiteX299" fmla="*/ 502236 w 1064123"/>
              <a:gd name="connsiteY299" fmla="*/ 2421278 h 6407421"/>
              <a:gd name="connsiteX300" fmla="*/ 236037 w 1064123"/>
              <a:gd name="connsiteY300" fmla="*/ 2391669 h 6407421"/>
              <a:gd name="connsiteX301" fmla="*/ 265639 w 1064123"/>
              <a:gd name="connsiteY301" fmla="*/ 2391669 h 6407421"/>
              <a:gd name="connsiteX302" fmla="*/ 265639 w 1064123"/>
              <a:gd name="connsiteY302" fmla="*/ 2421272 h 6407421"/>
              <a:gd name="connsiteX303" fmla="*/ 236037 w 1064123"/>
              <a:gd name="connsiteY303" fmla="*/ 2421272 h 6407421"/>
              <a:gd name="connsiteX304" fmla="*/ 1 w 1064123"/>
              <a:gd name="connsiteY304" fmla="*/ 2391669 h 6407421"/>
              <a:gd name="connsiteX305" fmla="*/ 29603 w 1064123"/>
              <a:gd name="connsiteY305" fmla="*/ 2391669 h 6407421"/>
              <a:gd name="connsiteX306" fmla="*/ 29603 w 1064123"/>
              <a:gd name="connsiteY306" fmla="*/ 2421272 h 6407421"/>
              <a:gd name="connsiteX307" fmla="*/ 1 w 1064123"/>
              <a:gd name="connsiteY307" fmla="*/ 2421272 h 6407421"/>
              <a:gd name="connsiteX308" fmla="*/ 1034520 w 1064123"/>
              <a:gd name="connsiteY308" fmla="*/ 2126020 h 6407421"/>
              <a:gd name="connsiteX309" fmla="*/ 1064123 w 1064123"/>
              <a:gd name="connsiteY309" fmla="*/ 2126020 h 6407421"/>
              <a:gd name="connsiteX310" fmla="*/ 1064123 w 1064123"/>
              <a:gd name="connsiteY310" fmla="*/ 2155517 h 6407421"/>
              <a:gd name="connsiteX311" fmla="*/ 1034520 w 1064123"/>
              <a:gd name="connsiteY311" fmla="*/ 2155517 h 6407421"/>
              <a:gd name="connsiteX312" fmla="*/ 768327 w 1064123"/>
              <a:gd name="connsiteY312" fmla="*/ 2126017 h 6407421"/>
              <a:gd name="connsiteX313" fmla="*/ 797926 w 1064123"/>
              <a:gd name="connsiteY313" fmla="*/ 2126017 h 6407421"/>
              <a:gd name="connsiteX314" fmla="*/ 797926 w 1064123"/>
              <a:gd name="connsiteY314" fmla="*/ 2155513 h 6407421"/>
              <a:gd name="connsiteX315" fmla="*/ 768327 w 1064123"/>
              <a:gd name="connsiteY315" fmla="*/ 2155513 h 6407421"/>
              <a:gd name="connsiteX316" fmla="*/ 502236 w 1064123"/>
              <a:gd name="connsiteY316" fmla="*/ 2126014 h 6407421"/>
              <a:gd name="connsiteX317" fmla="*/ 531838 w 1064123"/>
              <a:gd name="connsiteY317" fmla="*/ 2126014 h 6407421"/>
              <a:gd name="connsiteX318" fmla="*/ 531838 w 1064123"/>
              <a:gd name="connsiteY318" fmla="*/ 2155510 h 6407421"/>
              <a:gd name="connsiteX319" fmla="*/ 502236 w 1064123"/>
              <a:gd name="connsiteY319" fmla="*/ 2155510 h 6407421"/>
              <a:gd name="connsiteX320" fmla="*/ 236037 w 1064123"/>
              <a:gd name="connsiteY320" fmla="*/ 2126012 h 6407421"/>
              <a:gd name="connsiteX321" fmla="*/ 265639 w 1064123"/>
              <a:gd name="connsiteY321" fmla="*/ 2126012 h 6407421"/>
              <a:gd name="connsiteX322" fmla="*/ 265639 w 1064123"/>
              <a:gd name="connsiteY322" fmla="*/ 2155506 h 6407421"/>
              <a:gd name="connsiteX323" fmla="*/ 236037 w 1064123"/>
              <a:gd name="connsiteY323" fmla="*/ 2155506 h 6407421"/>
              <a:gd name="connsiteX324" fmla="*/ 1 w 1064123"/>
              <a:gd name="connsiteY324" fmla="*/ 2126012 h 6407421"/>
              <a:gd name="connsiteX325" fmla="*/ 29603 w 1064123"/>
              <a:gd name="connsiteY325" fmla="*/ 2126012 h 6407421"/>
              <a:gd name="connsiteX326" fmla="*/ 29603 w 1064123"/>
              <a:gd name="connsiteY326" fmla="*/ 2155506 h 6407421"/>
              <a:gd name="connsiteX327" fmla="*/ 1 w 1064123"/>
              <a:gd name="connsiteY327" fmla="*/ 2155506 h 6407421"/>
              <a:gd name="connsiteX328" fmla="*/ 1034520 w 1064123"/>
              <a:gd name="connsiteY328" fmla="*/ 1860254 h 6407421"/>
              <a:gd name="connsiteX329" fmla="*/ 1064123 w 1064123"/>
              <a:gd name="connsiteY329" fmla="*/ 1860254 h 6407421"/>
              <a:gd name="connsiteX330" fmla="*/ 1064123 w 1064123"/>
              <a:gd name="connsiteY330" fmla="*/ 1889747 h 6407421"/>
              <a:gd name="connsiteX331" fmla="*/ 1034520 w 1064123"/>
              <a:gd name="connsiteY331" fmla="*/ 1889747 h 6407421"/>
              <a:gd name="connsiteX332" fmla="*/ 768327 w 1064123"/>
              <a:gd name="connsiteY332" fmla="*/ 1860252 h 6407421"/>
              <a:gd name="connsiteX333" fmla="*/ 797926 w 1064123"/>
              <a:gd name="connsiteY333" fmla="*/ 1860252 h 6407421"/>
              <a:gd name="connsiteX334" fmla="*/ 797926 w 1064123"/>
              <a:gd name="connsiteY334" fmla="*/ 1889745 h 6407421"/>
              <a:gd name="connsiteX335" fmla="*/ 768327 w 1064123"/>
              <a:gd name="connsiteY335" fmla="*/ 1889745 h 6407421"/>
              <a:gd name="connsiteX336" fmla="*/ 502236 w 1064123"/>
              <a:gd name="connsiteY336" fmla="*/ 1860249 h 6407421"/>
              <a:gd name="connsiteX337" fmla="*/ 531838 w 1064123"/>
              <a:gd name="connsiteY337" fmla="*/ 1860249 h 6407421"/>
              <a:gd name="connsiteX338" fmla="*/ 531838 w 1064123"/>
              <a:gd name="connsiteY338" fmla="*/ 1889744 h 6407421"/>
              <a:gd name="connsiteX339" fmla="*/ 502236 w 1064123"/>
              <a:gd name="connsiteY339" fmla="*/ 1889744 h 6407421"/>
              <a:gd name="connsiteX340" fmla="*/ 236037 w 1064123"/>
              <a:gd name="connsiteY340" fmla="*/ 1860247 h 6407421"/>
              <a:gd name="connsiteX341" fmla="*/ 265639 w 1064123"/>
              <a:gd name="connsiteY341" fmla="*/ 1860247 h 6407421"/>
              <a:gd name="connsiteX342" fmla="*/ 265639 w 1064123"/>
              <a:gd name="connsiteY342" fmla="*/ 1889742 h 6407421"/>
              <a:gd name="connsiteX343" fmla="*/ 236037 w 1064123"/>
              <a:gd name="connsiteY343" fmla="*/ 1889742 h 6407421"/>
              <a:gd name="connsiteX344" fmla="*/ 1 w 1064123"/>
              <a:gd name="connsiteY344" fmla="*/ 1860247 h 6407421"/>
              <a:gd name="connsiteX345" fmla="*/ 29603 w 1064123"/>
              <a:gd name="connsiteY345" fmla="*/ 1860247 h 6407421"/>
              <a:gd name="connsiteX346" fmla="*/ 29603 w 1064123"/>
              <a:gd name="connsiteY346" fmla="*/ 1889742 h 6407421"/>
              <a:gd name="connsiteX347" fmla="*/ 1 w 1064123"/>
              <a:gd name="connsiteY347" fmla="*/ 1889742 h 6407421"/>
              <a:gd name="connsiteX348" fmla="*/ 1034520 w 1064123"/>
              <a:gd name="connsiteY348" fmla="*/ 1594489 h 6407421"/>
              <a:gd name="connsiteX349" fmla="*/ 1064123 w 1064123"/>
              <a:gd name="connsiteY349" fmla="*/ 1594489 h 6407421"/>
              <a:gd name="connsiteX350" fmla="*/ 1064123 w 1064123"/>
              <a:gd name="connsiteY350" fmla="*/ 1624092 h 6407421"/>
              <a:gd name="connsiteX351" fmla="*/ 1034520 w 1064123"/>
              <a:gd name="connsiteY351" fmla="*/ 1624092 h 6407421"/>
              <a:gd name="connsiteX352" fmla="*/ 768327 w 1064123"/>
              <a:gd name="connsiteY352" fmla="*/ 1594486 h 6407421"/>
              <a:gd name="connsiteX353" fmla="*/ 797926 w 1064123"/>
              <a:gd name="connsiteY353" fmla="*/ 1594486 h 6407421"/>
              <a:gd name="connsiteX354" fmla="*/ 797926 w 1064123"/>
              <a:gd name="connsiteY354" fmla="*/ 1624090 h 6407421"/>
              <a:gd name="connsiteX355" fmla="*/ 768327 w 1064123"/>
              <a:gd name="connsiteY355" fmla="*/ 1624090 h 6407421"/>
              <a:gd name="connsiteX356" fmla="*/ 502236 w 1064123"/>
              <a:gd name="connsiteY356" fmla="*/ 1594484 h 6407421"/>
              <a:gd name="connsiteX357" fmla="*/ 531838 w 1064123"/>
              <a:gd name="connsiteY357" fmla="*/ 1594484 h 6407421"/>
              <a:gd name="connsiteX358" fmla="*/ 531838 w 1064123"/>
              <a:gd name="connsiteY358" fmla="*/ 1624087 h 6407421"/>
              <a:gd name="connsiteX359" fmla="*/ 502236 w 1064123"/>
              <a:gd name="connsiteY359" fmla="*/ 1624087 h 6407421"/>
              <a:gd name="connsiteX360" fmla="*/ 236037 w 1064123"/>
              <a:gd name="connsiteY360" fmla="*/ 1594482 h 6407421"/>
              <a:gd name="connsiteX361" fmla="*/ 265639 w 1064123"/>
              <a:gd name="connsiteY361" fmla="*/ 1594482 h 6407421"/>
              <a:gd name="connsiteX362" fmla="*/ 265639 w 1064123"/>
              <a:gd name="connsiteY362" fmla="*/ 1624085 h 6407421"/>
              <a:gd name="connsiteX363" fmla="*/ 236037 w 1064123"/>
              <a:gd name="connsiteY363" fmla="*/ 1624085 h 6407421"/>
              <a:gd name="connsiteX364" fmla="*/ 1 w 1064123"/>
              <a:gd name="connsiteY364" fmla="*/ 1594482 h 6407421"/>
              <a:gd name="connsiteX365" fmla="*/ 29603 w 1064123"/>
              <a:gd name="connsiteY365" fmla="*/ 1594482 h 6407421"/>
              <a:gd name="connsiteX366" fmla="*/ 29603 w 1064123"/>
              <a:gd name="connsiteY366" fmla="*/ 1624085 h 6407421"/>
              <a:gd name="connsiteX367" fmla="*/ 1 w 1064123"/>
              <a:gd name="connsiteY367" fmla="*/ 1624085 h 6407421"/>
              <a:gd name="connsiteX368" fmla="*/ 1034520 w 1064123"/>
              <a:gd name="connsiteY368" fmla="*/ 1328724 h 6407421"/>
              <a:gd name="connsiteX369" fmla="*/ 1064123 w 1064123"/>
              <a:gd name="connsiteY369" fmla="*/ 1328724 h 6407421"/>
              <a:gd name="connsiteX370" fmla="*/ 1064123 w 1064123"/>
              <a:gd name="connsiteY370" fmla="*/ 1358328 h 6407421"/>
              <a:gd name="connsiteX371" fmla="*/ 1034520 w 1064123"/>
              <a:gd name="connsiteY371" fmla="*/ 1358328 h 6407421"/>
              <a:gd name="connsiteX372" fmla="*/ 768327 w 1064123"/>
              <a:gd name="connsiteY372" fmla="*/ 1328722 h 6407421"/>
              <a:gd name="connsiteX373" fmla="*/ 797926 w 1064123"/>
              <a:gd name="connsiteY373" fmla="*/ 1328722 h 6407421"/>
              <a:gd name="connsiteX374" fmla="*/ 797926 w 1064123"/>
              <a:gd name="connsiteY374" fmla="*/ 1358325 h 6407421"/>
              <a:gd name="connsiteX375" fmla="*/ 768327 w 1064123"/>
              <a:gd name="connsiteY375" fmla="*/ 1358325 h 6407421"/>
              <a:gd name="connsiteX376" fmla="*/ 502236 w 1064123"/>
              <a:gd name="connsiteY376" fmla="*/ 1328719 h 6407421"/>
              <a:gd name="connsiteX377" fmla="*/ 531838 w 1064123"/>
              <a:gd name="connsiteY377" fmla="*/ 1328719 h 6407421"/>
              <a:gd name="connsiteX378" fmla="*/ 531838 w 1064123"/>
              <a:gd name="connsiteY378" fmla="*/ 1358323 h 6407421"/>
              <a:gd name="connsiteX379" fmla="*/ 502236 w 1064123"/>
              <a:gd name="connsiteY379" fmla="*/ 1358323 h 6407421"/>
              <a:gd name="connsiteX380" fmla="*/ 236036 w 1064123"/>
              <a:gd name="connsiteY380" fmla="*/ 1328717 h 6407421"/>
              <a:gd name="connsiteX381" fmla="*/ 265639 w 1064123"/>
              <a:gd name="connsiteY381" fmla="*/ 1328717 h 6407421"/>
              <a:gd name="connsiteX382" fmla="*/ 265639 w 1064123"/>
              <a:gd name="connsiteY382" fmla="*/ 1358320 h 6407421"/>
              <a:gd name="connsiteX383" fmla="*/ 236036 w 1064123"/>
              <a:gd name="connsiteY383" fmla="*/ 1358320 h 6407421"/>
              <a:gd name="connsiteX384" fmla="*/ 1 w 1064123"/>
              <a:gd name="connsiteY384" fmla="*/ 1328717 h 6407421"/>
              <a:gd name="connsiteX385" fmla="*/ 29602 w 1064123"/>
              <a:gd name="connsiteY385" fmla="*/ 1328717 h 6407421"/>
              <a:gd name="connsiteX386" fmla="*/ 29602 w 1064123"/>
              <a:gd name="connsiteY386" fmla="*/ 1358320 h 6407421"/>
              <a:gd name="connsiteX387" fmla="*/ 1 w 1064123"/>
              <a:gd name="connsiteY387" fmla="*/ 1358320 h 6407421"/>
              <a:gd name="connsiteX388" fmla="*/ 1034520 w 1064123"/>
              <a:gd name="connsiteY388" fmla="*/ 1063069 h 6407421"/>
              <a:gd name="connsiteX389" fmla="*/ 1064123 w 1064123"/>
              <a:gd name="connsiteY389" fmla="*/ 1063069 h 6407421"/>
              <a:gd name="connsiteX390" fmla="*/ 1064123 w 1064123"/>
              <a:gd name="connsiteY390" fmla="*/ 1092563 h 6407421"/>
              <a:gd name="connsiteX391" fmla="*/ 1034520 w 1064123"/>
              <a:gd name="connsiteY391" fmla="*/ 1092563 h 6407421"/>
              <a:gd name="connsiteX392" fmla="*/ 768326 w 1064123"/>
              <a:gd name="connsiteY392" fmla="*/ 1063066 h 6407421"/>
              <a:gd name="connsiteX393" fmla="*/ 797926 w 1064123"/>
              <a:gd name="connsiteY393" fmla="*/ 1063066 h 6407421"/>
              <a:gd name="connsiteX394" fmla="*/ 797926 w 1064123"/>
              <a:gd name="connsiteY394" fmla="*/ 1092560 h 6407421"/>
              <a:gd name="connsiteX395" fmla="*/ 768326 w 1064123"/>
              <a:gd name="connsiteY395" fmla="*/ 1092560 h 6407421"/>
              <a:gd name="connsiteX396" fmla="*/ 502235 w 1064123"/>
              <a:gd name="connsiteY396" fmla="*/ 1063063 h 6407421"/>
              <a:gd name="connsiteX397" fmla="*/ 531838 w 1064123"/>
              <a:gd name="connsiteY397" fmla="*/ 1063063 h 6407421"/>
              <a:gd name="connsiteX398" fmla="*/ 531838 w 1064123"/>
              <a:gd name="connsiteY398" fmla="*/ 1092557 h 6407421"/>
              <a:gd name="connsiteX399" fmla="*/ 502235 w 1064123"/>
              <a:gd name="connsiteY399" fmla="*/ 1092557 h 6407421"/>
              <a:gd name="connsiteX400" fmla="*/ 236036 w 1064123"/>
              <a:gd name="connsiteY400" fmla="*/ 1063059 h 6407421"/>
              <a:gd name="connsiteX401" fmla="*/ 265639 w 1064123"/>
              <a:gd name="connsiteY401" fmla="*/ 1063059 h 6407421"/>
              <a:gd name="connsiteX402" fmla="*/ 265639 w 1064123"/>
              <a:gd name="connsiteY402" fmla="*/ 1092554 h 6407421"/>
              <a:gd name="connsiteX403" fmla="*/ 236036 w 1064123"/>
              <a:gd name="connsiteY403" fmla="*/ 1092554 h 6407421"/>
              <a:gd name="connsiteX404" fmla="*/ 0 w 1064123"/>
              <a:gd name="connsiteY404" fmla="*/ 1063059 h 6407421"/>
              <a:gd name="connsiteX405" fmla="*/ 29602 w 1064123"/>
              <a:gd name="connsiteY405" fmla="*/ 1063059 h 6407421"/>
              <a:gd name="connsiteX406" fmla="*/ 29602 w 1064123"/>
              <a:gd name="connsiteY406" fmla="*/ 1092554 h 6407421"/>
              <a:gd name="connsiteX407" fmla="*/ 0 w 1064123"/>
              <a:gd name="connsiteY407" fmla="*/ 1092554 h 6407421"/>
              <a:gd name="connsiteX408" fmla="*/ 1034520 w 1064123"/>
              <a:gd name="connsiteY408" fmla="*/ 797300 h 6407421"/>
              <a:gd name="connsiteX409" fmla="*/ 1064123 w 1064123"/>
              <a:gd name="connsiteY409" fmla="*/ 797300 h 6407421"/>
              <a:gd name="connsiteX410" fmla="*/ 1064123 w 1064123"/>
              <a:gd name="connsiteY410" fmla="*/ 826797 h 6407421"/>
              <a:gd name="connsiteX411" fmla="*/ 1034520 w 1064123"/>
              <a:gd name="connsiteY411" fmla="*/ 826797 h 6407421"/>
              <a:gd name="connsiteX412" fmla="*/ 768326 w 1064123"/>
              <a:gd name="connsiteY412" fmla="*/ 797298 h 6407421"/>
              <a:gd name="connsiteX413" fmla="*/ 797926 w 1064123"/>
              <a:gd name="connsiteY413" fmla="*/ 797298 h 6407421"/>
              <a:gd name="connsiteX414" fmla="*/ 797926 w 1064123"/>
              <a:gd name="connsiteY414" fmla="*/ 826794 h 6407421"/>
              <a:gd name="connsiteX415" fmla="*/ 768326 w 1064123"/>
              <a:gd name="connsiteY415" fmla="*/ 826794 h 6407421"/>
              <a:gd name="connsiteX416" fmla="*/ 502235 w 1064123"/>
              <a:gd name="connsiteY416" fmla="*/ 797296 h 6407421"/>
              <a:gd name="connsiteX417" fmla="*/ 531838 w 1064123"/>
              <a:gd name="connsiteY417" fmla="*/ 797296 h 6407421"/>
              <a:gd name="connsiteX418" fmla="*/ 531838 w 1064123"/>
              <a:gd name="connsiteY418" fmla="*/ 826792 h 6407421"/>
              <a:gd name="connsiteX419" fmla="*/ 502235 w 1064123"/>
              <a:gd name="connsiteY419" fmla="*/ 826792 h 6407421"/>
              <a:gd name="connsiteX420" fmla="*/ 236036 w 1064123"/>
              <a:gd name="connsiteY420" fmla="*/ 797294 h 6407421"/>
              <a:gd name="connsiteX421" fmla="*/ 265639 w 1064123"/>
              <a:gd name="connsiteY421" fmla="*/ 797294 h 6407421"/>
              <a:gd name="connsiteX422" fmla="*/ 265639 w 1064123"/>
              <a:gd name="connsiteY422" fmla="*/ 826789 h 6407421"/>
              <a:gd name="connsiteX423" fmla="*/ 236036 w 1064123"/>
              <a:gd name="connsiteY423" fmla="*/ 826789 h 6407421"/>
              <a:gd name="connsiteX424" fmla="*/ 0 w 1064123"/>
              <a:gd name="connsiteY424" fmla="*/ 797294 h 6407421"/>
              <a:gd name="connsiteX425" fmla="*/ 29602 w 1064123"/>
              <a:gd name="connsiteY425" fmla="*/ 797294 h 6407421"/>
              <a:gd name="connsiteX426" fmla="*/ 29602 w 1064123"/>
              <a:gd name="connsiteY426" fmla="*/ 826789 h 6407421"/>
              <a:gd name="connsiteX427" fmla="*/ 0 w 1064123"/>
              <a:gd name="connsiteY427" fmla="*/ 826789 h 6407421"/>
              <a:gd name="connsiteX428" fmla="*/ 1034520 w 1064123"/>
              <a:gd name="connsiteY428" fmla="*/ 531537 h 6407421"/>
              <a:gd name="connsiteX429" fmla="*/ 1064123 w 1064123"/>
              <a:gd name="connsiteY429" fmla="*/ 531537 h 6407421"/>
              <a:gd name="connsiteX430" fmla="*/ 1064123 w 1064123"/>
              <a:gd name="connsiteY430" fmla="*/ 561139 h 6407421"/>
              <a:gd name="connsiteX431" fmla="*/ 1034520 w 1064123"/>
              <a:gd name="connsiteY431" fmla="*/ 561139 h 6407421"/>
              <a:gd name="connsiteX432" fmla="*/ 768326 w 1064123"/>
              <a:gd name="connsiteY432" fmla="*/ 531534 h 6407421"/>
              <a:gd name="connsiteX433" fmla="*/ 797926 w 1064123"/>
              <a:gd name="connsiteY433" fmla="*/ 531534 h 6407421"/>
              <a:gd name="connsiteX434" fmla="*/ 797926 w 1064123"/>
              <a:gd name="connsiteY434" fmla="*/ 561137 h 6407421"/>
              <a:gd name="connsiteX435" fmla="*/ 768326 w 1064123"/>
              <a:gd name="connsiteY435" fmla="*/ 561137 h 6407421"/>
              <a:gd name="connsiteX436" fmla="*/ 502235 w 1064123"/>
              <a:gd name="connsiteY436" fmla="*/ 531532 h 6407421"/>
              <a:gd name="connsiteX437" fmla="*/ 531838 w 1064123"/>
              <a:gd name="connsiteY437" fmla="*/ 531532 h 6407421"/>
              <a:gd name="connsiteX438" fmla="*/ 531838 w 1064123"/>
              <a:gd name="connsiteY438" fmla="*/ 561135 h 6407421"/>
              <a:gd name="connsiteX439" fmla="*/ 502235 w 1064123"/>
              <a:gd name="connsiteY439" fmla="*/ 561135 h 6407421"/>
              <a:gd name="connsiteX440" fmla="*/ 236036 w 1064123"/>
              <a:gd name="connsiteY440" fmla="*/ 531530 h 6407421"/>
              <a:gd name="connsiteX441" fmla="*/ 265639 w 1064123"/>
              <a:gd name="connsiteY441" fmla="*/ 531530 h 6407421"/>
              <a:gd name="connsiteX442" fmla="*/ 265639 w 1064123"/>
              <a:gd name="connsiteY442" fmla="*/ 561133 h 6407421"/>
              <a:gd name="connsiteX443" fmla="*/ 236036 w 1064123"/>
              <a:gd name="connsiteY443" fmla="*/ 561133 h 6407421"/>
              <a:gd name="connsiteX444" fmla="*/ 0 w 1064123"/>
              <a:gd name="connsiteY444" fmla="*/ 531530 h 6407421"/>
              <a:gd name="connsiteX445" fmla="*/ 29602 w 1064123"/>
              <a:gd name="connsiteY445" fmla="*/ 531530 h 6407421"/>
              <a:gd name="connsiteX446" fmla="*/ 29602 w 1064123"/>
              <a:gd name="connsiteY446" fmla="*/ 561133 h 6407421"/>
              <a:gd name="connsiteX447" fmla="*/ 0 w 1064123"/>
              <a:gd name="connsiteY447" fmla="*/ 561133 h 6407421"/>
              <a:gd name="connsiteX448" fmla="*/ 1034520 w 1064123"/>
              <a:gd name="connsiteY448" fmla="*/ 265772 h 6407421"/>
              <a:gd name="connsiteX449" fmla="*/ 1064123 w 1064123"/>
              <a:gd name="connsiteY449" fmla="*/ 265772 h 6407421"/>
              <a:gd name="connsiteX450" fmla="*/ 1064123 w 1064123"/>
              <a:gd name="connsiteY450" fmla="*/ 295374 h 6407421"/>
              <a:gd name="connsiteX451" fmla="*/ 1034520 w 1064123"/>
              <a:gd name="connsiteY451" fmla="*/ 295374 h 6407421"/>
              <a:gd name="connsiteX452" fmla="*/ 768326 w 1064123"/>
              <a:gd name="connsiteY452" fmla="*/ 265770 h 6407421"/>
              <a:gd name="connsiteX453" fmla="*/ 797926 w 1064123"/>
              <a:gd name="connsiteY453" fmla="*/ 265770 h 6407421"/>
              <a:gd name="connsiteX454" fmla="*/ 797926 w 1064123"/>
              <a:gd name="connsiteY454" fmla="*/ 295372 h 6407421"/>
              <a:gd name="connsiteX455" fmla="*/ 768326 w 1064123"/>
              <a:gd name="connsiteY455" fmla="*/ 295372 h 6407421"/>
              <a:gd name="connsiteX456" fmla="*/ 502235 w 1064123"/>
              <a:gd name="connsiteY456" fmla="*/ 265767 h 6407421"/>
              <a:gd name="connsiteX457" fmla="*/ 531838 w 1064123"/>
              <a:gd name="connsiteY457" fmla="*/ 265767 h 6407421"/>
              <a:gd name="connsiteX458" fmla="*/ 531838 w 1064123"/>
              <a:gd name="connsiteY458" fmla="*/ 295370 h 6407421"/>
              <a:gd name="connsiteX459" fmla="*/ 502235 w 1064123"/>
              <a:gd name="connsiteY459" fmla="*/ 295370 h 6407421"/>
              <a:gd name="connsiteX460" fmla="*/ 236036 w 1064123"/>
              <a:gd name="connsiteY460" fmla="*/ 265765 h 6407421"/>
              <a:gd name="connsiteX461" fmla="*/ 265639 w 1064123"/>
              <a:gd name="connsiteY461" fmla="*/ 265765 h 6407421"/>
              <a:gd name="connsiteX462" fmla="*/ 265639 w 1064123"/>
              <a:gd name="connsiteY462" fmla="*/ 295368 h 6407421"/>
              <a:gd name="connsiteX463" fmla="*/ 236036 w 1064123"/>
              <a:gd name="connsiteY463" fmla="*/ 295368 h 6407421"/>
              <a:gd name="connsiteX464" fmla="*/ 0 w 1064123"/>
              <a:gd name="connsiteY464" fmla="*/ 265765 h 6407421"/>
              <a:gd name="connsiteX465" fmla="*/ 29602 w 1064123"/>
              <a:gd name="connsiteY465" fmla="*/ 265765 h 6407421"/>
              <a:gd name="connsiteX466" fmla="*/ 29602 w 1064123"/>
              <a:gd name="connsiteY466" fmla="*/ 295368 h 6407421"/>
              <a:gd name="connsiteX467" fmla="*/ 0 w 1064123"/>
              <a:gd name="connsiteY467" fmla="*/ 295368 h 6407421"/>
              <a:gd name="connsiteX468" fmla="*/ 1034520 w 1064123"/>
              <a:gd name="connsiteY468" fmla="*/ 7 h 6407421"/>
              <a:gd name="connsiteX469" fmla="*/ 1064123 w 1064123"/>
              <a:gd name="connsiteY469" fmla="*/ 7 h 6407421"/>
              <a:gd name="connsiteX470" fmla="*/ 1064123 w 1064123"/>
              <a:gd name="connsiteY470" fmla="*/ 29609 h 6407421"/>
              <a:gd name="connsiteX471" fmla="*/ 1034520 w 1064123"/>
              <a:gd name="connsiteY471" fmla="*/ 29609 h 6407421"/>
              <a:gd name="connsiteX472" fmla="*/ 768326 w 1064123"/>
              <a:gd name="connsiteY472" fmla="*/ 5 h 6407421"/>
              <a:gd name="connsiteX473" fmla="*/ 797926 w 1064123"/>
              <a:gd name="connsiteY473" fmla="*/ 5 h 6407421"/>
              <a:gd name="connsiteX474" fmla="*/ 797926 w 1064123"/>
              <a:gd name="connsiteY474" fmla="*/ 29607 h 6407421"/>
              <a:gd name="connsiteX475" fmla="*/ 768326 w 1064123"/>
              <a:gd name="connsiteY475" fmla="*/ 29607 h 6407421"/>
              <a:gd name="connsiteX476" fmla="*/ 502235 w 1064123"/>
              <a:gd name="connsiteY476" fmla="*/ 2 h 6407421"/>
              <a:gd name="connsiteX477" fmla="*/ 531838 w 1064123"/>
              <a:gd name="connsiteY477" fmla="*/ 2 h 6407421"/>
              <a:gd name="connsiteX478" fmla="*/ 531838 w 1064123"/>
              <a:gd name="connsiteY478" fmla="*/ 29605 h 6407421"/>
              <a:gd name="connsiteX479" fmla="*/ 502235 w 1064123"/>
              <a:gd name="connsiteY479" fmla="*/ 29605 h 6407421"/>
              <a:gd name="connsiteX480" fmla="*/ 236036 w 1064123"/>
              <a:gd name="connsiteY480" fmla="*/ 0 h 6407421"/>
              <a:gd name="connsiteX481" fmla="*/ 265638 w 1064123"/>
              <a:gd name="connsiteY481" fmla="*/ 0 h 6407421"/>
              <a:gd name="connsiteX482" fmla="*/ 265638 w 1064123"/>
              <a:gd name="connsiteY482" fmla="*/ 29602 h 6407421"/>
              <a:gd name="connsiteX483" fmla="*/ 236036 w 1064123"/>
              <a:gd name="connsiteY483" fmla="*/ 29602 h 6407421"/>
              <a:gd name="connsiteX484" fmla="*/ 0 w 1064123"/>
              <a:gd name="connsiteY484" fmla="*/ 0 h 6407421"/>
              <a:gd name="connsiteX485" fmla="*/ 29602 w 1064123"/>
              <a:gd name="connsiteY485" fmla="*/ 0 h 6407421"/>
              <a:gd name="connsiteX486" fmla="*/ 29602 w 1064123"/>
              <a:gd name="connsiteY486" fmla="*/ 29602 h 6407421"/>
              <a:gd name="connsiteX487" fmla="*/ 0 w 1064123"/>
              <a:gd name="connsiteY487"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3454727"/>
                </a:moveTo>
                <a:lnTo>
                  <a:pt x="1064123" y="3454727"/>
                </a:lnTo>
                <a:lnTo>
                  <a:pt x="1064123" y="3484330"/>
                </a:lnTo>
                <a:lnTo>
                  <a:pt x="1034520" y="3484330"/>
                </a:lnTo>
                <a:close/>
                <a:moveTo>
                  <a:pt x="768327" y="3454727"/>
                </a:moveTo>
                <a:lnTo>
                  <a:pt x="797926" y="3454727"/>
                </a:lnTo>
                <a:lnTo>
                  <a:pt x="797926" y="3484330"/>
                </a:lnTo>
                <a:lnTo>
                  <a:pt x="768327" y="3484330"/>
                </a:lnTo>
                <a:close/>
                <a:moveTo>
                  <a:pt x="502236" y="3454727"/>
                </a:moveTo>
                <a:lnTo>
                  <a:pt x="531839" y="3454727"/>
                </a:lnTo>
                <a:lnTo>
                  <a:pt x="531839" y="3484330"/>
                </a:lnTo>
                <a:lnTo>
                  <a:pt x="502236" y="3484330"/>
                </a:lnTo>
                <a:close/>
                <a:moveTo>
                  <a:pt x="236037" y="3454727"/>
                </a:moveTo>
                <a:lnTo>
                  <a:pt x="265640" y="3454727"/>
                </a:lnTo>
                <a:lnTo>
                  <a:pt x="265640" y="3484330"/>
                </a:lnTo>
                <a:lnTo>
                  <a:pt x="236037" y="3484330"/>
                </a:lnTo>
                <a:close/>
                <a:moveTo>
                  <a:pt x="1" y="3454727"/>
                </a:moveTo>
                <a:lnTo>
                  <a:pt x="29603" y="3454727"/>
                </a:lnTo>
                <a:lnTo>
                  <a:pt x="29603" y="3484330"/>
                </a:lnTo>
                <a:lnTo>
                  <a:pt x="1" y="3484330"/>
                </a:lnTo>
                <a:close/>
                <a:moveTo>
                  <a:pt x="1034520" y="3189074"/>
                </a:moveTo>
                <a:lnTo>
                  <a:pt x="1064123" y="3189074"/>
                </a:lnTo>
                <a:lnTo>
                  <a:pt x="1064123" y="3218566"/>
                </a:lnTo>
                <a:lnTo>
                  <a:pt x="1034520" y="3218566"/>
                </a:lnTo>
                <a:close/>
                <a:moveTo>
                  <a:pt x="1" y="3189071"/>
                </a:moveTo>
                <a:lnTo>
                  <a:pt x="29603" y="3189071"/>
                </a:lnTo>
                <a:lnTo>
                  <a:pt x="29603" y="3218566"/>
                </a:lnTo>
                <a:lnTo>
                  <a:pt x="1" y="3218566"/>
                </a:lnTo>
                <a:close/>
                <a:moveTo>
                  <a:pt x="1034520" y="2923310"/>
                </a:moveTo>
                <a:lnTo>
                  <a:pt x="1064123" y="2923310"/>
                </a:lnTo>
                <a:lnTo>
                  <a:pt x="1064123" y="2952805"/>
                </a:lnTo>
                <a:lnTo>
                  <a:pt x="1034520" y="2952805"/>
                </a:lnTo>
                <a:close/>
                <a:moveTo>
                  <a:pt x="768327" y="2923309"/>
                </a:moveTo>
                <a:lnTo>
                  <a:pt x="797926" y="2923309"/>
                </a:lnTo>
                <a:lnTo>
                  <a:pt x="797926" y="2952804"/>
                </a:lnTo>
                <a:lnTo>
                  <a:pt x="768327" y="2952804"/>
                </a:lnTo>
                <a:close/>
                <a:moveTo>
                  <a:pt x="502236" y="2923308"/>
                </a:moveTo>
                <a:lnTo>
                  <a:pt x="531838" y="2923308"/>
                </a:lnTo>
                <a:lnTo>
                  <a:pt x="531838" y="2952803"/>
                </a:lnTo>
                <a:lnTo>
                  <a:pt x="502236" y="2952803"/>
                </a:lnTo>
                <a:close/>
                <a:moveTo>
                  <a:pt x="236037" y="2923307"/>
                </a:moveTo>
                <a:lnTo>
                  <a:pt x="265639" y="2923307"/>
                </a:lnTo>
                <a:lnTo>
                  <a:pt x="265639" y="2952802"/>
                </a:lnTo>
                <a:lnTo>
                  <a:pt x="236037" y="2952802"/>
                </a:lnTo>
                <a:close/>
                <a:moveTo>
                  <a:pt x="1" y="2923307"/>
                </a:moveTo>
                <a:lnTo>
                  <a:pt x="29603" y="2923307"/>
                </a:lnTo>
                <a:lnTo>
                  <a:pt x="29603" y="2952802"/>
                </a:lnTo>
                <a:lnTo>
                  <a:pt x="1" y="2952802"/>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40000"/>
            </a:schemeClr>
          </a:solidFill>
          <a:ln w="10797" cap="flat">
            <a:noFill/>
            <a:prstDash val="solid"/>
            <a:miter/>
          </a:ln>
        </p:spPr>
        <p:txBody>
          <a:bodyPr wrap="square" rtlCol="0" anchor="ctr">
            <a:noAutofit/>
          </a:bodyPr>
          <a:lstStyle/>
          <a:p>
            <a:endParaRPr lang="en-US"/>
          </a:p>
        </p:txBody>
      </p:sp>
      <p:grpSp>
        <p:nvGrpSpPr>
          <p:cNvPr id="15" name="Group 14">
            <a:extLst>
              <a:ext uri="{FF2B5EF4-FFF2-40B4-BE49-F238E27FC236}">
                <a16:creationId xmlns:a16="http://schemas.microsoft.com/office/drawing/2014/main" id="{DA893849-2BA9-43AD-8843-76F1FB4EA349}"/>
              </a:ext>
            </a:extLst>
          </p:cNvPr>
          <p:cNvGrpSpPr/>
          <p:nvPr userDrawn="1"/>
        </p:nvGrpSpPr>
        <p:grpSpPr>
          <a:xfrm>
            <a:off x="-3221" y="0"/>
            <a:ext cx="1570603" cy="6342667"/>
            <a:chOff x="-3221" y="0"/>
            <a:chExt cx="1570603" cy="6342667"/>
          </a:xfrm>
        </p:grpSpPr>
        <p:sp>
          <p:nvSpPr>
            <p:cNvPr id="17" name="Freeform: Shape 41">
              <a:extLst>
                <a:ext uri="{FF2B5EF4-FFF2-40B4-BE49-F238E27FC236}">
                  <a16:creationId xmlns:a16="http://schemas.microsoft.com/office/drawing/2014/main" id="{89C9DA30-ECE0-4E7D-9E80-D7F47652DBA0}"/>
                </a:ext>
              </a:extLst>
            </p:cNvPr>
            <p:cNvSpPr txBox="1">
              <a:spLocks/>
            </p:cNvSpPr>
            <p:nvPr/>
          </p:nvSpPr>
          <p:spPr>
            <a:xfrm>
              <a:off x="771720" y="1305465"/>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8" name="Freeform: Shape 42">
              <a:extLst>
                <a:ext uri="{FF2B5EF4-FFF2-40B4-BE49-F238E27FC236}">
                  <a16:creationId xmlns:a16="http://schemas.microsoft.com/office/drawing/2014/main" id="{A2AC4714-A49D-4495-92DF-0FBE5D776E59}"/>
                </a:ext>
              </a:extLst>
            </p:cNvPr>
            <p:cNvSpPr txBox="1">
              <a:spLocks/>
            </p:cNvSpPr>
            <p:nvPr/>
          </p:nvSpPr>
          <p:spPr>
            <a:xfrm rot="16200000">
              <a:off x="653257" y="1982983"/>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9" name="Freeform: Shape 81">
              <a:extLst>
                <a:ext uri="{FF2B5EF4-FFF2-40B4-BE49-F238E27FC236}">
                  <a16:creationId xmlns:a16="http://schemas.microsoft.com/office/drawing/2014/main" id="{904F65D3-293C-40C5-937E-ED7FF073E456}"/>
                </a:ext>
              </a:extLst>
            </p:cNvPr>
            <p:cNvSpPr txBox="1">
              <a:spLocks/>
            </p:cNvSpPr>
            <p:nvPr/>
          </p:nvSpPr>
          <p:spPr>
            <a:xfrm rot="5400000">
              <a:off x="522214" y="5297589"/>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 name="Freeform: Shape 41">
              <a:extLst>
                <a:ext uri="{FF2B5EF4-FFF2-40B4-BE49-F238E27FC236}">
                  <a16:creationId xmlns:a16="http://schemas.microsoft.com/office/drawing/2014/main" id="{76255072-F33C-470C-8C8E-309BA847CEA5}"/>
                </a:ext>
              </a:extLst>
            </p:cNvPr>
            <p:cNvSpPr txBox="1">
              <a:spLocks/>
            </p:cNvSpPr>
            <p:nvPr/>
          </p:nvSpPr>
          <p:spPr>
            <a:xfrm>
              <a:off x="253539" y="422329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Freeform: Shape 81">
              <a:extLst>
                <a:ext uri="{FF2B5EF4-FFF2-40B4-BE49-F238E27FC236}">
                  <a16:creationId xmlns:a16="http://schemas.microsoft.com/office/drawing/2014/main" id="{C277D8B4-B6FF-4DBF-A1D4-5303202F4ECD}"/>
                </a:ext>
              </a:extLst>
            </p:cNvPr>
            <p:cNvSpPr txBox="1">
              <a:spLocks/>
            </p:cNvSpPr>
            <p:nvPr/>
          </p:nvSpPr>
          <p:spPr>
            <a:xfrm rot="16200000">
              <a:off x="11410" y="-14631"/>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pic>
        <p:nvPicPr>
          <p:cNvPr id="16" name="Picture 15" descr="A picture containing drawing&#10;&#10;Description automatically generated">
            <a:extLst>
              <a:ext uri="{FF2B5EF4-FFF2-40B4-BE49-F238E27FC236}">
                <a16:creationId xmlns:a16="http://schemas.microsoft.com/office/drawing/2014/main" id="{A17B1673-4D7E-4047-B69B-E40B49C5E22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312" y="3201059"/>
            <a:ext cx="867153" cy="450000"/>
          </a:xfrm>
          <a:prstGeom prst="rect">
            <a:avLst/>
          </a:prstGeom>
        </p:spPr>
      </p:pic>
      <p:sp>
        <p:nvSpPr>
          <p:cNvPr id="23" name="Rectangle 22">
            <a:extLst>
              <a:ext uri="{FF2B5EF4-FFF2-40B4-BE49-F238E27FC236}">
                <a16:creationId xmlns:a16="http://schemas.microsoft.com/office/drawing/2014/main" id="{BC61C797-7D3D-45E8-97C9-D7225FB01619}"/>
              </a:ext>
            </a:extLst>
          </p:cNvPr>
          <p:cNvSpPr/>
          <p:nvPr userDrawn="1"/>
        </p:nvSpPr>
        <p:spPr>
          <a:xfrm>
            <a:off x="194629" y="3098800"/>
            <a:ext cx="1154181" cy="65722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GB" sz="1400" b="0" i="0" err="1">
              <a:latin typeface="Arial"/>
              <a:cs typeface="Arial"/>
            </a:endParaRPr>
          </a:p>
        </p:txBody>
      </p:sp>
      <p:pic>
        <p:nvPicPr>
          <p:cNvPr id="24" name="Picture 23">
            <a:extLst>
              <a:ext uri="{FF2B5EF4-FFF2-40B4-BE49-F238E27FC236}">
                <a16:creationId xmlns:a16="http://schemas.microsoft.com/office/drawing/2014/main" id="{FF886318-5395-4001-BE44-6AC921EDDA7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60488" y="3149791"/>
            <a:ext cx="1053564" cy="546736"/>
          </a:xfrm>
          <a:prstGeom prst="rect">
            <a:avLst/>
          </a:prstGeom>
        </p:spPr>
      </p:pic>
    </p:spTree>
    <p:extLst>
      <p:ext uri="{BB962C8B-B14F-4D97-AF65-F5344CB8AC3E}">
        <p14:creationId xmlns:p14="http://schemas.microsoft.com/office/powerpoint/2010/main" val="235692341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1942889" y="2804832"/>
            <a:ext cx="3065377" cy="2048436"/>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5344299" y="2804832"/>
            <a:ext cx="3063701" cy="2048436"/>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744034" y="2804832"/>
            <a:ext cx="3065379" cy="2048436"/>
          </a:xfrm>
          <a:prstGeom prst="rect">
            <a:avLst/>
          </a:prstGeom>
          <a:solidFill>
            <a:schemeClr val="accent4"/>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15" name="Title 14">
            <a:extLst>
              <a:ext uri="{FF2B5EF4-FFF2-40B4-BE49-F238E27FC236}">
                <a16:creationId xmlns:a16="http://schemas.microsoft.com/office/drawing/2014/main" id="{7F8321D6-4F17-4250-BD31-B7184F6B8FE4}"/>
              </a:ext>
            </a:extLst>
          </p:cNvPr>
          <p:cNvSpPr>
            <a:spLocks noGrp="1"/>
          </p:cNvSpPr>
          <p:nvPr>
            <p:ph type="title"/>
          </p:nvPr>
        </p:nvSpPr>
        <p:spPr>
          <a:xfrm>
            <a:off x="1942889" y="912309"/>
            <a:ext cx="9864935" cy="916491"/>
          </a:xfrm>
        </p:spPr>
        <p:txBody>
          <a:bodyPr/>
          <a:lstStyle/>
          <a:p>
            <a:r>
              <a:rPr lang="en-US"/>
              <a:t>Click to edit Master title style</a:t>
            </a:r>
          </a:p>
        </p:txBody>
      </p:sp>
      <p:sp>
        <p:nvSpPr>
          <p:cNvPr id="7" name="Text Placeholder 12">
            <a:extLst>
              <a:ext uri="{FF2B5EF4-FFF2-40B4-BE49-F238E27FC236}">
                <a16:creationId xmlns:a16="http://schemas.microsoft.com/office/drawing/2014/main" id="{D7A812B9-81CD-4383-A969-F4547092EBDF}"/>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2587883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1942889" y="2804832"/>
            <a:ext cx="2258428" cy="2048436"/>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4479332" y="2804832"/>
            <a:ext cx="2257193" cy="2048436"/>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7014540" y="2804832"/>
            <a:ext cx="2258429" cy="2048436"/>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endParaRPr lang="en-US"/>
          </a:p>
        </p:txBody>
      </p:sp>
      <p:sp>
        <p:nvSpPr>
          <p:cNvPr id="7" name="Text Placeholder 7">
            <a:extLst>
              <a:ext uri="{FF2B5EF4-FFF2-40B4-BE49-F238E27FC236}">
                <a16:creationId xmlns:a16="http://schemas.microsoft.com/office/drawing/2014/main" id="{289AA023-A46F-450A-80A8-C6F3EBE56BA3}"/>
              </a:ext>
            </a:extLst>
          </p:cNvPr>
          <p:cNvSpPr>
            <a:spLocks noGrp="1"/>
          </p:cNvSpPr>
          <p:nvPr>
            <p:ph type="body" sz="quarter" idx="17"/>
          </p:nvPr>
        </p:nvSpPr>
        <p:spPr>
          <a:xfrm>
            <a:off x="9550985" y="2804832"/>
            <a:ext cx="2258429" cy="2048436"/>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endParaRPr lang="en-US"/>
          </a:p>
        </p:txBody>
      </p:sp>
      <p:sp>
        <p:nvSpPr>
          <p:cNvPr id="9" name="Title 8">
            <a:extLst>
              <a:ext uri="{FF2B5EF4-FFF2-40B4-BE49-F238E27FC236}">
                <a16:creationId xmlns:a16="http://schemas.microsoft.com/office/drawing/2014/main" id="{0D5DF6B6-3F3C-445E-8CC3-BAFA3D7DECE1}"/>
              </a:ext>
            </a:extLst>
          </p:cNvPr>
          <p:cNvSpPr>
            <a:spLocks noGrp="1"/>
          </p:cNvSpPr>
          <p:nvPr>
            <p:ph type="title"/>
          </p:nvPr>
        </p:nvSpPr>
        <p:spPr>
          <a:xfrm>
            <a:off x="1942889" y="912309"/>
            <a:ext cx="9864935" cy="916491"/>
          </a:xfrm>
        </p:spPr>
        <p:txBody>
          <a:bodyPr/>
          <a:lstStyle/>
          <a:p>
            <a:r>
              <a:rPr lang="en-US"/>
              <a:t>Click to edit Master title style</a:t>
            </a:r>
          </a:p>
        </p:txBody>
      </p:sp>
      <p:sp>
        <p:nvSpPr>
          <p:cNvPr id="10" name="Text Placeholder 12">
            <a:extLst>
              <a:ext uri="{FF2B5EF4-FFF2-40B4-BE49-F238E27FC236}">
                <a16:creationId xmlns:a16="http://schemas.microsoft.com/office/drawing/2014/main" id="{38906123-3E6D-4E61-9AB6-6B1A42B7A23A}"/>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10052584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enn Diagram">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27D3642F-C8EF-48BF-929A-740A77E433EC}"/>
              </a:ext>
            </a:extLst>
          </p:cNvPr>
          <p:cNvSpPr>
            <a:spLocks noGrp="1" noChangeAspect="1"/>
          </p:cNvSpPr>
          <p:nvPr>
            <p:ph type="body" sz="quarter" idx="15" hasCustomPrompt="1"/>
          </p:nvPr>
        </p:nvSpPr>
        <p:spPr>
          <a:xfrm>
            <a:off x="8038763" y="2187162"/>
            <a:ext cx="3568029" cy="3568029"/>
          </a:xfrm>
          <a:prstGeom prst="ellipse">
            <a:avLst/>
          </a:prstGeom>
          <a:solidFill>
            <a:schemeClr val="accent3">
              <a:alpha val="75000"/>
            </a:schemeClr>
          </a:solidFill>
        </p:spPr>
        <p:txBody>
          <a:bodyPr wrap="square" lIns="0" tIns="0" rIns="0" bIns="0" anchor="ctr">
            <a:noAutofit/>
          </a:bodyPr>
          <a:lstStyle>
            <a:lvl1pPr marL="0" indent="0" algn="ctr">
              <a:lnSpc>
                <a:spcPct val="100000"/>
              </a:lnSpc>
              <a:spcBef>
                <a:spcPts val="0"/>
              </a:spcBef>
              <a:buNone/>
              <a:defRPr sz="2400" b="1">
                <a:solidFill>
                  <a:schemeClr val="bg1"/>
                </a:solidFill>
              </a:defRPr>
            </a:lvl1pPr>
          </a:lstStyle>
          <a:p>
            <a:pPr lvl="0"/>
            <a:r>
              <a:rPr lang="en-US"/>
              <a:t>Click to </a:t>
            </a:r>
            <a:br>
              <a:rPr lang="en-US"/>
            </a:br>
            <a:r>
              <a:rPr lang="en-US"/>
              <a:t>add text</a:t>
            </a:r>
          </a:p>
        </p:txBody>
      </p:sp>
      <p:sp>
        <p:nvSpPr>
          <p:cNvPr id="21" name="Text Placeholder 20">
            <a:extLst>
              <a:ext uri="{FF2B5EF4-FFF2-40B4-BE49-F238E27FC236}">
                <a16:creationId xmlns:a16="http://schemas.microsoft.com/office/drawing/2014/main" id="{F8E06C46-246C-4AC7-8CAA-09BB96286D58}"/>
              </a:ext>
            </a:extLst>
          </p:cNvPr>
          <p:cNvSpPr>
            <a:spLocks noGrp="1" noChangeAspect="1"/>
          </p:cNvSpPr>
          <p:nvPr>
            <p:ph type="body" sz="quarter" idx="12" hasCustomPrompt="1"/>
          </p:nvPr>
        </p:nvSpPr>
        <p:spPr>
          <a:xfrm>
            <a:off x="5148598" y="2187162"/>
            <a:ext cx="3568029" cy="3568029"/>
          </a:xfrm>
          <a:prstGeom prst="ellipse">
            <a:avLst/>
          </a:prstGeom>
          <a:solidFill>
            <a:schemeClr val="accent1">
              <a:alpha val="75000"/>
            </a:schemeClr>
          </a:solidFill>
        </p:spPr>
        <p:txBody>
          <a:bodyPr wrap="square" lIns="0" tIns="0" rIns="0" bIns="0" anchor="ctr">
            <a:noAutofit/>
          </a:bodyPr>
          <a:lstStyle>
            <a:lvl1pPr marL="0" indent="0" algn="ctr">
              <a:lnSpc>
                <a:spcPct val="100000"/>
              </a:lnSpc>
              <a:spcBef>
                <a:spcPts val="0"/>
              </a:spcBef>
              <a:buNone/>
              <a:defRPr sz="2400" b="1">
                <a:solidFill>
                  <a:schemeClr val="bg1"/>
                </a:solidFill>
              </a:defRPr>
            </a:lvl1pPr>
          </a:lstStyle>
          <a:p>
            <a:pPr lvl="0"/>
            <a:r>
              <a:rPr lang="en-US"/>
              <a:t>Click to </a:t>
            </a:r>
            <a:br>
              <a:rPr lang="en-US"/>
            </a:br>
            <a:r>
              <a:rPr lang="en-US"/>
              <a:t>add text</a:t>
            </a:r>
          </a:p>
        </p:txBody>
      </p:sp>
      <p:sp>
        <p:nvSpPr>
          <p:cNvPr id="22" name="Text Placeholder 21">
            <a:extLst>
              <a:ext uri="{FF2B5EF4-FFF2-40B4-BE49-F238E27FC236}">
                <a16:creationId xmlns:a16="http://schemas.microsoft.com/office/drawing/2014/main" id="{19B353F2-F330-43C5-9393-227A937D64FA}"/>
              </a:ext>
            </a:extLst>
          </p:cNvPr>
          <p:cNvSpPr>
            <a:spLocks noGrp="1" noChangeAspect="1"/>
          </p:cNvSpPr>
          <p:nvPr>
            <p:ph type="body" sz="quarter" idx="14" hasCustomPrompt="1"/>
          </p:nvPr>
        </p:nvSpPr>
        <p:spPr>
          <a:xfrm>
            <a:off x="2258433" y="2187162"/>
            <a:ext cx="3568029" cy="3568029"/>
          </a:xfrm>
          <a:prstGeom prst="ellipse">
            <a:avLst/>
          </a:prstGeom>
          <a:solidFill>
            <a:schemeClr val="accent2">
              <a:alpha val="75000"/>
            </a:schemeClr>
          </a:solidFill>
        </p:spPr>
        <p:txBody>
          <a:bodyPr wrap="square" lIns="0" tIns="0" rIns="0" bIns="0" anchor="ctr">
            <a:noAutofit/>
          </a:bodyPr>
          <a:lstStyle>
            <a:lvl1pPr marL="0" indent="0" algn="ctr">
              <a:lnSpc>
                <a:spcPct val="100000"/>
              </a:lnSpc>
              <a:spcBef>
                <a:spcPts val="0"/>
              </a:spcBef>
              <a:buNone/>
              <a:defRPr sz="2400" b="1">
                <a:solidFill>
                  <a:schemeClr val="bg1"/>
                </a:solidFill>
              </a:defRPr>
            </a:lvl1pPr>
          </a:lstStyle>
          <a:p>
            <a:pPr lvl="0"/>
            <a:r>
              <a:rPr lang="en-US"/>
              <a:t>Click to </a:t>
            </a:r>
            <a:br>
              <a:rPr lang="en-US"/>
            </a:br>
            <a:r>
              <a:rPr lang="en-US"/>
              <a:t>add text</a:t>
            </a:r>
          </a:p>
        </p:txBody>
      </p:sp>
      <p:sp>
        <p:nvSpPr>
          <p:cNvPr id="6" name="Title 5">
            <a:extLst>
              <a:ext uri="{FF2B5EF4-FFF2-40B4-BE49-F238E27FC236}">
                <a16:creationId xmlns:a16="http://schemas.microsoft.com/office/drawing/2014/main" id="{88A2412B-8E33-42C5-97C0-5A7B086A71B0}"/>
              </a:ext>
            </a:extLst>
          </p:cNvPr>
          <p:cNvSpPr>
            <a:spLocks noGrp="1"/>
          </p:cNvSpPr>
          <p:nvPr>
            <p:ph type="title"/>
          </p:nvPr>
        </p:nvSpPr>
        <p:spPr/>
        <p:txBody>
          <a:bodyPr/>
          <a:lstStyle/>
          <a:p>
            <a:r>
              <a:rPr lang="en-US"/>
              <a:t>Click to edit Master title style</a:t>
            </a:r>
          </a:p>
        </p:txBody>
      </p:sp>
      <p:sp>
        <p:nvSpPr>
          <p:cNvPr id="7" name="Text Placeholder 12">
            <a:extLst>
              <a:ext uri="{FF2B5EF4-FFF2-40B4-BE49-F238E27FC236}">
                <a16:creationId xmlns:a16="http://schemas.microsoft.com/office/drawing/2014/main" id="{58203ACF-B4F4-4A23-B2C8-CB9819B62000}"/>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1595974240"/>
      </p:ext>
    </p:extLst>
  </p:cSld>
  <p:clrMapOvr>
    <a:masterClrMapping/>
  </p:clrMapOvr>
  <p:extLst>
    <p:ext uri="{DCECCB84-F9BA-43D5-87BE-67443E8EF086}">
      <p15:sldGuideLst xmlns:p15="http://schemas.microsoft.com/office/powerpoint/2012/main">
        <p15:guide id="1" pos="436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hotos">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941513" y="1828799"/>
            <a:ext cx="3039929" cy="1945191"/>
          </a:xfrm>
        </p:spPr>
        <p:txBody>
          <a:bodyPr anchor="ctr"/>
          <a:lstStyle>
            <a:lvl1pPr algn="ctr">
              <a:defRPr/>
            </a:lvl1pPr>
          </a:lstStyle>
          <a:p>
            <a:endParaRPr lang="en-US"/>
          </a:p>
        </p:txBody>
      </p:sp>
      <p:sp>
        <p:nvSpPr>
          <p:cNvPr id="19" name="Picture Placeholder 5">
            <a:extLst>
              <a:ext uri="{FF2B5EF4-FFF2-40B4-BE49-F238E27FC236}">
                <a16:creationId xmlns:a16="http://schemas.microsoft.com/office/drawing/2014/main" id="{539C5952-9101-40EA-8EFD-F1D60A1A9A08}"/>
              </a:ext>
            </a:extLst>
          </p:cNvPr>
          <p:cNvSpPr>
            <a:spLocks noGrp="1"/>
          </p:cNvSpPr>
          <p:nvPr>
            <p:ph type="pic" sz="quarter" idx="29"/>
          </p:nvPr>
        </p:nvSpPr>
        <p:spPr>
          <a:xfrm>
            <a:off x="5353911" y="1828799"/>
            <a:ext cx="3039929" cy="1945191"/>
          </a:xfrm>
        </p:spPr>
        <p:txBody>
          <a:bodyPr anchor="ctr"/>
          <a:lstStyle>
            <a:lvl1pPr algn="ctr">
              <a:defRPr/>
            </a:lvl1pPr>
          </a:lstStyle>
          <a:p>
            <a:endParaRPr lang="en-US"/>
          </a:p>
        </p:txBody>
      </p:sp>
      <p:sp>
        <p:nvSpPr>
          <p:cNvPr id="20" name="Picture Placeholder 5">
            <a:extLst>
              <a:ext uri="{FF2B5EF4-FFF2-40B4-BE49-F238E27FC236}">
                <a16:creationId xmlns:a16="http://schemas.microsoft.com/office/drawing/2014/main" id="{6493EF8F-CCE9-4B2B-A7E6-77DBCC02838A}"/>
              </a:ext>
            </a:extLst>
          </p:cNvPr>
          <p:cNvSpPr>
            <a:spLocks noGrp="1"/>
          </p:cNvSpPr>
          <p:nvPr>
            <p:ph type="pic" sz="quarter" idx="30"/>
          </p:nvPr>
        </p:nvSpPr>
        <p:spPr>
          <a:xfrm>
            <a:off x="8766309" y="1828799"/>
            <a:ext cx="3039929" cy="1945191"/>
          </a:xfrm>
        </p:spPr>
        <p:txBody>
          <a:bodyPr anchor="ctr"/>
          <a:lstStyle>
            <a:lvl1pPr algn="ctr">
              <a:defRPr/>
            </a:lvl1pPr>
          </a:lstStyle>
          <a:p>
            <a:endParaRPr lang="en-US"/>
          </a:p>
        </p:txBody>
      </p:sp>
      <p:sp>
        <p:nvSpPr>
          <p:cNvPr id="27" name="Picture Placeholder 5">
            <a:extLst>
              <a:ext uri="{FF2B5EF4-FFF2-40B4-BE49-F238E27FC236}">
                <a16:creationId xmlns:a16="http://schemas.microsoft.com/office/drawing/2014/main" id="{4D42B27E-18C9-491F-981A-22AFA3A63254}"/>
              </a:ext>
            </a:extLst>
          </p:cNvPr>
          <p:cNvSpPr>
            <a:spLocks noGrp="1"/>
          </p:cNvSpPr>
          <p:nvPr>
            <p:ph type="pic" sz="quarter" idx="31"/>
          </p:nvPr>
        </p:nvSpPr>
        <p:spPr>
          <a:xfrm>
            <a:off x="1941513" y="4227009"/>
            <a:ext cx="3039929" cy="1945191"/>
          </a:xfrm>
        </p:spPr>
        <p:txBody>
          <a:bodyPr anchor="ctr"/>
          <a:lstStyle>
            <a:lvl1pPr algn="ctr">
              <a:defRPr/>
            </a:lvl1pPr>
          </a:lstStyle>
          <a:p>
            <a:endParaRPr lang="en-US"/>
          </a:p>
        </p:txBody>
      </p:sp>
      <p:sp>
        <p:nvSpPr>
          <p:cNvPr id="28" name="Picture Placeholder 5">
            <a:extLst>
              <a:ext uri="{FF2B5EF4-FFF2-40B4-BE49-F238E27FC236}">
                <a16:creationId xmlns:a16="http://schemas.microsoft.com/office/drawing/2014/main" id="{1BCAF74B-6018-4C57-A90E-AB54A58B1470}"/>
              </a:ext>
            </a:extLst>
          </p:cNvPr>
          <p:cNvSpPr>
            <a:spLocks noGrp="1"/>
          </p:cNvSpPr>
          <p:nvPr>
            <p:ph type="pic" sz="quarter" idx="32"/>
          </p:nvPr>
        </p:nvSpPr>
        <p:spPr>
          <a:xfrm>
            <a:off x="5353911" y="4227009"/>
            <a:ext cx="3039929" cy="1945191"/>
          </a:xfrm>
        </p:spPr>
        <p:txBody>
          <a:bodyPr anchor="ctr"/>
          <a:lstStyle>
            <a:lvl1pPr algn="ctr">
              <a:defRPr/>
            </a:lvl1pPr>
          </a:lstStyle>
          <a:p>
            <a:endParaRPr lang="en-US"/>
          </a:p>
        </p:txBody>
      </p:sp>
      <p:sp>
        <p:nvSpPr>
          <p:cNvPr id="29" name="Picture Placeholder 5">
            <a:extLst>
              <a:ext uri="{FF2B5EF4-FFF2-40B4-BE49-F238E27FC236}">
                <a16:creationId xmlns:a16="http://schemas.microsoft.com/office/drawing/2014/main" id="{61217ED4-3DF8-4495-9467-ABDA716D4CF1}"/>
              </a:ext>
            </a:extLst>
          </p:cNvPr>
          <p:cNvSpPr>
            <a:spLocks noGrp="1"/>
          </p:cNvSpPr>
          <p:nvPr>
            <p:ph type="pic" sz="quarter" idx="33"/>
          </p:nvPr>
        </p:nvSpPr>
        <p:spPr>
          <a:xfrm>
            <a:off x="8766309" y="4227009"/>
            <a:ext cx="3039929" cy="1945191"/>
          </a:xfrm>
        </p:spPr>
        <p:txBody>
          <a:bodyPr anchor="ctr"/>
          <a:lstStyle>
            <a:lvl1pPr algn="ctr">
              <a:defRPr/>
            </a:lvl1pPr>
          </a:lstStyle>
          <a:p>
            <a:endParaRPr lang="en-US"/>
          </a:p>
        </p:txBody>
      </p:sp>
      <p:sp>
        <p:nvSpPr>
          <p:cNvPr id="2" name="Title 1">
            <a:extLst>
              <a:ext uri="{FF2B5EF4-FFF2-40B4-BE49-F238E27FC236}">
                <a16:creationId xmlns:a16="http://schemas.microsoft.com/office/drawing/2014/main" id="{30152A6C-6ED1-40F7-B704-C2FFFC324FCC}"/>
              </a:ext>
            </a:extLst>
          </p:cNvPr>
          <p:cNvSpPr>
            <a:spLocks noGrp="1"/>
          </p:cNvSpPr>
          <p:nvPr>
            <p:ph type="title"/>
          </p:nvPr>
        </p:nvSpPr>
        <p:spPr>
          <a:xfrm>
            <a:off x="1941513" y="912309"/>
            <a:ext cx="9866311" cy="916491"/>
          </a:xfrm>
        </p:spPr>
        <p:txBody>
          <a:bodyPr/>
          <a:lstStyle/>
          <a:p>
            <a:r>
              <a:rPr lang="en-US"/>
              <a:t>Click to edit Master title style</a:t>
            </a:r>
          </a:p>
        </p:txBody>
      </p:sp>
      <p:sp>
        <p:nvSpPr>
          <p:cNvPr id="10" name="Text Placeholder 12">
            <a:extLst>
              <a:ext uri="{FF2B5EF4-FFF2-40B4-BE49-F238E27FC236}">
                <a16:creationId xmlns:a16="http://schemas.microsoft.com/office/drawing/2014/main" id="{864D036A-14BC-4EDC-89A2-414E9F175117}"/>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183584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1941513" y="1828800"/>
            <a:ext cx="9866311" cy="4343400"/>
          </a:xfrm>
        </p:spPr>
        <p:txBody>
          <a:bodyPr anchor="ctr"/>
          <a:lstStyle>
            <a:lvl1pPr algn="ctr">
              <a:defRPr/>
            </a:lvl1pPr>
          </a:lstStyle>
          <a:p>
            <a:endParaRPr lang="en-US"/>
          </a:p>
        </p:txBody>
      </p:sp>
      <p:sp>
        <p:nvSpPr>
          <p:cNvPr id="2" name="Title 1">
            <a:extLst>
              <a:ext uri="{FF2B5EF4-FFF2-40B4-BE49-F238E27FC236}">
                <a16:creationId xmlns:a16="http://schemas.microsoft.com/office/drawing/2014/main" id="{79A42F2C-7E82-4877-964A-6674E60D1BD0}"/>
              </a:ext>
            </a:extLst>
          </p:cNvPr>
          <p:cNvSpPr>
            <a:spLocks noGrp="1"/>
          </p:cNvSpPr>
          <p:nvPr>
            <p:ph type="title"/>
          </p:nvPr>
        </p:nvSpPr>
        <p:spPr>
          <a:xfrm>
            <a:off x="1941513" y="912309"/>
            <a:ext cx="9866311" cy="916491"/>
          </a:xfrm>
        </p:spPr>
        <p:txBody>
          <a:bodyPr/>
          <a:lstStyle/>
          <a:p>
            <a:r>
              <a:rPr lang="en-US"/>
              <a:t>Click to edit Master title style</a:t>
            </a:r>
          </a:p>
        </p:txBody>
      </p:sp>
      <p:sp>
        <p:nvSpPr>
          <p:cNvPr id="5" name="Text Placeholder 12">
            <a:extLst>
              <a:ext uri="{FF2B5EF4-FFF2-40B4-BE49-F238E27FC236}">
                <a16:creationId xmlns:a16="http://schemas.microsoft.com/office/drawing/2014/main" id="{96159052-C84A-4994-8122-D63877E7E417}"/>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26053991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US Map">
    <p:bg>
      <p:bgPr>
        <a:solidFill>
          <a:schemeClr val="bg1"/>
        </a:solidFill>
        <a:effectLst/>
      </p:bgPr>
    </p:bg>
    <p:spTree>
      <p:nvGrpSpPr>
        <p:cNvPr id="1" name=""/>
        <p:cNvGrpSpPr/>
        <p:nvPr/>
      </p:nvGrpSpPr>
      <p:grpSpPr>
        <a:xfrm>
          <a:off x="0" y="0"/>
          <a:ext cx="0" cy="0"/>
          <a:chOff x="0" y="0"/>
          <a:chExt cx="0" cy="0"/>
        </a:xfrm>
      </p:grpSpPr>
      <p:grpSp>
        <p:nvGrpSpPr>
          <p:cNvPr id="5" name="Group 56">
            <a:extLst>
              <a:ext uri="{FF2B5EF4-FFF2-40B4-BE49-F238E27FC236}">
                <a16:creationId xmlns:a16="http://schemas.microsoft.com/office/drawing/2014/main" id="{1EC614DD-715F-4FED-8870-8126A5E30C3E}"/>
              </a:ext>
            </a:extLst>
          </p:cNvPr>
          <p:cNvGrpSpPr>
            <a:grpSpLocks/>
          </p:cNvGrpSpPr>
          <p:nvPr userDrawn="1"/>
        </p:nvGrpSpPr>
        <p:grpSpPr bwMode="auto">
          <a:xfrm>
            <a:off x="3188657" y="1747063"/>
            <a:ext cx="6814286" cy="4457602"/>
            <a:chOff x="1757363" y="1860550"/>
            <a:chExt cx="6414459" cy="3873500"/>
          </a:xfrm>
          <a:solidFill>
            <a:schemeClr val="bg2"/>
          </a:solidFill>
        </p:grpSpPr>
        <p:sp>
          <p:nvSpPr>
            <p:cNvPr id="6" name="Freeform 4">
              <a:extLst>
                <a:ext uri="{FF2B5EF4-FFF2-40B4-BE49-F238E27FC236}">
                  <a16:creationId xmlns:a16="http://schemas.microsoft.com/office/drawing/2014/main" id="{4D3AFE62-E176-4623-A52A-BE82F84C5C9E}"/>
                </a:ext>
              </a:extLst>
            </p:cNvPr>
            <p:cNvSpPr>
              <a:spLocks/>
            </p:cNvSpPr>
            <p:nvPr/>
          </p:nvSpPr>
          <p:spPr bwMode="auto">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6350">
              <a:solidFill>
                <a:schemeClr val="bg1"/>
              </a:solidFill>
              <a:round/>
              <a:headEnd/>
              <a:tailEnd/>
            </a:ln>
          </p:spPr>
          <p:txBody>
            <a:bodyPr/>
            <a:lstStyle/>
            <a:p>
              <a:pPr>
                <a:defRPr/>
              </a:pPr>
              <a:endParaRPr lang="en-GB"/>
            </a:p>
          </p:txBody>
        </p:sp>
        <p:sp>
          <p:nvSpPr>
            <p:cNvPr id="7" name="Freeform 6">
              <a:extLst>
                <a:ext uri="{FF2B5EF4-FFF2-40B4-BE49-F238E27FC236}">
                  <a16:creationId xmlns:a16="http://schemas.microsoft.com/office/drawing/2014/main" id="{56D09F3E-B20F-432D-B2BA-3EB96BD63BEF}"/>
                </a:ext>
              </a:extLst>
            </p:cNvPr>
            <p:cNvSpPr>
              <a:spLocks/>
            </p:cNvSpPr>
            <p:nvPr/>
          </p:nvSpPr>
          <p:spPr bwMode="auto">
            <a:xfrm>
              <a:off x="5268691"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6350">
              <a:solidFill>
                <a:schemeClr val="bg1"/>
              </a:solidFill>
              <a:round/>
              <a:headEnd/>
              <a:tailEnd/>
            </a:ln>
          </p:spPr>
          <p:txBody>
            <a:bodyPr/>
            <a:lstStyle/>
            <a:p>
              <a:pPr>
                <a:defRPr/>
              </a:pPr>
              <a:endParaRPr lang="en-GB"/>
            </a:p>
          </p:txBody>
        </p:sp>
        <p:sp>
          <p:nvSpPr>
            <p:cNvPr id="8" name="Freeform 7">
              <a:extLst>
                <a:ext uri="{FF2B5EF4-FFF2-40B4-BE49-F238E27FC236}">
                  <a16:creationId xmlns:a16="http://schemas.microsoft.com/office/drawing/2014/main" id="{2F7B9766-CACB-4A5A-88EB-7FDF048205A3}"/>
                </a:ext>
              </a:extLst>
            </p:cNvPr>
            <p:cNvSpPr>
              <a:spLocks/>
            </p:cNvSpPr>
            <p:nvPr/>
          </p:nvSpPr>
          <p:spPr bwMode="auto">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6350">
              <a:solidFill>
                <a:schemeClr val="bg1"/>
              </a:solidFill>
              <a:round/>
              <a:headEnd/>
              <a:tailEnd/>
            </a:ln>
          </p:spPr>
          <p:txBody>
            <a:bodyPr/>
            <a:lstStyle/>
            <a:p>
              <a:pPr>
                <a:defRPr/>
              </a:pPr>
              <a:endParaRPr lang="en-GB"/>
            </a:p>
          </p:txBody>
        </p:sp>
        <p:sp>
          <p:nvSpPr>
            <p:cNvPr id="9" name="Freeform 8">
              <a:extLst>
                <a:ext uri="{FF2B5EF4-FFF2-40B4-BE49-F238E27FC236}">
                  <a16:creationId xmlns:a16="http://schemas.microsoft.com/office/drawing/2014/main" id="{AC3BEAE1-90DA-4F18-921F-21C047EBCCF9}"/>
                </a:ext>
              </a:extLst>
            </p:cNvPr>
            <p:cNvSpPr>
              <a:spLocks/>
            </p:cNvSpPr>
            <p:nvPr/>
          </p:nvSpPr>
          <p:spPr bwMode="auto">
            <a:xfrm>
              <a:off x="4850151"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6350">
              <a:solidFill>
                <a:schemeClr val="bg1"/>
              </a:solidFill>
              <a:round/>
              <a:headEnd/>
              <a:tailEnd/>
            </a:ln>
          </p:spPr>
          <p:txBody>
            <a:bodyPr/>
            <a:lstStyle/>
            <a:p>
              <a:pPr>
                <a:defRPr/>
              </a:pPr>
              <a:endParaRPr lang="en-GB"/>
            </a:p>
          </p:txBody>
        </p:sp>
        <p:sp>
          <p:nvSpPr>
            <p:cNvPr id="10" name="Freeform 9">
              <a:extLst>
                <a:ext uri="{FF2B5EF4-FFF2-40B4-BE49-F238E27FC236}">
                  <a16:creationId xmlns:a16="http://schemas.microsoft.com/office/drawing/2014/main" id="{9EB14C47-F99E-47A3-96B4-6BCCB6C596C4}"/>
                </a:ext>
              </a:extLst>
            </p:cNvPr>
            <p:cNvSpPr>
              <a:spLocks/>
            </p:cNvSpPr>
            <p:nvPr/>
          </p:nvSpPr>
          <p:spPr bwMode="auto">
            <a:xfrm>
              <a:off x="5380937"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6350">
              <a:solidFill>
                <a:schemeClr val="bg1"/>
              </a:solidFill>
              <a:round/>
              <a:headEnd/>
              <a:tailEnd/>
            </a:ln>
          </p:spPr>
          <p:txBody>
            <a:bodyPr/>
            <a:lstStyle/>
            <a:p>
              <a:pPr>
                <a:defRPr/>
              </a:pPr>
              <a:endParaRPr lang="en-GB"/>
            </a:p>
          </p:txBody>
        </p:sp>
        <p:sp>
          <p:nvSpPr>
            <p:cNvPr id="11" name="Freeform 10">
              <a:extLst>
                <a:ext uri="{FF2B5EF4-FFF2-40B4-BE49-F238E27FC236}">
                  <a16:creationId xmlns:a16="http://schemas.microsoft.com/office/drawing/2014/main" id="{FEBA65BB-55DD-4ED4-8C9F-2A0782DC976B}"/>
                </a:ext>
              </a:extLst>
            </p:cNvPr>
            <p:cNvSpPr>
              <a:spLocks/>
            </p:cNvSpPr>
            <p:nvPr/>
          </p:nvSpPr>
          <p:spPr bwMode="auto">
            <a:xfrm>
              <a:off x="5627771" y="2331821"/>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6350">
              <a:solidFill>
                <a:schemeClr val="bg1"/>
              </a:solidFill>
              <a:round/>
              <a:headEnd/>
              <a:tailEnd/>
            </a:ln>
          </p:spPr>
          <p:txBody>
            <a:bodyPr/>
            <a:lstStyle/>
            <a:p>
              <a:pPr>
                <a:defRPr/>
              </a:pPr>
              <a:endParaRPr lang="en-GB"/>
            </a:p>
          </p:txBody>
        </p:sp>
        <p:sp>
          <p:nvSpPr>
            <p:cNvPr id="12" name="Freeform 11">
              <a:extLst>
                <a:ext uri="{FF2B5EF4-FFF2-40B4-BE49-F238E27FC236}">
                  <a16:creationId xmlns:a16="http://schemas.microsoft.com/office/drawing/2014/main" id="{EEC6AF57-10DE-45E2-93F6-96E58BEBC118}"/>
                </a:ext>
              </a:extLst>
            </p:cNvPr>
            <p:cNvSpPr>
              <a:spLocks/>
            </p:cNvSpPr>
            <p:nvPr/>
          </p:nvSpPr>
          <p:spPr bwMode="auto">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6350">
              <a:solidFill>
                <a:schemeClr val="bg1"/>
              </a:solidFill>
              <a:round/>
              <a:headEnd/>
              <a:tailEnd/>
            </a:ln>
          </p:spPr>
          <p:txBody>
            <a:bodyPr/>
            <a:lstStyle/>
            <a:p>
              <a:pPr>
                <a:defRPr/>
              </a:pPr>
              <a:endParaRPr lang="en-GB"/>
            </a:p>
          </p:txBody>
        </p:sp>
        <p:sp>
          <p:nvSpPr>
            <p:cNvPr id="13" name="Freeform 12">
              <a:extLst>
                <a:ext uri="{FF2B5EF4-FFF2-40B4-BE49-F238E27FC236}">
                  <a16:creationId xmlns:a16="http://schemas.microsoft.com/office/drawing/2014/main" id="{6D1C84AE-24BC-40D8-943C-247D8B7BC727}"/>
                </a:ext>
              </a:extLst>
            </p:cNvPr>
            <p:cNvSpPr>
              <a:spLocks/>
            </p:cNvSpPr>
            <p:nvPr/>
          </p:nvSpPr>
          <p:spPr bwMode="auto">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6350">
              <a:solidFill>
                <a:schemeClr val="bg1"/>
              </a:solidFill>
              <a:round/>
              <a:headEnd/>
              <a:tailEnd/>
            </a:ln>
          </p:spPr>
          <p:txBody>
            <a:bodyPr/>
            <a:lstStyle/>
            <a:p>
              <a:pPr>
                <a:defRPr/>
              </a:pPr>
              <a:endParaRPr lang="en-GB"/>
            </a:p>
          </p:txBody>
        </p:sp>
        <p:sp>
          <p:nvSpPr>
            <p:cNvPr id="16" name="Freeform 13">
              <a:extLst>
                <a:ext uri="{FF2B5EF4-FFF2-40B4-BE49-F238E27FC236}">
                  <a16:creationId xmlns:a16="http://schemas.microsoft.com/office/drawing/2014/main" id="{96F28FED-D84E-4D4D-AB3C-7056FFD95662}"/>
                </a:ext>
              </a:extLst>
            </p:cNvPr>
            <p:cNvSpPr>
              <a:spLocks/>
            </p:cNvSpPr>
            <p:nvPr/>
          </p:nvSpPr>
          <p:spPr bwMode="auto">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6350">
              <a:solidFill>
                <a:schemeClr val="bg1"/>
              </a:solidFill>
              <a:round/>
              <a:headEnd/>
              <a:tailEnd/>
            </a:ln>
          </p:spPr>
          <p:txBody>
            <a:bodyPr/>
            <a:lstStyle/>
            <a:p>
              <a:pPr>
                <a:defRPr/>
              </a:pPr>
              <a:endParaRPr lang="en-GB"/>
            </a:p>
          </p:txBody>
        </p:sp>
        <p:sp>
          <p:nvSpPr>
            <p:cNvPr id="17" name="Freeform 14">
              <a:extLst>
                <a:ext uri="{FF2B5EF4-FFF2-40B4-BE49-F238E27FC236}">
                  <a16:creationId xmlns:a16="http://schemas.microsoft.com/office/drawing/2014/main" id="{B8C44A6C-1F62-4550-9028-E5B9F11F074D}"/>
                </a:ext>
              </a:extLst>
            </p:cNvPr>
            <p:cNvSpPr>
              <a:spLocks/>
            </p:cNvSpPr>
            <p:nvPr/>
          </p:nvSpPr>
          <p:spPr bwMode="auto">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6350">
              <a:solidFill>
                <a:schemeClr val="bg1"/>
              </a:solidFill>
              <a:round/>
              <a:headEnd/>
              <a:tailEnd/>
            </a:ln>
          </p:spPr>
          <p:txBody>
            <a:bodyPr/>
            <a:lstStyle/>
            <a:p>
              <a:pPr>
                <a:defRPr/>
              </a:pPr>
              <a:endParaRPr lang="en-GB"/>
            </a:p>
          </p:txBody>
        </p:sp>
        <p:sp>
          <p:nvSpPr>
            <p:cNvPr id="18" name="Freeform 15">
              <a:extLst>
                <a:ext uri="{FF2B5EF4-FFF2-40B4-BE49-F238E27FC236}">
                  <a16:creationId xmlns:a16="http://schemas.microsoft.com/office/drawing/2014/main" id="{E3FC2059-5256-44A0-880D-9ADE32851176}"/>
                </a:ext>
              </a:extLst>
            </p:cNvPr>
            <p:cNvSpPr>
              <a:spLocks/>
            </p:cNvSpPr>
            <p:nvPr/>
          </p:nvSpPr>
          <p:spPr bwMode="auto">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6350">
              <a:solidFill>
                <a:schemeClr val="bg1"/>
              </a:solidFill>
              <a:round/>
              <a:headEnd/>
              <a:tailEnd/>
            </a:ln>
          </p:spPr>
          <p:txBody>
            <a:bodyPr/>
            <a:lstStyle/>
            <a:p>
              <a:pPr>
                <a:defRPr/>
              </a:pPr>
              <a:endParaRPr lang="en-GB"/>
            </a:p>
          </p:txBody>
        </p:sp>
        <p:sp>
          <p:nvSpPr>
            <p:cNvPr id="19" name="Freeform 16">
              <a:extLst>
                <a:ext uri="{FF2B5EF4-FFF2-40B4-BE49-F238E27FC236}">
                  <a16:creationId xmlns:a16="http://schemas.microsoft.com/office/drawing/2014/main" id="{D9AC98BC-DB17-448E-824D-D0C685C50F03}"/>
                </a:ext>
              </a:extLst>
            </p:cNvPr>
            <p:cNvSpPr>
              <a:spLocks/>
            </p:cNvSpPr>
            <p:nvPr/>
          </p:nvSpPr>
          <p:spPr bwMode="auto">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6350">
              <a:solidFill>
                <a:schemeClr val="bg1"/>
              </a:solidFill>
              <a:round/>
              <a:headEnd/>
              <a:tailEnd/>
            </a:ln>
          </p:spPr>
          <p:txBody>
            <a:bodyPr/>
            <a:lstStyle/>
            <a:p>
              <a:pPr>
                <a:defRPr/>
              </a:pPr>
              <a:endParaRPr lang="en-GB"/>
            </a:p>
          </p:txBody>
        </p:sp>
        <p:sp>
          <p:nvSpPr>
            <p:cNvPr id="20" name="Freeform 17">
              <a:extLst>
                <a:ext uri="{FF2B5EF4-FFF2-40B4-BE49-F238E27FC236}">
                  <a16:creationId xmlns:a16="http://schemas.microsoft.com/office/drawing/2014/main" id="{C26F7E2F-8201-485E-AF54-CA8250984850}"/>
                </a:ext>
              </a:extLst>
            </p:cNvPr>
            <p:cNvSpPr>
              <a:spLocks/>
            </p:cNvSpPr>
            <p:nvPr/>
          </p:nvSpPr>
          <p:spPr bwMode="auto">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6350">
              <a:solidFill>
                <a:schemeClr val="bg1"/>
              </a:solidFill>
              <a:round/>
              <a:headEnd/>
              <a:tailEnd/>
            </a:ln>
          </p:spPr>
          <p:txBody>
            <a:bodyPr/>
            <a:lstStyle/>
            <a:p>
              <a:pPr>
                <a:defRPr/>
              </a:pPr>
              <a:endParaRPr lang="en-GB"/>
            </a:p>
          </p:txBody>
        </p:sp>
        <p:sp>
          <p:nvSpPr>
            <p:cNvPr id="21" name="Freeform 18">
              <a:extLst>
                <a:ext uri="{FF2B5EF4-FFF2-40B4-BE49-F238E27FC236}">
                  <a16:creationId xmlns:a16="http://schemas.microsoft.com/office/drawing/2014/main" id="{2592AE8A-2EAB-47A4-831E-C5585002B6B3}"/>
                </a:ext>
              </a:extLst>
            </p:cNvPr>
            <p:cNvSpPr>
              <a:spLocks/>
            </p:cNvSpPr>
            <p:nvPr/>
          </p:nvSpPr>
          <p:spPr bwMode="auto">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6350">
              <a:solidFill>
                <a:schemeClr val="bg1"/>
              </a:solidFill>
              <a:round/>
              <a:headEnd/>
              <a:tailEnd/>
            </a:ln>
          </p:spPr>
          <p:txBody>
            <a:bodyPr/>
            <a:lstStyle/>
            <a:p>
              <a:pPr>
                <a:defRPr/>
              </a:pPr>
              <a:endParaRPr lang="en-GB"/>
            </a:p>
          </p:txBody>
        </p:sp>
        <p:sp>
          <p:nvSpPr>
            <p:cNvPr id="22" name="Freeform 19">
              <a:extLst>
                <a:ext uri="{FF2B5EF4-FFF2-40B4-BE49-F238E27FC236}">
                  <a16:creationId xmlns:a16="http://schemas.microsoft.com/office/drawing/2014/main" id="{31FE521B-E629-4AFE-A9F1-4F78699CB366}"/>
                </a:ext>
              </a:extLst>
            </p:cNvPr>
            <p:cNvSpPr>
              <a:spLocks/>
            </p:cNvSpPr>
            <p:nvPr/>
          </p:nvSpPr>
          <p:spPr bwMode="auto">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6350">
              <a:solidFill>
                <a:schemeClr val="bg1"/>
              </a:solidFill>
              <a:round/>
              <a:headEnd/>
              <a:tailEnd/>
            </a:ln>
          </p:spPr>
          <p:txBody>
            <a:bodyPr/>
            <a:lstStyle/>
            <a:p>
              <a:pPr>
                <a:defRPr/>
              </a:pPr>
              <a:endParaRPr lang="en-GB"/>
            </a:p>
          </p:txBody>
        </p:sp>
        <p:sp>
          <p:nvSpPr>
            <p:cNvPr id="23" name="Freeform 20">
              <a:extLst>
                <a:ext uri="{FF2B5EF4-FFF2-40B4-BE49-F238E27FC236}">
                  <a16:creationId xmlns:a16="http://schemas.microsoft.com/office/drawing/2014/main" id="{F8E20DED-C11D-4041-A3D4-11C887021566}"/>
                </a:ext>
              </a:extLst>
            </p:cNvPr>
            <p:cNvSpPr>
              <a:spLocks/>
            </p:cNvSpPr>
            <p:nvPr/>
          </p:nvSpPr>
          <p:spPr bwMode="auto">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6350">
              <a:solidFill>
                <a:schemeClr val="bg1"/>
              </a:solidFill>
              <a:round/>
              <a:headEnd/>
              <a:tailEnd/>
            </a:ln>
          </p:spPr>
          <p:txBody>
            <a:bodyPr/>
            <a:lstStyle/>
            <a:p>
              <a:pPr>
                <a:defRPr/>
              </a:pPr>
              <a:endParaRPr lang="en-GB"/>
            </a:p>
          </p:txBody>
        </p:sp>
        <p:sp>
          <p:nvSpPr>
            <p:cNvPr id="24" name="Freeform 21">
              <a:extLst>
                <a:ext uri="{FF2B5EF4-FFF2-40B4-BE49-F238E27FC236}">
                  <a16:creationId xmlns:a16="http://schemas.microsoft.com/office/drawing/2014/main" id="{B1D0E33C-E08E-430D-923C-D48AEBEC6FCC}"/>
                </a:ext>
              </a:extLst>
            </p:cNvPr>
            <p:cNvSpPr>
              <a:spLocks/>
            </p:cNvSpPr>
            <p:nvPr/>
          </p:nvSpPr>
          <p:spPr bwMode="auto">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6350">
              <a:solidFill>
                <a:schemeClr val="bg1"/>
              </a:solidFill>
              <a:round/>
              <a:headEnd/>
              <a:tailEnd/>
            </a:ln>
          </p:spPr>
          <p:txBody>
            <a:bodyPr/>
            <a:lstStyle/>
            <a:p>
              <a:pPr>
                <a:defRPr/>
              </a:pPr>
              <a:endParaRPr lang="en-GB"/>
            </a:p>
          </p:txBody>
        </p:sp>
        <p:sp>
          <p:nvSpPr>
            <p:cNvPr id="25" name="Freeform 22">
              <a:extLst>
                <a:ext uri="{FF2B5EF4-FFF2-40B4-BE49-F238E27FC236}">
                  <a16:creationId xmlns:a16="http://schemas.microsoft.com/office/drawing/2014/main" id="{0598434B-8DC1-4049-8FAA-E6DCA9C23549}"/>
                </a:ext>
              </a:extLst>
            </p:cNvPr>
            <p:cNvSpPr>
              <a:spLocks/>
            </p:cNvSpPr>
            <p:nvPr/>
          </p:nvSpPr>
          <p:spPr bwMode="auto">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6350">
              <a:solidFill>
                <a:schemeClr val="bg1"/>
              </a:solidFill>
              <a:round/>
              <a:headEnd/>
              <a:tailEnd/>
            </a:ln>
          </p:spPr>
          <p:txBody>
            <a:bodyPr/>
            <a:lstStyle/>
            <a:p>
              <a:pPr>
                <a:defRPr/>
              </a:pPr>
              <a:endParaRPr lang="en-GB"/>
            </a:p>
          </p:txBody>
        </p:sp>
        <p:sp>
          <p:nvSpPr>
            <p:cNvPr id="26" name="Freeform 23">
              <a:extLst>
                <a:ext uri="{FF2B5EF4-FFF2-40B4-BE49-F238E27FC236}">
                  <a16:creationId xmlns:a16="http://schemas.microsoft.com/office/drawing/2014/main" id="{72F953FE-3F68-4F3A-B005-4D0BBC04CB84}"/>
                </a:ext>
              </a:extLst>
            </p:cNvPr>
            <p:cNvSpPr>
              <a:spLocks/>
            </p:cNvSpPr>
            <p:nvPr/>
          </p:nvSpPr>
          <p:spPr bwMode="auto">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6350">
              <a:solidFill>
                <a:schemeClr val="bg1"/>
              </a:solidFill>
              <a:round/>
              <a:headEnd/>
              <a:tailEnd/>
            </a:ln>
          </p:spPr>
          <p:txBody>
            <a:bodyPr/>
            <a:lstStyle/>
            <a:p>
              <a:pPr>
                <a:defRPr/>
              </a:pPr>
              <a:endParaRPr lang="en-GB"/>
            </a:p>
          </p:txBody>
        </p:sp>
        <p:sp>
          <p:nvSpPr>
            <p:cNvPr id="27" name="Freeform 24">
              <a:extLst>
                <a:ext uri="{FF2B5EF4-FFF2-40B4-BE49-F238E27FC236}">
                  <a16:creationId xmlns:a16="http://schemas.microsoft.com/office/drawing/2014/main" id="{6EF5E097-F6CA-4844-BDD5-32B172EB9610}"/>
                </a:ext>
              </a:extLst>
            </p:cNvPr>
            <p:cNvSpPr>
              <a:spLocks/>
            </p:cNvSpPr>
            <p:nvPr/>
          </p:nvSpPr>
          <p:spPr bwMode="auto">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6350">
              <a:solidFill>
                <a:schemeClr val="bg1"/>
              </a:solidFill>
              <a:round/>
              <a:headEnd/>
              <a:tailEnd/>
            </a:ln>
          </p:spPr>
          <p:txBody>
            <a:bodyPr/>
            <a:lstStyle/>
            <a:p>
              <a:pPr>
                <a:defRPr/>
              </a:pPr>
              <a:endParaRPr lang="en-GB"/>
            </a:p>
          </p:txBody>
        </p:sp>
        <p:sp>
          <p:nvSpPr>
            <p:cNvPr id="28" name="Freeform 25">
              <a:extLst>
                <a:ext uri="{FF2B5EF4-FFF2-40B4-BE49-F238E27FC236}">
                  <a16:creationId xmlns:a16="http://schemas.microsoft.com/office/drawing/2014/main" id="{D2A0A74E-91D7-4D20-86F1-DD0D42739559}"/>
                </a:ext>
              </a:extLst>
            </p:cNvPr>
            <p:cNvSpPr>
              <a:spLocks/>
            </p:cNvSpPr>
            <p:nvPr/>
          </p:nvSpPr>
          <p:spPr bwMode="auto">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6350">
              <a:solidFill>
                <a:schemeClr val="bg1"/>
              </a:solidFill>
              <a:round/>
              <a:headEnd/>
              <a:tailEnd/>
            </a:ln>
          </p:spPr>
          <p:txBody>
            <a:bodyPr/>
            <a:lstStyle/>
            <a:p>
              <a:pPr>
                <a:defRPr/>
              </a:pPr>
              <a:endParaRPr lang="en-GB"/>
            </a:p>
          </p:txBody>
        </p:sp>
        <p:sp>
          <p:nvSpPr>
            <p:cNvPr id="29" name="Freeform 26">
              <a:extLst>
                <a:ext uri="{FF2B5EF4-FFF2-40B4-BE49-F238E27FC236}">
                  <a16:creationId xmlns:a16="http://schemas.microsoft.com/office/drawing/2014/main" id="{9E18E62C-FFEE-40EB-ACBE-CD85B312D722}"/>
                </a:ext>
              </a:extLst>
            </p:cNvPr>
            <p:cNvSpPr>
              <a:spLocks/>
            </p:cNvSpPr>
            <p:nvPr/>
          </p:nvSpPr>
          <p:spPr bwMode="auto">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6350">
              <a:solidFill>
                <a:schemeClr val="bg1"/>
              </a:solidFill>
              <a:round/>
              <a:headEnd/>
              <a:tailEnd/>
            </a:ln>
          </p:spPr>
          <p:txBody>
            <a:bodyPr/>
            <a:lstStyle/>
            <a:p>
              <a:pPr>
                <a:defRPr/>
              </a:pPr>
              <a:endParaRPr lang="en-GB"/>
            </a:p>
          </p:txBody>
        </p:sp>
        <p:grpSp>
          <p:nvGrpSpPr>
            <p:cNvPr id="30" name="Group 29">
              <a:extLst>
                <a:ext uri="{FF2B5EF4-FFF2-40B4-BE49-F238E27FC236}">
                  <a16:creationId xmlns:a16="http://schemas.microsoft.com/office/drawing/2014/main" id="{1366E7EF-7CDE-4DE0-9260-74B249B9B079}"/>
                </a:ext>
              </a:extLst>
            </p:cNvPr>
            <p:cNvGrpSpPr>
              <a:grpSpLocks/>
            </p:cNvGrpSpPr>
            <p:nvPr/>
          </p:nvGrpSpPr>
          <p:grpSpPr bwMode="auto">
            <a:xfrm>
              <a:off x="2199628" y="2176832"/>
              <a:ext cx="5701793" cy="2675059"/>
              <a:chOff x="1657" y="1277"/>
              <a:chExt cx="2764" cy="1404"/>
            </a:xfrm>
            <a:grpFill/>
          </p:grpSpPr>
          <p:sp>
            <p:nvSpPr>
              <p:cNvPr id="44" name="Freeform 28">
                <a:extLst>
                  <a:ext uri="{FF2B5EF4-FFF2-40B4-BE49-F238E27FC236}">
                    <a16:creationId xmlns:a16="http://schemas.microsoft.com/office/drawing/2014/main" id="{9D75BDA7-5A83-4C19-93E2-4E7BD2AF1023}"/>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6350">
                <a:solidFill>
                  <a:schemeClr val="bg1"/>
                </a:solidFill>
                <a:round/>
                <a:headEnd/>
                <a:tailEnd/>
              </a:ln>
            </p:spPr>
            <p:txBody>
              <a:bodyPr/>
              <a:lstStyle/>
              <a:p>
                <a:pPr>
                  <a:defRPr/>
                </a:pPr>
                <a:endParaRPr lang="en-GB"/>
              </a:p>
            </p:txBody>
          </p:sp>
          <p:sp>
            <p:nvSpPr>
              <p:cNvPr id="45" name="Freeform 29">
                <a:extLst>
                  <a:ext uri="{FF2B5EF4-FFF2-40B4-BE49-F238E27FC236}">
                    <a16:creationId xmlns:a16="http://schemas.microsoft.com/office/drawing/2014/main" id="{053F844D-2F18-408E-8245-95FB5369ABB5}"/>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6350">
                <a:solidFill>
                  <a:schemeClr val="bg1"/>
                </a:solidFill>
                <a:round/>
                <a:headEnd/>
                <a:tailEnd/>
              </a:ln>
            </p:spPr>
            <p:txBody>
              <a:bodyPr/>
              <a:lstStyle/>
              <a:p>
                <a:pPr>
                  <a:defRPr/>
                </a:pPr>
                <a:endParaRPr lang="en-GB"/>
              </a:p>
            </p:txBody>
          </p:sp>
          <p:sp>
            <p:nvSpPr>
              <p:cNvPr id="46" name="Freeform 30">
                <a:extLst>
                  <a:ext uri="{FF2B5EF4-FFF2-40B4-BE49-F238E27FC236}">
                    <a16:creationId xmlns:a16="http://schemas.microsoft.com/office/drawing/2014/main" id="{52FC6EAD-0A95-4201-B288-8BB043319274}"/>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6350">
                <a:solidFill>
                  <a:schemeClr val="bg1"/>
                </a:solidFill>
                <a:round/>
                <a:headEnd/>
                <a:tailEnd/>
              </a:ln>
            </p:spPr>
            <p:txBody>
              <a:bodyPr/>
              <a:lstStyle/>
              <a:p>
                <a:pPr>
                  <a:defRPr/>
                </a:pPr>
                <a:endParaRPr lang="en-GB"/>
              </a:p>
            </p:txBody>
          </p:sp>
          <p:sp>
            <p:nvSpPr>
              <p:cNvPr id="47" name="Freeform 31">
                <a:extLst>
                  <a:ext uri="{FF2B5EF4-FFF2-40B4-BE49-F238E27FC236}">
                    <a16:creationId xmlns:a16="http://schemas.microsoft.com/office/drawing/2014/main" id="{2C11F221-F283-4865-9170-ACEA1505BCEA}"/>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6350">
                <a:solidFill>
                  <a:schemeClr val="bg1"/>
                </a:solidFill>
                <a:round/>
                <a:headEnd/>
                <a:tailEnd/>
              </a:ln>
            </p:spPr>
            <p:txBody>
              <a:bodyPr/>
              <a:lstStyle/>
              <a:p>
                <a:pPr>
                  <a:defRPr/>
                </a:pPr>
                <a:endParaRPr lang="en-GB"/>
              </a:p>
            </p:txBody>
          </p:sp>
          <p:sp>
            <p:nvSpPr>
              <p:cNvPr id="48" name="Freeform 32">
                <a:extLst>
                  <a:ext uri="{FF2B5EF4-FFF2-40B4-BE49-F238E27FC236}">
                    <a16:creationId xmlns:a16="http://schemas.microsoft.com/office/drawing/2014/main" id="{42B27A1A-562B-46BC-8772-A95246863C5E}"/>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6350">
                <a:solidFill>
                  <a:schemeClr val="bg1"/>
                </a:solidFill>
                <a:round/>
                <a:headEnd/>
                <a:tailEnd/>
              </a:ln>
            </p:spPr>
            <p:txBody>
              <a:bodyPr/>
              <a:lstStyle/>
              <a:p>
                <a:pPr>
                  <a:defRPr/>
                </a:pPr>
                <a:endParaRPr lang="en-GB"/>
              </a:p>
            </p:txBody>
          </p:sp>
          <p:sp>
            <p:nvSpPr>
              <p:cNvPr id="49" name="Freeform 33">
                <a:extLst>
                  <a:ext uri="{FF2B5EF4-FFF2-40B4-BE49-F238E27FC236}">
                    <a16:creationId xmlns:a16="http://schemas.microsoft.com/office/drawing/2014/main" id="{EDDA9195-68DF-4649-8B41-661F3C03A672}"/>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6350">
                <a:solidFill>
                  <a:schemeClr val="bg1"/>
                </a:solidFill>
                <a:round/>
                <a:headEnd/>
                <a:tailEnd/>
              </a:ln>
            </p:spPr>
            <p:txBody>
              <a:bodyPr/>
              <a:lstStyle/>
              <a:p>
                <a:pPr>
                  <a:defRPr/>
                </a:pPr>
                <a:endParaRPr lang="en-GB"/>
              </a:p>
            </p:txBody>
          </p:sp>
          <p:sp>
            <p:nvSpPr>
              <p:cNvPr id="50" name="Freeform 34">
                <a:extLst>
                  <a:ext uri="{FF2B5EF4-FFF2-40B4-BE49-F238E27FC236}">
                    <a16:creationId xmlns:a16="http://schemas.microsoft.com/office/drawing/2014/main" id="{EE701A10-269A-4EE5-B5FB-51BCE44CF520}"/>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6350">
                <a:solidFill>
                  <a:schemeClr val="bg1"/>
                </a:solidFill>
                <a:round/>
                <a:headEnd/>
                <a:tailEnd/>
              </a:ln>
            </p:spPr>
            <p:txBody>
              <a:bodyPr/>
              <a:lstStyle/>
              <a:p>
                <a:pPr>
                  <a:defRPr/>
                </a:pPr>
                <a:endParaRPr lang="en-GB"/>
              </a:p>
            </p:txBody>
          </p:sp>
          <p:sp>
            <p:nvSpPr>
              <p:cNvPr id="51" name="Freeform 35">
                <a:extLst>
                  <a:ext uri="{FF2B5EF4-FFF2-40B4-BE49-F238E27FC236}">
                    <a16:creationId xmlns:a16="http://schemas.microsoft.com/office/drawing/2014/main" id="{9D4FDF83-505A-49E9-A3FD-5A71ED857110}"/>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6350">
                <a:solidFill>
                  <a:schemeClr val="bg1"/>
                </a:solidFill>
                <a:round/>
                <a:headEnd/>
                <a:tailEnd/>
              </a:ln>
            </p:spPr>
            <p:txBody>
              <a:bodyPr/>
              <a:lstStyle/>
              <a:p>
                <a:pPr>
                  <a:defRPr/>
                </a:pPr>
                <a:endParaRPr lang="en-GB"/>
              </a:p>
            </p:txBody>
          </p:sp>
          <p:sp>
            <p:nvSpPr>
              <p:cNvPr id="52" name="Freeform 36">
                <a:extLst>
                  <a:ext uri="{FF2B5EF4-FFF2-40B4-BE49-F238E27FC236}">
                    <a16:creationId xmlns:a16="http://schemas.microsoft.com/office/drawing/2014/main" id="{2070092D-D5C0-4F31-8F0E-F3FE8B45E1B2}"/>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6350">
                <a:solidFill>
                  <a:schemeClr val="bg1"/>
                </a:solidFill>
                <a:round/>
                <a:headEnd/>
                <a:tailEnd/>
              </a:ln>
            </p:spPr>
            <p:txBody>
              <a:bodyPr/>
              <a:lstStyle/>
              <a:p>
                <a:pPr>
                  <a:defRPr/>
                </a:pPr>
                <a:endParaRPr lang="en-GB"/>
              </a:p>
            </p:txBody>
          </p:sp>
          <p:sp>
            <p:nvSpPr>
              <p:cNvPr id="53" name="Freeform 37">
                <a:extLst>
                  <a:ext uri="{FF2B5EF4-FFF2-40B4-BE49-F238E27FC236}">
                    <a16:creationId xmlns:a16="http://schemas.microsoft.com/office/drawing/2014/main" id="{E1EB0082-2BF0-4D9B-A0F0-8DB65D08CA45}"/>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6350">
                <a:solidFill>
                  <a:schemeClr val="bg1"/>
                </a:solidFill>
                <a:round/>
                <a:headEnd/>
                <a:tailEnd/>
              </a:ln>
            </p:spPr>
            <p:txBody>
              <a:bodyPr/>
              <a:lstStyle/>
              <a:p>
                <a:pPr>
                  <a:defRPr/>
                </a:pPr>
                <a:endParaRPr lang="en-GB"/>
              </a:p>
            </p:txBody>
          </p:sp>
          <p:sp>
            <p:nvSpPr>
              <p:cNvPr id="54" name="Freeform 38">
                <a:extLst>
                  <a:ext uri="{FF2B5EF4-FFF2-40B4-BE49-F238E27FC236}">
                    <a16:creationId xmlns:a16="http://schemas.microsoft.com/office/drawing/2014/main" id="{26934ECF-B65A-4F99-98F9-9362158C2EDC}"/>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6350">
                <a:solidFill>
                  <a:schemeClr val="bg1"/>
                </a:solidFill>
                <a:round/>
                <a:headEnd/>
                <a:tailEnd/>
              </a:ln>
            </p:spPr>
            <p:txBody>
              <a:bodyPr/>
              <a:lstStyle/>
              <a:p>
                <a:pPr>
                  <a:defRPr/>
                </a:pPr>
                <a:endParaRPr lang="en-GB"/>
              </a:p>
            </p:txBody>
          </p:sp>
          <p:sp>
            <p:nvSpPr>
              <p:cNvPr id="55" name="Freeform 39">
                <a:extLst>
                  <a:ext uri="{FF2B5EF4-FFF2-40B4-BE49-F238E27FC236}">
                    <a16:creationId xmlns:a16="http://schemas.microsoft.com/office/drawing/2014/main" id="{D737A285-5E46-4B78-B77A-B5A782B901F7}"/>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6350">
                <a:solidFill>
                  <a:schemeClr val="bg1"/>
                </a:solidFill>
                <a:round/>
                <a:headEnd/>
                <a:tailEnd/>
              </a:ln>
            </p:spPr>
            <p:txBody>
              <a:bodyPr/>
              <a:lstStyle/>
              <a:p>
                <a:pPr>
                  <a:defRPr/>
                </a:pPr>
                <a:endParaRPr lang="en-GB"/>
              </a:p>
            </p:txBody>
          </p:sp>
          <p:sp>
            <p:nvSpPr>
              <p:cNvPr id="56" name="Freeform 40">
                <a:extLst>
                  <a:ext uri="{FF2B5EF4-FFF2-40B4-BE49-F238E27FC236}">
                    <a16:creationId xmlns:a16="http://schemas.microsoft.com/office/drawing/2014/main" id="{E1A3CFA2-E893-438C-8CE1-A3037AE6A030}"/>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6350">
                <a:solidFill>
                  <a:schemeClr val="bg1"/>
                </a:solidFill>
                <a:round/>
                <a:headEnd/>
                <a:tailEnd/>
              </a:ln>
            </p:spPr>
            <p:txBody>
              <a:bodyPr/>
              <a:lstStyle/>
              <a:p>
                <a:pPr>
                  <a:defRPr/>
                </a:pPr>
                <a:endParaRPr lang="en-GB"/>
              </a:p>
            </p:txBody>
          </p:sp>
          <p:sp>
            <p:nvSpPr>
              <p:cNvPr id="57" name="Freeform 41">
                <a:extLst>
                  <a:ext uri="{FF2B5EF4-FFF2-40B4-BE49-F238E27FC236}">
                    <a16:creationId xmlns:a16="http://schemas.microsoft.com/office/drawing/2014/main" id="{E31AE2D7-C441-465F-A6E6-2B61AE6477BA}"/>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6350">
                <a:solidFill>
                  <a:schemeClr val="bg1"/>
                </a:solidFill>
                <a:round/>
                <a:headEnd/>
                <a:tailEnd/>
              </a:ln>
            </p:spPr>
            <p:txBody>
              <a:bodyPr/>
              <a:lstStyle/>
              <a:p>
                <a:pPr>
                  <a:defRPr/>
                </a:pPr>
                <a:endParaRPr lang="en-GB"/>
              </a:p>
            </p:txBody>
          </p:sp>
          <p:sp>
            <p:nvSpPr>
              <p:cNvPr id="58" name="Freeform 42">
                <a:extLst>
                  <a:ext uri="{FF2B5EF4-FFF2-40B4-BE49-F238E27FC236}">
                    <a16:creationId xmlns:a16="http://schemas.microsoft.com/office/drawing/2014/main" id="{00000453-7A9F-4A08-8FC2-45EE87F8674C}"/>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6350">
                <a:solidFill>
                  <a:schemeClr val="bg1"/>
                </a:solidFill>
                <a:round/>
                <a:headEnd/>
                <a:tailEnd/>
              </a:ln>
            </p:spPr>
            <p:txBody>
              <a:bodyPr/>
              <a:lstStyle/>
              <a:p>
                <a:pPr>
                  <a:defRPr/>
                </a:pPr>
                <a:endParaRPr lang="en-GB"/>
              </a:p>
            </p:txBody>
          </p:sp>
          <p:sp>
            <p:nvSpPr>
              <p:cNvPr id="59" name="Freeform 43">
                <a:extLst>
                  <a:ext uri="{FF2B5EF4-FFF2-40B4-BE49-F238E27FC236}">
                    <a16:creationId xmlns:a16="http://schemas.microsoft.com/office/drawing/2014/main" id="{7FF2E43F-92ED-4A99-BECB-35FA8F5659FD}"/>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6350">
                <a:solidFill>
                  <a:schemeClr val="bg1"/>
                </a:solidFill>
                <a:round/>
                <a:headEnd/>
                <a:tailEnd/>
              </a:ln>
            </p:spPr>
            <p:txBody>
              <a:bodyPr/>
              <a:lstStyle/>
              <a:p>
                <a:pPr>
                  <a:defRPr/>
                </a:pPr>
                <a:endParaRPr lang="en-GB"/>
              </a:p>
            </p:txBody>
          </p:sp>
        </p:grpSp>
        <p:sp>
          <p:nvSpPr>
            <p:cNvPr id="31" name="Freeform 44">
              <a:extLst>
                <a:ext uri="{FF2B5EF4-FFF2-40B4-BE49-F238E27FC236}">
                  <a16:creationId xmlns:a16="http://schemas.microsoft.com/office/drawing/2014/main" id="{442B8ABC-B6E9-495F-94BC-225F7C2E55BE}"/>
                </a:ext>
              </a:extLst>
            </p:cNvPr>
            <p:cNvSpPr>
              <a:spLocks/>
            </p:cNvSpPr>
            <p:nvPr/>
          </p:nvSpPr>
          <p:spPr bwMode="auto">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6350">
              <a:solidFill>
                <a:schemeClr val="bg1"/>
              </a:solidFill>
              <a:round/>
              <a:headEnd/>
              <a:tailEnd/>
            </a:ln>
          </p:spPr>
          <p:txBody>
            <a:bodyPr/>
            <a:lstStyle/>
            <a:p>
              <a:pPr>
                <a:defRPr/>
              </a:pPr>
              <a:endParaRPr lang="en-GB"/>
            </a:p>
          </p:txBody>
        </p:sp>
        <p:sp>
          <p:nvSpPr>
            <p:cNvPr id="32" name="Freeform 45">
              <a:extLst>
                <a:ext uri="{FF2B5EF4-FFF2-40B4-BE49-F238E27FC236}">
                  <a16:creationId xmlns:a16="http://schemas.microsoft.com/office/drawing/2014/main" id="{120EE865-432D-43B1-B243-8A95B5920700}"/>
                </a:ext>
              </a:extLst>
            </p:cNvPr>
            <p:cNvSpPr>
              <a:spLocks/>
            </p:cNvSpPr>
            <p:nvPr/>
          </p:nvSpPr>
          <p:spPr bwMode="auto">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6350">
              <a:solidFill>
                <a:schemeClr val="bg1"/>
              </a:solidFill>
              <a:round/>
              <a:headEnd/>
              <a:tailEnd/>
            </a:ln>
          </p:spPr>
          <p:txBody>
            <a:bodyPr/>
            <a:lstStyle/>
            <a:p>
              <a:pPr>
                <a:defRPr/>
              </a:pPr>
              <a:endParaRPr lang="en-GB"/>
            </a:p>
          </p:txBody>
        </p:sp>
        <p:sp>
          <p:nvSpPr>
            <p:cNvPr id="33" name="Freeform 46">
              <a:extLst>
                <a:ext uri="{FF2B5EF4-FFF2-40B4-BE49-F238E27FC236}">
                  <a16:creationId xmlns:a16="http://schemas.microsoft.com/office/drawing/2014/main" id="{D8772527-92BC-4CEC-BE0D-CE17009D2CF1}"/>
                </a:ext>
              </a:extLst>
            </p:cNvPr>
            <p:cNvSpPr>
              <a:spLocks/>
            </p:cNvSpPr>
            <p:nvPr/>
          </p:nvSpPr>
          <p:spPr bwMode="auto">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6350">
              <a:solidFill>
                <a:schemeClr val="bg1"/>
              </a:solidFill>
              <a:round/>
              <a:headEnd/>
              <a:tailEnd/>
            </a:ln>
          </p:spPr>
          <p:txBody>
            <a:bodyPr/>
            <a:lstStyle/>
            <a:p>
              <a:pPr>
                <a:defRPr/>
              </a:pPr>
              <a:endParaRPr lang="en-GB"/>
            </a:p>
          </p:txBody>
        </p:sp>
        <p:sp>
          <p:nvSpPr>
            <p:cNvPr id="34" name="Freeform 47">
              <a:extLst>
                <a:ext uri="{FF2B5EF4-FFF2-40B4-BE49-F238E27FC236}">
                  <a16:creationId xmlns:a16="http://schemas.microsoft.com/office/drawing/2014/main" id="{C2BE81C8-9672-45DA-87F4-C088CACB5C85}"/>
                </a:ext>
              </a:extLst>
            </p:cNvPr>
            <p:cNvSpPr>
              <a:spLocks/>
            </p:cNvSpPr>
            <p:nvPr/>
          </p:nvSpPr>
          <p:spPr bwMode="auto">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6350">
              <a:solidFill>
                <a:schemeClr val="bg1"/>
              </a:solidFill>
              <a:round/>
              <a:headEnd/>
              <a:tailEnd/>
            </a:ln>
          </p:spPr>
          <p:txBody>
            <a:bodyPr/>
            <a:lstStyle/>
            <a:p>
              <a:pPr>
                <a:defRPr/>
              </a:pPr>
              <a:endParaRPr lang="en-GB"/>
            </a:p>
          </p:txBody>
        </p:sp>
        <p:sp>
          <p:nvSpPr>
            <p:cNvPr id="35" name="Freeform 48">
              <a:extLst>
                <a:ext uri="{FF2B5EF4-FFF2-40B4-BE49-F238E27FC236}">
                  <a16:creationId xmlns:a16="http://schemas.microsoft.com/office/drawing/2014/main" id="{5DE191FF-194F-4363-BFE9-A1559DFA5420}"/>
                </a:ext>
              </a:extLst>
            </p:cNvPr>
            <p:cNvSpPr>
              <a:spLocks/>
            </p:cNvSpPr>
            <p:nvPr/>
          </p:nvSpPr>
          <p:spPr bwMode="auto">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6350">
              <a:solidFill>
                <a:schemeClr val="bg1"/>
              </a:solidFill>
              <a:round/>
              <a:headEnd/>
              <a:tailEnd/>
            </a:ln>
          </p:spPr>
          <p:txBody>
            <a:bodyPr/>
            <a:lstStyle/>
            <a:p>
              <a:pPr>
                <a:defRPr/>
              </a:pPr>
              <a:endParaRPr lang="en-GB"/>
            </a:p>
          </p:txBody>
        </p:sp>
        <p:sp>
          <p:nvSpPr>
            <p:cNvPr id="36" name="Freeform 49">
              <a:extLst>
                <a:ext uri="{FF2B5EF4-FFF2-40B4-BE49-F238E27FC236}">
                  <a16:creationId xmlns:a16="http://schemas.microsoft.com/office/drawing/2014/main" id="{80B6F277-45F4-4D57-847D-8756FE015EFD}"/>
                </a:ext>
              </a:extLst>
            </p:cNvPr>
            <p:cNvSpPr>
              <a:spLocks/>
            </p:cNvSpPr>
            <p:nvPr/>
          </p:nvSpPr>
          <p:spPr bwMode="auto">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6350">
              <a:solidFill>
                <a:schemeClr val="bg1"/>
              </a:solidFill>
              <a:round/>
              <a:headEnd/>
              <a:tailEnd/>
            </a:ln>
          </p:spPr>
          <p:txBody>
            <a:bodyPr/>
            <a:lstStyle/>
            <a:p>
              <a:pPr>
                <a:defRPr/>
              </a:pPr>
              <a:endParaRPr lang="en-GB"/>
            </a:p>
          </p:txBody>
        </p:sp>
        <p:sp>
          <p:nvSpPr>
            <p:cNvPr id="37" name="Freeform 50">
              <a:extLst>
                <a:ext uri="{FF2B5EF4-FFF2-40B4-BE49-F238E27FC236}">
                  <a16:creationId xmlns:a16="http://schemas.microsoft.com/office/drawing/2014/main" id="{73220F68-016F-49B5-B97D-4EB04D899674}"/>
                </a:ext>
              </a:extLst>
            </p:cNvPr>
            <p:cNvSpPr>
              <a:spLocks/>
            </p:cNvSpPr>
            <p:nvPr/>
          </p:nvSpPr>
          <p:spPr bwMode="auto">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6350">
              <a:solidFill>
                <a:schemeClr val="bg1"/>
              </a:solidFill>
              <a:round/>
              <a:headEnd/>
              <a:tailEnd/>
            </a:ln>
          </p:spPr>
          <p:txBody>
            <a:bodyPr/>
            <a:lstStyle/>
            <a:p>
              <a:pPr>
                <a:defRPr/>
              </a:pPr>
              <a:endParaRPr lang="en-GB"/>
            </a:p>
          </p:txBody>
        </p:sp>
        <p:sp>
          <p:nvSpPr>
            <p:cNvPr id="38" name="Freeform 51">
              <a:extLst>
                <a:ext uri="{FF2B5EF4-FFF2-40B4-BE49-F238E27FC236}">
                  <a16:creationId xmlns:a16="http://schemas.microsoft.com/office/drawing/2014/main" id="{2F6C4EA2-2E1D-4EB3-BC03-0B86EC5BCFA3}"/>
                </a:ext>
              </a:extLst>
            </p:cNvPr>
            <p:cNvSpPr>
              <a:spLocks/>
            </p:cNvSpPr>
            <p:nvPr/>
          </p:nvSpPr>
          <p:spPr bwMode="auto">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6350">
              <a:solidFill>
                <a:schemeClr val="bg1"/>
              </a:solidFill>
              <a:round/>
              <a:headEnd/>
              <a:tailEnd/>
            </a:ln>
          </p:spPr>
          <p:txBody>
            <a:bodyPr/>
            <a:lstStyle/>
            <a:p>
              <a:pPr>
                <a:defRPr/>
              </a:pPr>
              <a:endParaRPr lang="en-GB"/>
            </a:p>
          </p:txBody>
        </p:sp>
        <p:sp>
          <p:nvSpPr>
            <p:cNvPr id="39" name="Freeform 52">
              <a:extLst>
                <a:ext uri="{FF2B5EF4-FFF2-40B4-BE49-F238E27FC236}">
                  <a16:creationId xmlns:a16="http://schemas.microsoft.com/office/drawing/2014/main" id="{2AFF1AE2-F51D-416E-8146-D5FB1E0206BD}"/>
                </a:ext>
              </a:extLst>
            </p:cNvPr>
            <p:cNvSpPr>
              <a:spLocks/>
            </p:cNvSpPr>
            <p:nvPr/>
          </p:nvSpPr>
          <p:spPr bwMode="auto">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6350">
              <a:solidFill>
                <a:schemeClr val="bg1"/>
              </a:solidFill>
              <a:round/>
              <a:headEnd/>
              <a:tailEnd/>
            </a:ln>
          </p:spPr>
          <p:txBody>
            <a:bodyPr/>
            <a:lstStyle/>
            <a:p>
              <a:pPr>
                <a:defRPr/>
              </a:pPr>
              <a:endParaRPr lang="en-GB"/>
            </a:p>
          </p:txBody>
        </p:sp>
        <p:sp>
          <p:nvSpPr>
            <p:cNvPr id="40" name="Freeform 53">
              <a:extLst>
                <a:ext uri="{FF2B5EF4-FFF2-40B4-BE49-F238E27FC236}">
                  <a16:creationId xmlns:a16="http://schemas.microsoft.com/office/drawing/2014/main" id="{F49C6F81-C55F-48BE-BDF3-DB293B7006F6}"/>
                </a:ext>
              </a:extLst>
            </p:cNvPr>
            <p:cNvSpPr>
              <a:spLocks/>
            </p:cNvSpPr>
            <p:nvPr/>
          </p:nvSpPr>
          <p:spPr bwMode="auto">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6350">
              <a:solidFill>
                <a:schemeClr val="bg1"/>
              </a:solidFill>
              <a:round/>
              <a:headEnd/>
              <a:tailEnd/>
            </a:ln>
          </p:spPr>
          <p:txBody>
            <a:bodyPr/>
            <a:lstStyle/>
            <a:p>
              <a:pPr>
                <a:defRPr/>
              </a:pPr>
              <a:endParaRPr lang="en-GB"/>
            </a:p>
          </p:txBody>
        </p:sp>
        <p:sp>
          <p:nvSpPr>
            <p:cNvPr id="41" name="Freeform 54">
              <a:extLst>
                <a:ext uri="{FF2B5EF4-FFF2-40B4-BE49-F238E27FC236}">
                  <a16:creationId xmlns:a16="http://schemas.microsoft.com/office/drawing/2014/main" id="{36BBFDC9-F535-4D1B-BBDB-5236FC3A8C38}"/>
                </a:ext>
              </a:extLst>
            </p:cNvPr>
            <p:cNvSpPr>
              <a:spLocks/>
            </p:cNvSpPr>
            <p:nvPr/>
          </p:nvSpPr>
          <p:spPr bwMode="auto">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6350">
              <a:solidFill>
                <a:schemeClr val="bg1"/>
              </a:solidFill>
              <a:round/>
              <a:headEnd/>
              <a:tailEnd/>
            </a:ln>
          </p:spPr>
          <p:txBody>
            <a:bodyPr/>
            <a:lstStyle/>
            <a:p>
              <a:pPr>
                <a:defRPr/>
              </a:pPr>
              <a:endParaRPr lang="en-GB"/>
            </a:p>
          </p:txBody>
        </p:sp>
        <p:sp>
          <p:nvSpPr>
            <p:cNvPr id="42" name="Freeform 55">
              <a:extLst>
                <a:ext uri="{FF2B5EF4-FFF2-40B4-BE49-F238E27FC236}">
                  <a16:creationId xmlns:a16="http://schemas.microsoft.com/office/drawing/2014/main" id="{BD841423-1244-4055-9F44-D74FC02AE1E9}"/>
                </a:ext>
              </a:extLst>
            </p:cNvPr>
            <p:cNvSpPr>
              <a:spLocks/>
            </p:cNvSpPr>
            <p:nvPr/>
          </p:nvSpPr>
          <p:spPr bwMode="auto">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6350">
              <a:solidFill>
                <a:schemeClr val="bg1"/>
              </a:solidFill>
              <a:round/>
              <a:headEnd/>
              <a:tailEnd/>
            </a:ln>
          </p:spPr>
          <p:txBody>
            <a:bodyPr/>
            <a:lstStyle/>
            <a:p>
              <a:pPr>
                <a:defRPr/>
              </a:pPr>
              <a:endParaRPr lang="en-GB"/>
            </a:p>
          </p:txBody>
        </p:sp>
        <p:sp>
          <p:nvSpPr>
            <p:cNvPr id="43" name="Freeform 5">
              <a:extLst>
                <a:ext uri="{FF2B5EF4-FFF2-40B4-BE49-F238E27FC236}">
                  <a16:creationId xmlns:a16="http://schemas.microsoft.com/office/drawing/2014/main" id="{51E08425-1167-4E8F-BD25-59F4B19A9110}"/>
                </a:ext>
              </a:extLst>
            </p:cNvPr>
            <p:cNvSpPr>
              <a:spLocks/>
            </p:cNvSpPr>
            <p:nvPr/>
          </p:nvSpPr>
          <p:spPr bwMode="auto">
            <a:xfrm>
              <a:off x="369962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6350">
              <a:solidFill>
                <a:schemeClr val="bg1"/>
              </a:solidFill>
              <a:round/>
              <a:headEnd/>
              <a:tailEnd/>
            </a:ln>
          </p:spPr>
          <p:txBody>
            <a:bodyPr/>
            <a:lstStyle/>
            <a:p>
              <a:pPr>
                <a:defRPr/>
              </a:pPr>
              <a:endParaRPr lang="en-GB"/>
            </a:p>
          </p:txBody>
        </p:sp>
      </p:grpSp>
      <p:sp>
        <p:nvSpPr>
          <p:cNvPr id="64" name="Text Placeholder 63">
            <a:extLst>
              <a:ext uri="{FF2B5EF4-FFF2-40B4-BE49-F238E27FC236}">
                <a16:creationId xmlns:a16="http://schemas.microsoft.com/office/drawing/2014/main" id="{6A78AED2-D80F-486D-9A5F-7BE35FD8D646}"/>
              </a:ext>
            </a:extLst>
          </p:cNvPr>
          <p:cNvSpPr>
            <a:spLocks noGrp="1"/>
          </p:cNvSpPr>
          <p:nvPr>
            <p:ph type="body" sz="quarter" idx="14" hasCustomPrompt="1"/>
          </p:nvPr>
        </p:nvSpPr>
        <p:spPr>
          <a:xfrm>
            <a:off x="9215135" y="2512529"/>
            <a:ext cx="407089" cy="491402"/>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0" rIns="731520" anchor="ctr" anchorCtr="0">
            <a:noAutofit/>
          </a:bodyPr>
          <a:lstStyle>
            <a:lvl1pPr algn="r">
              <a:defRPr sz="2400" b="1"/>
            </a:lvl1pPr>
          </a:lstStyle>
          <a:p>
            <a:pPr lvl="0"/>
            <a:r>
              <a:rPr lang="en-US"/>
              <a:t>New York HQ</a:t>
            </a:r>
          </a:p>
        </p:txBody>
      </p:sp>
      <p:sp>
        <p:nvSpPr>
          <p:cNvPr id="2" name="Title 1">
            <a:extLst>
              <a:ext uri="{FF2B5EF4-FFF2-40B4-BE49-F238E27FC236}">
                <a16:creationId xmlns:a16="http://schemas.microsoft.com/office/drawing/2014/main" id="{1484717B-96BA-4987-9234-1FF68C152014}"/>
              </a:ext>
            </a:extLst>
          </p:cNvPr>
          <p:cNvSpPr>
            <a:spLocks noGrp="1"/>
          </p:cNvSpPr>
          <p:nvPr>
            <p:ph type="title"/>
          </p:nvPr>
        </p:nvSpPr>
        <p:spPr/>
        <p:txBody>
          <a:bodyPr/>
          <a:lstStyle/>
          <a:p>
            <a:r>
              <a:rPr lang="en-US"/>
              <a:t>Click to edit Master title style</a:t>
            </a:r>
          </a:p>
        </p:txBody>
      </p:sp>
      <p:sp>
        <p:nvSpPr>
          <p:cNvPr id="61" name="Text Placeholder 12">
            <a:extLst>
              <a:ext uri="{FF2B5EF4-FFF2-40B4-BE49-F238E27FC236}">
                <a16:creationId xmlns:a16="http://schemas.microsoft.com/office/drawing/2014/main" id="{E084D80B-777D-4C21-BA02-1D5F121A2259}"/>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
        <p:nvSpPr>
          <p:cNvPr id="60" name="Rectangle 59">
            <a:extLst>
              <a:ext uri="{FF2B5EF4-FFF2-40B4-BE49-F238E27FC236}">
                <a16:creationId xmlns:a16="http://schemas.microsoft.com/office/drawing/2014/main" id="{CD5F0905-40B9-48EF-BDA6-B822EFCC4FA7}"/>
              </a:ext>
            </a:extLst>
          </p:cNvPr>
          <p:cNvSpPr/>
          <p:nvPr userDrawn="1"/>
        </p:nvSpPr>
        <p:spPr>
          <a:xfrm>
            <a:off x="-1" y="1"/>
            <a:ext cx="156625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Shape 73">
            <a:extLst>
              <a:ext uri="{FF2B5EF4-FFF2-40B4-BE49-F238E27FC236}">
                <a16:creationId xmlns:a16="http://schemas.microsoft.com/office/drawing/2014/main" id="{1EF12C2B-7F9C-4A29-871B-D9A1CB31EA27}"/>
              </a:ext>
            </a:extLst>
          </p:cNvPr>
          <p:cNvSpPr/>
          <p:nvPr userDrawn="1"/>
        </p:nvSpPr>
        <p:spPr>
          <a:xfrm>
            <a:off x="252827" y="222349"/>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2657443 h 6407421"/>
              <a:gd name="connsiteX221" fmla="*/ 1064123 w 1064123"/>
              <a:gd name="connsiteY221" fmla="*/ 2657443 h 6407421"/>
              <a:gd name="connsiteX222" fmla="*/ 1064123 w 1064123"/>
              <a:gd name="connsiteY222" fmla="*/ 2687045 h 6407421"/>
              <a:gd name="connsiteX223" fmla="*/ 1034520 w 1064123"/>
              <a:gd name="connsiteY223" fmla="*/ 2687045 h 6407421"/>
              <a:gd name="connsiteX224" fmla="*/ 768327 w 1064123"/>
              <a:gd name="connsiteY224" fmla="*/ 2657440 h 6407421"/>
              <a:gd name="connsiteX225" fmla="*/ 797926 w 1064123"/>
              <a:gd name="connsiteY225" fmla="*/ 2657440 h 6407421"/>
              <a:gd name="connsiteX226" fmla="*/ 797926 w 1064123"/>
              <a:gd name="connsiteY226" fmla="*/ 2687042 h 6407421"/>
              <a:gd name="connsiteX227" fmla="*/ 768327 w 1064123"/>
              <a:gd name="connsiteY227" fmla="*/ 2687042 h 6407421"/>
              <a:gd name="connsiteX228" fmla="*/ 502236 w 1064123"/>
              <a:gd name="connsiteY228" fmla="*/ 2657437 h 6407421"/>
              <a:gd name="connsiteX229" fmla="*/ 531838 w 1064123"/>
              <a:gd name="connsiteY229" fmla="*/ 2657437 h 6407421"/>
              <a:gd name="connsiteX230" fmla="*/ 531838 w 1064123"/>
              <a:gd name="connsiteY230" fmla="*/ 2687039 h 6407421"/>
              <a:gd name="connsiteX231" fmla="*/ 502236 w 1064123"/>
              <a:gd name="connsiteY231" fmla="*/ 2687039 h 6407421"/>
              <a:gd name="connsiteX232" fmla="*/ 236037 w 1064123"/>
              <a:gd name="connsiteY232" fmla="*/ 2657434 h 6407421"/>
              <a:gd name="connsiteX233" fmla="*/ 265639 w 1064123"/>
              <a:gd name="connsiteY233" fmla="*/ 2657434 h 6407421"/>
              <a:gd name="connsiteX234" fmla="*/ 265639 w 1064123"/>
              <a:gd name="connsiteY234" fmla="*/ 2687036 h 6407421"/>
              <a:gd name="connsiteX235" fmla="*/ 236037 w 1064123"/>
              <a:gd name="connsiteY235" fmla="*/ 2687036 h 6407421"/>
              <a:gd name="connsiteX236" fmla="*/ 1 w 1064123"/>
              <a:gd name="connsiteY236" fmla="*/ 2657434 h 6407421"/>
              <a:gd name="connsiteX237" fmla="*/ 29603 w 1064123"/>
              <a:gd name="connsiteY237" fmla="*/ 2657434 h 6407421"/>
              <a:gd name="connsiteX238" fmla="*/ 29603 w 1064123"/>
              <a:gd name="connsiteY238" fmla="*/ 2687036 h 6407421"/>
              <a:gd name="connsiteX239" fmla="*/ 1 w 1064123"/>
              <a:gd name="connsiteY239" fmla="*/ 2687036 h 6407421"/>
              <a:gd name="connsiteX240" fmla="*/ 1034520 w 1064123"/>
              <a:gd name="connsiteY240" fmla="*/ 2391678 h 6407421"/>
              <a:gd name="connsiteX241" fmla="*/ 1064123 w 1064123"/>
              <a:gd name="connsiteY241" fmla="*/ 2391678 h 6407421"/>
              <a:gd name="connsiteX242" fmla="*/ 1064123 w 1064123"/>
              <a:gd name="connsiteY242" fmla="*/ 2421288 h 6407421"/>
              <a:gd name="connsiteX243" fmla="*/ 1034520 w 1064123"/>
              <a:gd name="connsiteY243" fmla="*/ 2421288 h 6407421"/>
              <a:gd name="connsiteX244" fmla="*/ 768327 w 1064123"/>
              <a:gd name="connsiteY244" fmla="*/ 2391675 h 6407421"/>
              <a:gd name="connsiteX245" fmla="*/ 797926 w 1064123"/>
              <a:gd name="connsiteY245" fmla="*/ 2391675 h 6407421"/>
              <a:gd name="connsiteX246" fmla="*/ 797926 w 1064123"/>
              <a:gd name="connsiteY246" fmla="*/ 2421283 h 6407421"/>
              <a:gd name="connsiteX247" fmla="*/ 768327 w 1064123"/>
              <a:gd name="connsiteY247" fmla="*/ 2421283 h 6407421"/>
              <a:gd name="connsiteX248" fmla="*/ 502236 w 1064123"/>
              <a:gd name="connsiteY248" fmla="*/ 2391672 h 6407421"/>
              <a:gd name="connsiteX249" fmla="*/ 531838 w 1064123"/>
              <a:gd name="connsiteY249" fmla="*/ 2391672 h 6407421"/>
              <a:gd name="connsiteX250" fmla="*/ 531838 w 1064123"/>
              <a:gd name="connsiteY250" fmla="*/ 2421278 h 6407421"/>
              <a:gd name="connsiteX251" fmla="*/ 502236 w 1064123"/>
              <a:gd name="connsiteY251" fmla="*/ 2421278 h 6407421"/>
              <a:gd name="connsiteX252" fmla="*/ 236037 w 1064123"/>
              <a:gd name="connsiteY252" fmla="*/ 2391669 h 6407421"/>
              <a:gd name="connsiteX253" fmla="*/ 265639 w 1064123"/>
              <a:gd name="connsiteY253" fmla="*/ 2391669 h 6407421"/>
              <a:gd name="connsiteX254" fmla="*/ 265639 w 1064123"/>
              <a:gd name="connsiteY254" fmla="*/ 2421272 h 6407421"/>
              <a:gd name="connsiteX255" fmla="*/ 236037 w 1064123"/>
              <a:gd name="connsiteY255" fmla="*/ 2421272 h 6407421"/>
              <a:gd name="connsiteX256" fmla="*/ 1 w 1064123"/>
              <a:gd name="connsiteY256" fmla="*/ 2391669 h 6407421"/>
              <a:gd name="connsiteX257" fmla="*/ 29603 w 1064123"/>
              <a:gd name="connsiteY257" fmla="*/ 2391669 h 6407421"/>
              <a:gd name="connsiteX258" fmla="*/ 29603 w 1064123"/>
              <a:gd name="connsiteY258" fmla="*/ 2421272 h 6407421"/>
              <a:gd name="connsiteX259" fmla="*/ 1 w 1064123"/>
              <a:gd name="connsiteY259" fmla="*/ 2421272 h 6407421"/>
              <a:gd name="connsiteX260" fmla="*/ 1034520 w 1064123"/>
              <a:gd name="connsiteY260" fmla="*/ 2126020 h 6407421"/>
              <a:gd name="connsiteX261" fmla="*/ 1064123 w 1064123"/>
              <a:gd name="connsiteY261" fmla="*/ 2126020 h 6407421"/>
              <a:gd name="connsiteX262" fmla="*/ 1064123 w 1064123"/>
              <a:gd name="connsiteY262" fmla="*/ 2155517 h 6407421"/>
              <a:gd name="connsiteX263" fmla="*/ 1034520 w 1064123"/>
              <a:gd name="connsiteY263" fmla="*/ 2155517 h 6407421"/>
              <a:gd name="connsiteX264" fmla="*/ 768327 w 1064123"/>
              <a:gd name="connsiteY264" fmla="*/ 2126017 h 6407421"/>
              <a:gd name="connsiteX265" fmla="*/ 797926 w 1064123"/>
              <a:gd name="connsiteY265" fmla="*/ 2126017 h 6407421"/>
              <a:gd name="connsiteX266" fmla="*/ 797926 w 1064123"/>
              <a:gd name="connsiteY266" fmla="*/ 2155513 h 6407421"/>
              <a:gd name="connsiteX267" fmla="*/ 768327 w 1064123"/>
              <a:gd name="connsiteY267" fmla="*/ 2155513 h 6407421"/>
              <a:gd name="connsiteX268" fmla="*/ 502236 w 1064123"/>
              <a:gd name="connsiteY268" fmla="*/ 2126014 h 6407421"/>
              <a:gd name="connsiteX269" fmla="*/ 531838 w 1064123"/>
              <a:gd name="connsiteY269" fmla="*/ 2126014 h 6407421"/>
              <a:gd name="connsiteX270" fmla="*/ 531838 w 1064123"/>
              <a:gd name="connsiteY270" fmla="*/ 2155510 h 6407421"/>
              <a:gd name="connsiteX271" fmla="*/ 502236 w 1064123"/>
              <a:gd name="connsiteY271" fmla="*/ 2155510 h 6407421"/>
              <a:gd name="connsiteX272" fmla="*/ 236037 w 1064123"/>
              <a:gd name="connsiteY272" fmla="*/ 2126012 h 6407421"/>
              <a:gd name="connsiteX273" fmla="*/ 265639 w 1064123"/>
              <a:gd name="connsiteY273" fmla="*/ 2126012 h 6407421"/>
              <a:gd name="connsiteX274" fmla="*/ 265639 w 1064123"/>
              <a:gd name="connsiteY274" fmla="*/ 2155506 h 6407421"/>
              <a:gd name="connsiteX275" fmla="*/ 236037 w 1064123"/>
              <a:gd name="connsiteY275" fmla="*/ 2155506 h 6407421"/>
              <a:gd name="connsiteX276" fmla="*/ 1 w 1064123"/>
              <a:gd name="connsiteY276" fmla="*/ 2126012 h 6407421"/>
              <a:gd name="connsiteX277" fmla="*/ 29603 w 1064123"/>
              <a:gd name="connsiteY277" fmla="*/ 2126012 h 6407421"/>
              <a:gd name="connsiteX278" fmla="*/ 29603 w 1064123"/>
              <a:gd name="connsiteY278" fmla="*/ 2155506 h 6407421"/>
              <a:gd name="connsiteX279" fmla="*/ 1 w 1064123"/>
              <a:gd name="connsiteY279" fmla="*/ 2155506 h 6407421"/>
              <a:gd name="connsiteX280" fmla="*/ 1034520 w 1064123"/>
              <a:gd name="connsiteY280" fmla="*/ 1860254 h 6407421"/>
              <a:gd name="connsiteX281" fmla="*/ 1064123 w 1064123"/>
              <a:gd name="connsiteY281" fmla="*/ 1860254 h 6407421"/>
              <a:gd name="connsiteX282" fmla="*/ 1064123 w 1064123"/>
              <a:gd name="connsiteY282" fmla="*/ 1889747 h 6407421"/>
              <a:gd name="connsiteX283" fmla="*/ 1034520 w 1064123"/>
              <a:gd name="connsiteY283" fmla="*/ 1889747 h 6407421"/>
              <a:gd name="connsiteX284" fmla="*/ 768327 w 1064123"/>
              <a:gd name="connsiteY284" fmla="*/ 1860252 h 6407421"/>
              <a:gd name="connsiteX285" fmla="*/ 797926 w 1064123"/>
              <a:gd name="connsiteY285" fmla="*/ 1860252 h 6407421"/>
              <a:gd name="connsiteX286" fmla="*/ 797926 w 1064123"/>
              <a:gd name="connsiteY286" fmla="*/ 1889745 h 6407421"/>
              <a:gd name="connsiteX287" fmla="*/ 768327 w 1064123"/>
              <a:gd name="connsiteY287" fmla="*/ 1889745 h 6407421"/>
              <a:gd name="connsiteX288" fmla="*/ 502236 w 1064123"/>
              <a:gd name="connsiteY288" fmla="*/ 1860249 h 6407421"/>
              <a:gd name="connsiteX289" fmla="*/ 531838 w 1064123"/>
              <a:gd name="connsiteY289" fmla="*/ 1860249 h 6407421"/>
              <a:gd name="connsiteX290" fmla="*/ 531838 w 1064123"/>
              <a:gd name="connsiteY290" fmla="*/ 1889744 h 6407421"/>
              <a:gd name="connsiteX291" fmla="*/ 502236 w 1064123"/>
              <a:gd name="connsiteY291" fmla="*/ 1889744 h 6407421"/>
              <a:gd name="connsiteX292" fmla="*/ 236037 w 1064123"/>
              <a:gd name="connsiteY292" fmla="*/ 1860247 h 6407421"/>
              <a:gd name="connsiteX293" fmla="*/ 265639 w 1064123"/>
              <a:gd name="connsiteY293" fmla="*/ 1860247 h 6407421"/>
              <a:gd name="connsiteX294" fmla="*/ 265639 w 1064123"/>
              <a:gd name="connsiteY294" fmla="*/ 1889742 h 6407421"/>
              <a:gd name="connsiteX295" fmla="*/ 236037 w 1064123"/>
              <a:gd name="connsiteY295" fmla="*/ 1889742 h 6407421"/>
              <a:gd name="connsiteX296" fmla="*/ 1 w 1064123"/>
              <a:gd name="connsiteY296" fmla="*/ 1860247 h 6407421"/>
              <a:gd name="connsiteX297" fmla="*/ 29603 w 1064123"/>
              <a:gd name="connsiteY297" fmla="*/ 1860247 h 6407421"/>
              <a:gd name="connsiteX298" fmla="*/ 29603 w 1064123"/>
              <a:gd name="connsiteY298" fmla="*/ 1889742 h 6407421"/>
              <a:gd name="connsiteX299" fmla="*/ 1 w 1064123"/>
              <a:gd name="connsiteY299" fmla="*/ 1889742 h 6407421"/>
              <a:gd name="connsiteX300" fmla="*/ 1034520 w 1064123"/>
              <a:gd name="connsiteY300" fmla="*/ 1594489 h 6407421"/>
              <a:gd name="connsiteX301" fmla="*/ 1064123 w 1064123"/>
              <a:gd name="connsiteY301" fmla="*/ 1594489 h 6407421"/>
              <a:gd name="connsiteX302" fmla="*/ 1064123 w 1064123"/>
              <a:gd name="connsiteY302" fmla="*/ 1624092 h 6407421"/>
              <a:gd name="connsiteX303" fmla="*/ 1034520 w 1064123"/>
              <a:gd name="connsiteY303" fmla="*/ 1624092 h 6407421"/>
              <a:gd name="connsiteX304" fmla="*/ 768327 w 1064123"/>
              <a:gd name="connsiteY304" fmla="*/ 1594486 h 6407421"/>
              <a:gd name="connsiteX305" fmla="*/ 797926 w 1064123"/>
              <a:gd name="connsiteY305" fmla="*/ 1594486 h 6407421"/>
              <a:gd name="connsiteX306" fmla="*/ 797926 w 1064123"/>
              <a:gd name="connsiteY306" fmla="*/ 1624090 h 6407421"/>
              <a:gd name="connsiteX307" fmla="*/ 768327 w 1064123"/>
              <a:gd name="connsiteY307" fmla="*/ 1624090 h 6407421"/>
              <a:gd name="connsiteX308" fmla="*/ 502236 w 1064123"/>
              <a:gd name="connsiteY308" fmla="*/ 1594484 h 6407421"/>
              <a:gd name="connsiteX309" fmla="*/ 531838 w 1064123"/>
              <a:gd name="connsiteY309" fmla="*/ 1594484 h 6407421"/>
              <a:gd name="connsiteX310" fmla="*/ 531838 w 1064123"/>
              <a:gd name="connsiteY310" fmla="*/ 1624087 h 6407421"/>
              <a:gd name="connsiteX311" fmla="*/ 502236 w 1064123"/>
              <a:gd name="connsiteY311" fmla="*/ 1624087 h 6407421"/>
              <a:gd name="connsiteX312" fmla="*/ 236037 w 1064123"/>
              <a:gd name="connsiteY312" fmla="*/ 1594482 h 6407421"/>
              <a:gd name="connsiteX313" fmla="*/ 265639 w 1064123"/>
              <a:gd name="connsiteY313" fmla="*/ 1594482 h 6407421"/>
              <a:gd name="connsiteX314" fmla="*/ 265639 w 1064123"/>
              <a:gd name="connsiteY314" fmla="*/ 1624085 h 6407421"/>
              <a:gd name="connsiteX315" fmla="*/ 236037 w 1064123"/>
              <a:gd name="connsiteY315" fmla="*/ 1624085 h 6407421"/>
              <a:gd name="connsiteX316" fmla="*/ 1 w 1064123"/>
              <a:gd name="connsiteY316" fmla="*/ 1594482 h 6407421"/>
              <a:gd name="connsiteX317" fmla="*/ 29603 w 1064123"/>
              <a:gd name="connsiteY317" fmla="*/ 1594482 h 6407421"/>
              <a:gd name="connsiteX318" fmla="*/ 29603 w 1064123"/>
              <a:gd name="connsiteY318" fmla="*/ 1624085 h 6407421"/>
              <a:gd name="connsiteX319" fmla="*/ 1 w 1064123"/>
              <a:gd name="connsiteY319" fmla="*/ 1624085 h 6407421"/>
              <a:gd name="connsiteX320" fmla="*/ 1034520 w 1064123"/>
              <a:gd name="connsiteY320" fmla="*/ 1328724 h 6407421"/>
              <a:gd name="connsiteX321" fmla="*/ 1064123 w 1064123"/>
              <a:gd name="connsiteY321" fmla="*/ 1328724 h 6407421"/>
              <a:gd name="connsiteX322" fmla="*/ 1064123 w 1064123"/>
              <a:gd name="connsiteY322" fmla="*/ 1358328 h 6407421"/>
              <a:gd name="connsiteX323" fmla="*/ 1034520 w 1064123"/>
              <a:gd name="connsiteY323" fmla="*/ 1358328 h 6407421"/>
              <a:gd name="connsiteX324" fmla="*/ 768327 w 1064123"/>
              <a:gd name="connsiteY324" fmla="*/ 1328722 h 6407421"/>
              <a:gd name="connsiteX325" fmla="*/ 797926 w 1064123"/>
              <a:gd name="connsiteY325" fmla="*/ 1328722 h 6407421"/>
              <a:gd name="connsiteX326" fmla="*/ 797926 w 1064123"/>
              <a:gd name="connsiteY326" fmla="*/ 1358325 h 6407421"/>
              <a:gd name="connsiteX327" fmla="*/ 768327 w 1064123"/>
              <a:gd name="connsiteY327" fmla="*/ 1358325 h 6407421"/>
              <a:gd name="connsiteX328" fmla="*/ 502236 w 1064123"/>
              <a:gd name="connsiteY328" fmla="*/ 1328719 h 6407421"/>
              <a:gd name="connsiteX329" fmla="*/ 531838 w 1064123"/>
              <a:gd name="connsiteY329" fmla="*/ 1328719 h 6407421"/>
              <a:gd name="connsiteX330" fmla="*/ 531838 w 1064123"/>
              <a:gd name="connsiteY330" fmla="*/ 1358323 h 6407421"/>
              <a:gd name="connsiteX331" fmla="*/ 502236 w 1064123"/>
              <a:gd name="connsiteY331" fmla="*/ 1358323 h 6407421"/>
              <a:gd name="connsiteX332" fmla="*/ 236036 w 1064123"/>
              <a:gd name="connsiteY332" fmla="*/ 1328717 h 6407421"/>
              <a:gd name="connsiteX333" fmla="*/ 265639 w 1064123"/>
              <a:gd name="connsiteY333" fmla="*/ 1328717 h 6407421"/>
              <a:gd name="connsiteX334" fmla="*/ 265639 w 1064123"/>
              <a:gd name="connsiteY334" fmla="*/ 1358320 h 6407421"/>
              <a:gd name="connsiteX335" fmla="*/ 236036 w 1064123"/>
              <a:gd name="connsiteY335" fmla="*/ 1358320 h 6407421"/>
              <a:gd name="connsiteX336" fmla="*/ 1 w 1064123"/>
              <a:gd name="connsiteY336" fmla="*/ 1328717 h 6407421"/>
              <a:gd name="connsiteX337" fmla="*/ 29602 w 1064123"/>
              <a:gd name="connsiteY337" fmla="*/ 1328717 h 6407421"/>
              <a:gd name="connsiteX338" fmla="*/ 29602 w 1064123"/>
              <a:gd name="connsiteY338" fmla="*/ 1358320 h 6407421"/>
              <a:gd name="connsiteX339" fmla="*/ 1 w 1064123"/>
              <a:gd name="connsiteY339" fmla="*/ 1358320 h 6407421"/>
              <a:gd name="connsiteX340" fmla="*/ 1034520 w 1064123"/>
              <a:gd name="connsiteY340" fmla="*/ 1063069 h 6407421"/>
              <a:gd name="connsiteX341" fmla="*/ 1064123 w 1064123"/>
              <a:gd name="connsiteY341" fmla="*/ 1063069 h 6407421"/>
              <a:gd name="connsiteX342" fmla="*/ 1064123 w 1064123"/>
              <a:gd name="connsiteY342" fmla="*/ 1092563 h 6407421"/>
              <a:gd name="connsiteX343" fmla="*/ 1034520 w 1064123"/>
              <a:gd name="connsiteY343" fmla="*/ 1092563 h 6407421"/>
              <a:gd name="connsiteX344" fmla="*/ 768326 w 1064123"/>
              <a:gd name="connsiteY344" fmla="*/ 1063066 h 6407421"/>
              <a:gd name="connsiteX345" fmla="*/ 797926 w 1064123"/>
              <a:gd name="connsiteY345" fmla="*/ 1063066 h 6407421"/>
              <a:gd name="connsiteX346" fmla="*/ 797926 w 1064123"/>
              <a:gd name="connsiteY346" fmla="*/ 1092560 h 6407421"/>
              <a:gd name="connsiteX347" fmla="*/ 768326 w 1064123"/>
              <a:gd name="connsiteY347" fmla="*/ 1092560 h 6407421"/>
              <a:gd name="connsiteX348" fmla="*/ 502235 w 1064123"/>
              <a:gd name="connsiteY348" fmla="*/ 1063063 h 6407421"/>
              <a:gd name="connsiteX349" fmla="*/ 531838 w 1064123"/>
              <a:gd name="connsiteY349" fmla="*/ 1063063 h 6407421"/>
              <a:gd name="connsiteX350" fmla="*/ 531838 w 1064123"/>
              <a:gd name="connsiteY350" fmla="*/ 1092557 h 6407421"/>
              <a:gd name="connsiteX351" fmla="*/ 502235 w 1064123"/>
              <a:gd name="connsiteY351" fmla="*/ 1092557 h 6407421"/>
              <a:gd name="connsiteX352" fmla="*/ 236036 w 1064123"/>
              <a:gd name="connsiteY352" fmla="*/ 1063059 h 6407421"/>
              <a:gd name="connsiteX353" fmla="*/ 265639 w 1064123"/>
              <a:gd name="connsiteY353" fmla="*/ 1063059 h 6407421"/>
              <a:gd name="connsiteX354" fmla="*/ 265639 w 1064123"/>
              <a:gd name="connsiteY354" fmla="*/ 1092554 h 6407421"/>
              <a:gd name="connsiteX355" fmla="*/ 236036 w 1064123"/>
              <a:gd name="connsiteY355" fmla="*/ 1092554 h 6407421"/>
              <a:gd name="connsiteX356" fmla="*/ 0 w 1064123"/>
              <a:gd name="connsiteY356" fmla="*/ 1063059 h 6407421"/>
              <a:gd name="connsiteX357" fmla="*/ 29602 w 1064123"/>
              <a:gd name="connsiteY357" fmla="*/ 1063059 h 6407421"/>
              <a:gd name="connsiteX358" fmla="*/ 29602 w 1064123"/>
              <a:gd name="connsiteY358" fmla="*/ 1092554 h 6407421"/>
              <a:gd name="connsiteX359" fmla="*/ 0 w 1064123"/>
              <a:gd name="connsiteY359" fmla="*/ 1092554 h 6407421"/>
              <a:gd name="connsiteX360" fmla="*/ 1034520 w 1064123"/>
              <a:gd name="connsiteY360" fmla="*/ 797300 h 6407421"/>
              <a:gd name="connsiteX361" fmla="*/ 1064123 w 1064123"/>
              <a:gd name="connsiteY361" fmla="*/ 797300 h 6407421"/>
              <a:gd name="connsiteX362" fmla="*/ 1064123 w 1064123"/>
              <a:gd name="connsiteY362" fmla="*/ 826797 h 6407421"/>
              <a:gd name="connsiteX363" fmla="*/ 1034520 w 1064123"/>
              <a:gd name="connsiteY363" fmla="*/ 826797 h 6407421"/>
              <a:gd name="connsiteX364" fmla="*/ 768326 w 1064123"/>
              <a:gd name="connsiteY364" fmla="*/ 797298 h 6407421"/>
              <a:gd name="connsiteX365" fmla="*/ 797926 w 1064123"/>
              <a:gd name="connsiteY365" fmla="*/ 797298 h 6407421"/>
              <a:gd name="connsiteX366" fmla="*/ 797926 w 1064123"/>
              <a:gd name="connsiteY366" fmla="*/ 826794 h 6407421"/>
              <a:gd name="connsiteX367" fmla="*/ 768326 w 1064123"/>
              <a:gd name="connsiteY367" fmla="*/ 826794 h 6407421"/>
              <a:gd name="connsiteX368" fmla="*/ 502235 w 1064123"/>
              <a:gd name="connsiteY368" fmla="*/ 797296 h 6407421"/>
              <a:gd name="connsiteX369" fmla="*/ 531838 w 1064123"/>
              <a:gd name="connsiteY369" fmla="*/ 797296 h 6407421"/>
              <a:gd name="connsiteX370" fmla="*/ 531838 w 1064123"/>
              <a:gd name="connsiteY370" fmla="*/ 826792 h 6407421"/>
              <a:gd name="connsiteX371" fmla="*/ 502235 w 1064123"/>
              <a:gd name="connsiteY371" fmla="*/ 826792 h 6407421"/>
              <a:gd name="connsiteX372" fmla="*/ 236036 w 1064123"/>
              <a:gd name="connsiteY372" fmla="*/ 797294 h 6407421"/>
              <a:gd name="connsiteX373" fmla="*/ 265639 w 1064123"/>
              <a:gd name="connsiteY373" fmla="*/ 797294 h 6407421"/>
              <a:gd name="connsiteX374" fmla="*/ 265639 w 1064123"/>
              <a:gd name="connsiteY374" fmla="*/ 826789 h 6407421"/>
              <a:gd name="connsiteX375" fmla="*/ 236036 w 1064123"/>
              <a:gd name="connsiteY375" fmla="*/ 826789 h 6407421"/>
              <a:gd name="connsiteX376" fmla="*/ 0 w 1064123"/>
              <a:gd name="connsiteY376" fmla="*/ 797294 h 6407421"/>
              <a:gd name="connsiteX377" fmla="*/ 29602 w 1064123"/>
              <a:gd name="connsiteY377" fmla="*/ 797294 h 6407421"/>
              <a:gd name="connsiteX378" fmla="*/ 29602 w 1064123"/>
              <a:gd name="connsiteY378" fmla="*/ 826789 h 6407421"/>
              <a:gd name="connsiteX379" fmla="*/ 0 w 1064123"/>
              <a:gd name="connsiteY379" fmla="*/ 826789 h 6407421"/>
              <a:gd name="connsiteX380" fmla="*/ 1034520 w 1064123"/>
              <a:gd name="connsiteY380" fmla="*/ 531537 h 6407421"/>
              <a:gd name="connsiteX381" fmla="*/ 1064123 w 1064123"/>
              <a:gd name="connsiteY381" fmla="*/ 531537 h 6407421"/>
              <a:gd name="connsiteX382" fmla="*/ 1064123 w 1064123"/>
              <a:gd name="connsiteY382" fmla="*/ 561139 h 6407421"/>
              <a:gd name="connsiteX383" fmla="*/ 1034520 w 1064123"/>
              <a:gd name="connsiteY383" fmla="*/ 561139 h 6407421"/>
              <a:gd name="connsiteX384" fmla="*/ 768326 w 1064123"/>
              <a:gd name="connsiteY384" fmla="*/ 531534 h 6407421"/>
              <a:gd name="connsiteX385" fmla="*/ 797926 w 1064123"/>
              <a:gd name="connsiteY385" fmla="*/ 531534 h 6407421"/>
              <a:gd name="connsiteX386" fmla="*/ 797926 w 1064123"/>
              <a:gd name="connsiteY386" fmla="*/ 561137 h 6407421"/>
              <a:gd name="connsiteX387" fmla="*/ 768326 w 1064123"/>
              <a:gd name="connsiteY387" fmla="*/ 561137 h 6407421"/>
              <a:gd name="connsiteX388" fmla="*/ 502235 w 1064123"/>
              <a:gd name="connsiteY388" fmla="*/ 531532 h 6407421"/>
              <a:gd name="connsiteX389" fmla="*/ 531838 w 1064123"/>
              <a:gd name="connsiteY389" fmla="*/ 531532 h 6407421"/>
              <a:gd name="connsiteX390" fmla="*/ 531838 w 1064123"/>
              <a:gd name="connsiteY390" fmla="*/ 561135 h 6407421"/>
              <a:gd name="connsiteX391" fmla="*/ 502235 w 1064123"/>
              <a:gd name="connsiteY391" fmla="*/ 561135 h 6407421"/>
              <a:gd name="connsiteX392" fmla="*/ 236036 w 1064123"/>
              <a:gd name="connsiteY392" fmla="*/ 531530 h 6407421"/>
              <a:gd name="connsiteX393" fmla="*/ 265639 w 1064123"/>
              <a:gd name="connsiteY393" fmla="*/ 531530 h 6407421"/>
              <a:gd name="connsiteX394" fmla="*/ 265639 w 1064123"/>
              <a:gd name="connsiteY394" fmla="*/ 561133 h 6407421"/>
              <a:gd name="connsiteX395" fmla="*/ 236036 w 1064123"/>
              <a:gd name="connsiteY395" fmla="*/ 561133 h 6407421"/>
              <a:gd name="connsiteX396" fmla="*/ 0 w 1064123"/>
              <a:gd name="connsiteY396" fmla="*/ 531530 h 6407421"/>
              <a:gd name="connsiteX397" fmla="*/ 29602 w 1064123"/>
              <a:gd name="connsiteY397" fmla="*/ 531530 h 6407421"/>
              <a:gd name="connsiteX398" fmla="*/ 29602 w 1064123"/>
              <a:gd name="connsiteY398" fmla="*/ 561133 h 6407421"/>
              <a:gd name="connsiteX399" fmla="*/ 0 w 1064123"/>
              <a:gd name="connsiteY399" fmla="*/ 561133 h 6407421"/>
              <a:gd name="connsiteX400" fmla="*/ 1034520 w 1064123"/>
              <a:gd name="connsiteY400" fmla="*/ 265772 h 6407421"/>
              <a:gd name="connsiteX401" fmla="*/ 1064123 w 1064123"/>
              <a:gd name="connsiteY401" fmla="*/ 265772 h 6407421"/>
              <a:gd name="connsiteX402" fmla="*/ 1064123 w 1064123"/>
              <a:gd name="connsiteY402" fmla="*/ 295374 h 6407421"/>
              <a:gd name="connsiteX403" fmla="*/ 1034520 w 1064123"/>
              <a:gd name="connsiteY403" fmla="*/ 295374 h 6407421"/>
              <a:gd name="connsiteX404" fmla="*/ 768326 w 1064123"/>
              <a:gd name="connsiteY404" fmla="*/ 265770 h 6407421"/>
              <a:gd name="connsiteX405" fmla="*/ 797926 w 1064123"/>
              <a:gd name="connsiteY405" fmla="*/ 265770 h 6407421"/>
              <a:gd name="connsiteX406" fmla="*/ 797926 w 1064123"/>
              <a:gd name="connsiteY406" fmla="*/ 295372 h 6407421"/>
              <a:gd name="connsiteX407" fmla="*/ 768326 w 1064123"/>
              <a:gd name="connsiteY407" fmla="*/ 295372 h 6407421"/>
              <a:gd name="connsiteX408" fmla="*/ 502235 w 1064123"/>
              <a:gd name="connsiteY408" fmla="*/ 265767 h 6407421"/>
              <a:gd name="connsiteX409" fmla="*/ 531838 w 1064123"/>
              <a:gd name="connsiteY409" fmla="*/ 265767 h 6407421"/>
              <a:gd name="connsiteX410" fmla="*/ 531838 w 1064123"/>
              <a:gd name="connsiteY410" fmla="*/ 295370 h 6407421"/>
              <a:gd name="connsiteX411" fmla="*/ 502235 w 1064123"/>
              <a:gd name="connsiteY411" fmla="*/ 295370 h 6407421"/>
              <a:gd name="connsiteX412" fmla="*/ 236036 w 1064123"/>
              <a:gd name="connsiteY412" fmla="*/ 265765 h 6407421"/>
              <a:gd name="connsiteX413" fmla="*/ 265639 w 1064123"/>
              <a:gd name="connsiteY413" fmla="*/ 265765 h 6407421"/>
              <a:gd name="connsiteX414" fmla="*/ 265639 w 1064123"/>
              <a:gd name="connsiteY414" fmla="*/ 295368 h 6407421"/>
              <a:gd name="connsiteX415" fmla="*/ 236036 w 1064123"/>
              <a:gd name="connsiteY415" fmla="*/ 295368 h 6407421"/>
              <a:gd name="connsiteX416" fmla="*/ 0 w 1064123"/>
              <a:gd name="connsiteY416" fmla="*/ 265765 h 6407421"/>
              <a:gd name="connsiteX417" fmla="*/ 29602 w 1064123"/>
              <a:gd name="connsiteY417" fmla="*/ 265765 h 6407421"/>
              <a:gd name="connsiteX418" fmla="*/ 29602 w 1064123"/>
              <a:gd name="connsiteY418" fmla="*/ 295368 h 6407421"/>
              <a:gd name="connsiteX419" fmla="*/ 0 w 1064123"/>
              <a:gd name="connsiteY419" fmla="*/ 295368 h 6407421"/>
              <a:gd name="connsiteX420" fmla="*/ 1034520 w 1064123"/>
              <a:gd name="connsiteY420" fmla="*/ 7 h 6407421"/>
              <a:gd name="connsiteX421" fmla="*/ 1064123 w 1064123"/>
              <a:gd name="connsiteY421" fmla="*/ 7 h 6407421"/>
              <a:gd name="connsiteX422" fmla="*/ 1064123 w 1064123"/>
              <a:gd name="connsiteY422" fmla="*/ 29609 h 6407421"/>
              <a:gd name="connsiteX423" fmla="*/ 1034520 w 1064123"/>
              <a:gd name="connsiteY423" fmla="*/ 29609 h 6407421"/>
              <a:gd name="connsiteX424" fmla="*/ 768326 w 1064123"/>
              <a:gd name="connsiteY424" fmla="*/ 5 h 6407421"/>
              <a:gd name="connsiteX425" fmla="*/ 797926 w 1064123"/>
              <a:gd name="connsiteY425" fmla="*/ 5 h 6407421"/>
              <a:gd name="connsiteX426" fmla="*/ 797926 w 1064123"/>
              <a:gd name="connsiteY426" fmla="*/ 29607 h 6407421"/>
              <a:gd name="connsiteX427" fmla="*/ 768326 w 1064123"/>
              <a:gd name="connsiteY427" fmla="*/ 29607 h 6407421"/>
              <a:gd name="connsiteX428" fmla="*/ 502235 w 1064123"/>
              <a:gd name="connsiteY428" fmla="*/ 2 h 6407421"/>
              <a:gd name="connsiteX429" fmla="*/ 531838 w 1064123"/>
              <a:gd name="connsiteY429" fmla="*/ 2 h 6407421"/>
              <a:gd name="connsiteX430" fmla="*/ 531838 w 1064123"/>
              <a:gd name="connsiteY430" fmla="*/ 29605 h 6407421"/>
              <a:gd name="connsiteX431" fmla="*/ 502235 w 1064123"/>
              <a:gd name="connsiteY431" fmla="*/ 29605 h 6407421"/>
              <a:gd name="connsiteX432" fmla="*/ 236036 w 1064123"/>
              <a:gd name="connsiteY432" fmla="*/ 0 h 6407421"/>
              <a:gd name="connsiteX433" fmla="*/ 265638 w 1064123"/>
              <a:gd name="connsiteY433" fmla="*/ 0 h 6407421"/>
              <a:gd name="connsiteX434" fmla="*/ 265638 w 1064123"/>
              <a:gd name="connsiteY434" fmla="*/ 29602 h 6407421"/>
              <a:gd name="connsiteX435" fmla="*/ 236036 w 1064123"/>
              <a:gd name="connsiteY435" fmla="*/ 29602 h 6407421"/>
              <a:gd name="connsiteX436" fmla="*/ 0 w 1064123"/>
              <a:gd name="connsiteY436" fmla="*/ 0 h 6407421"/>
              <a:gd name="connsiteX437" fmla="*/ 29602 w 1064123"/>
              <a:gd name="connsiteY437" fmla="*/ 0 h 6407421"/>
              <a:gd name="connsiteX438" fmla="*/ 29602 w 1064123"/>
              <a:gd name="connsiteY438" fmla="*/ 29602 h 6407421"/>
              <a:gd name="connsiteX439" fmla="*/ 0 w 1064123"/>
              <a:gd name="connsiteY43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20000"/>
            </a:schemeClr>
          </a:solidFill>
          <a:ln w="10797" cap="flat">
            <a:noFill/>
            <a:prstDash val="solid"/>
            <a:miter/>
          </a:ln>
        </p:spPr>
        <p:txBody>
          <a:bodyPr wrap="square" rtlCol="0" anchor="ctr">
            <a:noAutofit/>
          </a:bodyPr>
          <a:lstStyle/>
          <a:p>
            <a:endParaRPr lang="en-US"/>
          </a:p>
        </p:txBody>
      </p:sp>
      <p:grpSp>
        <p:nvGrpSpPr>
          <p:cNvPr id="65" name="Group 64">
            <a:extLst>
              <a:ext uri="{FF2B5EF4-FFF2-40B4-BE49-F238E27FC236}">
                <a16:creationId xmlns:a16="http://schemas.microsoft.com/office/drawing/2014/main" id="{0DBFD993-DD6E-4B3F-9A6E-B7933F79299E}"/>
              </a:ext>
            </a:extLst>
          </p:cNvPr>
          <p:cNvGrpSpPr/>
          <p:nvPr userDrawn="1"/>
        </p:nvGrpSpPr>
        <p:grpSpPr>
          <a:xfrm>
            <a:off x="-3221" y="0"/>
            <a:ext cx="1570603" cy="6342667"/>
            <a:chOff x="-3221" y="0"/>
            <a:chExt cx="1570603" cy="6342667"/>
          </a:xfrm>
        </p:grpSpPr>
        <p:sp>
          <p:nvSpPr>
            <p:cNvPr id="66" name="Freeform: Shape 41">
              <a:extLst>
                <a:ext uri="{FF2B5EF4-FFF2-40B4-BE49-F238E27FC236}">
                  <a16:creationId xmlns:a16="http://schemas.microsoft.com/office/drawing/2014/main" id="{0588EF54-9BB3-4429-BAC1-E1847B4484B4}"/>
                </a:ext>
              </a:extLst>
            </p:cNvPr>
            <p:cNvSpPr txBox="1">
              <a:spLocks/>
            </p:cNvSpPr>
            <p:nvPr/>
          </p:nvSpPr>
          <p:spPr>
            <a:xfrm>
              <a:off x="771720" y="1305465"/>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67" name="Freeform: Shape 42">
              <a:extLst>
                <a:ext uri="{FF2B5EF4-FFF2-40B4-BE49-F238E27FC236}">
                  <a16:creationId xmlns:a16="http://schemas.microsoft.com/office/drawing/2014/main" id="{21E0E6CA-6A9D-4569-BC93-704DC69FEE2C}"/>
                </a:ext>
              </a:extLst>
            </p:cNvPr>
            <p:cNvSpPr txBox="1">
              <a:spLocks/>
            </p:cNvSpPr>
            <p:nvPr/>
          </p:nvSpPr>
          <p:spPr>
            <a:xfrm rot="16200000">
              <a:off x="653257" y="1982983"/>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68" name="Freeform: Shape 81">
              <a:extLst>
                <a:ext uri="{FF2B5EF4-FFF2-40B4-BE49-F238E27FC236}">
                  <a16:creationId xmlns:a16="http://schemas.microsoft.com/office/drawing/2014/main" id="{9D722FA0-DCDF-4702-9787-DB2DD115F74C}"/>
                </a:ext>
              </a:extLst>
            </p:cNvPr>
            <p:cNvSpPr txBox="1">
              <a:spLocks/>
            </p:cNvSpPr>
            <p:nvPr/>
          </p:nvSpPr>
          <p:spPr>
            <a:xfrm rot="5400000">
              <a:off x="522214" y="5297589"/>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69" name="Freeform: Shape 41">
              <a:extLst>
                <a:ext uri="{FF2B5EF4-FFF2-40B4-BE49-F238E27FC236}">
                  <a16:creationId xmlns:a16="http://schemas.microsoft.com/office/drawing/2014/main" id="{D81DC9BC-E321-481F-B873-E490F6441D38}"/>
                </a:ext>
              </a:extLst>
            </p:cNvPr>
            <p:cNvSpPr txBox="1">
              <a:spLocks/>
            </p:cNvSpPr>
            <p:nvPr/>
          </p:nvSpPr>
          <p:spPr>
            <a:xfrm>
              <a:off x="253539" y="422329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70" name="Freeform: Shape 81">
              <a:extLst>
                <a:ext uri="{FF2B5EF4-FFF2-40B4-BE49-F238E27FC236}">
                  <a16:creationId xmlns:a16="http://schemas.microsoft.com/office/drawing/2014/main" id="{3E9C190A-9D40-4775-A772-2B1EC3EF7EB6}"/>
                </a:ext>
              </a:extLst>
            </p:cNvPr>
            <p:cNvSpPr txBox="1">
              <a:spLocks/>
            </p:cNvSpPr>
            <p:nvPr/>
          </p:nvSpPr>
          <p:spPr>
            <a:xfrm rot="16200000">
              <a:off x="11410" y="-14631"/>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pic>
        <p:nvPicPr>
          <p:cNvPr id="71" name="Picture 70">
            <a:extLst>
              <a:ext uri="{FF2B5EF4-FFF2-40B4-BE49-F238E27FC236}">
                <a16:creationId xmlns:a16="http://schemas.microsoft.com/office/drawing/2014/main" id="{1D864C1A-5EF6-47AB-94CB-B5953CA8D396}"/>
              </a:ext>
            </a:extLst>
          </p:cNvPr>
          <p:cNvPicPr>
            <a:picLocks noChangeAspect="1"/>
          </p:cNvPicPr>
          <p:nvPr userDrawn="1"/>
        </p:nvPicPr>
        <p:blipFill>
          <a:blip r:embed="rId2"/>
          <a:srcRect/>
          <a:stretch/>
        </p:blipFill>
        <p:spPr>
          <a:xfrm>
            <a:off x="260487" y="3152155"/>
            <a:ext cx="1053566" cy="542008"/>
          </a:xfrm>
          <a:prstGeom prst="rect">
            <a:avLst/>
          </a:prstGeom>
        </p:spPr>
      </p:pic>
    </p:spTree>
    <p:extLst>
      <p:ext uri="{BB962C8B-B14F-4D97-AF65-F5344CB8AC3E}">
        <p14:creationId xmlns:p14="http://schemas.microsoft.com/office/powerpoint/2010/main" val="318272649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 Grid Light Custom">
    <p:bg>
      <p:bgPr>
        <a:solidFill>
          <a:schemeClr val="bg2"/>
        </a:solidFill>
        <a:effectLst/>
      </p:bgPr>
    </p:bg>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B1F489D9-4FF2-4CFC-BC6C-A0ECFAC4F91D}"/>
              </a:ext>
            </a:extLst>
          </p:cNvPr>
          <p:cNvSpPr/>
          <p:nvPr userDrawn="1"/>
        </p:nvSpPr>
        <p:spPr>
          <a:xfrm>
            <a:off x="5811940" y="222349"/>
            <a:ext cx="6142647" cy="6407421"/>
          </a:xfrm>
          <a:custGeom>
            <a:avLst/>
            <a:gdLst>
              <a:gd name="connsiteX0" fmla="*/ 6113045 w 6142647"/>
              <a:gd name="connsiteY0" fmla="*/ 6377925 h 6407421"/>
              <a:gd name="connsiteX1" fmla="*/ 6142647 w 6142647"/>
              <a:gd name="connsiteY1" fmla="*/ 6377925 h 6407421"/>
              <a:gd name="connsiteX2" fmla="*/ 6142647 w 6142647"/>
              <a:gd name="connsiteY2" fmla="*/ 6407421 h 6407421"/>
              <a:gd name="connsiteX3" fmla="*/ 6113045 w 6142647"/>
              <a:gd name="connsiteY3" fmla="*/ 6407421 h 6407421"/>
              <a:gd name="connsiteX4" fmla="*/ 5846848 w 6142647"/>
              <a:gd name="connsiteY4" fmla="*/ 6377925 h 6407421"/>
              <a:gd name="connsiteX5" fmla="*/ 5876450 w 6142647"/>
              <a:gd name="connsiteY5" fmla="*/ 6377925 h 6407421"/>
              <a:gd name="connsiteX6" fmla="*/ 5876450 w 6142647"/>
              <a:gd name="connsiteY6" fmla="*/ 6407421 h 6407421"/>
              <a:gd name="connsiteX7" fmla="*/ 5846848 w 6142647"/>
              <a:gd name="connsiteY7" fmla="*/ 6407421 h 6407421"/>
              <a:gd name="connsiteX8" fmla="*/ 5580759 w 6142647"/>
              <a:gd name="connsiteY8" fmla="*/ 6377925 h 6407421"/>
              <a:gd name="connsiteX9" fmla="*/ 5610361 w 6142647"/>
              <a:gd name="connsiteY9" fmla="*/ 6377925 h 6407421"/>
              <a:gd name="connsiteX10" fmla="*/ 5610361 w 6142647"/>
              <a:gd name="connsiteY10" fmla="*/ 6407421 h 6407421"/>
              <a:gd name="connsiteX11" fmla="*/ 5580759 w 6142647"/>
              <a:gd name="connsiteY11" fmla="*/ 6407421 h 6407421"/>
              <a:gd name="connsiteX12" fmla="*/ 5314562 w 6142647"/>
              <a:gd name="connsiteY12" fmla="*/ 6377925 h 6407421"/>
              <a:gd name="connsiteX13" fmla="*/ 5344164 w 6142647"/>
              <a:gd name="connsiteY13" fmla="*/ 6377925 h 6407421"/>
              <a:gd name="connsiteX14" fmla="*/ 5344164 w 6142647"/>
              <a:gd name="connsiteY14" fmla="*/ 6407421 h 6407421"/>
              <a:gd name="connsiteX15" fmla="*/ 5314562 w 6142647"/>
              <a:gd name="connsiteY15" fmla="*/ 6407421 h 6407421"/>
              <a:gd name="connsiteX16" fmla="*/ 5048365 w 6142647"/>
              <a:gd name="connsiteY16" fmla="*/ 6377925 h 6407421"/>
              <a:gd name="connsiteX17" fmla="*/ 5078075 w 6142647"/>
              <a:gd name="connsiteY17" fmla="*/ 6377925 h 6407421"/>
              <a:gd name="connsiteX18" fmla="*/ 5078075 w 6142647"/>
              <a:gd name="connsiteY18" fmla="*/ 6407421 h 6407421"/>
              <a:gd name="connsiteX19" fmla="*/ 5048365 w 6142647"/>
              <a:gd name="connsiteY19" fmla="*/ 6407421 h 6407421"/>
              <a:gd name="connsiteX20" fmla="*/ 4782276 w 6142647"/>
              <a:gd name="connsiteY20" fmla="*/ 6377925 h 6407421"/>
              <a:gd name="connsiteX21" fmla="*/ 4811879 w 6142647"/>
              <a:gd name="connsiteY21" fmla="*/ 6377925 h 6407421"/>
              <a:gd name="connsiteX22" fmla="*/ 4811879 w 6142647"/>
              <a:gd name="connsiteY22" fmla="*/ 6407421 h 6407421"/>
              <a:gd name="connsiteX23" fmla="*/ 4782276 w 6142647"/>
              <a:gd name="connsiteY23" fmla="*/ 6407421 h 6407421"/>
              <a:gd name="connsiteX24" fmla="*/ 4516079 w 6142647"/>
              <a:gd name="connsiteY24" fmla="*/ 6377925 h 6407421"/>
              <a:gd name="connsiteX25" fmla="*/ 4545681 w 6142647"/>
              <a:gd name="connsiteY25" fmla="*/ 6377925 h 6407421"/>
              <a:gd name="connsiteX26" fmla="*/ 4545681 w 6142647"/>
              <a:gd name="connsiteY26" fmla="*/ 6407421 h 6407421"/>
              <a:gd name="connsiteX27" fmla="*/ 4516079 w 6142647"/>
              <a:gd name="connsiteY27" fmla="*/ 6407421 h 6407421"/>
              <a:gd name="connsiteX28" fmla="*/ 4249990 w 6142647"/>
              <a:gd name="connsiteY28" fmla="*/ 6377925 h 6407421"/>
              <a:gd name="connsiteX29" fmla="*/ 4279592 w 6142647"/>
              <a:gd name="connsiteY29" fmla="*/ 6377925 h 6407421"/>
              <a:gd name="connsiteX30" fmla="*/ 4279592 w 6142647"/>
              <a:gd name="connsiteY30" fmla="*/ 6407421 h 6407421"/>
              <a:gd name="connsiteX31" fmla="*/ 4249990 w 6142647"/>
              <a:gd name="connsiteY31" fmla="*/ 6407421 h 6407421"/>
              <a:gd name="connsiteX32" fmla="*/ 3983793 w 6142647"/>
              <a:gd name="connsiteY32" fmla="*/ 6377925 h 6407421"/>
              <a:gd name="connsiteX33" fmla="*/ 4013396 w 6142647"/>
              <a:gd name="connsiteY33" fmla="*/ 6377925 h 6407421"/>
              <a:gd name="connsiteX34" fmla="*/ 4013396 w 6142647"/>
              <a:gd name="connsiteY34" fmla="*/ 6407421 h 6407421"/>
              <a:gd name="connsiteX35" fmla="*/ 3983793 w 6142647"/>
              <a:gd name="connsiteY35" fmla="*/ 6407421 h 6407421"/>
              <a:gd name="connsiteX36" fmla="*/ 3717704 w 6142647"/>
              <a:gd name="connsiteY36" fmla="*/ 6377925 h 6407421"/>
              <a:gd name="connsiteX37" fmla="*/ 3747307 w 6142647"/>
              <a:gd name="connsiteY37" fmla="*/ 6377925 h 6407421"/>
              <a:gd name="connsiteX38" fmla="*/ 3747307 w 6142647"/>
              <a:gd name="connsiteY38" fmla="*/ 6407421 h 6407421"/>
              <a:gd name="connsiteX39" fmla="*/ 3717704 w 6142647"/>
              <a:gd name="connsiteY39" fmla="*/ 6407421 h 6407421"/>
              <a:gd name="connsiteX40" fmla="*/ 3451507 w 6142647"/>
              <a:gd name="connsiteY40" fmla="*/ 6377925 h 6407421"/>
              <a:gd name="connsiteX41" fmla="*/ 3481109 w 6142647"/>
              <a:gd name="connsiteY41" fmla="*/ 6377925 h 6407421"/>
              <a:gd name="connsiteX42" fmla="*/ 3481109 w 6142647"/>
              <a:gd name="connsiteY42" fmla="*/ 6407421 h 6407421"/>
              <a:gd name="connsiteX43" fmla="*/ 3451507 w 6142647"/>
              <a:gd name="connsiteY43" fmla="*/ 6407421 h 6407421"/>
              <a:gd name="connsiteX44" fmla="*/ 3185310 w 6142647"/>
              <a:gd name="connsiteY44" fmla="*/ 6377925 h 6407421"/>
              <a:gd name="connsiteX45" fmla="*/ 3214913 w 6142647"/>
              <a:gd name="connsiteY45" fmla="*/ 6377925 h 6407421"/>
              <a:gd name="connsiteX46" fmla="*/ 3214913 w 6142647"/>
              <a:gd name="connsiteY46" fmla="*/ 6407421 h 6407421"/>
              <a:gd name="connsiteX47" fmla="*/ 3185310 w 6142647"/>
              <a:gd name="connsiteY47" fmla="*/ 6407421 h 6407421"/>
              <a:gd name="connsiteX48" fmla="*/ 2919113 w 6142647"/>
              <a:gd name="connsiteY48" fmla="*/ 6377925 h 6407421"/>
              <a:gd name="connsiteX49" fmla="*/ 2948715 w 6142647"/>
              <a:gd name="connsiteY49" fmla="*/ 6377925 h 6407421"/>
              <a:gd name="connsiteX50" fmla="*/ 2948715 w 6142647"/>
              <a:gd name="connsiteY50" fmla="*/ 6407421 h 6407421"/>
              <a:gd name="connsiteX51" fmla="*/ 2919113 w 6142647"/>
              <a:gd name="connsiteY51" fmla="*/ 6407421 h 6407421"/>
              <a:gd name="connsiteX52" fmla="*/ 2653024 w 6142647"/>
              <a:gd name="connsiteY52" fmla="*/ 6377925 h 6407421"/>
              <a:gd name="connsiteX53" fmla="*/ 2682627 w 6142647"/>
              <a:gd name="connsiteY53" fmla="*/ 6377925 h 6407421"/>
              <a:gd name="connsiteX54" fmla="*/ 2682627 w 6142647"/>
              <a:gd name="connsiteY54" fmla="*/ 6407421 h 6407421"/>
              <a:gd name="connsiteX55" fmla="*/ 2653024 w 6142647"/>
              <a:gd name="connsiteY55" fmla="*/ 6407421 h 6407421"/>
              <a:gd name="connsiteX56" fmla="*/ 2386827 w 6142647"/>
              <a:gd name="connsiteY56" fmla="*/ 6377925 h 6407421"/>
              <a:gd name="connsiteX57" fmla="*/ 2416430 w 6142647"/>
              <a:gd name="connsiteY57" fmla="*/ 6377925 h 6407421"/>
              <a:gd name="connsiteX58" fmla="*/ 2416430 w 6142647"/>
              <a:gd name="connsiteY58" fmla="*/ 6407421 h 6407421"/>
              <a:gd name="connsiteX59" fmla="*/ 2386827 w 6142647"/>
              <a:gd name="connsiteY59" fmla="*/ 6407421 h 6407421"/>
              <a:gd name="connsiteX60" fmla="*/ 2120630 w 6142647"/>
              <a:gd name="connsiteY60" fmla="*/ 6377925 h 6407421"/>
              <a:gd name="connsiteX61" fmla="*/ 2150233 w 6142647"/>
              <a:gd name="connsiteY61" fmla="*/ 6377925 h 6407421"/>
              <a:gd name="connsiteX62" fmla="*/ 2150233 w 6142647"/>
              <a:gd name="connsiteY62" fmla="*/ 6407421 h 6407421"/>
              <a:gd name="connsiteX63" fmla="*/ 2120630 w 6142647"/>
              <a:gd name="connsiteY63" fmla="*/ 6407421 h 6407421"/>
              <a:gd name="connsiteX64" fmla="*/ 1854540 w 6142647"/>
              <a:gd name="connsiteY64" fmla="*/ 6377925 h 6407421"/>
              <a:gd name="connsiteX65" fmla="*/ 1884143 w 6142647"/>
              <a:gd name="connsiteY65" fmla="*/ 6377925 h 6407421"/>
              <a:gd name="connsiteX66" fmla="*/ 1884143 w 6142647"/>
              <a:gd name="connsiteY66" fmla="*/ 6407421 h 6407421"/>
              <a:gd name="connsiteX67" fmla="*/ 1854540 w 6142647"/>
              <a:gd name="connsiteY67" fmla="*/ 6407421 h 6407421"/>
              <a:gd name="connsiteX68" fmla="*/ 1588343 w 6142647"/>
              <a:gd name="connsiteY68" fmla="*/ 6377925 h 6407421"/>
              <a:gd name="connsiteX69" fmla="*/ 1617945 w 6142647"/>
              <a:gd name="connsiteY69" fmla="*/ 6377925 h 6407421"/>
              <a:gd name="connsiteX70" fmla="*/ 1617945 w 6142647"/>
              <a:gd name="connsiteY70" fmla="*/ 6407421 h 6407421"/>
              <a:gd name="connsiteX71" fmla="*/ 1588343 w 6142647"/>
              <a:gd name="connsiteY71" fmla="*/ 6407421 h 6407421"/>
              <a:gd name="connsiteX72" fmla="*/ 1322254 w 6142647"/>
              <a:gd name="connsiteY72" fmla="*/ 6377925 h 6407421"/>
              <a:gd name="connsiteX73" fmla="*/ 1351857 w 6142647"/>
              <a:gd name="connsiteY73" fmla="*/ 6377925 h 6407421"/>
              <a:gd name="connsiteX74" fmla="*/ 1351857 w 6142647"/>
              <a:gd name="connsiteY74" fmla="*/ 6407421 h 6407421"/>
              <a:gd name="connsiteX75" fmla="*/ 1322254 w 6142647"/>
              <a:gd name="connsiteY75" fmla="*/ 6407421 h 6407421"/>
              <a:gd name="connsiteX76" fmla="*/ 1056057 w 6142647"/>
              <a:gd name="connsiteY76" fmla="*/ 6377925 h 6407421"/>
              <a:gd name="connsiteX77" fmla="*/ 1085660 w 6142647"/>
              <a:gd name="connsiteY77" fmla="*/ 6377925 h 6407421"/>
              <a:gd name="connsiteX78" fmla="*/ 1085660 w 6142647"/>
              <a:gd name="connsiteY78" fmla="*/ 6407421 h 6407421"/>
              <a:gd name="connsiteX79" fmla="*/ 1056057 w 6142647"/>
              <a:gd name="connsiteY79" fmla="*/ 6407421 h 6407421"/>
              <a:gd name="connsiteX80" fmla="*/ 789968 w 6142647"/>
              <a:gd name="connsiteY80" fmla="*/ 6377925 h 6407421"/>
              <a:gd name="connsiteX81" fmla="*/ 819570 w 6142647"/>
              <a:gd name="connsiteY81" fmla="*/ 6377925 h 6407421"/>
              <a:gd name="connsiteX82" fmla="*/ 819570 w 6142647"/>
              <a:gd name="connsiteY82" fmla="*/ 6407421 h 6407421"/>
              <a:gd name="connsiteX83" fmla="*/ 789968 w 6142647"/>
              <a:gd name="connsiteY83" fmla="*/ 6407421 h 6407421"/>
              <a:gd name="connsiteX84" fmla="*/ 523771 w 6142647"/>
              <a:gd name="connsiteY84" fmla="*/ 6377925 h 6407421"/>
              <a:gd name="connsiteX85" fmla="*/ 553373 w 6142647"/>
              <a:gd name="connsiteY85" fmla="*/ 6377925 h 6407421"/>
              <a:gd name="connsiteX86" fmla="*/ 553373 w 6142647"/>
              <a:gd name="connsiteY86" fmla="*/ 6407421 h 6407421"/>
              <a:gd name="connsiteX87" fmla="*/ 523771 w 6142647"/>
              <a:gd name="connsiteY87" fmla="*/ 6407421 h 6407421"/>
              <a:gd name="connsiteX88" fmla="*/ 266197 w 6142647"/>
              <a:gd name="connsiteY88" fmla="*/ 6377925 h 6407421"/>
              <a:gd name="connsiteX89" fmla="*/ 295800 w 6142647"/>
              <a:gd name="connsiteY89" fmla="*/ 6377925 h 6407421"/>
              <a:gd name="connsiteX90" fmla="*/ 295800 w 6142647"/>
              <a:gd name="connsiteY90" fmla="*/ 6407421 h 6407421"/>
              <a:gd name="connsiteX91" fmla="*/ 266197 w 6142647"/>
              <a:gd name="connsiteY91" fmla="*/ 6407421 h 6407421"/>
              <a:gd name="connsiteX92" fmla="*/ 0 w 6142647"/>
              <a:gd name="connsiteY92" fmla="*/ 6377925 h 6407421"/>
              <a:gd name="connsiteX93" fmla="*/ 29602 w 6142647"/>
              <a:gd name="connsiteY93" fmla="*/ 6377925 h 6407421"/>
              <a:gd name="connsiteX94" fmla="*/ 29602 w 6142647"/>
              <a:gd name="connsiteY94" fmla="*/ 6407421 h 6407421"/>
              <a:gd name="connsiteX95" fmla="*/ 0 w 6142647"/>
              <a:gd name="connsiteY95" fmla="*/ 6407421 h 6407421"/>
              <a:gd name="connsiteX96" fmla="*/ 6113045 w 6142647"/>
              <a:gd name="connsiteY96" fmla="*/ 6112161 h 6407421"/>
              <a:gd name="connsiteX97" fmla="*/ 6142647 w 6142647"/>
              <a:gd name="connsiteY97" fmla="*/ 6112161 h 6407421"/>
              <a:gd name="connsiteX98" fmla="*/ 6142647 w 6142647"/>
              <a:gd name="connsiteY98" fmla="*/ 6141763 h 6407421"/>
              <a:gd name="connsiteX99" fmla="*/ 6113045 w 6142647"/>
              <a:gd name="connsiteY99" fmla="*/ 6141763 h 6407421"/>
              <a:gd name="connsiteX100" fmla="*/ 5846848 w 6142647"/>
              <a:gd name="connsiteY100" fmla="*/ 6112161 h 6407421"/>
              <a:gd name="connsiteX101" fmla="*/ 5876450 w 6142647"/>
              <a:gd name="connsiteY101" fmla="*/ 6112161 h 6407421"/>
              <a:gd name="connsiteX102" fmla="*/ 5876450 w 6142647"/>
              <a:gd name="connsiteY102" fmla="*/ 6141763 h 6407421"/>
              <a:gd name="connsiteX103" fmla="*/ 5846848 w 6142647"/>
              <a:gd name="connsiteY103" fmla="*/ 6141763 h 6407421"/>
              <a:gd name="connsiteX104" fmla="*/ 5580759 w 6142647"/>
              <a:gd name="connsiteY104" fmla="*/ 6112161 h 6407421"/>
              <a:gd name="connsiteX105" fmla="*/ 5610361 w 6142647"/>
              <a:gd name="connsiteY105" fmla="*/ 6112161 h 6407421"/>
              <a:gd name="connsiteX106" fmla="*/ 5610361 w 6142647"/>
              <a:gd name="connsiteY106" fmla="*/ 6141763 h 6407421"/>
              <a:gd name="connsiteX107" fmla="*/ 5580759 w 6142647"/>
              <a:gd name="connsiteY107" fmla="*/ 6141763 h 6407421"/>
              <a:gd name="connsiteX108" fmla="*/ 5314562 w 6142647"/>
              <a:gd name="connsiteY108" fmla="*/ 6112161 h 6407421"/>
              <a:gd name="connsiteX109" fmla="*/ 5344164 w 6142647"/>
              <a:gd name="connsiteY109" fmla="*/ 6112161 h 6407421"/>
              <a:gd name="connsiteX110" fmla="*/ 5344164 w 6142647"/>
              <a:gd name="connsiteY110" fmla="*/ 6141763 h 6407421"/>
              <a:gd name="connsiteX111" fmla="*/ 5314562 w 6142647"/>
              <a:gd name="connsiteY111" fmla="*/ 6141763 h 6407421"/>
              <a:gd name="connsiteX112" fmla="*/ 5048365 w 6142647"/>
              <a:gd name="connsiteY112" fmla="*/ 6112161 h 6407421"/>
              <a:gd name="connsiteX113" fmla="*/ 5078075 w 6142647"/>
              <a:gd name="connsiteY113" fmla="*/ 6112161 h 6407421"/>
              <a:gd name="connsiteX114" fmla="*/ 5078075 w 6142647"/>
              <a:gd name="connsiteY114" fmla="*/ 6141763 h 6407421"/>
              <a:gd name="connsiteX115" fmla="*/ 5048365 w 6142647"/>
              <a:gd name="connsiteY115" fmla="*/ 6141763 h 6407421"/>
              <a:gd name="connsiteX116" fmla="*/ 4782276 w 6142647"/>
              <a:gd name="connsiteY116" fmla="*/ 6112161 h 6407421"/>
              <a:gd name="connsiteX117" fmla="*/ 4811879 w 6142647"/>
              <a:gd name="connsiteY117" fmla="*/ 6112161 h 6407421"/>
              <a:gd name="connsiteX118" fmla="*/ 4811879 w 6142647"/>
              <a:gd name="connsiteY118" fmla="*/ 6141763 h 6407421"/>
              <a:gd name="connsiteX119" fmla="*/ 4782276 w 6142647"/>
              <a:gd name="connsiteY119" fmla="*/ 6141763 h 6407421"/>
              <a:gd name="connsiteX120" fmla="*/ 4516079 w 6142647"/>
              <a:gd name="connsiteY120" fmla="*/ 6112161 h 6407421"/>
              <a:gd name="connsiteX121" fmla="*/ 4545681 w 6142647"/>
              <a:gd name="connsiteY121" fmla="*/ 6112161 h 6407421"/>
              <a:gd name="connsiteX122" fmla="*/ 4545681 w 6142647"/>
              <a:gd name="connsiteY122" fmla="*/ 6141763 h 6407421"/>
              <a:gd name="connsiteX123" fmla="*/ 4516079 w 6142647"/>
              <a:gd name="connsiteY123" fmla="*/ 6141763 h 6407421"/>
              <a:gd name="connsiteX124" fmla="*/ 4249990 w 6142647"/>
              <a:gd name="connsiteY124" fmla="*/ 6112161 h 6407421"/>
              <a:gd name="connsiteX125" fmla="*/ 4279592 w 6142647"/>
              <a:gd name="connsiteY125" fmla="*/ 6112161 h 6407421"/>
              <a:gd name="connsiteX126" fmla="*/ 4279592 w 6142647"/>
              <a:gd name="connsiteY126" fmla="*/ 6141763 h 6407421"/>
              <a:gd name="connsiteX127" fmla="*/ 4249990 w 6142647"/>
              <a:gd name="connsiteY127" fmla="*/ 6141763 h 6407421"/>
              <a:gd name="connsiteX128" fmla="*/ 3983793 w 6142647"/>
              <a:gd name="connsiteY128" fmla="*/ 6112161 h 6407421"/>
              <a:gd name="connsiteX129" fmla="*/ 4013396 w 6142647"/>
              <a:gd name="connsiteY129" fmla="*/ 6112161 h 6407421"/>
              <a:gd name="connsiteX130" fmla="*/ 4013396 w 6142647"/>
              <a:gd name="connsiteY130" fmla="*/ 6141763 h 6407421"/>
              <a:gd name="connsiteX131" fmla="*/ 3983793 w 6142647"/>
              <a:gd name="connsiteY131" fmla="*/ 6141763 h 6407421"/>
              <a:gd name="connsiteX132" fmla="*/ 3717704 w 6142647"/>
              <a:gd name="connsiteY132" fmla="*/ 6112161 h 6407421"/>
              <a:gd name="connsiteX133" fmla="*/ 3747307 w 6142647"/>
              <a:gd name="connsiteY133" fmla="*/ 6112161 h 6407421"/>
              <a:gd name="connsiteX134" fmla="*/ 3747307 w 6142647"/>
              <a:gd name="connsiteY134" fmla="*/ 6141763 h 6407421"/>
              <a:gd name="connsiteX135" fmla="*/ 3717704 w 6142647"/>
              <a:gd name="connsiteY135" fmla="*/ 6141763 h 6407421"/>
              <a:gd name="connsiteX136" fmla="*/ 3451507 w 6142647"/>
              <a:gd name="connsiteY136" fmla="*/ 6112161 h 6407421"/>
              <a:gd name="connsiteX137" fmla="*/ 3481109 w 6142647"/>
              <a:gd name="connsiteY137" fmla="*/ 6112161 h 6407421"/>
              <a:gd name="connsiteX138" fmla="*/ 3481109 w 6142647"/>
              <a:gd name="connsiteY138" fmla="*/ 6141763 h 6407421"/>
              <a:gd name="connsiteX139" fmla="*/ 3451507 w 6142647"/>
              <a:gd name="connsiteY139" fmla="*/ 6141763 h 6407421"/>
              <a:gd name="connsiteX140" fmla="*/ 3185310 w 6142647"/>
              <a:gd name="connsiteY140" fmla="*/ 6112161 h 6407421"/>
              <a:gd name="connsiteX141" fmla="*/ 3214913 w 6142647"/>
              <a:gd name="connsiteY141" fmla="*/ 6112161 h 6407421"/>
              <a:gd name="connsiteX142" fmla="*/ 3214913 w 6142647"/>
              <a:gd name="connsiteY142" fmla="*/ 6141763 h 6407421"/>
              <a:gd name="connsiteX143" fmla="*/ 3185310 w 6142647"/>
              <a:gd name="connsiteY143" fmla="*/ 6141763 h 6407421"/>
              <a:gd name="connsiteX144" fmla="*/ 2919113 w 6142647"/>
              <a:gd name="connsiteY144" fmla="*/ 6112161 h 6407421"/>
              <a:gd name="connsiteX145" fmla="*/ 2948715 w 6142647"/>
              <a:gd name="connsiteY145" fmla="*/ 6112161 h 6407421"/>
              <a:gd name="connsiteX146" fmla="*/ 2948715 w 6142647"/>
              <a:gd name="connsiteY146" fmla="*/ 6141763 h 6407421"/>
              <a:gd name="connsiteX147" fmla="*/ 2919113 w 6142647"/>
              <a:gd name="connsiteY147" fmla="*/ 6141763 h 6407421"/>
              <a:gd name="connsiteX148" fmla="*/ 2653024 w 6142647"/>
              <a:gd name="connsiteY148" fmla="*/ 6112161 h 6407421"/>
              <a:gd name="connsiteX149" fmla="*/ 2682627 w 6142647"/>
              <a:gd name="connsiteY149" fmla="*/ 6112161 h 6407421"/>
              <a:gd name="connsiteX150" fmla="*/ 2682627 w 6142647"/>
              <a:gd name="connsiteY150" fmla="*/ 6141763 h 6407421"/>
              <a:gd name="connsiteX151" fmla="*/ 2653024 w 6142647"/>
              <a:gd name="connsiteY151" fmla="*/ 6141763 h 6407421"/>
              <a:gd name="connsiteX152" fmla="*/ 2386827 w 6142647"/>
              <a:gd name="connsiteY152" fmla="*/ 6112161 h 6407421"/>
              <a:gd name="connsiteX153" fmla="*/ 2416430 w 6142647"/>
              <a:gd name="connsiteY153" fmla="*/ 6112161 h 6407421"/>
              <a:gd name="connsiteX154" fmla="*/ 2416430 w 6142647"/>
              <a:gd name="connsiteY154" fmla="*/ 6141763 h 6407421"/>
              <a:gd name="connsiteX155" fmla="*/ 2386827 w 6142647"/>
              <a:gd name="connsiteY155" fmla="*/ 6141763 h 6407421"/>
              <a:gd name="connsiteX156" fmla="*/ 2120630 w 6142647"/>
              <a:gd name="connsiteY156" fmla="*/ 6112161 h 6407421"/>
              <a:gd name="connsiteX157" fmla="*/ 2150233 w 6142647"/>
              <a:gd name="connsiteY157" fmla="*/ 6112161 h 6407421"/>
              <a:gd name="connsiteX158" fmla="*/ 2150233 w 6142647"/>
              <a:gd name="connsiteY158" fmla="*/ 6141763 h 6407421"/>
              <a:gd name="connsiteX159" fmla="*/ 2120630 w 6142647"/>
              <a:gd name="connsiteY159" fmla="*/ 6141763 h 6407421"/>
              <a:gd name="connsiteX160" fmla="*/ 1854540 w 6142647"/>
              <a:gd name="connsiteY160" fmla="*/ 6112161 h 6407421"/>
              <a:gd name="connsiteX161" fmla="*/ 1884143 w 6142647"/>
              <a:gd name="connsiteY161" fmla="*/ 6112161 h 6407421"/>
              <a:gd name="connsiteX162" fmla="*/ 1884143 w 6142647"/>
              <a:gd name="connsiteY162" fmla="*/ 6141763 h 6407421"/>
              <a:gd name="connsiteX163" fmla="*/ 1854540 w 6142647"/>
              <a:gd name="connsiteY163" fmla="*/ 6141763 h 6407421"/>
              <a:gd name="connsiteX164" fmla="*/ 1588343 w 6142647"/>
              <a:gd name="connsiteY164" fmla="*/ 6112161 h 6407421"/>
              <a:gd name="connsiteX165" fmla="*/ 1617945 w 6142647"/>
              <a:gd name="connsiteY165" fmla="*/ 6112161 h 6407421"/>
              <a:gd name="connsiteX166" fmla="*/ 1617945 w 6142647"/>
              <a:gd name="connsiteY166" fmla="*/ 6141763 h 6407421"/>
              <a:gd name="connsiteX167" fmla="*/ 1588343 w 6142647"/>
              <a:gd name="connsiteY167" fmla="*/ 6141763 h 6407421"/>
              <a:gd name="connsiteX168" fmla="*/ 1322254 w 6142647"/>
              <a:gd name="connsiteY168" fmla="*/ 6112161 h 6407421"/>
              <a:gd name="connsiteX169" fmla="*/ 1351857 w 6142647"/>
              <a:gd name="connsiteY169" fmla="*/ 6112161 h 6407421"/>
              <a:gd name="connsiteX170" fmla="*/ 1351857 w 6142647"/>
              <a:gd name="connsiteY170" fmla="*/ 6141763 h 6407421"/>
              <a:gd name="connsiteX171" fmla="*/ 1322254 w 6142647"/>
              <a:gd name="connsiteY171" fmla="*/ 6141763 h 6407421"/>
              <a:gd name="connsiteX172" fmla="*/ 1056057 w 6142647"/>
              <a:gd name="connsiteY172" fmla="*/ 6112161 h 6407421"/>
              <a:gd name="connsiteX173" fmla="*/ 1085660 w 6142647"/>
              <a:gd name="connsiteY173" fmla="*/ 6112161 h 6407421"/>
              <a:gd name="connsiteX174" fmla="*/ 1085660 w 6142647"/>
              <a:gd name="connsiteY174" fmla="*/ 6141763 h 6407421"/>
              <a:gd name="connsiteX175" fmla="*/ 1056057 w 6142647"/>
              <a:gd name="connsiteY175" fmla="*/ 6141763 h 6407421"/>
              <a:gd name="connsiteX176" fmla="*/ 789968 w 6142647"/>
              <a:gd name="connsiteY176" fmla="*/ 6112161 h 6407421"/>
              <a:gd name="connsiteX177" fmla="*/ 819570 w 6142647"/>
              <a:gd name="connsiteY177" fmla="*/ 6112161 h 6407421"/>
              <a:gd name="connsiteX178" fmla="*/ 819570 w 6142647"/>
              <a:gd name="connsiteY178" fmla="*/ 6141763 h 6407421"/>
              <a:gd name="connsiteX179" fmla="*/ 789968 w 6142647"/>
              <a:gd name="connsiteY179" fmla="*/ 6141763 h 6407421"/>
              <a:gd name="connsiteX180" fmla="*/ 523771 w 6142647"/>
              <a:gd name="connsiteY180" fmla="*/ 6112161 h 6407421"/>
              <a:gd name="connsiteX181" fmla="*/ 553373 w 6142647"/>
              <a:gd name="connsiteY181" fmla="*/ 6112161 h 6407421"/>
              <a:gd name="connsiteX182" fmla="*/ 553373 w 6142647"/>
              <a:gd name="connsiteY182" fmla="*/ 6141763 h 6407421"/>
              <a:gd name="connsiteX183" fmla="*/ 523771 w 6142647"/>
              <a:gd name="connsiteY183" fmla="*/ 6141763 h 6407421"/>
              <a:gd name="connsiteX184" fmla="*/ 266197 w 6142647"/>
              <a:gd name="connsiteY184" fmla="*/ 6112161 h 6407421"/>
              <a:gd name="connsiteX185" fmla="*/ 295800 w 6142647"/>
              <a:gd name="connsiteY185" fmla="*/ 6112161 h 6407421"/>
              <a:gd name="connsiteX186" fmla="*/ 295800 w 6142647"/>
              <a:gd name="connsiteY186" fmla="*/ 6141763 h 6407421"/>
              <a:gd name="connsiteX187" fmla="*/ 266197 w 6142647"/>
              <a:gd name="connsiteY187" fmla="*/ 6141763 h 6407421"/>
              <a:gd name="connsiteX188" fmla="*/ 0 w 6142647"/>
              <a:gd name="connsiteY188" fmla="*/ 6112161 h 6407421"/>
              <a:gd name="connsiteX189" fmla="*/ 29602 w 6142647"/>
              <a:gd name="connsiteY189" fmla="*/ 6112161 h 6407421"/>
              <a:gd name="connsiteX190" fmla="*/ 29602 w 6142647"/>
              <a:gd name="connsiteY190" fmla="*/ 6141763 h 6407421"/>
              <a:gd name="connsiteX191" fmla="*/ 0 w 6142647"/>
              <a:gd name="connsiteY191" fmla="*/ 6141763 h 6407421"/>
              <a:gd name="connsiteX192" fmla="*/ 6113045 w 6142647"/>
              <a:gd name="connsiteY192" fmla="*/ 5846396 h 6407421"/>
              <a:gd name="connsiteX193" fmla="*/ 6142647 w 6142647"/>
              <a:gd name="connsiteY193" fmla="*/ 5846396 h 6407421"/>
              <a:gd name="connsiteX194" fmla="*/ 6142647 w 6142647"/>
              <a:gd name="connsiteY194" fmla="*/ 5875998 h 6407421"/>
              <a:gd name="connsiteX195" fmla="*/ 6113045 w 6142647"/>
              <a:gd name="connsiteY195" fmla="*/ 5875998 h 6407421"/>
              <a:gd name="connsiteX196" fmla="*/ 5846848 w 6142647"/>
              <a:gd name="connsiteY196" fmla="*/ 5846396 h 6407421"/>
              <a:gd name="connsiteX197" fmla="*/ 5876450 w 6142647"/>
              <a:gd name="connsiteY197" fmla="*/ 5846396 h 6407421"/>
              <a:gd name="connsiteX198" fmla="*/ 5876450 w 6142647"/>
              <a:gd name="connsiteY198" fmla="*/ 5875998 h 6407421"/>
              <a:gd name="connsiteX199" fmla="*/ 5846848 w 6142647"/>
              <a:gd name="connsiteY199" fmla="*/ 5875998 h 6407421"/>
              <a:gd name="connsiteX200" fmla="*/ 5580759 w 6142647"/>
              <a:gd name="connsiteY200" fmla="*/ 5846396 h 6407421"/>
              <a:gd name="connsiteX201" fmla="*/ 5610361 w 6142647"/>
              <a:gd name="connsiteY201" fmla="*/ 5846396 h 6407421"/>
              <a:gd name="connsiteX202" fmla="*/ 5610361 w 6142647"/>
              <a:gd name="connsiteY202" fmla="*/ 5875998 h 6407421"/>
              <a:gd name="connsiteX203" fmla="*/ 5580759 w 6142647"/>
              <a:gd name="connsiteY203" fmla="*/ 5875998 h 6407421"/>
              <a:gd name="connsiteX204" fmla="*/ 5314562 w 6142647"/>
              <a:gd name="connsiteY204" fmla="*/ 5846396 h 6407421"/>
              <a:gd name="connsiteX205" fmla="*/ 5344164 w 6142647"/>
              <a:gd name="connsiteY205" fmla="*/ 5846396 h 6407421"/>
              <a:gd name="connsiteX206" fmla="*/ 5344164 w 6142647"/>
              <a:gd name="connsiteY206" fmla="*/ 5875998 h 6407421"/>
              <a:gd name="connsiteX207" fmla="*/ 5314562 w 6142647"/>
              <a:gd name="connsiteY207" fmla="*/ 5875998 h 6407421"/>
              <a:gd name="connsiteX208" fmla="*/ 5048365 w 6142647"/>
              <a:gd name="connsiteY208" fmla="*/ 5846396 h 6407421"/>
              <a:gd name="connsiteX209" fmla="*/ 5078075 w 6142647"/>
              <a:gd name="connsiteY209" fmla="*/ 5846396 h 6407421"/>
              <a:gd name="connsiteX210" fmla="*/ 5078075 w 6142647"/>
              <a:gd name="connsiteY210" fmla="*/ 5875998 h 6407421"/>
              <a:gd name="connsiteX211" fmla="*/ 5048365 w 6142647"/>
              <a:gd name="connsiteY211" fmla="*/ 5875998 h 6407421"/>
              <a:gd name="connsiteX212" fmla="*/ 4782276 w 6142647"/>
              <a:gd name="connsiteY212" fmla="*/ 5846396 h 6407421"/>
              <a:gd name="connsiteX213" fmla="*/ 4811879 w 6142647"/>
              <a:gd name="connsiteY213" fmla="*/ 5846396 h 6407421"/>
              <a:gd name="connsiteX214" fmla="*/ 4811879 w 6142647"/>
              <a:gd name="connsiteY214" fmla="*/ 5875998 h 6407421"/>
              <a:gd name="connsiteX215" fmla="*/ 4782276 w 6142647"/>
              <a:gd name="connsiteY215" fmla="*/ 5875998 h 6407421"/>
              <a:gd name="connsiteX216" fmla="*/ 4516079 w 6142647"/>
              <a:gd name="connsiteY216" fmla="*/ 5846396 h 6407421"/>
              <a:gd name="connsiteX217" fmla="*/ 4545681 w 6142647"/>
              <a:gd name="connsiteY217" fmla="*/ 5846396 h 6407421"/>
              <a:gd name="connsiteX218" fmla="*/ 4545681 w 6142647"/>
              <a:gd name="connsiteY218" fmla="*/ 5875998 h 6407421"/>
              <a:gd name="connsiteX219" fmla="*/ 4516079 w 6142647"/>
              <a:gd name="connsiteY219" fmla="*/ 5875998 h 6407421"/>
              <a:gd name="connsiteX220" fmla="*/ 4249990 w 6142647"/>
              <a:gd name="connsiteY220" fmla="*/ 5846396 h 6407421"/>
              <a:gd name="connsiteX221" fmla="*/ 4279592 w 6142647"/>
              <a:gd name="connsiteY221" fmla="*/ 5846396 h 6407421"/>
              <a:gd name="connsiteX222" fmla="*/ 4279592 w 6142647"/>
              <a:gd name="connsiteY222" fmla="*/ 5875998 h 6407421"/>
              <a:gd name="connsiteX223" fmla="*/ 4249990 w 6142647"/>
              <a:gd name="connsiteY223" fmla="*/ 5875998 h 6407421"/>
              <a:gd name="connsiteX224" fmla="*/ 3983793 w 6142647"/>
              <a:gd name="connsiteY224" fmla="*/ 5846396 h 6407421"/>
              <a:gd name="connsiteX225" fmla="*/ 4013396 w 6142647"/>
              <a:gd name="connsiteY225" fmla="*/ 5846396 h 6407421"/>
              <a:gd name="connsiteX226" fmla="*/ 4013396 w 6142647"/>
              <a:gd name="connsiteY226" fmla="*/ 5875998 h 6407421"/>
              <a:gd name="connsiteX227" fmla="*/ 3983793 w 6142647"/>
              <a:gd name="connsiteY227" fmla="*/ 5875998 h 6407421"/>
              <a:gd name="connsiteX228" fmla="*/ 3717704 w 6142647"/>
              <a:gd name="connsiteY228" fmla="*/ 5846396 h 6407421"/>
              <a:gd name="connsiteX229" fmla="*/ 3747307 w 6142647"/>
              <a:gd name="connsiteY229" fmla="*/ 5846396 h 6407421"/>
              <a:gd name="connsiteX230" fmla="*/ 3747307 w 6142647"/>
              <a:gd name="connsiteY230" fmla="*/ 5875998 h 6407421"/>
              <a:gd name="connsiteX231" fmla="*/ 3717704 w 6142647"/>
              <a:gd name="connsiteY231" fmla="*/ 5875998 h 6407421"/>
              <a:gd name="connsiteX232" fmla="*/ 3451507 w 6142647"/>
              <a:gd name="connsiteY232" fmla="*/ 5846396 h 6407421"/>
              <a:gd name="connsiteX233" fmla="*/ 3481109 w 6142647"/>
              <a:gd name="connsiteY233" fmla="*/ 5846396 h 6407421"/>
              <a:gd name="connsiteX234" fmla="*/ 3481109 w 6142647"/>
              <a:gd name="connsiteY234" fmla="*/ 5875998 h 6407421"/>
              <a:gd name="connsiteX235" fmla="*/ 3451507 w 6142647"/>
              <a:gd name="connsiteY235" fmla="*/ 5875998 h 6407421"/>
              <a:gd name="connsiteX236" fmla="*/ 3185310 w 6142647"/>
              <a:gd name="connsiteY236" fmla="*/ 5846396 h 6407421"/>
              <a:gd name="connsiteX237" fmla="*/ 3214913 w 6142647"/>
              <a:gd name="connsiteY237" fmla="*/ 5846396 h 6407421"/>
              <a:gd name="connsiteX238" fmla="*/ 3214913 w 6142647"/>
              <a:gd name="connsiteY238" fmla="*/ 5875998 h 6407421"/>
              <a:gd name="connsiteX239" fmla="*/ 3185310 w 6142647"/>
              <a:gd name="connsiteY239" fmla="*/ 5875998 h 6407421"/>
              <a:gd name="connsiteX240" fmla="*/ 2919113 w 6142647"/>
              <a:gd name="connsiteY240" fmla="*/ 5846396 h 6407421"/>
              <a:gd name="connsiteX241" fmla="*/ 2948715 w 6142647"/>
              <a:gd name="connsiteY241" fmla="*/ 5846396 h 6407421"/>
              <a:gd name="connsiteX242" fmla="*/ 2948715 w 6142647"/>
              <a:gd name="connsiteY242" fmla="*/ 5875998 h 6407421"/>
              <a:gd name="connsiteX243" fmla="*/ 2919113 w 6142647"/>
              <a:gd name="connsiteY243" fmla="*/ 5875998 h 6407421"/>
              <a:gd name="connsiteX244" fmla="*/ 2653024 w 6142647"/>
              <a:gd name="connsiteY244" fmla="*/ 5846396 h 6407421"/>
              <a:gd name="connsiteX245" fmla="*/ 2682627 w 6142647"/>
              <a:gd name="connsiteY245" fmla="*/ 5846396 h 6407421"/>
              <a:gd name="connsiteX246" fmla="*/ 2682627 w 6142647"/>
              <a:gd name="connsiteY246" fmla="*/ 5875998 h 6407421"/>
              <a:gd name="connsiteX247" fmla="*/ 2653024 w 6142647"/>
              <a:gd name="connsiteY247" fmla="*/ 5875998 h 6407421"/>
              <a:gd name="connsiteX248" fmla="*/ 2386827 w 6142647"/>
              <a:gd name="connsiteY248" fmla="*/ 5846396 h 6407421"/>
              <a:gd name="connsiteX249" fmla="*/ 2416430 w 6142647"/>
              <a:gd name="connsiteY249" fmla="*/ 5846396 h 6407421"/>
              <a:gd name="connsiteX250" fmla="*/ 2416430 w 6142647"/>
              <a:gd name="connsiteY250" fmla="*/ 5875998 h 6407421"/>
              <a:gd name="connsiteX251" fmla="*/ 2386827 w 6142647"/>
              <a:gd name="connsiteY251" fmla="*/ 5875998 h 6407421"/>
              <a:gd name="connsiteX252" fmla="*/ 2120630 w 6142647"/>
              <a:gd name="connsiteY252" fmla="*/ 5846396 h 6407421"/>
              <a:gd name="connsiteX253" fmla="*/ 2150233 w 6142647"/>
              <a:gd name="connsiteY253" fmla="*/ 5846396 h 6407421"/>
              <a:gd name="connsiteX254" fmla="*/ 2150233 w 6142647"/>
              <a:gd name="connsiteY254" fmla="*/ 5875998 h 6407421"/>
              <a:gd name="connsiteX255" fmla="*/ 2120630 w 6142647"/>
              <a:gd name="connsiteY255" fmla="*/ 5875998 h 6407421"/>
              <a:gd name="connsiteX256" fmla="*/ 1854540 w 6142647"/>
              <a:gd name="connsiteY256" fmla="*/ 5846396 h 6407421"/>
              <a:gd name="connsiteX257" fmla="*/ 1884143 w 6142647"/>
              <a:gd name="connsiteY257" fmla="*/ 5846396 h 6407421"/>
              <a:gd name="connsiteX258" fmla="*/ 1884143 w 6142647"/>
              <a:gd name="connsiteY258" fmla="*/ 5875998 h 6407421"/>
              <a:gd name="connsiteX259" fmla="*/ 1854540 w 6142647"/>
              <a:gd name="connsiteY259" fmla="*/ 5875998 h 6407421"/>
              <a:gd name="connsiteX260" fmla="*/ 1588343 w 6142647"/>
              <a:gd name="connsiteY260" fmla="*/ 5846396 h 6407421"/>
              <a:gd name="connsiteX261" fmla="*/ 1617945 w 6142647"/>
              <a:gd name="connsiteY261" fmla="*/ 5846396 h 6407421"/>
              <a:gd name="connsiteX262" fmla="*/ 1617945 w 6142647"/>
              <a:gd name="connsiteY262" fmla="*/ 5875998 h 6407421"/>
              <a:gd name="connsiteX263" fmla="*/ 1588343 w 6142647"/>
              <a:gd name="connsiteY263" fmla="*/ 5875998 h 6407421"/>
              <a:gd name="connsiteX264" fmla="*/ 1322254 w 6142647"/>
              <a:gd name="connsiteY264" fmla="*/ 5846396 h 6407421"/>
              <a:gd name="connsiteX265" fmla="*/ 1351857 w 6142647"/>
              <a:gd name="connsiteY265" fmla="*/ 5846396 h 6407421"/>
              <a:gd name="connsiteX266" fmla="*/ 1351857 w 6142647"/>
              <a:gd name="connsiteY266" fmla="*/ 5875998 h 6407421"/>
              <a:gd name="connsiteX267" fmla="*/ 1322254 w 6142647"/>
              <a:gd name="connsiteY267" fmla="*/ 5875998 h 6407421"/>
              <a:gd name="connsiteX268" fmla="*/ 1056057 w 6142647"/>
              <a:gd name="connsiteY268" fmla="*/ 5846396 h 6407421"/>
              <a:gd name="connsiteX269" fmla="*/ 1085660 w 6142647"/>
              <a:gd name="connsiteY269" fmla="*/ 5846396 h 6407421"/>
              <a:gd name="connsiteX270" fmla="*/ 1085660 w 6142647"/>
              <a:gd name="connsiteY270" fmla="*/ 5875998 h 6407421"/>
              <a:gd name="connsiteX271" fmla="*/ 1056057 w 6142647"/>
              <a:gd name="connsiteY271" fmla="*/ 5875998 h 6407421"/>
              <a:gd name="connsiteX272" fmla="*/ 789968 w 6142647"/>
              <a:gd name="connsiteY272" fmla="*/ 5846396 h 6407421"/>
              <a:gd name="connsiteX273" fmla="*/ 819570 w 6142647"/>
              <a:gd name="connsiteY273" fmla="*/ 5846396 h 6407421"/>
              <a:gd name="connsiteX274" fmla="*/ 819570 w 6142647"/>
              <a:gd name="connsiteY274" fmla="*/ 5875998 h 6407421"/>
              <a:gd name="connsiteX275" fmla="*/ 789968 w 6142647"/>
              <a:gd name="connsiteY275" fmla="*/ 5875998 h 6407421"/>
              <a:gd name="connsiteX276" fmla="*/ 523771 w 6142647"/>
              <a:gd name="connsiteY276" fmla="*/ 5846396 h 6407421"/>
              <a:gd name="connsiteX277" fmla="*/ 553373 w 6142647"/>
              <a:gd name="connsiteY277" fmla="*/ 5846396 h 6407421"/>
              <a:gd name="connsiteX278" fmla="*/ 553373 w 6142647"/>
              <a:gd name="connsiteY278" fmla="*/ 5875998 h 6407421"/>
              <a:gd name="connsiteX279" fmla="*/ 523771 w 6142647"/>
              <a:gd name="connsiteY279" fmla="*/ 5875998 h 6407421"/>
              <a:gd name="connsiteX280" fmla="*/ 266197 w 6142647"/>
              <a:gd name="connsiteY280" fmla="*/ 5846396 h 6407421"/>
              <a:gd name="connsiteX281" fmla="*/ 295800 w 6142647"/>
              <a:gd name="connsiteY281" fmla="*/ 5846396 h 6407421"/>
              <a:gd name="connsiteX282" fmla="*/ 295800 w 6142647"/>
              <a:gd name="connsiteY282" fmla="*/ 5875998 h 6407421"/>
              <a:gd name="connsiteX283" fmla="*/ 266197 w 6142647"/>
              <a:gd name="connsiteY283" fmla="*/ 5875998 h 6407421"/>
              <a:gd name="connsiteX284" fmla="*/ 0 w 6142647"/>
              <a:gd name="connsiteY284" fmla="*/ 5846396 h 6407421"/>
              <a:gd name="connsiteX285" fmla="*/ 29602 w 6142647"/>
              <a:gd name="connsiteY285" fmla="*/ 5846396 h 6407421"/>
              <a:gd name="connsiteX286" fmla="*/ 29602 w 6142647"/>
              <a:gd name="connsiteY286" fmla="*/ 5875998 h 6407421"/>
              <a:gd name="connsiteX287" fmla="*/ 0 w 6142647"/>
              <a:gd name="connsiteY287" fmla="*/ 5875998 h 6407421"/>
              <a:gd name="connsiteX288" fmla="*/ 6113045 w 6142647"/>
              <a:gd name="connsiteY288" fmla="*/ 5580631 h 6407421"/>
              <a:gd name="connsiteX289" fmla="*/ 6142647 w 6142647"/>
              <a:gd name="connsiteY289" fmla="*/ 5580631 h 6407421"/>
              <a:gd name="connsiteX290" fmla="*/ 6142647 w 6142647"/>
              <a:gd name="connsiteY290" fmla="*/ 5610233 h 6407421"/>
              <a:gd name="connsiteX291" fmla="*/ 6113045 w 6142647"/>
              <a:gd name="connsiteY291" fmla="*/ 5610233 h 6407421"/>
              <a:gd name="connsiteX292" fmla="*/ 5846848 w 6142647"/>
              <a:gd name="connsiteY292" fmla="*/ 5580631 h 6407421"/>
              <a:gd name="connsiteX293" fmla="*/ 5876450 w 6142647"/>
              <a:gd name="connsiteY293" fmla="*/ 5580631 h 6407421"/>
              <a:gd name="connsiteX294" fmla="*/ 5876450 w 6142647"/>
              <a:gd name="connsiteY294" fmla="*/ 5610233 h 6407421"/>
              <a:gd name="connsiteX295" fmla="*/ 5846848 w 6142647"/>
              <a:gd name="connsiteY295" fmla="*/ 5610233 h 6407421"/>
              <a:gd name="connsiteX296" fmla="*/ 5580759 w 6142647"/>
              <a:gd name="connsiteY296" fmla="*/ 5580631 h 6407421"/>
              <a:gd name="connsiteX297" fmla="*/ 5610361 w 6142647"/>
              <a:gd name="connsiteY297" fmla="*/ 5580631 h 6407421"/>
              <a:gd name="connsiteX298" fmla="*/ 5610361 w 6142647"/>
              <a:gd name="connsiteY298" fmla="*/ 5610233 h 6407421"/>
              <a:gd name="connsiteX299" fmla="*/ 5580759 w 6142647"/>
              <a:gd name="connsiteY299" fmla="*/ 5610233 h 6407421"/>
              <a:gd name="connsiteX300" fmla="*/ 5314562 w 6142647"/>
              <a:gd name="connsiteY300" fmla="*/ 5580631 h 6407421"/>
              <a:gd name="connsiteX301" fmla="*/ 5344164 w 6142647"/>
              <a:gd name="connsiteY301" fmla="*/ 5580631 h 6407421"/>
              <a:gd name="connsiteX302" fmla="*/ 5344164 w 6142647"/>
              <a:gd name="connsiteY302" fmla="*/ 5610233 h 6407421"/>
              <a:gd name="connsiteX303" fmla="*/ 5314562 w 6142647"/>
              <a:gd name="connsiteY303" fmla="*/ 5610233 h 6407421"/>
              <a:gd name="connsiteX304" fmla="*/ 5048365 w 6142647"/>
              <a:gd name="connsiteY304" fmla="*/ 5580631 h 6407421"/>
              <a:gd name="connsiteX305" fmla="*/ 5078075 w 6142647"/>
              <a:gd name="connsiteY305" fmla="*/ 5580631 h 6407421"/>
              <a:gd name="connsiteX306" fmla="*/ 5078075 w 6142647"/>
              <a:gd name="connsiteY306" fmla="*/ 5610233 h 6407421"/>
              <a:gd name="connsiteX307" fmla="*/ 5048365 w 6142647"/>
              <a:gd name="connsiteY307" fmla="*/ 5610233 h 6407421"/>
              <a:gd name="connsiteX308" fmla="*/ 4782276 w 6142647"/>
              <a:gd name="connsiteY308" fmla="*/ 5580631 h 6407421"/>
              <a:gd name="connsiteX309" fmla="*/ 4811879 w 6142647"/>
              <a:gd name="connsiteY309" fmla="*/ 5580631 h 6407421"/>
              <a:gd name="connsiteX310" fmla="*/ 4811879 w 6142647"/>
              <a:gd name="connsiteY310" fmla="*/ 5610233 h 6407421"/>
              <a:gd name="connsiteX311" fmla="*/ 4782276 w 6142647"/>
              <a:gd name="connsiteY311" fmla="*/ 5610233 h 6407421"/>
              <a:gd name="connsiteX312" fmla="*/ 4516079 w 6142647"/>
              <a:gd name="connsiteY312" fmla="*/ 5580631 h 6407421"/>
              <a:gd name="connsiteX313" fmla="*/ 4545681 w 6142647"/>
              <a:gd name="connsiteY313" fmla="*/ 5580631 h 6407421"/>
              <a:gd name="connsiteX314" fmla="*/ 4545681 w 6142647"/>
              <a:gd name="connsiteY314" fmla="*/ 5610233 h 6407421"/>
              <a:gd name="connsiteX315" fmla="*/ 4516079 w 6142647"/>
              <a:gd name="connsiteY315" fmla="*/ 5610233 h 6407421"/>
              <a:gd name="connsiteX316" fmla="*/ 4249990 w 6142647"/>
              <a:gd name="connsiteY316" fmla="*/ 5580631 h 6407421"/>
              <a:gd name="connsiteX317" fmla="*/ 4279592 w 6142647"/>
              <a:gd name="connsiteY317" fmla="*/ 5580631 h 6407421"/>
              <a:gd name="connsiteX318" fmla="*/ 4279592 w 6142647"/>
              <a:gd name="connsiteY318" fmla="*/ 5610233 h 6407421"/>
              <a:gd name="connsiteX319" fmla="*/ 4249990 w 6142647"/>
              <a:gd name="connsiteY319" fmla="*/ 5610233 h 6407421"/>
              <a:gd name="connsiteX320" fmla="*/ 3983793 w 6142647"/>
              <a:gd name="connsiteY320" fmla="*/ 5580631 h 6407421"/>
              <a:gd name="connsiteX321" fmla="*/ 4013396 w 6142647"/>
              <a:gd name="connsiteY321" fmla="*/ 5580631 h 6407421"/>
              <a:gd name="connsiteX322" fmla="*/ 4013396 w 6142647"/>
              <a:gd name="connsiteY322" fmla="*/ 5610233 h 6407421"/>
              <a:gd name="connsiteX323" fmla="*/ 3983793 w 6142647"/>
              <a:gd name="connsiteY323" fmla="*/ 5610233 h 6407421"/>
              <a:gd name="connsiteX324" fmla="*/ 3717704 w 6142647"/>
              <a:gd name="connsiteY324" fmla="*/ 5580631 h 6407421"/>
              <a:gd name="connsiteX325" fmla="*/ 3747307 w 6142647"/>
              <a:gd name="connsiteY325" fmla="*/ 5580631 h 6407421"/>
              <a:gd name="connsiteX326" fmla="*/ 3747307 w 6142647"/>
              <a:gd name="connsiteY326" fmla="*/ 5610233 h 6407421"/>
              <a:gd name="connsiteX327" fmla="*/ 3717704 w 6142647"/>
              <a:gd name="connsiteY327" fmla="*/ 5610233 h 6407421"/>
              <a:gd name="connsiteX328" fmla="*/ 3451507 w 6142647"/>
              <a:gd name="connsiteY328" fmla="*/ 5580631 h 6407421"/>
              <a:gd name="connsiteX329" fmla="*/ 3481109 w 6142647"/>
              <a:gd name="connsiteY329" fmla="*/ 5580631 h 6407421"/>
              <a:gd name="connsiteX330" fmla="*/ 3481109 w 6142647"/>
              <a:gd name="connsiteY330" fmla="*/ 5610233 h 6407421"/>
              <a:gd name="connsiteX331" fmla="*/ 3451507 w 6142647"/>
              <a:gd name="connsiteY331" fmla="*/ 5610233 h 6407421"/>
              <a:gd name="connsiteX332" fmla="*/ 3185310 w 6142647"/>
              <a:gd name="connsiteY332" fmla="*/ 5580631 h 6407421"/>
              <a:gd name="connsiteX333" fmla="*/ 3214913 w 6142647"/>
              <a:gd name="connsiteY333" fmla="*/ 5580631 h 6407421"/>
              <a:gd name="connsiteX334" fmla="*/ 3214913 w 6142647"/>
              <a:gd name="connsiteY334" fmla="*/ 5610233 h 6407421"/>
              <a:gd name="connsiteX335" fmla="*/ 3185310 w 6142647"/>
              <a:gd name="connsiteY335" fmla="*/ 5610233 h 6407421"/>
              <a:gd name="connsiteX336" fmla="*/ 2919113 w 6142647"/>
              <a:gd name="connsiteY336" fmla="*/ 5580631 h 6407421"/>
              <a:gd name="connsiteX337" fmla="*/ 2948715 w 6142647"/>
              <a:gd name="connsiteY337" fmla="*/ 5580631 h 6407421"/>
              <a:gd name="connsiteX338" fmla="*/ 2948715 w 6142647"/>
              <a:gd name="connsiteY338" fmla="*/ 5610233 h 6407421"/>
              <a:gd name="connsiteX339" fmla="*/ 2919113 w 6142647"/>
              <a:gd name="connsiteY339" fmla="*/ 5610233 h 6407421"/>
              <a:gd name="connsiteX340" fmla="*/ 2653024 w 6142647"/>
              <a:gd name="connsiteY340" fmla="*/ 5580631 h 6407421"/>
              <a:gd name="connsiteX341" fmla="*/ 2682627 w 6142647"/>
              <a:gd name="connsiteY341" fmla="*/ 5580631 h 6407421"/>
              <a:gd name="connsiteX342" fmla="*/ 2682627 w 6142647"/>
              <a:gd name="connsiteY342" fmla="*/ 5610233 h 6407421"/>
              <a:gd name="connsiteX343" fmla="*/ 2653024 w 6142647"/>
              <a:gd name="connsiteY343" fmla="*/ 5610233 h 6407421"/>
              <a:gd name="connsiteX344" fmla="*/ 2386827 w 6142647"/>
              <a:gd name="connsiteY344" fmla="*/ 5580631 h 6407421"/>
              <a:gd name="connsiteX345" fmla="*/ 2416430 w 6142647"/>
              <a:gd name="connsiteY345" fmla="*/ 5580631 h 6407421"/>
              <a:gd name="connsiteX346" fmla="*/ 2416430 w 6142647"/>
              <a:gd name="connsiteY346" fmla="*/ 5610233 h 6407421"/>
              <a:gd name="connsiteX347" fmla="*/ 2386827 w 6142647"/>
              <a:gd name="connsiteY347" fmla="*/ 5610233 h 6407421"/>
              <a:gd name="connsiteX348" fmla="*/ 2120630 w 6142647"/>
              <a:gd name="connsiteY348" fmla="*/ 5580631 h 6407421"/>
              <a:gd name="connsiteX349" fmla="*/ 2150233 w 6142647"/>
              <a:gd name="connsiteY349" fmla="*/ 5580631 h 6407421"/>
              <a:gd name="connsiteX350" fmla="*/ 2150233 w 6142647"/>
              <a:gd name="connsiteY350" fmla="*/ 5610233 h 6407421"/>
              <a:gd name="connsiteX351" fmla="*/ 2120630 w 6142647"/>
              <a:gd name="connsiteY351" fmla="*/ 5610233 h 6407421"/>
              <a:gd name="connsiteX352" fmla="*/ 1854540 w 6142647"/>
              <a:gd name="connsiteY352" fmla="*/ 5580631 h 6407421"/>
              <a:gd name="connsiteX353" fmla="*/ 1884143 w 6142647"/>
              <a:gd name="connsiteY353" fmla="*/ 5580631 h 6407421"/>
              <a:gd name="connsiteX354" fmla="*/ 1884143 w 6142647"/>
              <a:gd name="connsiteY354" fmla="*/ 5610233 h 6407421"/>
              <a:gd name="connsiteX355" fmla="*/ 1854540 w 6142647"/>
              <a:gd name="connsiteY355" fmla="*/ 5610233 h 6407421"/>
              <a:gd name="connsiteX356" fmla="*/ 1588343 w 6142647"/>
              <a:gd name="connsiteY356" fmla="*/ 5580631 h 6407421"/>
              <a:gd name="connsiteX357" fmla="*/ 1617945 w 6142647"/>
              <a:gd name="connsiteY357" fmla="*/ 5580631 h 6407421"/>
              <a:gd name="connsiteX358" fmla="*/ 1617945 w 6142647"/>
              <a:gd name="connsiteY358" fmla="*/ 5610233 h 6407421"/>
              <a:gd name="connsiteX359" fmla="*/ 1588343 w 6142647"/>
              <a:gd name="connsiteY359" fmla="*/ 5610233 h 6407421"/>
              <a:gd name="connsiteX360" fmla="*/ 1322254 w 6142647"/>
              <a:gd name="connsiteY360" fmla="*/ 5580631 h 6407421"/>
              <a:gd name="connsiteX361" fmla="*/ 1351857 w 6142647"/>
              <a:gd name="connsiteY361" fmla="*/ 5580631 h 6407421"/>
              <a:gd name="connsiteX362" fmla="*/ 1351857 w 6142647"/>
              <a:gd name="connsiteY362" fmla="*/ 5610233 h 6407421"/>
              <a:gd name="connsiteX363" fmla="*/ 1322254 w 6142647"/>
              <a:gd name="connsiteY363" fmla="*/ 5610233 h 6407421"/>
              <a:gd name="connsiteX364" fmla="*/ 1056057 w 6142647"/>
              <a:gd name="connsiteY364" fmla="*/ 5580631 h 6407421"/>
              <a:gd name="connsiteX365" fmla="*/ 1085660 w 6142647"/>
              <a:gd name="connsiteY365" fmla="*/ 5580631 h 6407421"/>
              <a:gd name="connsiteX366" fmla="*/ 1085660 w 6142647"/>
              <a:gd name="connsiteY366" fmla="*/ 5610233 h 6407421"/>
              <a:gd name="connsiteX367" fmla="*/ 1056057 w 6142647"/>
              <a:gd name="connsiteY367" fmla="*/ 5610233 h 6407421"/>
              <a:gd name="connsiteX368" fmla="*/ 789968 w 6142647"/>
              <a:gd name="connsiteY368" fmla="*/ 5580631 h 6407421"/>
              <a:gd name="connsiteX369" fmla="*/ 819570 w 6142647"/>
              <a:gd name="connsiteY369" fmla="*/ 5580631 h 6407421"/>
              <a:gd name="connsiteX370" fmla="*/ 819570 w 6142647"/>
              <a:gd name="connsiteY370" fmla="*/ 5610233 h 6407421"/>
              <a:gd name="connsiteX371" fmla="*/ 789968 w 6142647"/>
              <a:gd name="connsiteY371" fmla="*/ 5610233 h 6407421"/>
              <a:gd name="connsiteX372" fmla="*/ 523771 w 6142647"/>
              <a:gd name="connsiteY372" fmla="*/ 5580631 h 6407421"/>
              <a:gd name="connsiteX373" fmla="*/ 553373 w 6142647"/>
              <a:gd name="connsiteY373" fmla="*/ 5580631 h 6407421"/>
              <a:gd name="connsiteX374" fmla="*/ 553373 w 6142647"/>
              <a:gd name="connsiteY374" fmla="*/ 5610233 h 6407421"/>
              <a:gd name="connsiteX375" fmla="*/ 523771 w 6142647"/>
              <a:gd name="connsiteY375" fmla="*/ 5610233 h 6407421"/>
              <a:gd name="connsiteX376" fmla="*/ 266197 w 6142647"/>
              <a:gd name="connsiteY376" fmla="*/ 5580631 h 6407421"/>
              <a:gd name="connsiteX377" fmla="*/ 295800 w 6142647"/>
              <a:gd name="connsiteY377" fmla="*/ 5580631 h 6407421"/>
              <a:gd name="connsiteX378" fmla="*/ 295800 w 6142647"/>
              <a:gd name="connsiteY378" fmla="*/ 5610233 h 6407421"/>
              <a:gd name="connsiteX379" fmla="*/ 266197 w 6142647"/>
              <a:gd name="connsiteY379" fmla="*/ 5610233 h 6407421"/>
              <a:gd name="connsiteX380" fmla="*/ 0 w 6142647"/>
              <a:gd name="connsiteY380" fmla="*/ 5580631 h 6407421"/>
              <a:gd name="connsiteX381" fmla="*/ 29602 w 6142647"/>
              <a:gd name="connsiteY381" fmla="*/ 5580631 h 6407421"/>
              <a:gd name="connsiteX382" fmla="*/ 29602 w 6142647"/>
              <a:gd name="connsiteY382" fmla="*/ 5610233 h 6407421"/>
              <a:gd name="connsiteX383" fmla="*/ 0 w 6142647"/>
              <a:gd name="connsiteY383" fmla="*/ 5610233 h 6407421"/>
              <a:gd name="connsiteX384" fmla="*/ 6113045 w 6142647"/>
              <a:gd name="connsiteY384" fmla="*/ 5314974 h 6407421"/>
              <a:gd name="connsiteX385" fmla="*/ 6142647 w 6142647"/>
              <a:gd name="connsiteY385" fmla="*/ 5314974 h 6407421"/>
              <a:gd name="connsiteX386" fmla="*/ 6142647 w 6142647"/>
              <a:gd name="connsiteY386" fmla="*/ 5344468 h 6407421"/>
              <a:gd name="connsiteX387" fmla="*/ 6113045 w 6142647"/>
              <a:gd name="connsiteY387" fmla="*/ 5344468 h 6407421"/>
              <a:gd name="connsiteX388" fmla="*/ 5846848 w 6142647"/>
              <a:gd name="connsiteY388" fmla="*/ 5314974 h 6407421"/>
              <a:gd name="connsiteX389" fmla="*/ 5876450 w 6142647"/>
              <a:gd name="connsiteY389" fmla="*/ 5314974 h 6407421"/>
              <a:gd name="connsiteX390" fmla="*/ 5876450 w 6142647"/>
              <a:gd name="connsiteY390" fmla="*/ 5344468 h 6407421"/>
              <a:gd name="connsiteX391" fmla="*/ 5846848 w 6142647"/>
              <a:gd name="connsiteY391" fmla="*/ 5344468 h 6407421"/>
              <a:gd name="connsiteX392" fmla="*/ 5580759 w 6142647"/>
              <a:gd name="connsiteY392" fmla="*/ 5314974 h 6407421"/>
              <a:gd name="connsiteX393" fmla="*/ 5610361 w 6142647"/>
              <a:gd name="connsiteY393" fmla="*/ 5314974 h 6407421"/>
              <a:gd name="connsiteX394" fmla="*/ 5610361 w 6142647"/>
              <a:gd name="connsiteY394" fmla="*/ 5344468 h 6407421"/>
              <a:gd name="connsiteX395" fmla="*/ 5580759 w 6142647"/>
              <a:gd name="connsiteY395" fmla="*/ 5344468 h 6407421"/>
              <a:gd name="connsiteX396" fmla="*/ 5314562 w 6142647"/>
              <a:gd name="connsiteY396" fmla="*/ 5314974 h 6407421"/>
              <a:gd name="connsiteX397" fmla="*/ 5344164 w 6142647"/>
              <a:gd name="connsiteY397" fmla="*/ 5314974 h 6407421"/>
              <a:gd name="connsiteX398" fmla="*/ 5344164 w 6142647"/>
              <a:gd name="connsiteY398" fmla="*/ 5344468 h 6407421"/>
              <a:gd name="connsiteX399" fmla="*/ 5314562 w 6142647"/>
              <a:gd name="connsiteY399" fmla="*/ 5344468 h 6407421"/>
              <a:gd name="connsiteX400" fmla="*/ 5048365 w 6142647"/>
              <a:gd name="connsiteY400" fmla="*/ 5314974 h 6407421"/>
              <a:gd name="connsiteX401" fmla="*/ 5078075 w 6142647"/>
              <a:gd name="connsiteY401" fmla="*/ 5314974 h 6407421"/>
              <a:gd name="connsiteX402" fmla="*/ 5078075 w 6142647"/>
              <a:gd name="connsiteY402" fmla="*/ 5344468 h 6407421"/>
              <a:gd name="connsiteX403" fmla="*/ 5048365 w 6142647"/>
              <a:gd name="connsiteY403" fmla="*/ 5344468 h 6407421"/>
              <a:gd name="connsiteX404" fmla="*/ 4782276 w 6142647"/>
              <a:gd name="connsiteY404" fmla="*/ 5314974 h 6407421"/>
              <a:gd name="connsiteX405" fmla="*/ 4811879 w 6142647"/>
              <a:gd name="connsiteY405" fmla="*/ 5314974 h 6407421"/>
              <a:gd name="connsiteX406" fmla="*/ 4811879 w 6142647"/>
              <a:gd name="connsiteY406" fmla="*/ 5344468 h 6407421"/>
              <a:gd name="connsiteX407" fmla="*/ 4782276 w 6142647"/>
              <a:gd name="connsiteY407" fmla="*/ 5344468 h 6407421"/>
              <a:gd name="connsiteX408" fmla="*/ 4516079 w 6142647"/>
              <a:gd name="connsiteY408" fmla="*/ 5314974 h 6407421"/>
              <a:gd name="connsiteX409" fmla="*/ 4545681 w 6142647"/>
              <a:gd name="connsiteY409" fmla="*/ 5314974 h 6407421"/>
              <a:gd name="connsiteX410" fmla="*/ 4545681 w 6142647"/>
              <a:gd name="connsiteY410" fmla="*/ 5344468 h 6407421"/>
              <a:gd name="connsiteX411" fmla="*/ 4516079 w 6142647"/>
              <a:gd name="connsiteY411" fmla="*/ 5344468 h 6407421"/>
              <a:gd name="connsiteX412" fmla="*/ 4249990 w 6142647"/>
              <a:gd name="connsiteY412" fmla="*/ 5314974 h 6407421"/>
              <a:gd name="connsiteX413" fmla="*/ 4279592 w 6142647"/>
              <a:gd name="connsiteY413" fmla="*/ 5314974 h 6407421"/>
              <a:gd name="connsiteX414" fmla="*/ 4279592 w 6142647"/>
              <a:gd name="connsiteY414" fmla="*/ 5344468 h 6407421"/>
              <a:gd name="connsiteX415" fmla="*/ 4249990 w 6142647"/>
              <a:gd name="connsiteY415" fmla="*/ 5344468 h 6407421"/>
              <a:gd name="connsiteX416" fmla="*/ 3983793 w 6142647"/>
              <a:gd name="connsiteY416" fmla="*/ 5314974 h 6407421"/>
              <a:gd name="connsiteX417" fmla="*/ 4013396 w 6142647"/>
              <a:gd name="connsiteY417" fmla="*/ 5314974 h 6407421"/>
              <a:gd name="connsiteX418" fmla="*/ 4013396 w 6142647"/>
              <a:gd name="connsiteY418" fmla="*/ 5344468 h 6407421"/>
              <a:gd name="connsiteX419" fmla="*/ 3983793 w 6142647"/>
              <a:gd name="connsiteY419" fmla="*/ 5344468 h 6407421"/>
              <a:gd name="connsiteX420" fmla="*/ 3717704 w 6142647"/>
              <a:gd name="connsiteY420" fmla="*/ 5314974 h 6407421"/>
              <a:gd name="connsiteX421" fmla="*/ 3747307 w 6142647"/>
              <a:gd name="connsiteY421" fmla="*/ 5314974 h 6407421"/>
              <a:gd name="connsiteX422" fmla="*/ 3747307 w 6142647"/>
              <a:gd name="connsiteY422" fmla="*/ 5344468 h 6407421"/>
              <a:gd name="connsiteX423" fmla="*/ 3717704 w 6142647"/>
              <a:gd name="connsiteY423" fmla="*/ 5344468 h 6407421"/>
              <a:gd name="connsiteX424" fmla="*/ 3451507 w 6142647"/>
              <a:gd name="connsiteY424" fmla="*/ 5314974 h 6407421"/>
              <a:gd name="connsiteX425" fmla="*/ 3481109 w 6142647"/>
              <a:gd name="connsiteY425" fmla="*/ 5314974 h 6407421"/>
              <a:gd name="connsiteX426" fmla="*/ 3481109 w 6142647"/>
              <a:gd name="connsiteY426" fmla="*/ 5344468 h 6407421"/>
              <a:gd name="connsiteX427" fmla="*/ 3451507 w 6142647"/>
              <a:gd name="connsiteY427" fmla="*/ 5344468 h 6407421"/>
              <a:gd name="connsiteX428" fmla="*/ 3185310 w 6142647"/>
              <a:gd name="connsiteY428" fmla="*/ 5314974 h 6407421"/>
              <a:gd name="connsiteX429" fmla="*/ 3214913 w 6142647"/>
              <a:gd name="connsiteY429" fmla="*/ 5314974 h 6407421"/>
              <a:gd name="connsiteX430" fmla="*/ 3214913 w 6142647"/>
              <a:gd name="connsiteY430" fmla="*/ 5344468 h 6407421"/>
              <a:gd name="connsiteX431" fmla="*/ 3185310 w 6142647"/>
              <a:gd name="connsiteY431" fmla="*/ 5344468 h 6407421"/>
              <a:gd name="connsiteX432" fmla="*/ 2919113 w 6142647"/>
              <a:gd name="connsiteY432" fmla="*/ 5314974 h 6407421"/>
              <a:gd name="connsiteX433" fmla="*/ 2948715 w 6142647"/>
              <a:gd name="connsiteY433" fmla="*/ 5314974 h 6407421"/>
              <a:gd name="connsiteX434" fmla="*/ 2948715 w 6142647"/>
              <a:gd name="connsiteY434" fmla="*/ 5344468 h 6407421"/>
              <a:gd name="connsiteX435" fmla="*/ 2919113 w 6142647"/>
              <a:gd name="connsiteY435" fmla="*/ 5344468 h 6407421"/>
              <a:gd name="connsiteX436" fmla="*/ 2653024 w 6142647"/>
              <a:gd name="connsiteY436" fmla="*/ 5314974 h 6407421"/>
              <a:gd name="connsiteX437" fmla="*/ 2682627 w 6142647"/>
              <a:gd name="connsiteY437" fmla="*/ 5314974 h 6407421"/>
              <a:gd name="connsiteX438" fmla="*/ 2682627 w 6142647"/>
              <a:gd name="connsiteY438" fmla="*/ 5344468 h 6407421"/>
              <a:gd name="connsiteX439" fmla="*/ 2653024 w 6142647"/>
              <a:gd name="connsiteY439" fmla="*/ 5344468 h 6407421"/>
              <a:gd name="connsiteX440" fmla="*/ 2386827 w 6142647"/>
              <a:gd name="connsiteY440" fmla="*/ 5314974 h 6407421"/>
              <a:gd name="connsiteX441" fmla="*/ 2416430 w 6142647"/>
              <a:gd name="connsiteY441" fmla="*/ 5314974 h 6407421"/>
              <a:gd name="connsiteX442" fmla="*/ 2416430 w 6142647"/>
              <a:gd name="connsiteY442" fmla="*/ 5344468 h 6407421"/>
              <a:gd name="connsiteX443" fmla="*/ 2386827 w 6142647"/>
              <a:gd name="connsiteY443" fmla="*/ 5344468 h 6407421"/>
              <a:gd name="connsiteX444" fmla="*/ 2120630 w 6142647"/>
              <a:gd name="connsiteY444" fmla="*/ 5314974 h 6407421"/>
              <a:gd name="connsiteX445" fmla="*/ 2150233 w 6142647"/>
              <a:gd name="connsiteY445" fmla="*/ 5314974 h 6407421"/>
              <a:gd name="connsiteX446" fmla="*/ 2150233 w 6142647"/>
              <a:gd name="connsiteY446" fmla="*/ 5344468 h 6407421"/>
              <a:gd name="connsiteX447" fmla="*/ 2120630 w 6142647"/>
              <a:gd name="connsiteY447" fmla="*/ 5344468 h 6407421"/>
              <a:gd name="connsiteX448" fmla="*/ 1854540 w 6142647"/>
              <a:gd name="connsiteY448" fmla="*/ 5314974 h 6407421"/>
              <a:gd name="connsiteX449" fmla="*/ 1884143 w 6142647"/>
              <a:gd name="connsiteY449" fmla="*/ 5314974 h 6407421"/>
              <a:gd name="connsiteX450" fmla="*/ 1884143 w 6142647"/>
              <a:gd name="connsiteY450" fmla="*/ 5344468 h 6407421"/>
              <a:gd name="connsiteX451" fmla="*/ 1854540 w 6142647"/>
              <a:gd name="connsiteY451" fmla="*/ 5344468 h 6407421"/>
              <a:gd name="connsiteX452" fmla="*/ 1588343 w 6142647"/>
              <a:gd name="connsiteY452" fmla="*/ 5314974 h 6407421"/>
              <a:gd name="connsiteX453" fmla="*/ 1617945 w 6142647"/>
              <a:gd name="connsiteY453" fmla="*/ 5314974 h 6407421"/>
              <a:gd name="connsiteX454" fmla="*/ 1617945 w 6142647"/>
              <a:gd name="connsiteY454" fmla="*/ 5344468 h 6407421"/>
              <a:gd name="connsiteX455" fmla="*/ 1588343 w 6142647"/>
              <a:gd name="connsiteY455" fmla="*/ 5344468 h 6407421"/>
              <a:gd name="connsiteX456" fmla="*/ 1322254 w 6142647"/>
              <a:gd name="connsiteY456" fmla="*/ 5314974 h 6407421"/>
              <a:gd name="connsiteX457" fmla="*/ 1351857 w 6142647"/>
              <a:gd name="connsiteY457" fmla="*/ 5314974 h 6407421"/>
              <a:gd name="connsiteX458" fmla="*/ 1351857 w 6142647"/>
              <a:gd name="connsiteY458" fmla="*/ 5344468 h 6407421"/>
              <a:gd name="connsiteX459" fmla="*/ 1322254 w 6142647"/>
              <a:gd name="connsiteY459" fmla="*/ 5344468 h 6407421"/>
              <a:gd name="connsiteX460" fmla="*/ 1056057 w 6142647"/>
              <a:gd name="connsiteY460" fmla="*/ 5314974 h 6407421"/>
              <a:gd name="connsiteX461" fmla="*/ 1085660 w 6142647"/>
              <a:gd name="connsiteY461" fmla="*/ 5314974 h 6407421"/>
              <a:gd name="connsiteX462" fmla="*/ 1085660 w 6142647"/>
              <a:gd name="connsiteY462" fmla="*/ 5344468 h 6407421"/>
              <a:gd name="connsiteX463" fmla="*/ 1056057 w 6142647"/>
              <a:gd name="connsiteY463" fmla="*/ 5344468 h 6407421"/>
              <a:gd name="connsiteX464" fmla="*/ 789968 w 6142647"/>
              <a:gd name="connsiteY464" fmla="*/ 5314974 h 6407421"/>
              <a:gd name="connsiteX465" fmla="*/ 819570 w 6142647"/>
              <a:gd name="connsiteY465" fmla="*/ 5314974 h 6407421"/>
              <a:gd name="connsiteX466" fmla="*/ 819570 w 6142647"/>
              <a:gd name="connsiteY466" fmla="*/ 5344468 h 6407421"/>
              <a:gd name="connsiteX467" fmla="*/ 789968 w 6142647"/>
              <a:gd name="connsiteY467" fmla="*/ 5344468 h 6407421"/>
              <a:gd name="connsiteX468" fmla="*/ 523771 w 6142647"/>
              <a:gd name="connsiteY468" fmla="*/ 5314974 h 6407421"/>
              <a:gd name="connsiteX469" fmla="*/ 553373 w 6142647"/>
              <a:gd name="connsiteY469" fmla="*/ 5314974 h 6407421"/>
              <a:gd name="connsiteX470" fmla="*/ 553373 w 6142647"/>
              <a:gd name="connsiteY470" fmla="*/ 5344468 h 6407421"/>
              <a:gd name="connsiteX471" fmla="*/ 523771 w 6142647"/>
              <a:gd name="connsiteY471" fmla="*/ 5344468 h 6407421"/>
              <a:gd name="connsiteX472" fmla="*/ 266197 w 6142647"/>
              <a:gd name="connsiteY472" fmla="*/ 5314974 h 6407421"/>
              <a:gd name="connsiteX473" fmla="*/ 295800 w 6142647"/>
              <a:gd name="connsiteY473" fmla="*/ 5314974 h 6407421"/>
              <a:gd name="connsiteX474" fmla="*/ 295800 w 6142647"/>
              <a:gd name="connsiteY474" fmla="*/ 5344468 h 6407421"/>
              <a:gd name="connsiteX475" fmla="*/ 266197 w 6142647"/>
              <a:gd name="connsiteY475" fmla="*/ 5344468 h 6407421"/>
              <a:gd name="connsiteX476" fmla="*/ 0 w 6142647"/>
              <a:gd name="connsiteY476" fmla="*/ 5314974 h 6407421"/>
              <a:gd name="connsiteX477" fmla="*/ 29602 w 6142647"/>
              <a:gd name="connsiteY477" fmla="*/ 5314974 h 6407421"/>
              <a:gd name="connsiteX478" fmla="*/ 29602 w 6142647"/>
              <a:gd name="connsiteY478" fmla="*/ 5344468 h 6407421"/>
              <a:gd name="connsiteX479" fmla="*/ 0 w 6142647"/>
              <a:gd name="connsiteY479" fmla="*/ 5344468 h 6407421"/>
              <a:gd name="connsiteX480" fmla="*/ 6113045 w 6142647"/>
              <a:gd name="connsiteY480" fmla="*/ 5049209 h 6407421"/>
              <a:gd name="connsiteX481" fmla="*/ 6142647 w 6142647"/>
              <a:gd name="connsiteY481" fmla="*/ 5049209 h 6407421"/>
              <a:gd name="connsiteX482" fmla="*/ 6142647 w 6142647"/>
              <a:gd name="connsiteY482" fmla="*/ 5078812 h 6407421"/>
              <a:gd name="connsiteX483" fmla="*/ 6113045 w 6142647"/>
              <a:gd name="connsiteY483" fmla="*/ 5078812 h 6407421"/>
              <a:gd name="connsiteX484" fmla="*/ 5846848 w 6142647"/>
              <a:gd name="connsiteY484" fmla="*/ 5049209 h 6407421"/>
              <a:gd name="connsiteX485" fmla="*/ 5876450 w 6142647"/>
              <a:gd name="connsiteY485" fmla="*/ 5049209 h 6407421"/>
              <a:gd name="connsiteX486" fmla="*/ 5876450 w 6142647"/>
              <a:gd name="connsiteY486" fmla="*/ 5078812 h 6407421"/>
              <a:gd name="connsiteX487" fmla="*/ 5846848 w 6142647"/>
              <a:gd name="connsiteY487" fmla="*/ 5078812 h 6407421"/>
              <a:gd name="connsiteX488" fmla="*/ 5580759 w 6142647"/>
              <a:gd name="connsiteY488" fmla="*/ 5049209 h 6407421"/>
              <a:gd name="connsiteX489" fmla="*/ 5610361 w 6142647"/>
              <a:gd name="connsiteY489" fmla="*/ 5049209 h 6407421"/>
              <a:gd name="connsiteX490" fmla="*/ 5610361 w 6142647"/>
              <a:gd name="connsiteY490" fmla="*/ 5078812 h 6407421"/>
              <a:gd name="connsiteX491" fmla="*/ 5580759 w 6142647"/>
              <a:gd name="connsiteY491" fmla="*/ 5078812 h 6407421"/>
              <a:gd name="connsiteX492" fmla="*/ 5314562 w 6142647"/>
              <a:gd name="connsiteY492" fmla="*/ 5049209 h 6407421"/>
              <a:gd name="connsiteX493" fmla="*/ 5344164 w 6142647"/>
              <a:gd name="connsiteY493" fmla="*/ 5049209 h 6407421"/>
              <a:gd name="connsiteX494" fmla="*/ 5344164 w 6142647"/>
              <a:gd name="connsiteY494" fmla="*/ 5078812 h 6407421"/>
              <a:gd name="connsiteX495" fmla="*/ 5314562 w 6142647"/>
              <a:gd name="connsiteY495" fmla="*/ 5078812 h 6407421"/>
              <a:gd name="connsiteX496" fmla="*/ 5048365 w 6142647"/>
              <a:gd name="connsiteY496" fmla="*/ 5049209 h 6407421"/>
              <a:gd name="connsiteX497" fmla="*/ 5078075 w 6142647"/>
              <a:gd name="connsiteY497" fmla="*/ 5049209 h 6407421"/>
              <a:gd name="connsiteX498" fmla="*/ 5078075 w 6142647"/>
              <a:gd name="connsiteY498" fmla="*/ 5078812 h 6407421"/>
              <a:gd name="connsiteX499" fmla="*/ 5048365 w 6142647"/>
              <a:gd name="connsiteY499" fmla="*/ 5078812 h 6407421"/>
              <a:gd name="connsiteX500" fmla="*/ 4782276 w 6142647"/>
              <a:gd name="connsiteY500" fmla="*/ 5049209 h 6407421"/>
              <a:gd name="connsiteX501" fmla="*/ 4811879 w 6142647"/>
              <a:gd name="connsiteY501" fmla="*/ 5049209 h 6407421"/>
              <a:gd name="connsiteX502" fmla="*/ 4811879 w 6142647"/>
              <a:gd name="connsiteY502" fmla="*/ 5078812 h 6407421"/>
              <a:gd name="connsiteX503" fmla="*/ 4782276 w 6142647"/>
              <a:gd name="connsiteY503" fmla="*/ 5078812 h 6407421"/>
              <a:gd name="connsiteX504" fmla="*/ 4516079 w 6142647"/>
              <a:gd name="connsiteY504" fmla="*/ 5049209 h 6407421"/>
              <a:gd name="connsiteX505" fmla="*/ 4545681 w 6142647"/>
              <a:gd name="connsiteY505" fmla="*/ 5049209 h 6407421"/>
              <a:gd name="connsiteX506" fmla="*/ 4545681 w 6142647"/>
              <a:gd name="connsiteY506" fmla="*/ 5078812 h 6407421"/>
              <a:gd name="connsiteX507" fmla="*/ 4516079 w 6142647"/>
              <a:gd name="connsiteY507" fmla="*/ 5078812 h 6407421"/>
              <a:gd name="connsiteX508" fmla="*/ 4249990 w 6142647"/>
              <a:gd name="connsiteY508" fmla="*/ 5049209 h 6407421"/>
              <a:gd name="connsiteX509" fmla="*/ 4279592 w 6142647"/>
              <a:gd name="connsiteY509" fmla="*/ 5049209 h 6407421"/>
              <a:gd name="connsiteX510" fmla="*/ 4279592 w 6142647"/>
              <a:gd name="connsiteY510" fmla="*/ 5078812 h 6407421"/>
              <a:gd name="connsiteX511" fmla="*/ 4249990 w 6142647"/>
              <a:gd name="connsiteY511" fmla="*/ 5078812 h 6407421"/>
              <a:gd name="connsiteX512" fmla="*/ 3983793 w 6142647"/>
              <a:gd name="connsiteY512" fmla="*/ 5049209 h 6407421"/>
              <a:gd name="connsiteX513" fmla="*/ 4013396 w 6142647"/>
              <a:gd name="connsiteY513" fmla="*/ 5049209 h 6407421"/>
              <a:gd name="connsiteX514" fmla="*/ 4013396 w 6142647"/>
              <a:gd name="connsiteY514" fmla="*/ 5078812 h 6407421"/>
              <a:gd name="connsiteX515" fmla="*/ 3983793 w 6142647"/>
              <a:gd name="connsiteY515" fmla="*/ 5078812 h 6407421"/>
              <a:gd name="connsiteX516" fmla="*/ 3717704 w 6142647"/>
              <a:gd name="connsiteY516" fmla="*/ 5049209 h 6407421"/>
              <a:gd name="connsiteX517" fmla="*/ 3747307 w 6142647"/>
              <a:gd name="connsiteY517" fmla="*/ 5049209 h 6407421"/>
              <a:gd name="connsiteX518" fmla="*/ 3747307 w 6142647"/>
              <a:gd name="connsiteY518" fmla="*/ 5078812 h 6407421"/>
              <a:gd name="connsiteX519" fmla="*/ 3717704 w 6142647"/>
              <a:gd name="connsiteY519" fmla="*/ 5078812 h 6407421"/>
              <a:gd name="connsiteX520" fmla="*/ 3451507 w 6142647"/>
              <a:gd name="connsiteY520" fmla="*/ 5049209 h 6407421"/>
              <a:gd name="connsiteX521" fmla="*/ 3481109 w 6142647"/>
              <a:gd name="connsiteY521" fmla="*/ 5049209 h 6407421"/>
              <a:gd name="connsiteX522" fmla="*/ 3481109 w 6142647"/>
              <a:gd name="connsiteY522" fmla="*/ 5078812 h 6407421"/>
              <a:gd name="connsiteX523" fmla="*/ 3451507 w 6142647"/>
              <a:gd name="connsiteY523" fmla="*/ 5078812 h 6407421"/>
              <a:gd name="connsiteX524" fmla="*/ 3185310 w 6142647"/>
              <a:gd name="connsiteY524" fmla="*/ 5049209 h 6407421"/>
              <a:gd name="connsiteX525" fmla="*/ 3214913 w 6142647"/>
              <a:gd name="connsiteY525" fmla="*/ 5049209 h 6407421"/>
              <a:gd name="connsiteX526" fmla="*/ 3214913 w 6142647"/>
              <a:gd name="connsiteY526" fmla="*/ 5078812 h 6407421"/>
              <a:gd name="connsiteX527" fmla="*/ 3185310 w 6142647"/>
              <a:gd name="connsiteY527" fmla="*/ 5078812 h 6407421"/>
              <a:gd name="connsiteX528" fmla="*/ 2919113 w 6142647"/>
              <a:gd name="connsiteY528" fmla="*/ 5049209 h 6407421"/>
              <a:gd name="connsiteX529" fmla="*/ 2948715 w 6142647"/>
              <a:gd name="connsiteY529" fmla="*/ 5049209 h 6407421"/>
              <a:gd name="connsiteX530" fmla="*/ 2948715 w 6142647"/>
              <a:gd name="connsiteY530" fmla="*/ 5078812 h 6407421"/>
              <a:gd name="connsiteX531" fmla="*/ 2919113 w 6142647"/>
              <a:gd name="connsiteY531" fmla="*/ 5078812 h 6407421"/>
              <a:gd name="connsiteX532" fmla="*/ 2653024 w 6142647"/>
              <a:gd name="connsiteY532" fmla="*/ 5049209 h 6407421"/>
              <a:gd name="connsiteX533" fmla="*/ 2682627 w 6142647"/>
              <a:gd name="connsiteY533" fmla="*/ 5049209 h 6407421"/>
              <a:gd name="connsiteX534" fmla="*/ 2682627 w 6142647"/>
              <a:gd name="connsiteY534" fmla="*/ 5078812 h 6407421"/>
              <a:gd name="connsiteX535" fmla="*/ 2653024 w 6142647"/>
              <a:gd name="connsiteY535" fmla="*/ 5078812 h 6407421"/>
              <a:gd name="connsiteX536" fmla="*/ 2386827 w 6142647"/>
              <a:gd name="connsiteY536" fmla="*/ 5049209 h 6407421"/>
              <a:gd name="connsiteX537" fmla="*/ 2416430 w 6142647"/>
              <a:gd name="connsiteY537" fmla="*/ 5049209 h 6407421"/>
              <a:gd name="connsiteX538" fmla="*/ 2416430 w 6142647"/>
              <a:gd name="connsiteY538" fmla="*/ 5078812 h 6407421"/>
              <a:gd name="connsiteX539" fmla="*/ 2386827 w 6142647"/>
              <a:gd name="connsiteY539" fmla="*/ 5078812 h 6407421"/>
              <a:gd name="connsiteX540" fmla="*/ 2120630 w 6142647"/>
              <a:gd name="connsiteY540" fmla="*/ 5049209 h 6407421"/>
              <a:gd name="connsiteX541" fmla="*/ 2150233 w 6142647"/>
              <a:gd name="connsiteY541" fmla="*/ 5049209 h 6407421"/>
              <a:gd name="connsiteX542" fmla="*/ 2150233 w 6142647"/>
              <a:gd name="connsiteY542" fmla="*/ 5078812 h 6407421"/>
              <a:gd name="connsiteX543" fmla="*/ 2120630 w 6142647"/>
              <a:gd name="connsiteY543" fmla="*/ 5078812 h 6407421"/>
              <a:gd name="connsiteX544" fmla="*/ 1854540 w 6142647"/>
              <a:gd name="connsiteY544" fmla="*/ 5049209 h 6407421"/>
              <a:gd name="connsiteX545" fmla="*/ 1884143 w 6142647"/>
              <a:gd name="connsiteY545" fmla="*/ 5049209 h 6407421"/>
              <a:gd name="connsiteX546" fmla="*/ 1884143 w 6142647"/>
              <a:gd name="connsiteY546" fmla="*/ 5078812 h 6407421"/>
              <a:gd name="connsiteX547" fmla="*/ 1854540 w 6142647"/>
              <a:gd name="connsiteY547" fmla="*/ 5078812 h 6407421"/>
              <a:gd name="connsiteX548" fmla="*/ 1588343 w 6142647"/>
              <a:gd name="connsiteY548" fmla="*/ 5049209 h 6407421"/>
              <a:gd name="connsiteX549" fmla="*/ 1617945 w 6142647"/>
              <a:gd name="connsiteY549" fmla="*/ 5049209 h 6407421"/>
              <a:gd name="connsiteX550" fmla="*/ 1617945 w 6142647"/>
              <a:gd name="connsiteY550" fmla="*/ 5078812 h 6407421"/>
              <a:gd name="connsiteX551" fmla="*/ 1588343 w 6142647"/>
              <a:gd name="connsiteY551" fmla="*/ 5078812 h 6407421"/>
              <a:gd name="connsiteX552" fmla="*/ 1322254 w 6142647"/>
              <a:gd name="connsiteY552" fmla="*/ 5049209 h 6407421"/>
              <a:gd name="connsiteX553" fmla="*/ 1351857 w 6142647"/>
              <a:gd name="connsiteY553" fmla="*/ 5049209 h 6407421"/>
              <a:gd name="connsiteX554" fmla="*/ 1351857 w 6142647"/>
              <a:gd name="connsiteY554" fmla="*/ 5078812 h 6407421"/>
              <a:gd name="connsiteX555" fmla="*/ 1322254 w 6142647"/>
              <a:gd name="connsiteY555" fmla="*/ 5078812 h 6407421"/>
              <a:gd name="connsiteX556" fmla="*/ 1056057 w 6142647"/>
              <a:gd name="connsiteY556" fmla="*/ 5049209 h 6407421"/>
              <a:gd name="connsiteX557" fmla="*/ 1085660 w 6142647"/>
              <a:gd name="connsiteY557" fmla="*/ 5049209 h 6407421"/>
              <a:gd name="connsiteX558" fmla="*/ 1085660 w 6142647"/>
              <a:gd name="connsiteY558" fmla="*/ 5078812 h 6407421"/>
              <a:gd name="connsiteX559" fmla="*/ 1056057 w 6142647"/>
              <a:gd name="connsiteY559" fmla="*/ 5078812 h 6407421"/>
              <a:gd name="connsiteX560" fmla="*/ 789968 w 6142647"/>
              <a:gd name="connsiteY560" fmla="*/ 5049209 h 6407421"/>
              <a:gd name="connsiteX561" fmla="*/ 819570 w 6142647"/>
              <a:gd name="connsiteY561" fmla="*/ 5049209 h 6407421"/>
              <a:gd name="connsiteX562" fmla="*/ 819570 w 6142647"/>
              <a:gd name="connsiteY562" fmla="*/ 5078812 h 6407421"/>
              <a:gd name="connsiteX563" fmla="*/ 789968 w 6142647"/>
              <a:gd name="connsiteY563" fmla="*/ 5078812 h 6407421"/>
              <a:gd name="connsiteX564" fmla="*/ 523771 w 6142647"/>
              <a:gd name="connsiteY564" fmla="*/ 5049209 h 6407421"/>
              <a:gd name="connsiteX565" fmla="*/ 553373 w 6142647"/>
              <a:gd name="connsiteY565" fmla="*/ 5049209 h 6407421"/>
              <a:gd name="connsiteX566" fmla="*/ 553373 w 6142647"/>
              <a:gd name="connsiteY566" fmla="*/ 5078812 h 6407421"/>
              <a:gd name="connsiteX567" fmla="*/ 523771 w 6142647"/>
              <a:gd name="connsiteY567" fmla="*/ 5078812 h 6407421"/>
              <a:gd name="connsiteX568" fmla="*/ 266197 w 6142647"/>
              <a:gd name="connsiteY568" fmla="*/ 5049209 h 6407421"/>
              <a:gd name="connsiteX569" fmla="*/ 295800 w 6142647"/>
              <a:gd name="connsiteY569" fmla="*/ 5049209 h 6407421"/>
              <a:gd name="connsiteX570" fmla="*/ 295800 w 6142647"/>
              <a:gd name="connsiteY570" fmla="*/ 5078812 h 6407421"/>
              <a:gd name="connsiteX571" fmla="*/ 266197 w 6142647"/>
              <a:gd name="connsiteY571" fmla="*/ 5078812 h 6407421"/>
              <a:gd name="connsiteX572" fmla="*/ 0 w 6142647"/>
              <a:gd name="connsiteY572" fmla="*/ 5049209 h 6407421"/>
              <a:gd name="connsiteX573" fmla="*/ 29602 w 6142647"/>
              <a:gd name="connsiteY573" fmla="*/ 5049209 h 6407421"/>
              <a:gd name="connsiteX574" fmla="*/ 29602 w 6142647"/>
              <a:gd name="connsiteY574" fmla="*/ 5078812 h 6407421"/>
              <a:gd name="connsiteX575" fmla="*/ 0 w 6142647"/>
              <a:gd name="connsiteY575" fmla="*/ 5078812 h 6407421"/>
              <a:gd name="connsiteX576" fmla="*/ 6113045 w 6142647"/>
              <a:gd name="connsiteY576" fmla="*/ 4783444 h 6407421"/>
              <a:gd name="connsiteX577" fmla="*/ 6142647 w 6142647"/>
              <a:gd name="connsiteY577" fmla="*/ 4783444 h 6407421"/>
              <a:gd name="connsiteX578" fmla="*/ 6142647 w 6142647"/>
              <a:gd name="connsiteY578" fmla="*/ 4813046 h 6407421"/>
              <a:gd name="connsiteX579" fmla="*/ 6113045 w 6142647"/>
              <a:gd name="connsiteY579" fmla="*/ 4813046 h 6407421"/>
              <a:gd name="connsiteX580" fmla="*/ 5846848 w 6142647"/>
              <a:gd name="connsiteY580" fmla="*/ 4783444 h 6407421"/>
              <a:gd name="connsiteX581" fmla="*/ 5876450 w 6142647"/>
              <a:gd name="connsiteY581" fmla="*/ 4783444 h 6407421"/>
              <a:gd name="connsiteX582" fmla="*/ 5876450 w 6142647"/>
              <a:gd name="connsiteY582" fmla="*/ 4813046 h 6407421"/>
              <a:gd name="connsiteX583" fmla="*/ 5846848 w 6142647"/>
              <a:gd name="connsiteY583" fmla="*/ 4813046 h 6407421"/>
              <a:gd name="connsiteX584" fmla="*/ 5580759 w 6142647"/>
              <a:gd name="connsiteY584" fmla="*/ 4783444 h 6407421"/>
              <a:gd name="connsiteX585" fmla="*/ 5610361 w 6142647"/>
              <a:gd name="connsiteY585" fmla="*/ 4783444 h 6407421"/>
              <a:gd name="connsiteX586" fmla="*/ 5610361 w 6142647"/>
              <a:gd name="connsiteY586" fmla="*/ 4813046 h 6407421"/>
              <a:gd name="connsiteX587" fmla="*/ 5580759 w 6142647"/>
              <a:gd name="connsiteY587" fmla="*/ 4813046 h 6407421"/>
              <a:gd name="connsiteX588" fmla="*/ 5314562 w 6142647"/>
              <a:gd name="connsiteY588" fmla="*/ 4783444 h 6407421"/>
              <a:gd name="connsiteX589" fmla="*/ 5344164 w 6142647"/>
              <a:gd name="connsiteY589" fmla="*/ 4783444 h 6407421"/>
              <a:gd name="connsiteX590" fmla="*/ 5344164 w 6142647"/>
              <a:gd name="connsiteY590" fmla="*/ 4813046 h 6407421"/>
              <a:gd name="connsiteX591" fmla="*/ 5314562 w 6142647"/>
              <a:gd name="connsiteY591" fmla="*/ 4813046 h 6407421"/>
              <a:gd name="connsiteX592" fmla="*/ 5048365 w 6142647"/>
              <a:gd name="connsiteY592" fmla="*/ 4783444 h 6407421"/>
              <a:gd name="connsiteX593" fmla="*/ 5078075 w 6142647"/>
              <a:gd name="connsiteY593" fmla="*/ 4783444 h 6407421"/>
              <a:gd name="connsiteX594" fmla="*/ 5078075 w 6142647"/>
              <a:gd name="connsiteY594" fmla="*/ 4813046 h 6407421"/>
              <a:gd name="connsiteX595" fmla="*/ 5048365 w 6142647"/>
              <a:gd name="connsiteY595" fmla="*/ 4813046 h 6407421"/>
              <a:gd name="connsiteX596" fmla="*/ 4782276 w 6142647"/>
              <a:gd name="connsiteY596" fmla="*/ 4783444 h 6407421"/>
              <a:gd name="connsiteX597" fmla="*/ 4811879 w 6142647"/>
              <a:gd name="connsiteY597" fmla="*/ 4783444 h 6407421"/>
              <a:gd name="connsiteX598" fmla="*/ 4811879 w 6142647"/>
              <a:gd name="connsiteY598" fmla="*/ 4813046 h 6407421"/>
              <a:gd name="connsiteX599" fmla="*/ 4782276 w 6142647"/>
              <a:gd name="connsiteY599" fmla="*/ 4813046 h 6407421"/>
              <a:gd name="connsiteX600" fmla="*/ 4516079 w 6142647"/>
              <a:gd name="connsiteY600" fmla="*/ 4783444 h 6407421"/>
              <a:gd name="connsiteX601" fmla="*/ 4545681 w 6142647"/>
              <a:gd name="connsiteY601" fmla="*/ 4783444 h 6407421"/>
              <a:gd name="connsiteX602" fmla="*/ 4545681 w 6142647"/>
              <a:gd name="connsiteY602" fmla="*/ 4813046 h 6407421"/>
              <a:gd name="connsiteX603" fmla="*/ 4516079 w 6142647"/>
              <a:gd name="connsiteY603" fmla="*/ 4813046 h 6407421"/>
              <a:gd name="connsiteX604" fmla="*/ 4249990 w 6142647"/>
              <a:gd name="connsiteY604" fmla="*/ 4783444 h 6407421"/>
              <a:gd name="connsiteX605" fmla="*/ 4279592 w 6142647"/>
              <a:gd name="connsiteY605" fmla="*/ 4783444 h 6407421"/>
              <a:gd name="connsiteX606" fmla="*/ 4279592 w 6142647"/>
              <a:gd name="connsiteY606" fmla="*/ 4813046 h 6407421"/>
              <a:gd name="connsiteX607" fmla="*/ 4249990 w 6142647"/>
              <a:gd name="connsiteY607" fmla="*/ 4813046 h 6407421"/>
              <a:gd name="connsiteX608" fmla="*/ 3983793 w 6142647"/>
              <a:gd name="connsiteY608" fmla="*/ 4783444 h 6407421"/>
              <a:gd name="connsiteX609" fmla="*/ 4013396 w 6142647"/>
              <a:gd name="connsiteY609" fmla="*/ 4783444 h 6407421"/>
              <a:gd name="connsiteX610" fmla="*/ 4013396 w 6142647"/>
              <a:gd name="connsiteY610" fmla="*/ 4813046 h 6407421"/>
              <a:gd name="connsiteX611" fmla="*/ 3983793 w 6142647"/>
              <a:gd name="connsiteY611" fmla="*/ 4813046 h 6407421"/>
              <a:gd name="connsiteX612" fmla="*/ 3717704 w 6142647"/>
              <a:gd name="connsiteY612" fmla="*/ 4783444 h 6407421"/>
              <a:gd name="connsiteX613" fmla="*/ 3747307 w 6142647"/>
              <a:gd name="connsiteY613" fmla="*/ 4783444 h 6407421"/>
              <a:gd name="connsiteX614" fmla="*/ 3747307 w 6142647"/>
              <a:gd name="connsiteY614" fmla="*/ 4813046 h 6407421"/>
              <a:gd name="connsiteX615" fmla="*/ 3717704 w 6142647"/>
              <a:gd name="connsiteY615" fmla="*/ 4813046 h 6407421"/>
              <a:gd name="connsiteX616" fmla="*/ 3451507 w 6142647"/>
              <a:gd name="connsiteY616" fmla="*/ 4783444 h 6407421"/>
              <a:gd name="connsiteX617" fmla="*/ 3481109 w 6142647"/>
              <a:gd name="connsiteY617" fmla="*/ 4783444 h 6407421"/>
              <a:gd name="connsiteX618" fmla="*/ 3481109 w 6142647"/>
              <a:gd name="connsiteY618" fmla="*/ 4813046 h 6407421"/>
              <a:gd name="connsiteX619" fmla="*/ 3451507 w 6142647"/>
              <a:gd name="connsiteY619" fmla="*/ 4813046 h 6407421"/>
              <a:gd name="connsiteX620" fmla="*/ 3185310 w 6142647"/>
              <a:gd name="connsiteY620" fmla="*/ 4783444 h 6407421"/>
              <a:gd name="connsiteX621" fmla="*/ 3214913 w 6142647"/>
              <a:gd name="connsiteY621" fmla="*/ 4783444 h 6407421"/>
              <a:gd name="connsiteX622" fmla="*/ 3214913 w 6142647"/>
              <a:gd name="connsiteY622" fmla="*/ 4813046 h 6407421"/>
              <a:gd name="connsiteX623" fmla="*/ 3185310 w 6142647"/>
              <a:gd name="connsiteY623" fmla="*/ 4813046 h 6407421"/>
              <a:gd name="connsiteX624" fmla="*/ 2919113 w 6142647"/>
              <a:gd name="connsiteY624" fmla="*/ 4783444 h 6407421"/>
              <a:gd name="connsiteX625" fmla="*/ 2948715 w 6142647"/>
              <a:gd name="connsiteY625" fmla="*/ 4783444 h 6407421"/>
              <a:gd name="connsiteX626" fmla="*/ 2948715 w 6142647"/>
              <a:gd name="connsiteY626" fmla="*/ 4813046 h 6407421"/>
              <a:gd name="connsiteX627" fmla="*/ 2919113 w 6142647"/>
              <a:gd name="connsiteY627" fmla="*/ 4813046 h 6407421"/>
              <a:gd name="connsiteX628" fmla="*/ 2653024 w 6142647"/>
              <a:gd name="connsiteY628" fmla="*/ 4783444 h 6407421"/>
              <a:gd name="connsiteX629" fmla="*/ 2682627 w 6142647"/>
              <a:gd name="connsiteY629" fmla="*/ 4783444 h 6407421"/>
              <a:gd name="connsiteX630" fmla="*/ 2682627 w 6142647"/>
              <a:gd name="connsiteY630" fmla="*/ 4813046 h 6407421"/>
              <a:gd name="connsiteX631" fmla="*/ 2653024 w 6142647"/>
              <a:gd name="connsiteY631" fmla="*/ 4813046 h 6407421"/>
              <a:gd name="connsiteX632" fmla="*/ 2386827 w 6142647"/>
              <a:gd name="connsiteY632" fmla="*/ 4783444 h 6407421"/>
              <a:gd name="connsiteX633" fmla="*/ 2416430 w 6142647"/>
              <a:gd name="connsiteY633" fmla="*/ 4783444 h 6407421"/>
              <a:gd name="connsiteX634" fmla="*/ 2416430 w 6142647"/>
              <a:gd name="connsiteY634" fmla="*/ 4813046 h 6407421"/>
              <a:gd name="connsiteX635" fmla="*/ 2386827 w 6142647"/>
              <a:gd name="connsiteY635" fmla="*/ 4813046 h 6407421"/>
              <a:gd name="connsiteX636" fmla="*/ 2120630 w 6142647"/>
              <a:gd name="connsiteY636" fmla="*/ 4783444 h 6407421"/>
              <a:gd name="connsiteX637" fmla="*/ 2150233 w 6142647"/>
              <a:gd name="connsiteY637" fmla="*/ 4783444 h 6407421"/>
              <a:gd name="connsiteX638" fmla="*/ 2150233 w 6142647"/>
              <a:gd name="connsiteY638" fmla="*/ 4813046 h 6407421"/>
              <a:gd name="connsiteX639" fmla="*/ 2120630 w 6142647"/>
              <a:gd name="connsiteY639" fmla="*/ 4813046 h 6407421"/>
              <a:gd name="connsiteX640" fmla="*/ 1854540 w 6142647"/>
              <a:gd name="connsiteY640" fmla="*/ 4783444 h 6407421"/>
              <a:gd name="connsiteX641" fmla="*/ 1884143 w 6142647"/>
              <a:gd name="connsiteY641" fmla="*/ 4783444 h 6407421"/>
              <a:gd name="connsiteX642" fmla="*/ 1884143 w 6142647"/>
              <a:gd name="connsiteY642" fmla="*/ 4813046 h 6407421"/>
              <a:gd name="connsiteX643" fmla="*/ 1854540 w 6142647"/>
              <a:gd name="connsiteY643" fmla="*/ 4813046 h 6407421"/>
              <a:gd name="connsiteX644" fmla="*/ 1588343 w 6142647"/>
              <a:gd name="connsiteY644" fmla="*/ 4783444 h 6407421"/>
              <a:gd name="connsiteX645" fmla="*/ 1617945 w 6142647"/>
              <a:gd name="connsiteY645" fmla="*/ 4783444 h 6407421"/>
              <a:gd name="connsiteX646" fmla="*/ 1617945 w 6142647"/>
              <a:gd name="connsiteY646" fmla="*/ 4813046 h 6407421"/>
              <a:gd name="connsiteX647" fmla="*/ 1588343 w 6142647"/>
              <a:gd name="connsiteY647" fmla="*/ 4813046 h 6407421"/>
              <a:gd name="connsiteX648" fmla="*/ 1322254 w 6142647"/>
              <a:gd name="connsiteY648" fmla="*/ 4783444 h 6407421"/>
              <a:gd name="connsiteX649" fmla="*/ 1351857 w 6142647"/>
              <a:gd name="connsiteY649" fmla="*/ 4783444 h 6407421"/>
              <a:gd name="connsiteX650" fmla="*/ 1351857 w 6142647"/>
              <a:gd name="connsiteY650" fmla="*/ 4813046 h 6407421"/>
              <a:gd name="connsiteX651" fmla="*/ 1322254 w 6142647"/>
              <a:gd name="connsiteY651" fmla="*/ 4813046 h 6407421"/>
              <a:gd name="connsiteX652" fmla="*/ 1056057 w 6142647"/>
              <a:gd name="connsiteY652" fmla="*/ 4783444 h 6407421"/>
              <a:gd name="connsiteX653" fmla="*/ 1085660 w 6142647"/>
              <a:gd name="connsiteY653" fmla="*/ 4783444 h 6407421"/>
              <a:gd name="connsiteX654" fmla="*/ 1085660 w 6142647"/>
              <a:gd name="connsiteY654" fmla="*/ 4813046 h 6407421"/>
              <a:gd name="connsiteX655" fmla="*/ 1056057 w 6142647"/>
              <a:gd name="connsiteY655" fmla="*/ 4813046 h 6407421"/>
              <a:gd name="connsiteX656" fmla="*/ 789968 w 6142647"/>
              <a:gd name="connsiteY656" fmla="*/ 4783444 h 6407421"/>
              <a:gd name="connsiteX657" fmla="*/ 819570 w 6142647"/>
              <a:gd name="connsiteY657" fmla="*/ 4783444 h 6407421"/>
              <a:gd name="connsiteX658" fmla="*/ 819570 w 6142647"/>
              <a:gd name="connsiteY658" fmla="*/ 4813046 h 6407421"/>
              <a:gd name="connsiteX659" fmla="*/ 789968 w 6142647"/>
              <a:gd name="connsiteY659" fmla="*/ 4813046 h 6407421"/>
              <a:gd name="connsiteX660" fmla="*/ 523771 w 6142647"/>
              <a:gd name="connsiteY660" fmla="*/ 4783444 h 6407421"/>
              <a:gd name="connsiteX661" fmla="*/ 553373 w 6142647"/>
              <a:gd name="connsiteY661" fmla="*/ 4783444 h 6407421"/>
              <a:gd name="connsiteX662" fmla="*/ 553373 w 6142647"/>
              <a:gd name="connsiteY662" fmla="*/ 4813046 h 6407421"/>
              <a:gd name="connsiteX663" fmla="*/ 523771 w 6142647"/>
              <a:gd name="connsiteY663" fmla="*/ 4813046 h 6407421"/>
              <a:gd name="connsiteX664" fmla="*/ 266197 w 6142647"/>
              <a:gd name="connsiteY664" fmla="*/ 4783444 h 6407421"/>
              <a:gd name="connsiteX665" fmla="*/ 295800 w 6142647"/>
              <a:gd name="connsiteY665" fmla="*/ 4783444 h 6407421"/>
              <a:gd name="connsiteX666" fmla="*/ 295800 w 6142647"/>
              <a:gd name="connsiteY666" fmla="*/ 4813046 h 6407421"/>
              <a:gd name="connsiteX667" fmla="*/ 266197 w 6142647"/>
              <a:gd name="connsiteY667" fmla="*/ 4813046 h 6407421"/>
              <a:gd name="connsiteX668" fmla="*/ 0 w 6142647"/>
              <a:gd name="connsiteY668" fmla="*/ 4783444 h 6407421"/>
              <a:gd name="connsiteX669" fmla="*/ 29602 w 6142647"/>
              <a:gd name="connsiteY669" fmla="*/ 4783444 h 6407421"/>
              <a:gd name="connsiteX670" fmla="*/ 29602 w 6142647"/>
              <a:gd name="connsiteY670" fmla="*/ 4813046 h 6407421"/>
              <a:gd name="connsiteX671" fmla="*/ 0 w 6142647"/>
              <a:gd name="connsiteY671" fmla="*/ 4813046 h 6407421"/>
              <a:gd name="connsiteX672" fmla="*/ 6113045 w 6142647"/>
              <a:gd name="connsiteY672" fmla="*/ 4517679 h 6407421"/>
              <a:gd name="connsiteX673" fmla="*/ 6142647 w 6142647"/>
              <a:gd name="connsiteY673" fmla="*/ 4517679 h 6407421"/>
              <a:gd name="connsiteX674" fmla="*/ 6142647 w 6142647"/>
              <a:gd name="connsiteY674" fmla="*/ 4547281 h 6407421"/>
              <a:gd name="connsiteX675" fmla="*/ 6113045 w 6142647"/>
              <a:gd name="connsiteY675" fmla="*/ 4547281 h 6407421"/>
              <a:gd name="connsiteX676" fmla="*/ 5846848 w 6142647"/>
              <a:gd name="connsiteY676" fmla="*/ 4517679 h 6407421"/>
              <a:gd name="connsiteX677" fmla="*/ 5876450 w 6142647"/>
              <a:gd name="connsiteY677" fmla="*/ 4517679 h 6407421"/>
              <a:gd name="connsiteX678" fmla="*/ 5876450 w 6142647"/>
              <a:gd name="connsiteY678" fmla="*/ 4547281 h 6407421"/>
              <a:gd name="connsiteX679" fmla="*/ 5846848 w 6142647"/>
              <a:gd name="connsiteY679" fmla="*/ 4547281 h 6407421"/>
              <a:gd name="connsiteX680" fmla="*/ 5580759 w 6142647"/>
              <a:gd name="connsiteY680" fmla="*/ 4517679 h 6407421"/>
              <a:gd name="connsiteX681" fmla="*/ 5610361 w 6142647"/>
              <a:gd name="connsiteY681" fmla="*/ 4517679 h 6407421"/>
              <a:gd name="connsiteX682" fmla="*/ 5610361 w 6142647"/>
              <a:gd name="connsiteY682" fmla="*/ 4547281 h 6407421"/>
              <a:gd name="connsiteX683" fmla="*/ 5580759 w 6142647"/>
              <a:gd name="connsiteY683" fmla="*/ 4547281 h 6407421"/>
              <a:gd name="connsiteX684" fmla="*/ 5314562 w 6142647"/>
              <a:gd name="connsiteY684" fmla="*/ 4517679 h 6407421"/>
              <a:gd name="connsiteX685" fmla="*/ 5344164 w 6142647"/>
              <a:gd name="connsiteY685" fmla="*/ 4517679 h 6407421"/>
              <a:gd name="connsiteX686" fmla="*/ 5344164 w 6142647"/>
              <a:gd name="connsiteY686" fmla="*/ 4547281 h 6407421"/>
              <a:gd name="connsiteX687" fmla="*/ 5314562 w 6142647"/>
              <a:gd name="connsiteY687" fmla="*/ 4547281 h 6407421"/>
              <a:gd name="connsiteX688" fmla="*/ 5048365 w 6142647"/>
              <a:gd name="connsiteY688" fmla="*/ 4517679 h 6407421"/>
              <a:gd name="connsiteX689" fmla="*/ 5078075 w 6142647"/>
              <a:gd name="connsiteY689" fmla="*/ 4517679 h 6407421"/>
              <a:gd name="connsiteX690" fmla="*/ 5078075 w 6142647"/>
              <a:gd name="connsiteY690" fmla="*/ 4547281 h 6407421"/>
              <a:gd name="connsiteX691" fmla="*/ 5048365 w 6142647"/>
              <a:gd name="connsiteY691" fmla="*/ 4547281 h 6407421"/>
              <a:gd name="connsiteX692" fmla="*/ 4782276 w 6142647"/>
              <a:gd name="connsiteY692" fmla="*/ 4517679 h 6407421"/>
              <a:gd name="connsiteX693" fmla="*/ 4811879 w 6142647"/>
              <a:gd name="connsiteY693" fmla="*/ 4517679 h 6407421"/>
              <a:gd name="connsiteX694" fmla="*/ 4811879 w 6142647"/>
              <a:gd name="connsiteY694" fmla="*/ 4547281 h 6407421"/>
              <a:gd name="connsiteX695" fmla="*/ 4782276 w 6142647"/>
              <a:gd name="connsiteY695" fmla="*/ 4547281 h 6407421"/>
              <a:gd name="connsiteX696" fmla="*/ 4516079 w 6142647"/>
              <a:gd name="connsiteY696" fmla="*/ 4517679 h 6407421"/>
              <a:gd name="connsiteX697" fmla="*/ 4545681 w 6142647"/>
              <a:gd name="connsiteY697" fmla="*/ 4517679 h 6407421"/>
              <a:gd name="connsiteX698" fmla="*/ 4545681 w 6142647"/>
              <a:gd name="connsiteY698" fmla="*/ 4547281 h 6407421"/>
              <a:gd name="connsiteX699" fmla="*/ 4516079 w 6142647"/>
              <a:gd name="connsiteY699" fmla="*/ 4547281 h 6407421"/>
              <a:gd name="connsiteX700" fmla="*/ 4249990 w 6142647"/>
              <a:gd name="connsiteY700" fmla="*/ 4517679 h 6407421"/>
              <a:gd name="connsiteX701" fmla="*/ 4279592 w 6142647"/>
              <a:gd name="connsiteY701" fmla="*/ 4517679 h 6407421"/>
              <a:gd name="connsiteX702" fmla="*/ 4279592 w 6142647"/>
              <a:gd name="connsiteY702" fmla="*/ 4547281 h 6407421"/>
              <a:gd name="connsiteX703" fmla="*/ 4249990 w 6142647"/>
              <a:gd name="connsiteY703" fmla="*/ 4547281 h 6407421"/>
              <a:gd name="connsiteX704" fmla="*/ 3983793 w 6142647"/>
              <a:gd name="connsiteY704" fmla="*/ 4517679 h 6407421"/>
              <a:gd name="connsiteX705" fmla="*/ 4013396 w 6142647"/>
              <a:gd name="connsiteY705" fmla="*/ 4517679 h 6407421"/>
              <a:gd name="connsiteX706" fmla="*/ 4013396 w 6142647"/>
              <a:gd name="connsiteY706" fmla="*/ 4547281 h 6407421"/>
              <a:gd name="connsiteX707" fmla="*/ 3983793 w 6142647"/>
              <a:gd name="connsiteY707" fmla="*/ 4547281 h 6407421"/>
              <a:gd name="connsiteX708" fmla="*/ 3717704 w 6142647"/>
              <a:gd name="connsiteY708" fmla="*/ 4517679 h 6407421"/>
              <a:gd name="connsiteX709" fmla="*/ 3747307 w 6142647"/>
              <a:gd name="connsiteY709" fmla="*/ 4517679 h 6407421"/>
              <a:gd name="connsiteX710" fmla="*/ 3747307 w 6142647"/>
              <a:gd name="connsiteY710" fmla="*/ 4547281 h 6407421"/>
              <a:gd name="connsiteX711" fmla="*/ 3717704 w 6142647"/>
              <a:gd name="connsiteY711" fmla="*/ 4547281 h 6407421"/>
              <a:gd name="connsiteX712" fmla="*/ 3451507 w 6142647"/>
              <a:gd name="connsiteY712" fmla="*/ 4517679 h 6407421"/>
              <a:gd name="connsiteX713" fmla="*/ 3481109 w 6142647"/>
              <a:gd name="connsiteY713" fmla="*/ 4517679 h 6407421"/>
              <a:gd name="connsiteX714" fmla="*/ 3481109 w 6142647"/>
              <a:gd name="connsiteY714" fmla="*/ 4547281 h 6407421"/>
              <a:gd name="connsiteX715" fmla="*/ 3451507 w 6142647"/>
              <a:gd name="connsiteY715" fmla="*/ 4547281 h 6407421"/>
              <a:gd name="connsiteX716" fmla="*/ 3185310 w 6142647"/>
              <a:gd name="connsiteY716" fmla="*/ 4517679 h 6407421"/>
              <a:gd name="connsiteX717" fmla="*/ 3214913 w 6142647"/>
              <a:gd name="connsiteY717" fmla="*/ 4517679 h 6407421"/>
              <a:gd name="connsiteX718" fmla="*/ 3214913 w 6142647"/>
              <a:gd name="connsiteY718" fmla="*/ 4547281 h 6407421"/>
              <a:gd name="connsiteX719" fmla="*/ 3185310 w 6142647"/>
              <a:gd name="connsiteY719" fmla="*/ 4547281 h 6407421"/>
              <a:gd name="connsiteX720" fmla="*/ 2919113 w 6142647"/>
              <a:gd name="connsiteY720" fmla="*/ 4517679 h 6407421"/>
              <a:gd name="connsiteX721" fmla="*/ 2948715 w 6142647"/>
              <a:gd name="connsiteY721" fmla="*/ 4517679 h 6407421"/>
              <a:gd name="connsiteX722" fmla="*/ 2948715 w 6142647"/>
              <a:gd name="connsiteY722" fmla="*/ 4547281 h 6407421"/>
              <a:gd name="connsiteX723" fmla="*/ 2919113 w 6142647"/>
              <a:gd name="connsiteY723" fmla="*/ 4547281 h 6407421"/>
              <a:gd name="connsiteX724" fmla="*/ 2653024 w 6142647"/>
              <a:gd name="connsiteY724" fmla="*/ 4517679 h 6407421"/>
              <a:gd name="connsiteX725" fmla="*/ 2682627 w 6142647"/>
              <a:gd name="connsiteY725" fmla="*/ 4517679 h 6407421"/>
              <a:gd name="connsiteX726" fmla="*/ 2682627 w 6142647"/>
              <a:gd name="connsiteY726" fmla="*/ 4547281 h 6407421"/>
              <a:gd name="connsiteX727" fmla="*/ 2653024 w 6142647"/>
              <a:gd name="connsiteY727" fmla="*/ 4547281 h 6407421"/>
              <a:gd name="connsiteX728" fmla="*/ 2386827 w 6142647"/>
              <a:gd name="connsiteY728" fmla="*/ 4517679 h 6407421"/>
              <a:gd name="connsiteX729" fmla="*/ 2416430 w 6142647"/>
              <a:gd name="connsiteY729" fmla="*/ 4517679 h 6407421"/>
              <a:gd name="connsiteX730" fmla="*/ 2416430 w 6142647"/>
              <a:gd name="connsiteY730" fmla="*/ 4547281 h 6407421"/>
              <a:gd name="connsiteX731" fmla="*/ 2386827 w 6142647"/>
              <a:gd name="connsiteY731" fmla="*/ 4547281 h 6407421"/>
              <a:gd name="connsiteX732" fmla="*/ 2120630 w 6142647"/>
              <a:gd name="connsiteY732" fmla="*/ 4517679 h 6407421"/>
              <a:gd name="connsiteX733" fmla="*/ 2150233 w 6142647"/>
              <a:gd name="connsiteY733" fmla="*/ 4517679 h 6407421"/>
              <a:gd name="connsiteX734" fmla="*/ 2150233 w 6142647"/>
              <a:gd name="connsiteY734" fmla="*/ 4547281 h 6407421"/>
              <a:gd name="connsiteX735" fmla="*/ 2120630 w 6142647"/>
              <a:gd name="connsiteY735" fmla="*/ 4547281 h 6407421"/>
              <a:gd name="connsiteX736" fmla="*/ 1854540 w 6142647"/>
              <a:gd name="connsiteY736" fmla="*/ 4517679 h 6407421"/>
              <a:gd name="connsiteX737" fmla="*/ 1884143 w 6142647"/>
              <a:gd name="connsiteY737" fmla="*/ 4517679 h 6407421"/>
              <a:gd name="connsiteX738" fmla="*/ 1884143 w 6142647"/>
              <a:gd name="connsiteY738" fmla="*/ 4547281 h 6407421"/>
              <a:gd name="connsiteX739" fmla="*/ 1854540 w 6142647"/>
              <a:gd name="connsiteY739" fmla="*/ 4547281 h 6407421"/>
              <a:gd name="connsiteX740" fmla="*/ 1588343 w 6142647"/>
              <a:gd name="connsiteY740" fmla="*/ 4517679 h 6407421"/>
              <a:gd name="connsiteX741" fmla="*/ 1617945 w 6142647"/>
              <a:gd name="connsiteY741" fmla="*/ 4517679 h 6407421"/>
              <a:gd name="connsiteX742" fmla="*/ 1617945 w 6142647"/>
              <a:gd name="connsiteY742" fmla="*/ 4547281 h 6407421"/>
              <a:gd name="connsiteX743" fmla="*/ 1588343 w 6142647"/>
              <a:gd name="connsiteY743" fmla="*/ 4547281 h 6407421"/>
              <a:gd name="connsiteX744" fmla="*/ 1322254 w 6142647"/>
              <a:gd name="connsiteY744" fmla="*/ 4517679 h 6407421"/>
              <a:gd name="connsiteX745" fmla="*/ 1351857 w 6142647"/>
              <a:gd name="connsiteY745" fmla="*/ 4517679 h 6407421"/>
              <a:gd name="connsiteX746" fmla="*/ 1351857 w 6142647"/>
              <a:gd name="connsiteY746" fmla="*/ 4547281 h 6407421"/>
              <a:gd name="connsiteX747" fmla="*/ 1322254 w 6142647"/>
              <a:gd name="connsiteY747" fmla="*/ 4547281 h 6407421"/>
              <a:gd name="connsiteX748" fmla="*/ 1056057 w 6142647"/>
              <a:gd name="connsiteY748" fmla="*/ 4517679 h 6407421"/>
              <a:gd name="connsiteX749" fmla="*/ 1085660 w 6142647"/>
              <a:gd name="connsiteY749" fmla="*/ 4517679 h 6407421"/>
              <a:gd name="connsiteX750" fmla="*/ 1085660 w 6142647"/>
              <a:gd name="connsiteY750" fmla="*/ 4547281 h 6407421"/>
              <a:gd name="connsiteX751" fmla="*/ 1056057 w 6142647"/>
              <a:gd name="connsiteY751" fmla="*/ 4547281 h 6407421"/>
              <a:gd name="connsiteX752" fmla="*/ 789968 w 6142647"/>
              <a:gd name="connsiteY752" fmla="*/ 4517679 h 6407421"/>
              <a:gd name="connsiteX753" fmla="*/ 819570 w 6142647"/>
              <a:gd name="connsiteY753" fmla="*/ 4517679 h 6407421"/>
              <a:gd name="connsiteX754" fmla="*/ 819570 w 6142647"/>
              <a:gd name="connsiteY754" fmla="*/ 4547281 h 6407421"/>
              <a:gd name="connsiteX755" fmla="*/ 789968 w 6142647"/>
              <a:gd name="connsiteY755" fmla="*/ 4547281 h 6407421"/>
              <a:gd name="connsiteX756" fmla="*/ 523771 w 6142647"/>
              <a:gd name="connsiteY756" fmla="*/ 4517679 h 6407421"/>
              <a:gd name="connsiteX757" fmla="*/ 553373 w 6142647"/>
              <a:gd name="connsiteY757" fmla="*/ 4517679 h 6407421"/>
              <a:gd name="connsiteX758" fmla="*/ 553373 w 6142647"/>
              <a:gd name="connsiteY758" fmla="*/ 4547281 h 6407421"/>
              <a:gd name="connsiteX759" fmla="*/ 523771 w 6142647"/>
              <a:gd name="connsiteY759" fmla="*/ 4547281 h 6407421"/>
              <a:gd name="connsiteX760" fmla="*/ 266197 w 6142647"/>
              <a:gd name="connsiteY760" fmla="*/ 4517679 h 6407421"/>
              <a:gd name="connsiteX761" fmla="*/ 295800 w 6142647"/>
              <a:gd name="connsiteY761" fmla="*/ 4517679 h 6407421"/>
              <a:gd name="connsiteX762" fmla="*/ 295800 w 6142647"/>
              <a:gd name="connsiteY762" fmla="*/ 4547281 h 6407421"/>
              <a:gd name="connsiteX763" fmla="*/ 266197 w 6142647"/>
              <a:gd name="connsiteY763" fmla="*/ 4547281 h 6407421"/>
              <a:gd name="connsiteX764" fmla="*/ 0 w 6142647"/>
              <a:gd name="connsiteY764" fmla="*/ 4517679 h 6407421"/>
              <a:gd name="connsiteX765" fmla="*/ 29602 w 6142647"/>
              <a:gd name="connsiteY765" fmla="*/ 4517679 h 6407421"/>
              <a:gd name="connsiteX766" fmla="*/ 29602 w 6142647"/>
              <a:gd name="connsiteY766" fmla="*/ 4547281 h 6407421"/>
              <a:gd name="connsiteX767" fmla="*/ 0 w 6142647"/>
              <a:gd name="connsiteY767" fmla="*/ 4547281 h 6407421"/>
              <a:gd name="connsiteX768" fmla="*/ 6113045 w 6142647"/>
              <a:gd name="connsiteY768" fmla="*/ 4252022 h 6407421"/>
              <a:gd name="connsiteX769" fmla="*/ 6142647 w 6142647"/>
              <a:gd name="connsiteY769" fmla="*/ 4252022 h 6407421"/>
              <a:gd name="connsiteX770" fmla="*/ 6142647 w 6142647"/>
              <a:gd name="connsiteY770" fmla="*/ 4281516 h 6407421"/>
              <a:gd name="connsiteX771" fmla="*/ 6113045 w 6142647"/>
              <a:gd name="connsiteY771" fmla="*/ 4281516 h 6407421"/>
              <a:gd name="connsiteX772" fmla="*/ 5846848 w 6142647"/>
              <a:gd name="connsiteY772" fmla="*/ 4252022 h 6407421"/>
              <a:gd name="connsiteX773" fmla="*/ 5876450 w 6142647"/>
              <a:gd name="connsiteY773" fmla="*/ 4252022 h 6407421"/>
              <a:gd name="connsiteX774" fmla="*/ 5876450 w 6142647"/>
              <a:gd name="connsiteY774" fmla="*/ 4281516 h 6407421"/>
              <a:gd name="connsiteX775" fmla="*/ 5846848 w 6142647"/>
              <a:gd name="connsiteY775" fmla="*/ 4281516 h 6407421"/>
              <a:gd name="connsiteX776" fmla="*/ 5580759 w 6142647"/>
              <a:gd name="connsiteY776" fmla="*/ 4252022 h 6407421"/>
              <a:gd name="connsiteX777" fmla="*/ 5610361 w 6142647"/>
              <a:gd name="connsiteY777" fmla="*/ 4252022 h 6407421"/>
              <a:gd name="connsiteX778" fmla="*/ 5610361 w 6142647"/>
              <a:gd name="connsiteY778" fmla="*/ 4281516 h 6407421"/>
              <a:gd name="connsiteX779" fmla="*/ 5580759 w 6142647"/>
              <a:gd name="connsiteY779" fmla="*/ 4281516 h 6407421"/>
              <a:gd name="connsiteX780" fmla="*/ 5314562 w 6142647"/>
              <a:gd name="connsiteY780" fmla="*/ 4252022 h 6407421"/>
              <a:gd name="connsiteX781" fmla="*/ 5344164 w 6142647"/>
              <a:gd name="connsiteY781" fmla="*/ 4252022 h 6407421"/>
              <a:gd name="connsiteX782" fmla="*/ 5344164 w 6142647"/>
              <a:gd name="connsiteY782" fmla="*/ 4281516 h 6407421"/>
              <a:gd name="connsiteX783" fmla="*/ 5314562 w 6142647"/>
              <a:gd name="connsiteY783" fmla="*/ 4281516 h 6407421"/>
              <a:gd name="connsiteX784" fmla="*/ 5048365 w 6142647"/>
              <a:gd name="connsiteY784" fmla="*/ 4252022 h 6407421"/>
              <a:gd name="connsiteX785" fmla="*/ 5078075 w 6142647"/>
              <a:gd name="connsiteY785" fmla="*/ 4252022 h 6407421"/>
              <a:gd name="connsiteX786" fmla="*/ 5078075 w 6142647"/>
              <a:gd name="connsiteY786" fmla="*/ 4281516 h 6407421"/>
              <a:gd name="connsiteX787" fmla="*/ 5048365 w 6142647"/>
              <a:gd name="connsiteY787" fmla="*/ 4281516 h 6407421"/>
              <a:gd name="connsiteX788" fmla="*/ 4782276 w 6142647"/>
              <a:gd name="connsiteY788" fmla="*/ 4252022 h 6407421"/>
              <a:gd name="connsiteX789" fmla="*/ 4811879 w 6142647"/>
              <a:gd name="connsiteY789" fmla="*/ 4252022 h 6407421"/>
              <a:gd name="connsiteX790" fmla="*/ 4811879 w 6142647"/>
              <a:gd name="connsiteY790" fmla="*/ 4281516 h 6407421"/>
              <a:gd name="connsiteX791" fmla="*/ 4782276 w 6142647"/>
              <a:gd name="connsiteY791" fmla="*/ 4281516 h 6407421"/>
              <a:gd name="connsiteX792" fmla="*/ 4516079 w 6142647"/>
              <a:gd name="connsiteY792" fmla="*/ 4252022 h 6407421"/>
              <a:gd name="connsiteX793" fmla="*/ 4545681 w 6142647"/>
              <a:gd name="connsiteY793" fmla="*/ 4252022 h 6407421"/>
              <a:gd name="connsiteX794" fmla="*/ 4545681 w 6142647"/>
              <a:gd name="connsiteY794" fmla="*/ 4281516 h 6407421"/>
              <a:gd name="connsiteX795" fmla="*/ 4516079 w 6142647"/>
              <a:gd name="connsiteY795" fmla="*/ 4281516 h 6407421"/>
              <a:gd name="connsiteX796" fmla="*/ 4249990 w 6142647"/>
              <a:gd name="connsiteY796" fmla="*/ 4252022 h 6407421"/>
              <a:gd name="connsiteX797" fmla="*/ 4279592 w 6142647"/>
              <a:gd name="connsiteY797" fmla="*/ 4252022 h 6407421"/>
              <a:gd name="connsiteX798" fmla="*/ 4279592 w 6142647"/>
              <a:gd name="connsiteY798" fmla="*/ 4281516 h 6407421"/>
              <a:gd name="connsiteX799" fmla="*/ 4249990 w 6142647"/>
              <a:gd name="connsiteY799" fmla="*/ 4281516 h 6407421"/>
              <a:gd name="connsiteX800" fmla="*/ 3983793 w 6142647"/>
              <a:gd name="connsiteY800" fmla="*/ 4252022 h 6407421"/>
              <a:gd name="connsiteX801" fmla="*/ 4013396 w 6142647"/>
              <a:gd name="connsiteY801" fmla="*/ 4252022 h 6407421"/>
              <a:gd name="connsiteX802" fmla="*/ 4013396 w 6142647"/>
              <a:gd name="connsiteY802" fmla="*/ 4281516 h 6407421"/>
              <a:gd name="connsiteX803" fmla="*/ 3983793 w 6142647"/>
              <a:gd name="connsiteY803" fmla="*/ 4281516 h 6407421"/>
              <a:gd name="connsiteX804" fmla="*/ 3717704 w 6142647"/>
              <a:gd name="connsiteY804" fmla="*/ 4252022 h 6407421"/>
              <a:gd name="connsiteX805" fmla="*/ 3747307 w 6142647"/>
              <a:gd name="connsiteY805" fmla="*/ 4252022 h 6407421"/>
              <a:gd name="connsiteX806" fmla="*/ 3747307 w 6142647"/>
              <a:gd name="connsiteY806" fmla="*/ 4281516 h 6407421"/>
              <a:gd name="connsiteX807" fmla="*/ 3717704 w 6142647"/>
              <a:gd name="connsiteY807" fmla="*/ 4281516 h 6407421"/>
              <a:gd name="connsiteX808" fmla="*/ 3451507 w 6142647"/>
              <a:gd name="connsiteY808" fmla="*/ 4252022 h 6407421"/>
              <a:gd name="connsiteX809" fmla="*/ 3481109 w 6142647"/>
              <a:gd name="connsiteY809" fmla="*/ 4252022 h 6407421"/>
              <a:gd name="connsiteX810" fmla="*/ 3481109 w 6142647"/>
              <a:gd name="connsiteY810" fmla="*/ 4281516 h 6407421"/>
              <a:gd name="connsiteX811" fmla="*/ 3451507 w 6142647"/>
              <a:gd name="connsiteY811" fmla="*/ 4281516 h 6407421"/>
              <a:gd name="connsiteX812" fmla="*/ 3185310 w 6142647"/>
              <a:gd name="connsiteY812" fmla="*/ 4252022 h 6407421"/>
              <a:gd name="connsiteX813" fmla="*/ 3214913 w 6142647"/>
              <a:gd name="connsiteY813" fmla="*/ 4252022 h 6407421"/>
              <a:gd name="connsiteX814" fmla="*/ 3214913 w 6142647"/>
              <a:gd name="connsiteY814" fmla="*/ 4281516 h 6407421"/>
              <a:gd name="connsiteX815" fmla="*/ 3185310 w 6142647"/>
              <a:gd name="connsiteY815" fmla="*/ 4281516 h 6407421"/>
              <a:gd name="connsiteX816" fmla="*/ 2919113 w 6142647"/>
              <a:gd name="connsiteY816" fmla="*/ 4252022 h 6407421"/>
              <a:gd name="connsiteX817" fmla="*/ 2948715 w 6142647"/>
              <a:gd name="connsiteY817" fmla="*/ 4252022 h 6407421"/>
              <a:gd name="connsiteX818" fmla="*/ 2948715 w 6142647"/>
              <a:gd name="connsiteY818" fmla="*/ 4281516 h 6407421"/>
              <a:gd name="connsiteX819" fmla="*/ 2919113 w 6142647"/>
              <a:gd name="connsiteY819" fmla="*/ 4281516 h 6407421"/>
              <a:gd name="connsiteX820" fmla="*/ 2653024 w 6142647"/>
              <a:gd name="connsiteY820" fmla="*/ 4252022 h 6407421"/>
              <a:gd name="connsiteX821" fmla="*/ 2682627 w 6142647"/>
              <a:gd name="connsiteY821" fmla="*/ 4252022 h 6407421"/>
              <a:gd name="connsiteX822" fmla="*/ 2682627 w 6142647"/>
              <a:gd name="connsiteY822" fmla="*/ 4281516 h 6407421"/>
              <a:gd name="connsiteX823" fmla="*/ 2653024 w 6142647"/>
              <a:gd name="connsiteY823" fmla="*/ 4281516 h 6407421"/>
              <a:gd name="connsiteX824" fmla="*/ 2386827 w 6142647"/>
              <a:gd name="connsiteY824" fmla="*/ 4252022 h 6407421"/>
              <a:gd name="connsiteX825" fmla="*/ 2416430 w 6142647"/>
              <a:gd name="connsiteY825" fmla="*/ 4252022 h 6407421"/>
              <a:gd name="connsiteX826" fmla="*/ 2416430 w 6142647"/>
              <a:gd name="connsiteY826" fmla="*/ 4281516 h 6407421"/>
              <a:gd name="connsiteX827" fmla="*/ 2386827 w 6142647"/>
              <a:gd name="connsiteY827" fmla="*/ 4281516 h 6407421"/>
              <a:gd name="connsiteX828" fmla="*/ 2120630 w 6142647"/>
              <a:gd name="connsiteY828" fmla="*/ 4252022 h 6407421"/>
              <a:gd name="connsiteX829" fmla="*/ 2150233 w 6142647"/>
              <a:gd name="connsiteY829" fmla="*/ 4252022 h 6407421"/>
              <a:gd name="connsiteX830" fmla="*/ 2150233 w 6142647"/>
              <a:gd name="connsiteY830" fmla="*/ 4281516 h 6407421"/>
              <a:gd name="connsiteX831" fmla="*/ 2120630 w 6142647"/>
              <a:gd name="connsiteY831" fmla="*/ 4281516 h 6407421"/>
              <a:gd name="connsiteX832" fmla="*/ 1854540 w 6142647"/>
              <a:gd name="connsiteY832" fmla="*/ 4252022 h 6407421"/>
              <a:gd name="connsiteX833" fmla="*/ 1884143 w 6142647"/>
              <a:gd name="connsiteY833" fmla="*/ 4252022 h 6407421"/>
              <a:gd name="connsiteX834" fmla="*/ 1884143 w 6142647"/>
              <a:gd name="connsiteY834" fmla="*/ 4281516 h 6407421"/>
              <a:gd name="connsiteX835" fmla="*/ 1854540 w 6142647"/>
              <a:gd name="connsiteY835" fmla="*/ 4281516 h 6407421"/>
              <a:gd name="connsiteX836" fmla="*/ 1588343 w 6142647"/>
              <a:gd name="connsiteY836" fmla="*/ 4252022 h 6407421"/>
              <a:gd name="connsiteX837" fmla="*/ 1617945 w 6142647"/>
              <a:gd name="connsiteY837" fmla="*/ 4252022 h 6407421"/>
              <a:gd name="connsiteX838" fmla="*/ 1617945 w 6142647"/>
              <a:gd name="connsiteY838" fmla="*/ 4281516 h 6407421"/>
              <a:gd name="connsiteX839" fmla="*/ 1588343 w 6142647"/>
              <a:gd name="connsiteY839" fmla="*/ 4281516 h 6407421"/>
              <a:gd name="connsiteX840" fmla="*/ 1322254 w 6142647"/>
              <a:gd name="connsiteY840" fmla="*/ 4252022 h 6407421"/>
              <a:gd name="connsiteX841" fmla="*/ 1351857 w 6142647"/>
              <a:gd name="connsiteY841" fmla="*/ 4252022 h 6407421"/>
              <a:gd name="connsiteX842" fmla="*/ 1351857 w 6142647"/>
              <a:gd name="connsiteY842" fmla="*/ 4281516 h 6407421"/>
              <a:gd name="connsiteX843" fmla="*/ 1322254 w 6142647"/>
              <a:gd name="connsiteY843" fmla="*/ 4281516 h 6407421"/>
              <a:gd name="connsiteX844" fmla="*/ 1056057 w 6142647"/>
              <a:gd name="connsiteY844" fmla="*/ 4252022 h 6407421"/>
              <a:gd name="connsiteX845" fmla="*/ 1085660 w 6142647"/>
              <a:gd name="connsiteY845" fmla="*/ 4252022 h 6407421"/>
              <a:gd name="connsiteX846" fmla="*/ 1085660 w 6142647"/>
              <a:gd name="connsiteY846" fmla="*/ 4281516 h 6407421"/>
              <a:gd name="connsiteX847" fmla="*/ 1056057 w 6142647"/>
              <a:gd name="connsiteY847" fmla="*/ 4281516 h 6407421"/>
              <a:gd name="connsiteX848" fmla="*/ 789968 w 6142647"/>
              <a:gd name="connsiteY848" fmla="*/ 4252022 h 6407421"/>
              <a:gd name="connsiteX849" fmla="*/ 819570 w 6142647"/>
              <a:gd name="connsiteY849" fmla="*/ 4252022 h 6407421"/>
              <a:gd name="connsiteX850" fmla="*/ 819570 w 6142647"/>
              <a:gd name="connsiteY850" fmla="*/ 4281516 h 6407421"/>
              <a:gd name="connsiteX851" fmla="*/ 789968 w 6142647"/>
              <a:gd name="connsiteY851" fmla="*/ 4281516 h 6407421"/>
              <a:gd name="connsiteX852" fmla="*/ 523771 w 6142647"/>
              <a:gd name="connsiteY852" fmla="*/ 4252022 h 6407421"/>
              <a:gd name="connsiteX853" fmla="*/ 553373 w 6142647"/>
              <a:gd name="connsiteY853" fmla="*/ 4252022 h 6407421"/>
              <a:gd name="connsiteX854" fmla="*/ 553373 w 6142647"/>
              <a:gd name="connsiteY854" fmla="*/ 4281516 h 6407421"/>
              <a:gd name="connsiteX855" fmla="*/ 523771 w 6142647"/>
              <a:gd name="connsiteY855" fmla="*/ 4281516 h 6407421"/>
              <a:gd name="connsiteX856" fmla="*/ 266197 w 6142647"/>
              <a:gd name="connsiteY856" fmla="*/ 4252022 h 6407421"/>
              <a:gd name="connsiteX857" fmla="*/ 295800 w 6142647"/>
              <a:gd name="connsiteY857" fmla="*/ 4252022 h 6407421"/>
              <a:gd name="connsiteX858" fmla="*/ 295800 w 6142647"/>
              <a:gd name="connsiteY858" fmla="*/ 4281516 h 6407421"/>
              <a:gd name="connsiteX859" fmla="*/ 266197 w 6142647"/>
              <a:gd name="connsiteY859" fmla="*/ 4281516 h 6407421"/>
              <a:gd name="connsiteX860" fmla="*/ 0 w 6142647"/>
              <a:gd name="connsiteY860" fmla="*/ 4252022 h 6407421"/>
              <a:gd name="connsiteX861" fmla="*/ 29602 w 6142647"/>
              <a:gd name="connsiteY861" fmla="*/ 4252022 h 6407421"/>
              <a:gd name="connsiteX862" fmla="*/ 29602 w 6142647"/>
              <a:gd name="connsiteY862" fmla="*/ 4281516 h 6407421"/>
              <a:gd name="connsiteX863" fmla="*/ 0 w 6142647"/>
              <a:gd name="connsiteY863" fmla="*/ 4281516 h 6407421"/>
              <a:gd name="connsiteX864" fmla="*/ 6113045 w 6142647"/>
              <a:gd name="connsiteY864" fmla="*/ 3986257 h 6407421"/>
              <a:gd name="connsiteX865" fmla="*/ 6142647 w 6142647"/>
              <a:gd name="connsiteY865" fmla="*/ 3986257 h 6407421"/>
              <a:gd name="connsiteX866" fmla="*/ 6142647 w 6142647"/>
              <a:gd name="connsiteY866" fmla="*/ 4015859 h 6407421"/>
              <a:gd name="connsiteX867" fmla="*/ 6113045 w 6142647"/>
              <a:gd name="connsiteY867" fmla="*/ 4015859 h 6407421"/>
              <a:gd name="connsiteX868" fmla="*/ 5846848 w 6142647"/>
              <a:gd name="connsiteY868" fmla="*/ 3986257 h 6407421"/>
              <a:gd name="connsiteX869" fmla="*/ 5876450 w 6142647"/>
              <a:gd name="connsiteY869" fmla="*/ 3986257 h 6407421"/>
              <a:gd name="connsiteX870" fmla="*/ 5876450 w 6142647"/>
              <a:gd name="connsiteY870" fmla="*/ 4015859 h 6407421"/>
              <a:gd name="connsiteX871" fmla="*/ 5846848 w 6142647"/>
              <a:gd name="connsiteY871" fmla="*/ 4015859 h 6407421"/>
              <a:gd name="connsiteX872" fmla="*/ 5580759 w 6142647"/>
              <a:gd name="connsiteY872" fmla="*/ 3986257 h 6407421"/>
              <a:gd name="connsiteX873" fmla="*/ 5610361 w 6142647"/>
              <a:gd name="connsiteY873" fmla="*/ 3986257 h 6407421"/>
              <a:gd name="connsiteX874" fmla="*/ 5610361 w 6142647"/>
              <a:gd name="connsiteY874" fmla="*/ 4015859 h 6407421"/>
              <a:gd name="connsiteX875" fmla="*/ 5580759 w 6142647"/>
              <a:gd name="connsiteY875" fmla="*/ 4015859 h 6407421"/>
              <a:gd name="connsiteX876" fmla="*/ 5314562 w 6142647"/>
              <a:gd name="connsiteY876" fmla="*/ 3986257 h 6407421"/>
              <a:gd name="connsiteX877" fmla="*/ 5344164 w 6142647"/>
              <a:gd name="connsiteY877" fmla="*/ 3986257 h 6407421"/>
              <a:gd name="connsiteX878" fmla="*/ 5344164 w 6142647"/>
              <a:gd name="connsiteY878" fmla="*/ 4015859 h 6407421"/>
              <a:gd name="connsiteX879" fmla="*/ 5314562 w 6142647"/>
              <a:gd name="connsiteY879" fmla="*/ 4015859 h 6407421"/>
              <a:gd name="connsiteX880" fmla="*/ 5048365 w 6142647"/>
              <a:gd name="connsiteY880" fmla="*/ 3986257 h 6407421"/>
              <a:gd name="connsiteX881" fmla="*/ 5078075 w 6142647"/>
              <a:gd name="connsiteY881" fmla="*/ 3986257 h 6407421"/>
              <a:gd name="connsiteX882" fmla="*/ 5078075 w 6142647"/>
              <a:gd name="connsiteY882" fmla="*/ 4015859 h 6407421"/>
              <a:gd name="connsiteX883" fmla="*/ 5048365 w 6142647"/>
              <a:gd name="connsiteY883" fmla="*/ 4015859 h 6407421"/>
              <a:gd name="connsiteX884" fmla="*/ 4782276 w 6142647"/>
              <a:gd name="connsiteY884" fmla="*/ 3986257 h 6407421"/>
              <a:gd name="connsiteX885" fmla="*/ 4811879 w 6142647"/>
              <a:gd name="connsiteY885" fmla="*/ 3986257 h 6407421"/>
              <a:gd name="connsiteX886" fmla="*/ 4811879 w 6142647"/>
              <a:gd name="connsiteY886" fmla="*/ 4015859 h 6407421"/>
              <a:gd name="connsiteX887" fmla="*/ 4782276 w 6142647"/>
              <a:gd name="connsiteY887" fmla="*/ 4015859 h 6407421"/>
              <a:gd name="connsiteX888" fmla="*/ 4516079 w 6142647"/>
              <a:gd name="connsiteY888" fmla="*/ 3986257 h 6407421"/>
              <a:gd name="connsiteX889" fmla="*/ 4545681 w 6142647"/>
              <a:gd name="connsiteY889" fmla="*/ 3986257 h 6407421"/>
              <a:gd name="connsiteX890" fmla="*/ 4545681 w 6142647"/>
              <a:gd name="connsiteY890" fmla="*/ 4015859 h 6407421"/>
              <a:gd name="connsiteX891" fmla="*/ 4516079 w 6142647"/>
              <a:gd name="connsiteY891" fmla="*/ 4015859 h 6407421"/>
              <a:gd name="connsiteX892" fmla="*/ 4249990 w 6142647"/>
              <a:gd name="connsiteY892" fmla="*/ 3986257 h 6407421"/>
              <a:gd name="connsiteX893" fmla="*/ 4279592 w 6142647"/>
              <a:gd name="connsiteY893" fmla="*/ 3986257 h 6407421"/>
              <a:gd name="connsiteX894" fmla="*/ 4279592 w 6142647"/>
              <a:gd name="connsiteY894" fmla="*/ 4015859 h 6407421"/>
              <a:gd name="connsiteX895" fmla="*/ 4249990 w 6142647"/>
              <a:gd name="connsiteY895" fmla="*/ 4015859 h 6407421"/>
              <a:gd name="connsiteX896" fmla="*/ 3983793 w 6142647"/>
              <a:gd name="connsiteY896" fmla="*/ 3986257 h 6407421"/>
              <a:gd name="connsiteX897" fmla="*/ 4013396 w 6142647"/>
              <a:gd name="connsiteY897" fmla="*/ 3986257 h 6407421"/>
              <a:gd name="connsiteX898" fmla="*/ 4013396 w 6142647"/>
              <a:gd name="connsiteY898" fmla="*/ 4015859 h 6407421"/>
              <a:gd name="connsiteX899" fmla="*/ 3983793 w 6142647"/>
              <a:gd name="connsiteY899" fmla="*/ 4015859 h 6407421"/>
              <a:gd name="connsiteX900" fmla="*/ 3717704 w 6142647"/>
              <a:gd name="connsiteY900" fmla="*/ 3986257 h 6407421"/>
              <a:gd name="connsiteX901" fmla="*/ 3747307 w 6142647"/>
              <a:gd name="connsiteY901" fmla="*/ 3986257 h 6407421"/>
              <a:gd name="connsiteX902" fmla="*/ 3747307 w 6142647"/>
              <a:gd name="connsiteY902" fmla="*/ 4015859 h 6407421"/>
              <a:gd name="connsiteX903" fmla="*/ 3717704 w 6142647"/>
              <a:gd name="connsiteY903" fmla="*/ 4015859 h 6407421"/>
              <a:gd name="connsiteX904" fmla="*/ 3451507 w 6142647"/>
              <a:gd name="connsiteY904" fmla="*/ 3986257 h 6407421"/>
              <a:gd name="connsiteX905" fmla="*/ 3481109 w 6142647"/>
              <a:gd name="connsiteY905" fmla="*/ 3986257 h 6407421"/>
              <a:gd name="connsiteX906" fmla="*/ 3481109 w 6142647"/>
              <a:gd name="connsiteY906" fmla="*/ 4015859 h 6407421"/>
              <a:gd name="connsiteX907" fmla="*/ 3451507 w 6142647"/>
              <a:gd name="connsiteY907" fmla="*/ 4015859 h 6407421"/>
              <a:gd name="connsiteX908" fmla="*/ 3185310 w 6142647"/>
              <a:gd name="connsiteY908" fmla="*/ 3986257 h 6407421"/>
              <a:gd name="connsiteX909" fmla="*/ 3214913 w 6142647"/>
              <a:gd name="connsiteY909" fmla="*/ 3986257 h 6407421"/>
              <a:gd name="connsiteX910" fmla="*/ 3214913 w 6142647"/>
              <a:gd name="connsiteY910" fmla="*/ 4015859 h 6407421"/>
              <a:gd name="connsiteX911" fmla="*/ 3185310 w 6142647"/>
              <a:gd name="connsiteY911" fmla="*/ 4015859 h 6407421"/>
              <a:gd name="connsiteX912" fmla="*/ 2919113 w 6142647"/>
              <a:gd name="connsiteY912" fmla="*/ 3986257 h 6407421"/>
              <a:gd name="connsiteX913" fmla="*/ 2948715 w 6142647"/>
              <a:gd name="connsiteY913" fmla="*/ 3986257 h 6407421"/>
              <a:gd name="connsiteX914" fmla="*/ 2948715 w 6142647"/>
              <a:gd name="connsiteY914" fmla="*/ 4015859 h 6407421"/>
              <a:gd name="connsiteX915" fmla="*/ 2919113 w 6142647"/>
              <a:gd name="connsiteY915" fmla="*/ 4015859 h 6407421"/>
              <a:gd name="connsiteX916" fmla="*/ 2653024 w 6142647"/>
              <a:gd name="connsiteY916" fmla="*/ 3986257 h 6407421"/>
              <a:gd name="connsiteX917" fmla="*/ 2682627 w 6142647"/>
              <a:gd name="connsiteY917" fmla="*/ 3986257 h 6407421"/>
              <a:gd name="connsiteX918" fmla="*/ 2682627 w 6142647"/>
              <a:gd name="connsiteY918" fmla="*/ 4015859 h 6407421"/>
              <a:gd name="connsiteX919" fmla="*/ 2653024 w 6142647"/>
              <a:gd name="connsiteY919" fmla="*/ 4015859 h 6407421"/>
              <a:gd name="connsiteX920" fmla="*/ 2386827 w 6142647"/>
              <a:gd name="connsiteY920" fmla="*/ 3986257 h 6407421"/>
              <a:gd name="connsiteX921" fmla="*/ 2416430 w 6142647"/>
              <a:gd name="connsiteY921" fmla="*/ 3986257 h 6407421"/>
              <a:gd name="connsiteX922" fmla="*/ 2416430 w 6142647"/>
              <a:gd name="connsiteY922" fmla="*/ 4015859 h 6407421"/>
              <a:gd name="connsiteX923" fmla="*/ 2386827 w 6142647"/>
              <a:gd name="connsiteY923" fmla="*/ 4015859 h 6407421"/>
              <a:gd name="connsiteX924" fmla="*/ 2120630 w 6142647"/>
              <a:gd name="connsiteY924" fmla="*/ 3986257 h 6407421"/>
              <a:gd name="connsiteX925" fmla="*/ 2150233 w 6142647"/>
              <a:gd name="connsiteY925" fmla="*/ 3986257 h 6407421"/>
              <a:gd name="connsiteX926" fmla="*/ 2150233 w 6142647"/>
              <a:gd name="connsiteY926" fmla="*/ 4015859 h 6407421"/>
              <a:gd name="connsiteX927" fmla="*/ 2120630 w 6142647"/>
              <a:gd name="connsiteY927" fmla="*/ 4015859 h 6407421"/>
              <a:gd name="connsiteX928" fmla="*/ 1854540 w 6142647"/>
              <a:gd name="connsiteY928" fmla="*/ 3986257 h 6407421"/>
              <a:gd name="connsiteX929" fmla="*/ 1884143 w 6142647"/>
              <a:gd name="connsiteY929" fmla="*/ 3986257 h 6407421"/>
              <a:gd name="connsiteX930" fmla="*/ 1884143 w 6142647"/>
              <a:gd name="connsiteY930" fmla="*/ 4015859 h 6407421"/>
              <a:gd name="connsiteX931" fmla="*/ 1854540 w 6142647"/>
              <a:gd name="connsiteY931" fmla="*/ 4015859 h 6407421"/>
              <a:gd name="connsiteX932" fmla="*/ 1588343 w 6142647"/>
              <a:gd name="connsiteY932" fmla="*/ 3986257 h 6407421"/>
              <a:gd name="connsiteX933" fmla="*/ 1617945 w 6142647"/>
              <a:gd name="connsiteY933" fmla="*/ 3986257 h 6407421"/>
              <a:gd name="connsiteX934" fmla="*/ 1617945 w 6142647"/>
              <a:gd name="connsiteY934" fmla="*/ 4015859 h 6407421"/>
              <a:gd name="connsiteX935" fmla="*/ 1588343 w 6142647"/>
              <a:gd name="connsiteY935" fmla="*/ 4015859 h 6407421"/>
              <a:gd name="connsiteX936" fmla="*/ 1322254 w 6142647"/>
              <a:gd name="connsiteY936" fmla="*/ 3986257 h 6407421"/>
              <a:gd name="connsiteX937" fmla="*/ 1351857 w 6142647"/>
              <a:gd name="connsiteY937" fmla="*/ 3986257 h 6407421"/>
              <a:gd name="connsiteX938" fmla="*/ 1351857 w 6142647"/>
              <a:gd name="connsiteY938" fmla="*/ 4015859 h 6407421"/>
              <a:gd name="connsiteX939" fmla="*/ 1322254 w 6142647"/>
              <a:gd name="connsiteY939" fmla="*/ 4015859 h 6407421"/>
              <a:gd name="connsiteX940" fmla="*/ 1056057 w 6142647"/>
              <a:gd name="connsiteY940" fmla="*/ 3986257 h 6407421"/>
              <a:gd name="connsiteX941" fmla="*/ 1085660 w 6142647"/>
              <a:gd name="connsiteY941" fmla="*/ 3986257 h 6407421"/>
              <a:gd name="connsiteX942" fmla="*/ 1085660 w 6142647"/>
              <a:gd name="connsiteY942" fmla="*/ 4015859 h 6407421"/>
              <a:gd name="connsiteX943" fmla="*/ 1056057 w 6142647"/>
              <a:gd name="connsiteY943" fmla="*/ 4015859 h 6407421"/>
              <a:gd name="connsiteX944" fmla="*/ 789968 w 6142647"/>
              <a:gd name="connsiteY944" fmla="*/ 3986257 h 6407421"/>
              <a:gd name="connsiteX945" fmla="*/ 819570 w 6142647"/>
              <a:gd name="connsiteY945" fmla="*/ 3986257 h 6407421"/>
              <a:gd name="connsiteX946" fmla="*/ 819570 w 6142647"/>
              <a:gd name="connsiteY946" fmla="*/ 4015859 h 6407421"/>
              <a:gd name="connsiteX947" fmla="*/ 789968 w 6142647"/>
              <a:gd name="connsiteY947" fmla="*/ 4015859 h 6407421"/>
              <a:gd name="connsiteX948" fmla="*/ 523771 w 6142647"/>
              <a:gd name="connsiteY948" fmla="*/ 3986257 h 6407421"/>
              <a:gd name="connsiteX949" fmla="*/ 553373 w 6142647"/>
              <a:gd name="connsiteY949" fmla="*/ 3986257 h 6407421"/>
              <a:gd name="connsiteX950" fmla="*/ 553373 w 6142647"/>
              <a:gd name="connsiteY950" fmla="*/ 4015859 h 6407421"/>
              <a:gd name="connsiteX951" fmla="*/ 523771 w 6142647"/>
              <a:gd name="connsiteY951" fmla="*/ 4015859 h 6407421"/>
              <a:gd name="connsiteX952" fmla="*/ 266197 w 6142647"/>
              <a:gd name="connsiteY952" fmla="*/ 3986257 h 6407421"/>
              <a:gd name="connsiteX953" fmla="*/ 295800 w 6142647"/>
              <a:gd name="connsiteY953" fmla="*/ 3986257 h 6407421"/>
              <a:gd name="connsiteX954" fmla="*/ 295800 w 6142647"/>
              <a:gd name="connsiteY954" fmla="*/ 4015859 h 6407421"/>
              <a:gd name="connsiteX955" fmla="*/ 266197 w 6142647"/>
              <a:gd name="connsiteY955" fmla="*/ 4015859 h 6407421"/>
              <a:gd name="connsiteX956" fmla="*/ 0 w 6142647"/>
              <a:gd name="connsiteY956" fmla="*/ 3986257 h 6407421"/>
              <a:gd name="connsiteX957" fmla="*/ 29602 w 6142647"/>
              <a:gd name="connsiteY957" fmla="*/ 3986257 h 6407421"/>
              <a:gd name="connsiteX958" fmla="*/ 29602 w 6142647"/>
              <a:gd name="connsiteY958" fmla="*/ 4015859 h 6407421"/>
              <a:gd name="connsiteX959" fmla="*/ 0 w 6142647"/>
              <a:gd name="connsiteY959" fmla="*/ 4015859 h 6407421"/>
              <a:gd name="connsiteX960" fmla="*/ 6113045 w 6142647"/>
              <a:gd name="connsiteY960" fmla="*/ 3720492 h 6407421"/>
              <a:gd name="connsiteX961" fmla="*/ 6142647 w 6142647"/>
              <a:gd name="connsiteY961" fmla="*/ 3720492 h 6407421"/>
              <a:gd name="connsiteX962" fmla="*/ 6142647 w 6142647"/>
              <a:gd name="connsiteY962" fmla="*/ 3750094 h 6407421"/>
              <a:gd name="connsiteX963" fmla="*/ 6113045 w 6142647"/>
              <a:gd name="connsiteY963" fmla="*/ 3750094 h 6407421"/>
              <a:gd name="connsiteX964" fmla="*/ 5846848 w 6142647"/>
              <a:gd name="connsiteY964" fmla="*/ 3720492 h 6407421"/>
              <a:gd name="connsiteX965" fmla="*/ 5876450 w 6142647"/>
              <a:gd name="connsiteY965" fmla="*/ 3720492 h 6407421"/>
              <a:gd name="connsiteX966" fmla="*/ 5876450 w 6142647"/>
              <a:gd name="connsiteY966" fmla="*/ 3750094 h 6407421"/>
              <a:gd name="connsiteX967" fmla="*/ 5846848 w 6142647"/>
              <a:gd name="connsiteY967" fmla="*/ 3750094 h 6407421"/>
              <a:gd name="connsiteX968" fmla="*/ 5580759 w 6142647"/>
              <a:gd name="connsiteY968" fmla="*/ 3720492 h 6407421"/>
              <a:gd name="connsiteX969" fmla="*/ 5610361 w 6142647"/>
              <a:gd name="connsiteY969" fmla="*/ 3720492 h 6407421"/>
              <a:gd name="connsiteX970" fmla="*/ 5610361 w 6142647"/>
              <a:gd name="connsiteY970" fmla="*/ 3750094 h 6407421"/>
              <a:gd name="connsiteX971" fmla="*/ 5580759 w 6142647"/>
              <a:gd name="connsiteY971" fmla="*/ 3750094 h 6407421"/>
              <a:gd name="connsiteX972" fmla="*/ 5314562 w 6142647"/>
              <a:gd name="connsiteY972" fmla="*/ 3720492 h 6407421"/>
              <a:gd name="connsiteX973" fmla="*/ 5344164 w 6142647"/>
              <a:gd name="connsiteY973" fmla="*/ 3720492 h 6407421"/>
              <a:gd name="connsiteX974" fmla="*/ 5344164 w 6142647"/>
              <a:gd name="connsiteY974" fmla="*/ 3750094 h 6407421"/>
              <a:gd name="connsiteX975" fmla="*/ 5314562 w 6142647"/>
              <a:gd name="connsiteY975" fmla="*/ 3750094 h 6407421"/>
              <a:gd name="connsiteX976" fmla="*/ 5048365 w 6142647"/>
              <a:gd name="connsiteY976" fmla="*/ 3720492 h 6407421"/>
              <a:gd name="connsiteX977" fmla="*/ 5078075 w 6142647"/>
              <a:gd name="connsiteY977" fmla="*/ 3720492 h 6407421"/>
              <a:gd name="connsiteX978" fmla="*/ 5078075 w 6142647"/>
              <a:gd name="connsiteY978" fmla="*/ 3750094 h 6407421"/>
              <a:gd name="connsiteX979" fmla="*/ 5048365 w 6142647"/>
              <a:gd name="connsiteY979" fmla="*/ 3750094 h 6407421"/>
              <a:gd name="connsiteX980" fmla="*/ 4782276 w 6142647"/>
              <a:gd name="connsiteY980" fmla="*/ 3720492 h 6407421"/>
              <a:gd name="connsiteX981" fmla="*/ 4811879 w 6142647"/>
              <a:gd name="connsiteY981" fmla="*/ 3720492 h 6407421"/>
              <a:gd name="connsiteX982" fmla="*/ 4811879 w 6142647"/>
              <a:gd name="connsiteY982" fmla="*/ 3750094 h 6407421"/>
              <a:gd name="connsiteX983" fmla="*/ 4782276 w 6142647"/>
              <a:gd name="connsiteY983" fmla="*/ 3750094 h 6407421"/>
              <a:gd name="connsiteX984" fmla="*/ 4516079 w 6142647"/>
              <a:gd name="connsiteY984" fmla="*/ 3720492 h 6407421"/>
              <a:gd name="connsiteX985" fmla="*/ 4545681 w 6142647"/>
              <a:gd name="connsiteY985" fmla="*/ 3720492 h 6407421"/>
              <a:gd name="connsiteX986" fmla="*/ 4545681 w 6142647"/>
              <a:gd name="connsiteY986" fmla="*/ 3750094 h 6407421"/>
              <a:gd name="connsiteX987" fmla="*/ 4516079 w 6142647"/>
              <a:gd name="connsiteY987" fmla="*/ 3750094 h 6407421"/>
              <a:gd name="connsiteX988" fmla="*/ 4249990 w 6142647"/>
              <a:gd name="connsiteY988" fmla="*/ 3720492 h 6407421"/>
              <a:gd name="connsiteX989" fmla="*/ 4279592 w 6142647"/>
              <a:gd name="connsiteY989" fmla="*/ 3720492 h 6407421"/>
              <a:gd name="connsiteX990" fmla="*/ 4279592 w 6142647"/>
              <a:gd name="connsiteY990" fmla="*/ 3750094 h 6407421"/>
              <a:gd name="connsiteX991" fmla="*/ 4249990 w 6142647"/>
              <a:gd name="connsiteY991" fmla="*/ 3750094 h 6407421"/>
              <a:gd name="connsiteX992" fmla="*/ 3983793 w 6142647"/>
              <a:gd name="connsiteY992" fmla="*/ 3720492 h 6407421"/>
              <a:gd name="connsiteX993" fmla="*/ 4013396 w 6142647"/>
              <a:gd name="connsiteY993" fmla="*/ 3720492 h 6407421"/>
              <a:gd name="connsiteX994" fmla="*/ 4013396 w 6142647"/>
              <a:gd name="connsiteY994" fmla="*/ 3750094 h 6407421"/>
              <a:gd name="connsiteX995" fmla="*/ 3983793 w 6142647"/>
              <a:gd name="connsiteY995" fmla="*/ 3750094 h 6407421"/>
              <a:gd name="connsiteX996" fmla="*/ 3717704 w 6142647"/>
              <a:gd name="connsiteY996" fmla="*/ 3720492 h 6407421"/>
              <a:gd name="connsiteX997" fmla="*/ 3747307 w 6142647"/>
              <a:gd name="connsiteY997" fmla="*/ 3720492 h 6407421"/>
              <a:gd name="connsiteX998" fmla="*/ 3747307 w 6142647"/>
              <a:gd name="connsiteY998" fmla="*/ 3750094 h 6407421"/>
              <a:gd name="connsiteX999" fmla="*/ 3717704 w 6142647"/>
              <a:gd name="connsiteY999" fmla="*/ 3750094 h 6407421"/>
              <a:gd name="connsiteX1000" fmla="*/ 3451507 w 6142647"/>
              <a:gd name="connsiteY1000" fmla="*/ 3720492 h 6407421"/>
              <a:gd name="connsiteX1001" fmla="*/ 3481109 w 6142647"/>
              <a:gd name="connsiteY1001" fmla="*/ 3720492 h 6407421"/>
              <a:gd name="connsiteX1002" fmla="*/ 3481109 w 6142647"/>
              <a:gd name="connsiteY1002" fmla="*/ 3750094 h 6407421"/>
              <a:gd name="connsiteX1003" fmla="*/ 3451507 w 6142647"/>
              <a:gd name="connsiteY1003" fmla="*/ 3750094 h 6407421"/>
              <a:gd name="connsiteX1004" fmla="*/ 3185310 w 6142647"/>
              <a:gd name="connsiteY1004" fmla="*/ 3720492 h 6407421"/>
              <a:gd name="connsiteX1005" fmla="*/ 3214913 w 6142647"/>
              <a:gd name="connsiteY1005" fmla="*/ 3720492 h 6407421"/>
              <a:gd name="connsiteX1006" fmla="*/ 3214913 w 6142647"/>
              <a:gd name="connsiteY1006" fmla="*/ 3750094 h 6407421"/>
              <a:gd name="connsiteX1007" fmla="*/ 3185310 w 6142647"/>
              <a:gd name="connsiteY1007" fmla="*/ 3750094 h 6407421"/>
              <a:gd name="connsiteX1008" fmla="*/ 2919113 w 6142647"/>
              <a:gd name="connsiteY1008" fmla="*/ 3720492 h 6407421"/>
              <a:gd name="connsiteX1009" fmla="*/ 2948715 w 6142647"/>
              <a:gd name="connsiteY1009" fmla="*/ 3720492 h 6407421"/>
              <a:gd name="connsiteX1010" fmla="*/ 2948715 w 6142647"/>
              <a:gd name="connsiteY1010" fmla="*/ 3750094 h 6407421"/>
              <a:gd name="connsiteX1011" fmla="*/ 2919113 w 6142647"/>
              <a:gd name="connsiteY1011" fmla="*/ 3750094 h 6407421"/>
              <a:gd name="connsiteX1012" fmla="*/ 2653024 w 6142647"/>
              <a:gd name="connsiteY1012" fmla="*/ 3720492 h 6407421"/>
              <a:gd name="connsiteX1013" fmla="*/ 2682627 w 6142647"/>
              <a:gd name="connsiteY1013" fmla="*/ 3720492 h 6407421"/>
              <a:gd name="connsiteX1014" fmla="*/ 2682627 w 6142647"/>
              <a:gd name="connsiteY1014" fmla="*/ 3750094 h 6407421"/>
              <a:gd name="connsiteX1015" fmla="*/ 2653024 w 6142647"/>
              <a:gd name="connsiteY1015" fmla="*/ 3750094 h 6407421"/>
              <a:gd name="connsiteX1016" fmla="*/ 2386827 w 6142647"/>
              <a:gd name="connsiteY1016" fmla="*/ 3720492 h 6407421"/>
              <a:gd name="connsiteX1017" fmla="*/ 2416430 w 6142647"/>
              <a:gd name="connsiteY1017" fmla="*/ 3720492 h 6407421"/>
              <a:gd name="connsiteX1018" fmla="*/ 2416430 w 6142647"/>
              <a:gd name="connsiteY1018" fmla="*/ 3750094 h 6407421"/>
              <a:gd name="connsiteX1019" fmla="*/ 2386827 w 6142647"/>
              <a:gd name="connsiteY1019" fmla="*/ 3750094 h 6407421"/>
              <a:gd name="connsiteX1020" fmla="*/ 2120630 w 6142647"/>
              <a:gd name="connsiteY1020" fmla="*/ 3720492 h 6407421"/>
              <a:gd name="connsiteX1021" fmla="*/ 2150233 w 6142647"/>
              <a:gd name="connsiteY1021" fmla="*/ 3720492 h 6407421"/>
              <a:gd name="connsiteX1022" fmla="*/ 2150233 w 6142647"/>
              <a:gd name="connsiteY1022" fmla="*/ 3750094 h 6407421"/>
              <a:gd name="connsiteX1023" fmla="*/ 2120630 w 6142647"/>
              <a:gd name="connsiteY1023" fmla="*/ 3750094 h 6407421"/>
              <a:gd name="connsiteX1024" fmla="*/ 1854540 w 6142647"/>
              <a:gd name="connsiteY1024" fmla="*/ 3720492 h 6407421"/>
              <a:gd name="connsiteX1025" fmla="*/ 1884143 w 6142647"/>
              <a:gd name="connsiteY1025" fmla="*/ 3720492 h 6407421"/>
              <a:gd name="connsiteX1026" fmla="*/ 1884143 w 6142647"/>
              <a:gd name="connsiteY1026" fmla="*/ 3750094 h 6407421"/>
              <a:gd name="connsiteX1027" fmla="*/ 1854540 w 6142647"/>
              <a:gd name="connsiteY1027" fmla="*/ 3750094 h 6407421"/>
              <a:gd name="connsiteX1028" fmla="*/ 1588343 w 6142647"/>
              <a:gd name="connsiteY1028" fmla="*/ 3720492 h 6407421"/>
              <a:gd name="connsiteX1029" fmla="*/ 1617945 w 6142647"/>
              <a:gd name="connsiteY1029" fmla="*/ 3720492 h 6407421"/>
              <a:gd name="connsiteX1030" fmla="*/ 1617945 w 6142647"/>
              <a:gd name="connsiteY1030" fmla="*/ 3750094 h 6407421"/>
              <a:gd name="connsiteX1031" fmla="*/ 1588343 w 6142647"/>
              <a:gd name="connsiteY1031" fmla="*/ 3750094 h 6407421"/>
              <a:gd name="connsiteX1032" fmla="*/ 1322254 w 6142647"/>
              <a:gd name="connsiteY1032" fmla="*/ 3720492 h 6407421"/>
              <a:gd name="connsiteX1033" fmla="*/ 1351857 w 6142647"/>
              <a:gd name="connsiteY1033" fmla="*/ 3720492 h 6407421"/>
              <a:gd name="connsiteX1034" fmla="*/ 1351857 w 6142647"/>
              <a:gd name="connsiteY1034" fmla="*/ 3750094 h 6407421"/>
              <a:gd name="connsiteX1035" fmla="*/ 1322254 w 6142647"/>
              <a:gd name="connsiteY1035" fmla="*/ 3750094 h 6407421"/>
              <a:gd name="connsiteX1036" fmla="*/ 1056057 w 6142647"/>
              <a:gd name="connsiteY1036" fmla="*/ 3720492 h 6407421"/>
              <a:gd name="connsiteX1037" fmla="*/ 1085660 w 6142647"/>
              <a:gd name="connsiteY1037" fmla="*/ 3720492 h 6407421"/>
              <a:gd name="connsiteX1038" fmla="*/ 1085660 w 6142647"/>
              <a:gd name="connsiteY1038" fmla="*/ 3750094 h 6407421"/>
              <a:gd name="connsiteX1039" fmla="*/ 1056057 w 6142647"/>
              <a:gd name="connsiteY1039" fmla="*/ 3750094 h 6407421"/>
              <a:gd name="connsiteX1040" fmla="*/ 789968 w 6142647"/>
              <a:gd name="connsiteY1040" fmla="*/ 3720492 h 6407421"/>
              <a:gd name="connsiteX1041" fmla="*/ 819570 w 6142647"/>
              <a:gd name="connsiteY1041" fmla="*/ 3720492 h 6407421"/>
              <a:gd name="connsiteX1042" fmla="*/ 819570 w 6142647"/>
              <a:gd name="connsiteY1042" fmla="*/ 3750094 h 6407421"/>
              <a:gd name="connsiteX1043" fmla="*/ 789968 w 6142647"/>
              <a:gd name="connsiteY1043" fmla="*/ 3750094 h 6407421"/>
              <a:gd name="connsiteX1044" fmla="*/ 523771 w 6142647"/>
              <a:gd name="connsiteY1044" fmla="*/ 3720492 h 6407421"/>
              <a:gd name="connsiteX1045" fmla="*/ 553373 w 6142647"/>
              <a:gd name="connsiteY1045" fmla="*/ 3720492 h 6407421"/>
              <a:gd name="connsiteX1046" fmla="*/ 553373 w 6142647"/>
              <a:gd name="connsiteY1046" fmla="*/ 3750094 h 6407421"/>
              <a:gd name="connsiteX1047" fmla="*/ 523771 w 6142647"/>
              <a:gd name="connsiteY1047" fmla="*/ 3750094 h 6407421"/>
              <a:gd name="connsiteX1048" fmla="*/ 266197 w 6142647"/>
              <a:gd name="connsiteY1048" fmla="*/ 3720492 h 6407421"/>
              <a:gd name="connsiteX1049" fmla="*/ 295800 w 6142647"/>
              <a:gd name="connsiteY1049" fmla="*/ 3720492 h 6407421"/>
              <a:gd name="connsiteX1050" fmla="*/ 295800 w 6142647"/>
              <a:gd name="connsiteY1050" fmla="*/ 3750094 h 6407421"/>
              <a:gd name="connsiteX1051" fmla="*/ 266197 w 6142647"/>
              <a:gd name="connsiteY1051" fmla="*/ 3750094 h 6407421"/>
              <a:gd name="connsiteX1052" fmla="*/ 0 w 6142647"/>
              <a:gd name="connsiteY1052" fmla="*/ 3720492 h 6407421"/>
              <a:gd name="connsiteX1053" fmla="*/ 29602 w 6142647"/>
              <a:gd name="connsiteY1053" fmla="*/ 3720492 h 6407421"/>
              <a:gd name="connsiteX1054" fmla="*/ 29602 w 6142647"/>
              <a:gd name="connsiteY1054" fmla="*/ 3750094 h 6407421"/>
              <a:gd name="connsiteX1055" fmla="*/ 0 w 6142647"/>
              <a:gd name="connsiteY1055" fmla="*/ 3750094 h 6407421"/>
              <a:gd name="connsiteX1056" fmla="*/ 6113045 w 6142647"/>
              <a:gd name="connsiteY1056" fmla="*/ 3454727 h 6407421"/>
              <a:gd name="connsiteX1057" fmla="*/ 6142647 w 6142647"/>
              <a:gd name="connsiteY1057" fmla="*/ 3454727 h 6407421"/>
              <a:gd name="connsiteX1058" fmla="*/ 6142647 w 6142647"/>
              <a:gd name="connsiteY1058" fmla="*/ 3484330 h 6407421"/>
              <a:gd name="connsiteX1059" fmla="*/ 6113045 w 6142647"/>
              <a:gd name="connsiteY1059" fmla="*/ 3484330 h 6407421"/>
              <a:gd name="connsiteX1060" fmla="*/ 5846848 w 6142647"/>
              <a:gd name="connsiteY1060" fmla="*/ 3454727 h 6407421"/>
              <a:gd name="connsiteX1061" fmla="*/ 5876450 w 6142647"/>
              <a:gd name="connsiteY1061" fmla="*/ 3454727 h 6407421"/>
              <a:gd name="connsiteX1062" fmla="*/ 5876450 w 6142647"/>
              <a:gd name="connsiteY1062" fmla="*/ 3484330 h 6407421"/>
              <a:gd name="connsiteX1063" fmla="*/ 5846848 w 6142647"/>
              <a:gd name="connsiteY1063" fmla="*/ 3484330 h 6407421"/>
              <a:gd name="connsiteX1064" fmla="*/ 5580759 w 6142647"/>
              <a:gd name="connsiteY1064" fmla="*/ 3454727 h 6407421"/>
              <a:gd name="connsiteX1065" fmla="*/ 5610361 w 6142647"/>
              <a:gd name="connsiteY1065" fmla="*/ 3454727 h 6407421"/>
              <a:gd name="connsiteX1066" fmla="*/ 5610361 w 6142647"/>
              <a:gd name="connsiteY1066" fmla="*/ 3484330 h 6407421"/>
              <a:gd name="connsiteX1067" fmla="*/ 5580759 w 6142647"/>
              <a:gd name="connsiteY1067" fmla="*/ 3484330 h 6407421"/>
              <a:gd name="connsiteX1068" fmla="*/ 5314562 w 6142647"/>
              <a:gd name="connsiteY1068" fmla="*/ 3454727 h 6407421"/>
              <a:gd name="connsiteX1069" fmla="*/ 5344164 w 6142647"/>
              <a:gd name="connsiteY1069" fmla="*/ 3454727 h 6407421"/>
              <a:gd name="connsiteX1070" fmla="*/ 5344164 w 6142647"/>
              <a:gd name="connsiteY1070" fmla="*/ 3484330 h 6407421"/>
              <a:gd name="connsiteX1071" fmla="*/ 5314562 w 6142647"/>
              <a:gd name="connsiteY1071" fmla="*/ 3484330 h 6407421"/>
              <a:gd name="connsiteX1072" fmla="*/ 5048365 w 6142647"/>
              <a:gd name="connsiteY1072" fmla="*/ 3454727 h 6407421"/>
              <a:gd name="connsiteX1073" fmla="*/ 5078075 w 6142647"/>
              <a:gd name="connsiteY1073" fmla="*/ 3454727 h 6407421"/>
              <a:gd name="connsiteX1074" fmla="*/ 5078075 w 6142647"/>
              <a:gd name="connsiteY1074" fmla="*/ 3484330 h 6407421"/>
              <a:gd name="connsiteX1075" fmla="*/ 5048365 w 6142647"/>
              <a:gd name="connsiteY1075" fmla="*/ 3484330 h 6407421"/>
              <a:gd name="connsiteX1076" fmla="*/ 4782276 w 6142647"/>
              <a:gd name="connsiteY1076" fmla="*/ 3454727 h 6407421"/>
              <a:gd name="connsiteX1077" fmla="*/ 4811879 w 6142647"/>
              <a:gd name="connsiteY1077" fmla="*/ 3454727 h 6407421"/>
              <a:gd name="connsiteX1078" fmla="*/ 4811879 w 6142647"/>
              <a:gd name="connsiteY1078" fmla="*/ 3484330 h 6407421"/>
              <a:gd name="connsiteX1079" fmla="*/ 4782276 w 6142647"/>
              <a:gd name="connsiteY1079" fmla="*/ 3484330 h 6407421"/>
              <a:gd name="connsiteX1080" fmla="*/ 4516079 w 6142647"/>
              <a:gd name="connsiteY1080" fmla="*/ 3454727 h 6407421"/>
              <a:gd name="connsiteX1081" fmla="*/ 4545681 w 6142647"/>
              <a:gd name="connsiteY1081" fmla="*/ 3454727 h 6407421"/>
              <a:gd name="connsiteX1082" fmla="*/ 4545681 w 6142647"/>
              <a:gd name="connsiteY1082" fmla="*/ 3484330 h 6407421"/>
              <a:gd name="connsiteX1083" fmla="*/ 4516079 w 6142647"/>
              <a:gd name="connsiteY1083" fmla="*/ 3484330 h 6407421"/>
              <a:gd name="connsiteX1084" fmla="*/ 4249990 w 6142647"/>
              <a:gd name="connsiteY1084" fmla="*/ 3454727 h 6407421"/>
              <a:gd name="connsiteX1085" fmla="*/ 4279592 w 6142647"/>
              <a:gd name="connsiteY1085" fmla="*/ 3454727 h 6407421"/>
              <a:gd name="connsiteX1086" fmla="*/ 4279592 w 6142647"/>
              <a:gd name="connsiteY1086" fmla="*/ 3484330 h 6407421"/>
              <a:gd name="connsiteX1087" fmla="*/ 4249990 w 6142647"/>
              <a:gd name="connsiteY1087" fmla="*/ 3484330 h 6407421"/>
              <a:gd name="connsiteX1088" fmla="*/ 3983793 w 6142647"/>
              <a:gd name="connsiteY1088" fmla="*/ 3454727 h 6407421"/>
              <a:gd name="connsiteX1089" fmla="*/ 4013396 w 6142647"/>
              <a:gd name="connsiteY1089" fmla="*/ 3454727 h 6407421"/>
              <a:gd name="connsiteX1090" fmla="*/ 4013396 w 6142647"/>
              <a:gd name="connsiteY1090" fmla="*/ 3484330 h 6407421"/>
              <a:gd name="connsiteX1091" fmla="*/ 3983793 w 6142647"/>
              <a:gd name="connsiteY1091" fmla="*/ 3484330 h 6407421"/>
              <a:gd name="connsiteX1092" fmla="*/ 3717704 w 6142647"/>
              <a:gd name="connsiteY1092" fmla="*/ 3454727 h 6407421"/>
              <a:gd name="connsiteX1093" fmla="*/ 3747307 w 6142647"/>
              <a:gd name="connsiteY1093" fmla="*/ 3454727 h 6407421"/>
              <a:gd name="connsiteX1094" fmla="*/ 3747307 w 6142647"/>
              <a:gd name="connsiteY1094" fmla="*/ 3484330 h 6407421"/>
              <a:gd name="connsiteX1095" fmla="*/ 3717704 w 6142647"/>
              <a:gd name="connsiteY1095" fmla="*/ 3484330 h 6407421"/>
              <a:gd name="connsiteX1096" fmla="*/ 3451507 w 6142647"/>
              <a:gd name="connsiteY1096" fmla="*/ 3454727 h 6407421"/>
              <a:gd name="connsiteX1097" fmla="*/ 3481109 w 6142647"/>
              <a:gd name="connsiteY1097" fmla="*/ 3454727 h 6407421"/>
              <a:gd name="connsiteX1098" fmla="*/ 3481109 w 6142647"/>
              <a:gd name="connsiteY1098" fmla="*/ 3484330 h 6407421"/>
              <a:gd name="connsiteX1099" fmla="*/ 3451507 w 6142647"/>
              <a:gd name="connsiteY1099" fmla="*/ 3484330 h 6407421"/>
              <a:gd name="connsiteX1100" fmla="*/ 3185310 w 6142647"/>
              <a:gd name="connsiteY1100" fmla="*/ 3454727 h 6407421"/>
              <a:gd name="connsiteX1101" fmla="*/ 3214913 w 6142647"/>
              <a:gd name="connsiteY1101" fmla="*/ 3454727 h 6407421"/>
              <a:gd name="connsiteX1102" fmla="*/ 3214913 w 6142647"/>
              <a:gd name="connsiteY1102" fmla="*/ 3484330 h 6407421"/>
              <a:gd name="connsiteX1103" fmla="*/ 3185310 w 6142647"/>
              <a:gd name="connsiteY1103" fmla="*/ 3484330 h 6407421"/>
              <a:gd name="connsiteX1104" fmla="*/ 2919113 w 6142647"/>
              <a:gd name="connsiteY1104" fmla="*/ 3454727 h 6407421"/>
              <a:gd name="connsiteX1105" fmla="*/ 2948715 w 6142647"/>
              <a:gd name="connsiteY1105" fmla="*/ 3454727 h 6407421"/>
              <a:gd name="connsiteX1106" fmla="*/ 2948715 w 6142647"/>
              <a:gd name="connsiteY1106" fmla="*/ 3484330 h 6407421"/>
              <a:gd name="connsiteX1107" fmla="*/ 2919113 w 6142647"/>
              <a:gd name="connsiteY1107" fmla="*/ 3484330 h 6407421"/>
              <a:gd name="connsiteX1108" fmla="*/ 2653024 w 6142647"/>
              <a:gd name="connsiteY1108" fmla="*/ 3454727 h 6407421"/>
              <a:gd name="connsiteX1109" fmla="*/ 2682627 w 6142647"/>
              <a:gd name="connsiteY1109" fmla="*/ 3454727 h 6407421"/>
              <a:gd name="connsiteX1110" fmla="*/ 2682627 w 6142647"/>
              <a:gd name="connsiteY1110" fmla="*/ 3484330 h 6407421"/>
              <a:gd name="connsiteX1111" fmla="*/ 2653024 w 6142647"/>
              <a:gd name="connsiteY1111" fmla="*/ 3484330 h 6407421"/>
              <a:gd name="connsiteX1112" fmla="*/ 2386827 w 6142647"/>
              <a:gd name="connsiteY1112" fmla="*/ 3454727 h 6407421"/>
              <a:gd name="connsiteX1113" fmla="*/ 2416430 w 6142647"/>
              <a:gd name="connsiteY1113" fmla="*/ 3454727 h 6407421"/>
              <a:gd name="connsiteX1114" fmla="*/ 2416430 w 6142647"/>
              <a:gd name="connsiteY1114" fmla="*/ 3484330 h 6407421"/>
              <a:gd name="connsiteX1115" fmla="*/ 2386827 w 6142647"/>
              <a:gd name="connsiteY1115" fmla="*/ 3484330 h 6407421"/>
              <a:gd name="connsiteX1116" fmla="*/ 2120630 w 6142647"/>
              <a:gd name="connsiteY1116" fmla="*/ 3454727 h 6407421"/>
              <a:gd name="connsiteX1117" fmla="*/ 2150233 w 6142647"/>
              <a:gd name="connsiteY1117" fmla="*/ 3454727 h 6407421"/>
              <a:gd name="connsiteX1118" fmla="*/ 2150233 w 6142647"/>
              <a:gd name="connsiteY1118" fmla="*/ 3484330 h 6407421"/>
              <a:gd name="connsiteX1119" fmla="*/ 2120630 w 6142647"/>
              <a:gd name="connsiteY1119" fmla="*/ 3484330 h 6407421"/>
              <a:gd name="connsiteX1120" fmla="*/ 1854540 w 6142647"/>
              <a:gd name="connsiteY1120" fmla="*/ 3454727 h 6407421"/>
              <a:gd name="connsiteX1121" fmla="*/ 1884143 w 6142647"/>
              <a:gd name="connsiteY1121" fmla="*/ 3454727 h 6407421"/>
              <a:gd name="connsiteX1122" fmla="*/ 1884143 w 6142647"/>
              <a:gd name="connsiteY1122" fmla="*/ 3484330 h 6407421"/>
              <a:gd name="connsiteX1123" fmla="*/ 1854540 w 6142647"/>
              <a:gd name="connsiteY1123" fmla="*/ 3484330 h 6407421"/>
              <a:gd name="connsiteX1124" fmla="*/ 1588343 w 6142647"/>
              <a:gd name="connsiteY1124" fmla="*/ 3454727 h 6407421"/>
              <a:gd name="connsiteX1125" fmla="*/ 1617945 w 6142647"/>
              <a:gd name="connsiteY1125" fmla="*/ 3454727 h 6407421"/>
              <a:gd name="connsiteX1126" fmla="*/ 1617945 w 6142647"/>
              <a:gd name="connsiteY1126" fmla="*/ 3484330 h 6407421"/>
              <a:gd name="connsiteX1127" fmla="*/ 1588343 w 6142647"/>
              <a:gd name="connsiteY1127" fmla="*/ 3484330 h 6407421"/>
              <a:gd name="connsiteX1128" fmla="*/ 1322254 w 6142647"/>
              <a:gd name="connsiteY1128" fmla="*/ 3454727 h 6407421"/>
              <a:gd name="connsiteX1129" fmla="*/ 1351857 w 6142647"/>
              <a:gd name="connsiteY1129" fmla="*/ 3454727 h 6407421"/>
              <a:gd name="connsiteX1130" fmla="*/ 1351857 w 6142647"/>
              <a:gd name="connsiteY1130" fmla="*/ 3484330 h 6407421"/>
              <a:gd name="connsiteX1131" fmla="*/ 1322254 w 6142647"/>
              <a:gd name="connsiteY1131" fmla="*/ 3484330 h 6407421"/>
              <a:gd name="connsiteX1132" fmla="*/ 1056057 w 6142647"/>
              <a:gd name="connsiteY1132" fmla="*/ 3454727 h 6407421"/>
              <a:gd name="connsiteX1133" fmla="*/ 1085660 w 6142647"/>
              <a:gd name="connsiteY1133" fmla="*/ 3454727 h 6407421"/>
              <a:gd name="connsiteX1134" fmla="*/ 1085660 w 6142647"/>
              <a:gd name="connsiteY1134" fmla="*/ 3484330 h 6407421"/>
              <a:gd name="connsiteX1135" fmla="*/ 1056057 w 6142647"/>
              <a:gd name="connsiteY1135" fmla="*/ 3484330 h 6407421"/>
              <a:gd name="connsiteX1136" fmla="*/ 789968 w 6142647"/>
              <a:gd name="connsiteY1136" fmla="*/ 3454727 h 6407421"/>
              <a:gd name="connsiteX1137" fmla="*/ 819570 w 6142647"/>
              <a:gd name="connsiteY1137" fmla="*/ 3454727 h 6407421"/>
              <a:gd name="connsiteX1138" fmla="*/ 819570 w 6142647"/>
              <a:gd name="connsiteY1138" fmla="*/ 3484330 h 6407421"/>
              <a:gd name="connsiteX1139" fmla="*/ 789968 w 6142647"/>
              <a:gd name="connsiteY1139" fmla="*/ 3484330 h 6407421"/>
              <a:gd name="connsiteX1140" fmla="*/ 523771 w 6142647"/>
              <a:gd name="connsiteY1140" fmla="*/ 3454727 h 6407421"/>
              <a:gd name="connsiteX1141" fmla="*/ 553373 w 6142647"/>
              <a:gd name="connsiteY1141" fmla="*/ 3454727 h 6407421"/>
              <a:gd name="connsiteX1142" fmla="*/ 553373 w 6142647"/>
              <a:gd name="connsiteY1142" fmla="*/ 3484330 h 6407421"/>
              <a:gd name="connsiteX1143" fmla="*/ 523771 w 6142647"/>
              <a:gd name="connsiteY1143" fmla="*/ 3484330 h 6407421"/>
              <a:gd name="connsiteX1144" fmla="*/ 266197 w 6142647"/>
              <a:gd name="connsiteY1144" fmla="*/ 3454727 h 6407421"/>
              <a:gd name="connsiteX1145" fmla="*/ 295800 w 6142647"/>
              <a:gd name="connsiteY1145" fmla="*/ 3454727 h 6407421"/>
              <a:gd name="connsiteX1146" fmla="*/ 295800 w 6142647"/>
              <a:gd name="connsiteY1146" fmla="*/ 3484330 h 6407421"/>
              <a:gd name="connsiteX1147" fmla="*/ 266197 w 6142647"/>
              <a:gd name="connsiteY1147" fmla="*/ 3484330 h 6407421"/>
              <a:gd name="connsiteX1148" fmla="*/ 0 w 6142647"/>
              <a:gd name="connsiteY1148" fmla="*/ 3454727 h 6407421"/>
              <a:gd name="connsiteX1149" fmla="*/ 29602 w 6142647"/>
              <a:gd name="connsiteY1149" fmla="*/ 3454727 h 6407421"/>
              <a:gd name="connsiteX1150" fmla="*/ 29602 w 6142647"/>
              <a:gd name="connsiteY1150" fmla="*/ 3484330 h 6407421"/>
              <a:gd name="connsiteX1151" fmla="*/ 0 w 6142647"/>
              <a:gd name="connsiteY1151" fmla="*/ 3484330 h 6407421"/>
              <a:gd name="connsiteX1152" fmla="*/ 6113045 w 6142647"/>
              <a:gd name="connsiteY1152" fmla="*/ 3189089 h 6407421"/>
              <a:gd name="connsiteX1153" fmla="*/ 6142647 w 6142647"/>
              <a:gd name="connsiteY1153" fmla="*/ 3189089 h 6407421"/>
              <a:gd name="connsiteX1154" fmla="*/ 6142647 w 6142647"/>
              <a:gd name="connsiteY1154" fmla="*/ 3218566 h 6407421"/>
              <a:gd name="connsiteX1155" fmla="*/ 6113045 w 6142647"/>
              <a:gd name="connsiteY1155" fmla="*/ 3218566 h 6407421"/>
              <a:gd name="connsiteX1156" fmla="*/ 5846848 w 6142647"/>
              <a:gd name="connsiteY1156" fmla="*/ 3189089 h 6407421"/>
              <a:gd name="connsiteX1157" fmla="*/ 5876450 w 6142647"/>
              <a:gd name="connsiteY1157" fmla="*/ 3189089 h 6407421"/>
              <a:gd name="connsiteX1158" fmla="*/ 5876450 w 6142647"/>
              <a:gd name="connsiteY1158" fmla="*/ 3218566 h 6407421"/>
              <a:gd name="connsiteX1159" fmla="*/ 5846848 w 6142647"/>
              <a:gd name="connsiteY1159" fmla="*/ 3218566 h 6407421"/>
              <a:gd name="connsiteX1160" fmla="*/ 266197 w 6142647"/>
              <a:gd name="connsiteY1160" fmla="*/ 3189089 h 6407421"/>
              <a:gd name="connsiteX1161" fmla="*/ 295800 w 6142647"/>
              <a:gd name="connsiteY1161" fmla="*/ 3189089 h 6407421"/>
              <a:gd name="connsiteX1162" fmla="*/ 295800 w 6142647"/>
              <a:gd name="connsiteY1162" fmla="*/ 3218566 h 6407421"/>
              <a:gd name="connsiteX1163" fmla="*/ 266197 w 6142647"/>
              <a:gd name="connsiteY1163" fmla="*/ 3218566 h 6407421"/>
              <a:gd name="connsiteX1164" fmla="*/ 0 w 6142647"/>
              <a:gd name="connsiteY1164" fmla="*/ 3189089 h 6407421"/>
              <a:gd name="connsiteX1165" fmla="*/ 29602 w 6142647"/>
              <a:gd name="connsiteY1165" fmla="*/ 3189089 h 6407421"/>
              <a:gd name="connsiteX1166" fmla="*/ 29602 w 6142647"/>
              <a:gd name="connsiteY1166" fmla="*/ 3218566 h 6407421"/>
              <a:gd name="connsiteX1167" fmla="*/ 0 w 6142647"/>
              <a:gd name="connsiteY1167" fmla="*/ 3218566 h 6407421"/>
              <a:gd name="connsiteX1168" fmla="*/ 5580759 w 6142647"/>
              <a:gd name="connsiteY1168" fmla="*/ 3189087 h 6407421"/>
              <a:gd name="connsiteX1169" fmla="*/ 5610361 w 6142647"/>
              <a:gd name="connsiteY1169" fmla="*/ 3189087 h 6407421"/>
              <a:gd name="connsiteX1170" fmla="*/ 5610361 w 6142647"/>
              <a:gd name="connsiteY1170" fmla="*/ 3218566 h 6407421"/>
              <a:gd name="connsiteX1171" fmla="*/ 5580759 w 6142647"/>
              <a:gd name="connsiteY1171" fmla="*/ 3218566 h 6407421"/>
              <a:gd name="connsiteX1172" fmla="*/ 5314562 w 6142647"/>
              <a:gd name="connsiteY1172" fmla="*/ 3189087 h 6407421"/>
              <a:gd name="connsiteX1173" fmla="*/ 5344164 w 6142647"/>
              <a:gd name="connsiteY1173" fmla="*/ 3189087 h 6407421"/>
              <a:gd name="connsiteX1174" fmla="*/ 5344164 w 6142647"/>
              <a:gd name="connsiteY1174" fmla="*/ 3218566 h 6407421"/>
              <a:gd name="connsiteX1175" fmla="*/ 5314562 w 6142647"/>
              <a:gd name="connsiteY1175" fmla="*/ 3218566 h 6407421"/>
              <a:gd name="connsiteX1176" fmla="*/ 5048365 w 6142647"/>
              <a:gd name="connsiteY1176" fmla="*/ 3189086 h 6407421"/>
              <a:gd name="connsiteX1177" fmla="*/ 5078075 w 6142647"/>
              <a:gd name="connsiteY1177" fmla="*/ 3189086 h 6407421"/>
              <a:gd name="connsiteX1178" fmla="*/ 5078075 w 6142647"/>
              <a:gd name="connsiteY1178" fmla="*/ 3218566 h 6407421"/>
              <a:gd name="connsiteX1179" fmla="*/ 5048365 w 6142647"/>
              <a:gd name="connsiteY1179" fmla="*/ 3218566 h 6407421"/>
              <a:gd name="connsiteX1180" fmla="*/ 4782276 w 6142647"/>
              <a:gd name="connsiteY1180" fmla="*/ 3189085 h 6407421"/>
              <a:gd name="connsiteX1181" fmla="*/ 4811879 w 6142647"/>
              <a:gd name="connsiteY1181" fmla="*/ 3189085 h 6407421"/>
              <a:gd name="connsiteX1182" fmla="*/ 4811879 w 6142647"/>
              <a:gd name="connsiteY1182" fmla="*/ 3218566 h 6407421"/>
              <a:gd name="connsiteX1183" fmla="*/ 4782276 w 6142647"/>
              <a:gd name="connsiteY1183" fmla="*/ 3218566 h 6407421"/>
              <a:gd name="connsiteX1184" fmla="*/ 4516079 w 6142647"/>
              <a:gd name="connsiteY1184" fmla="*/ 3189084 h 6407421"/>
              <a:gd name="connsiteX1185" fmla="*/ 4545681 w 6142647"/>
              <a:gd name="connsiteY1185" fmla="*/ 3189084 h 6407421"/>
              <a:gd name="connsiteX1186" fmla="*/ 4545681 w 6142647"/>
              <a:gd name="connsiteY1186" fmla="*/ 3218566 h 6407421"/>
              <a:gd name="connsiteX1187" fmla="*/ 4516079 w 6142647"/>
              <a:gd name="connsiteY1187" fmla="*/ 3218566 h 6407421"/>
              <a:gd name="connsiteX1188" fmla="*/ 4249990 w 6142647"/>
              <a:gd name="connsiteY1188" fmla="*/ 3189083 h 6407421"/>
              <a:gd name="connsiteX1189" fmla="*/ 4279592 w 6142647"/>
              <a:gd name="connsiteY1189" fmla="*/ 3189083 h 6407421"/>
              <a:gd name="connsiteX1190" fmla="*/ 4279592 w 6142647"/>
              <a:gd name="connsiteY1190" fmla="*/ 3218566 h 6407421"/>
              <a:gd name="connsiteX1191" fmla="*/ 4249990 w 6142647"/>
              <a:gd name="connsiteY1191" fmla="*/ 3218566 h 6407421"/>
              <a:gd name="connsiteX1192" fmla="*/ 3983793 w 6142647"/>
              <a:gd name="connsiteY1192" fmla="*/ 3189082 h 6407421"/>
              <a:gd name="connsiteX1193" fmla="*/ 4013396 w 6142647"/>
              <a:gd name="connsiteY1193" fmla="*/ 3189082 h 6407421"/>
              <a:gd name="connsiteX1194" fmla="*/ 4013396 w 6142647"/>
              <a:gd name="connsiteY1194" fmla="*/ 3218566 h 6407421"/>
              <a:gd name="connsiteX1195" fmla="*/ 3983793 w 6142647"/>
              <a:gd name="connsiteY1195" fmla="*/ 3218566 h 6407421"/>
              <a:gd name="connsiteX1196" fmla="*/ 3717704 w 6142647"/>
              <a:gd name="connsiteY1196" fmla="*/ 3189081 h 6407421"/>
              <a:gd name="connsiteX1197" fmla="*/ 3747307 w 6142647"/>
              <a:gd name="connsiteY1197" fmla="*/ 3189081 h 6407421"/>
              <a:gd name="connsiteX1198" fmla="*/ 3747307 w 6142647"/>
              <a:gd name="connsiteY1198" fmla="*/ 3218566 h 6407421"/>
              <a:gd name="connsiteX1199" fmla="*/ 3717704 w 6142647"/>
              <a:gd name="connsiteY1199" fmla="*/ 3218566 h 6407421"/>
              <a:gd name="connsiteX1200" fmla="*/ 3451507 w 6142647"/>
              <a:gd name="connsiteY1200" fmla="*/ 3189081 h 6407421"/>
              <a:gd name="connsiteX1201" fmla="*/ 3481109 w 6142647"/>
              <a:gd name="connsiteY1201" fmla="*/ 3189081 h 6407421"/>
              <a:gd name="connsiteX1202" fmla="*/ 3481109 w 6142647"/>
              <a:gd name="connsiteY1202" fmla="*/ 3218566 h 6407421"/>
              <a:gd name="connsiteX1203" fmla="*/ 3451507 w 6142647"/>
              <a:gd name="connsiteY1203" fmla="*/ 3218566 h 6407421"/>
              <a:gd name="connsiteX1204" fmla="*/ 3185310 w 6142647"/>
              <a:gd name="connsiteY1204" fmla="*/ 3189080 h 6407421"/>
              <a:gd name="connsiteX1205" fmla="*/ 3214913 w 6142647"/>
              <a:gd name="connsiteY1205" fmla="*/ 3189080 h 6407421"/>
              <a:gd name="connsiteX1206" fmla="*/ 3214913 w 6142647"/>
              <a:gd name="connsiteY1206" fmla="*/ 3218566 h 6407421"/>
              <a:gd name="connsiteX1207" fmla="*/ 3185310 w 6142647"/>
              <a:gd name="connsiteY1207" fmla="*/ 3218566 h 6407421"/>
              <a:gd name="connsiteX1208" fmla="*/ 2919113 w 6142647"/>
              <a:gd name="connsiteY1208" fmla="*/ 3189079 h 6407421"/>
              <a:gd name="connsiteX1209" fmla="*/ 2948715 w 6142647"/>
              <a:gd name="connsiteY1209" fmla="*/ 3189079 h 6407421"/>
              <a:gd name="connsiteX1210" fmla="*/ 2948715 w 6142647"/>
              <a:gd name="connsiteY1210" fmla="*/ 3218566 h 6407421"/>
              <a:gd name="connsiteX1211" fmla="*/ 2919113 w 6142647"/>
              <a:gd name="connsiteY1211" fmla="*/ 3218566 h 6407421"/>
              <a:gd name="connsiteX1212" fmla="*/ 2653024 w 6142647"/>
              <a:gd name="connsiteY1212" fmla="*/ 3189078 h 6407421"/>
              <a:gd name="connsiteX1213" fmla="*/ 2682627 w 6142647"/>
              <a:gd name="connsiteY1213" fmla="*/ 3189078 h 6407421"/>
              <a:gd name="connsiteX1214" fmla="*/ 2682627 w 6142647"/>
              <a:gd name="connsiteY1214" fmla="*/ 3218566 h 6407421"/>
              <a:gd name="connsiteX1215" fmla="*/ 2653024 w 6142647"/>
              <a:gd name="connsiteY1215" fmla="*/ 3218566 h 6407421"/>
              <a:gd name="connsiteX1216" fmla="*/ 2386827 w 6142647"/>
              <a:gd name="connsiteY1216" fmla="*/ 3189077 h 6407421"/>
              <a:gd name="connsiteX1217" fmla="*/ 2416430 w 6142647"/>
              <a:gd name="connsiteY1217" fmla="*/ 3189077 h 6407421"/>
              <a:gd name="connsiteX1218" fmla="*/ 2416430 w 6142647"/>
              <a:gd name="connsiteY1218" fmla="*/ 3218566 h 6407421"/>
              <a:gd name="connsiteX1219" fmla="*/ 2386827 w 6142647"/>
              <a:gd name="connsiteY1219" fmla="*/ 3218566 h 6407421"/>
              <a:gd name="connsiteX1220" fmla="*/ 2120630 w 6142647"/>
              <a:gd name="connsiteY1220" fmla="*/ 3189076 h 6407421"/>
              <a:gd name="connsiteX1221" fmla="*/ 2150233 w 6142647"/>
              <a:gd name="connsiteY1221" fmla="*/ 3189076 h 6407421"/>
              <a:gd name="connsiteX1222" fmla="*/ 2150233 w 6142647"/>
              <a:gd name="connsiteY1222" fmla="*/ 3218566 h 6407421"/>
              <a:gd name="connsiteX1223" fmla="*/ 2120630 w 6142647"/>
              <a:gd name="connsiteY1223" fmla="*/ 3218566 h 6407421"/>
              <a:gd name="connsiteX1224" fmla="*/ 1854540 w 6142647"/>
              <a:gd name="connsiteY1224" fmla="*/ 3189076 h 6407421"/>
              <a:gd name="connsiteX1225" fmla="*/ 1884143 w 6142647"/>
              <a:gd name="connsiteY1225" fmla="*/ 3189076 h 6407421"/>
              <a:gd name="connsiteX1226" fmla="*/ 1884143 w 6142647"/>
              <a:gd name="connsiteY1226" fmla="*/ 3218566 h 6407421"/>
              <a:gd name="connsiteX1227" fmla="*/ 1854540 w 6142647"/>
              <a:gd name="connsiteY1227" fmla="*/ 3218566 h 6407421"/>
              <a:gd name="connsiteX1228" fmla="*/ 1588343 w 6142647"/>
              <a:gd name="connsiteY1228" fmla="*/ 3189075 h 6407421"/>
              <a:gd name="connsiteX1229" fmla="*/ 1617945 w 6142647"/>
              <a:gd name="connsiteY1229" fmla="*/ 3189075 h 6407421"/>
              <a:gd name="connsiteX1230" fmla="*/ 1617945 w 6142647"/>
              <a:gd name="connsiteY1230" fmla="*/ 3218566 h 6407421"/>
              <a:gd name="connsiteX1231" fmla="*/ 1588343 w 6142647"/>
              <a:gd name="connsiteY1231" fmla="*/ 3218566 h 6407421"/>
              <a:gd name="connsiteX1232" fmla="*/ 1322254 w 6142647"/>
              <a:gd name="connsiteY1232" fmla="*/ 3189074 h 6407421"/>
              <a:gd name="connsiteX1233" fmla="*/ 1351857 w 6142647"/>
              <a:gd name="connsiteY1233" fmla="*/ 3189074 h 6407421"/>
              <a:gd name="connsiteX1234" fmla="*/ 1351857 w 6142647"/>
              <a:gd name="connsiteY1234" fmla="*/ 3218566 h 6407421"/>
              <a:gd name="connsiteX1235" fmla="*/ 1322254 w 6142647"/>
              <a:gd name="connsiteY1235" fmla="*/ 3218566 h 6407421"/>
              <a:gd name="connsiteX1236" fmla="*/ 1056057 w 6142647"/>
              <a:gd name="connsiteY1236" fmla="*/ 3189073 h 6407421"/>
              <a:gd name="connsiteX1237" fmla="*/ 1085660 w 6142647"/>
              <a:gd name="connsiteY1237" fmla="*/ 3189073 h 6407421"/>
              <a:gd name="connsiteX1238" fmla="*/ 1085660 w 6142647"/>
              <a:gd name="connsiteY1238" fmla="*/ 3218566 h 6407421"/>
              <a:gd name="connsiteX1239" fmla="*/ 1056057 w 6142647"/>
              <a:gd name="connsiteY1239" fmla="*/ 3218566 h 6407421"/>
              <a:gd name="connsiteX1240" fmla="*/ 789968 w 6142647"/>
              <a:gd name="connsiteY1240" fmla="*/ 3189072 h 6407421"/>
              <a:gd name="connsiteX1241" fmla="*/ 819570 w 6142647"/>
              <a:gd name="connsiteY1241" fmla="*/ 3189072 h 6407421"/>
              <a:gd name="connsiteX1242" fmla="*/ 819570 w 6142647"/>
              <a:gd name="connsiteY1242" fmla="*/ 3218566 h 6407421"/>
              <a:gd name="connsiteX1243" fmla="*/ 789968 w 6142647"/>
              <a:gd name="connsiteY1243" fmla="*/ 3218566 h 6407421"/>
              <a:gd name="connsiteX1244" fmla="*/ 523771 w 6142647"/>
              <a:gd name="connsiteY1244" fmla="*/ 3189071 h 6407421"/>
              <a:gd name="connsiteX1245" fmla="*/ 553373 w 6142647"/>
              <a:gd name="connsiteY1245" fmla="*/ 3189071 h 6407421"/>
              <a:gd name="connsiteX1246" fmla="*/ 553373 w 6142647"/>
              <a:gd name="connsiteY1246" fmla="*/ 3218566 h 6407421"/>
              <a:gd name="connsiteX1247" fmla="*/ 523771 w 6142647"/>
              <a:gd name="connsiteY1247" fmla="*/ 3218566 h 6407421"/>
              <a:gd name="connsiteX1248" fmla="*/ 6113045 w 6142647"/>
              <a:gd name="connsiteY1248" fmla="*/ 2923329 h 6407421"/>
              <a:gd name="connsiteX1249" fmla="*/ 6142647 w 6142647"/>
              <a:gd name="connsiteY1249" fmla="*/ 2923329 h 6407421"/>
              <a:gd name="connsiteX1250" fmla="*/ 6142647 w 6142647"/>
              <a:gd name="connsiteY1250" fmla="*/ 2952824 h 6407421"/>
              <a:gd name="connsiteX1251" fmla="*/ 6113045 w 6142647"/>
              <a:gd name="connsiteY1251" fmla="*/ 2952824 h 6407421"/>
              <a:gd name="connsiteX1252" fmla="*/ 266197 w 6142647"/>
              <a:gd name="connsiteY1252" fmla="*/ 2923329 h 6407421"/>
              <a:gd name="connsiteX1253" fmla="*/ 295800 w 6142647"/>
              <a:gd name="connsiteY1253" fmla="*/ 2923329 h 6407421"/>
              <a:gd name="connsiteX1254" fmla="*/ 295800 w 6142647"/>
              <a:gd name="connsiteY1254" fmla="*/ 2952824 h 6407421"/>
              <a:gd name="connsiteX1255" fmla="*/ 266197 w 6142647"/>
              <a:gd name="connsiteY1255" fmla="*/ 2952824 h 6407421"/>
              <a:gd name="connsiteX1256" fmla="*/ 5846848 w 6142647"/>
              <a:gd name="connsiteY1256" fmla="*/ 2923328 h 6407421"/>
              <a:gd name="connsiteX1257" fmla="*/ 5876450 w 6142647"/>
              <a:gd name="connsiteY1257" fmla="*/ 2923328 h 6407421"/>
              <a:gd name="connsiteX1258" fmla="*/ 5876450 w 6142647"/>
              <a:gd name="connsiteY1258" fmla="*/ 2952823 h 6407421"/>
              <a:gd name="connsiteX1259" fmla="*/ 5846848 w 6142647"/>
              <a:gd name="connsiteY1259" fmla="*/ 2952823 h 6407421"/>
              <a:gd name="connsiteX1260" fmla="*/ 0 w 6142647"/>
              <a:gd name="connsiteY1260" fmla="*/ 2923328 h 6407421"/>
              <a:gd name="connsiteX1261" fmla="*/ 29602 w 6142647"/>
              <a:gd name="connsiteY1261" fmla="*/ 2923328 h 6407421"/>
              <a:gd name="connsiteX1262" fmla="*/ 29602 w 6142647"/>
              <a:gd name="connsiteY1262" fmla="*/ 2952823 h 6407421"/>
              <a:gd name="connsiteX1263" fmla="*/ 0 w 6142647"/>
              <a:gd name="connsiteY1263" fmla="*/ 2952823 h 6407421"/>
              <a:gd name="connsiteX1264" fmla="*/ 5580759 w 6142647"/>
              <a:gd name="connsiteY1264" fmla="*/ 2923327 h 6407421"/>
              <a:gd name="connsiteX1265" fmla="*/ 5610361 w 6142647"/>
              <a:gd name="connsiteY1265" fmla="*/ 2923327 h 6407421"/>
              <a:gd name="connsiteX1266" fmla="*/ 5610361 w 6142647"/>
              <a:gd name="connsiteY1266" fmla="*/ 2952822 h 6407421"/>
              <a:gd name="connsiteX1267" fmla="*/ 5580759 w 6142647"/>
              <a:gd name="connsiteY1267" fmla="*/ 2952822 h 6407421"/>
              <a:gd name="connsiteX1268" fmla="*/ 5314562 w 6142647"/>
              <a:gd name="connsiteY1268" fmla="*/ 2923326 h 6407421"/>
              <a:gd name="connsiteX1269" fmla="*/ 5344164 w 6142647"/>
              <a:gd name="connsiteY1269" fmla="*/ 2923326 h 6407421"/>
              <a:gd name="connsiteX1270" fmla="*/ 5344164 w 6142647"/>
              <a:gd name="connsiteY1270" fmla="*/ 2952821 h 6407421"/>
              <a:gd name="connsiteX1271" fmla="*/ 5314562 w 6142647"/>
              <a:gd name="connsiteY1271" fmla="*/ 2952821 h 6407421"/>
              <a:gd name="connsiteX1272" fmla="*/ 5048365 w 6142647"/>
              <a:gd name="connsiteY1272" fmla="*/ 2923325 h 6407421"/>
              <a:gd name="connsiteX1273" fmla="*/ 5078075 w 6142647"/>
              <a:gd name="connsiteY1273" fmla="*/ 2923325 h 6407421"/>
              <a:gd name="connsiteX1274" fmla="*/ 5078075 w 6142647"/>
              <a:gd name="connsiteY1274" fmla="*/ 2952820 h 6407421"/>
              <a:gd name="connsiteX1275" fmla="*/ 5048365 w 6142647"/>
              <a:gd name="connsiteY1275" fmla="*/ 2952820 h 6407421"/>
              <a:gd name="connsiteX1276" fmla="*/ 4782276 w 6142647"/>
              <a:gd name="connsiteY1276" fmla="*/ 2923323 h 6407421"/>
              <a:gd name="connsiteX1277" fmla="*/ 4811879 w 6142647"/>
              <a:gd name="connsiteY1277" fmla="*/ 2923323 h 6407421"/>
              <a:gd name="connsiteX1278" fmla="*/ 4811879 w 6142647"/>
              <a:gd name="connsiteY1278" fmla="*/ 2952819 h 6407421"/>
              <a:gd name="connsiteX1279" fmla="*/ 4782276 w 6142647"/>
              <a:gd name="connsiteY1279" fmla="*/ 2952819 h 6407421"/>
              <a:gd name="connsiteX1280" fmla="*/ 4516079 w 6142647"/>
              <a:gd name="connsiteY1280" fmla="*/ 2923322 h 6407421"/>
              <a:gd name="connsiteX1281" fmla="*/ 4545681 w 6142647"/>
              <a:gd name="connsiteY1281" fmla="*/ 2923322 h 6407421"/>
              <a:gd name="connsiteX1282" fmla="*/ 4545681 w 6142647"/>
              <a:gd name="connsiteY1282" fmla="*/ 2952818 h 6407421"/>
              <a:gd name="connsiteX1283" fmla="*/ 4516079 w 6142647"/>
              <a:gd name="connsiteY1283" fmla="*/ 2952818 h 6407421"/>
              <a:gd name="connsiteX1284" fmla="*/ 4249990 w 6142647"/>
              <a:gd name="connsiteY1284" fmla="*/ 2923321 h 6407421"/>
              <a:gd name="connsiteX1285" fmla="*/ 4279592 w 6142647"/>
              <a:gd name="connsiteY1285" fmla="*/ 2923321 h 6407421"/>
              <a:gd name="connsiteX1286" fmla="*/ 4279592 w 6142647"/>
              <a:gd name="connsiteY1286" fmla="*/ 2952817 h 6407421"/>
              <a:gd name="connsiteX1287" fmla="*/ 4249990 w 6142647"/>
              <a:gd name="connsiteY1287" fmla="*/ 2952817 h 6407421"/>
              <a:gd name="connsiteX1288" fmla="*/ 3983793 w 6142647"/>
              <a:gd name="connsiteY1288" fmla="*/ 2923320 h 6407421"/>
              <a:gd name="connsiteX1289" fmla="*/ 4013396 w 6142647"/>
              <a:gd name="connsiteY1289" fmla="*/ 2923320 h 6407421"/>
              <a:gd name="connsiteX1290" fmla="*/ 4013396 w 6142647"/>
              <a:gd name="connsiteY1290" fmla="*/ 2952815 h 6407421"/>
              <a:gd name="connsiteX1291" fmla="*/ 3983793 w 6142647"/>
              <a:gd name="connsiteY1291" fmla="*/ 2952815 h 6407421"/>
              <a:gd name="connsiteX1292" fmla="*/ 3717704 w 6142647"/>
              <a:gd name="connsiteY1292" fmla="*/ 2923319 h 6407421"/>
              <a:gd name="connsiteX1293" fmla="*/ 3747307 w 6142647"/>
              <a:gd name="connsiteY1293" fmla="*/ 2923319 h 6407421"/>
              <a:gd name="connsiteX1294" fmla="*/ 3747307 w 6142647"/>
              <a:gd name="connsiteY1294" fmla="*/ 2952814 h 6407421"/>
              <a:gd name="connsiteX1295" fmla="*/ 3717704 w 6142647"/>
              <a:gd name="connsiteY1295" fmla="*/ 2952814 h 6407421"/>
              <a:gd name="connsiteX1296" fmla="*/ 3451507 w 6142647"/>
              <a:gd name="connsiteY1296" fmla="*/ 2923318 h 6407421"/>
              <a:gd name="connsiteX1297" fmla="*/ 3481109 w 6142647"/>
              <a:gd name="connsiteY1297" fmla="*/ 2923318 h 6407421"/>
              <a:gd name="connsiteX1298" fmla="*/ 3481109 w 6142647"/>
              <a:gd name="connsiteY1298" fmla="*/ 2952813 h 6407421"/>
              <a:gd name="connsiteX1299" fmla="*/ 3451507 w 6142647"/>
              <a:gd name="connsiteY1299" fmla="*/ 2952813 h 6407421"/>
              <a:gd name="connsiteX1300" fmla="*/ 3185310 w 6142647"/>
              <a:gd name="connsiteY1300" fmla="*/ 2923317 h 6407421"/>
              <a:gd name="connsiteX1301" fmla="*/ 3214913 w 6142647"/>
              <a:gd name="connsiteY1301" fmla="*/ 2923317 h 6407421"/>
              <a:gd name="connsiteX1302" fmla="*/ 3214913 w 6142647"/>
              <a:gd name="connsiteY1302" fmla="*/ 2952812 h 6407421"/>
              <a:gd name="connsiteX1303" fmla="*/ 3185310 w 6142647"/>
              <a:gd name="connsiteY1303" fmla="*/ 2952812 h 6407421"/>
              <a:gd name="connsiteX1304" fmla="*/ 2919113 w 6142647"/>
              <a:gd name="connsiteY1304" fmla="*/ 2923316 h 6407421"/>
              <a:gd name="connsiteX1305" fmla="*/ 2948715 w 6142647"/>
              <a:gd name="connsiteY1305" fmla="*/ 2923316 h 6407421"/>
              <a:gd name="connsiteX1306" fmla="*/ 2948715 w 6142647"/>
              <a:gd name="connsiteY1306" fmla="*/ 2952811 h 6407421"/>
              <a:gd name="connsiteX1307" fmla="*/ 2919113 w 6142647"/>
              <a:gd name="connsiteY1307" fmla="*/ 2952811 h 6407421"/>
              <a:gd name="connsiteX1308" fmla="*/ 2653024 w 6142647"/>
              <a:gd name="connsiteY1308" fmla="*/ 2923315 h 6407421"/>
              <a:gd name="connsiteX1309" fmla="*/ 2682627 w 6142647"/>
              <a:gd name="connsiteY1309" fmla="*/ 2923315 h 6407421"/>
              <a:gd name="connsiteX1310" fmla="*/ 2682627 w 6142647"/>
              <a:gd name="connsiteY1310" fmla="*/ 2952810 h 6407421"/>
              <a:gd name="connsiteX1311" fmla="*/ 2653024 w 6142647"/>
              <a:gd name="connsiteY1311" fmla="*/ 2952810 h 6407421"/>
              <a:gd name="connsiteX1312" fmla="*/ 2386827 w 6142647"/>
              <a:gd name="connsiteY1312" fmla="*/ 2923314 h 6407421"/>
              <a:gd name="connsiteX1313" fmla="*/ 2416430 w 6142647"/>
              <a:gd name="connsiteY1313" fmla="*/ 2923314 h 6407421"/>
              <a:gd name="connsiteX1314" fmla="*/ 2416430 w 6142647"/>
              <a:gd name="connsiteY1314" fmla="*/ 2952809 h 6407421"/>
              <a:gd name="connsiteX1315" fmla="*/ 2386827 w 6142647"/>
              <a:gd name="connsiteY1315" fmla="*/ 2952809 h 6407421"/>
              <a:gd name="connsiteX1316" fmla="*/ 2120630 w 6142647"/>
              <a:gd name="connsiteY1316" fmla="*/ 2923313 h 6407421"/>
              <a:gd name="connsiteX1317" fmla="*/ 2150233 w 6142647"/>
              <a:gd name="connsiteY1317" fmla="*/ 2923313 h 6407421"/>
              <a:gd name="connsiteX1318" fmla="*/ 2150233 w 6142647"/>
              <a:gd name="connsiteY1318" fmla="*/ 2952808 h 6407421"/>
              <a:gd name="connsiteX1319" fmla="*/ 2120630 w 6142647"/>
              <a:gd name="connsiteY1319" fmla="*/ 2952808 h 6407421"/>
              <a:gd name="connsiteX1320" fmla="*/ 1854540 w 6142647"/>
              <a:gd name="connsiteY1320" fmla="*/ 2923312 h 6407421"/>
              <a:gd name="connsiteX1321" fmla="*/ 1884143 w 6142647"/>
              <a:gd name="connsiteY1321" fmla="*/ 2923312 h 6407421"/>
              <a:gd name="connsiteX1322" fmla="*/ 1884143 w 6142647"/>
              <a:gd name="connsiteY1322" fmla="*/ 2952807 h 6407421"/>
              <a:gd name="connsiteX1323" fmla="*/ 1854540 w 6142647"/>
              <a:gd name="connsiteY1323" fmla="*/ 2952807 h 6407421"/>
              <a:gd name="connsiteX1324" fmla="*/ 1588343 w 6142647"/>
              <a:gd name="connsiteY1324" fmla="*/ 2923311 h 6407421"/>
              <a:gd name="connsiteX1325" fmla="*/ 1617945 w 6142647"/>
              <a:gd name="connsiteY1325" fmla="*/ 2923311 h 6407421"/>
              <a:gd name="connsiteX1326" fmla="*/ 1617945 w 6142647"/>
              <a:gd name="connsiteY1326" fmla="*/ 2952806 h 6407421"/>
              <a:gd name="connsiteX1327" fmla="*/ 1588343 w 6142647"/>
              <a:gd name="connsiteY1327" fmla="*/ 2952806 h 6407421"/>
              <a:gd name="connsiteX1328" fmla="*/ 1322254 w 6142647"/>
              <a:gd name="connsiteY1328" fmla="*/ 2923310 h 6407421"/>
              <a:gd name="connsiteX1329" fmla="*/ 1351857 w 6142647"/>
              <a:gd name="connsiteY1329" fmla="*/ 2923310 h 6407421"/>
              <a:gd name="connsiteX1330" fmla="*/ 1351857 w 6142647"/>
              <a:gd name="connsiteY1330" fmla="*/ 2952805 h 6407421"/>
              <a:gd name="connsiteX1331" fmla="*/ 1322254 w 6142647"/>
              <a:gd name="connsiteY1331" fmla="*/ 2952805 h 6407421"/>
              <a:gd name="connsiteX1332" fmla="*/ 1056057 w 6142647"/>
              <a:gd name="connsiteY1332" fmla="*/ 2923309 h 6407421"/>
              <a:gd name="connsiteX1333" fmla="*/ 1085660 w 6142647"/>
              <a:gd name="connsiteY1333" fmla="*/ 2923309 h 6407421"/>
              <a:gd name="connsiteX1334" fmla="*/ 1085660 w 6142647"/>
              <a:gd name="connsiteY1334" fmla="*/ 2952804 h 6407421"/>
              <a:gd name="connsiteX1335" fmla="*/ 1056057 w 6142647"/>
              <a:gd name="connsiteY1335" fmla="*/ 2952804 h 6407421"/>
              <a:gd name="connsiteX1336" fmla="*/ 789968 w 6142647"/>
              <a:gd name="connsiteY1336" fmla="*/ 2923308 h 6407421"/>
              <a:gd name="connsiteX1337" fmla="*/ 819570 w 6142647"/>
              <a:gd name="connsiteY1337" fmla="*/ 2923308 h 6407421"/>
              <a:gd name="connsiteX1338" fmla="*/ 819570 w 6142647"/>
              <a:gd name="connsiteY1338" fmla="*/ 2952803 h 6407421"/>
              <a:gd name="connsiteX1339" fmla="*/ 789968 w 6142647"/>
              <a:gd name="connsiteY1339" fmla="*/ 2952803 h 6407421"/>
              <a:gd name="connsiteX1340" fmla="*/ 523771 w 6142647"/>
              <a:gd name="connsiteY1340" fmla="*/ 2923307 h 6407421"/>
              <a:gd name="connsiteX1341" fmla="*/ 553373 w 6142647"/>
              <a:gd name="connsiteY1341" fmla="*/ 2923307 h 6407421"/>
              <a:gd name="connsiteX1342" fmla="*/ 553373 w 6142647"/>
              <a:gd name="connsiteY1342" fmla="*/ 2952802 h 6407421"/>
              <a:gd name="connsiteX1343" fmla="*/ 523771 w 6142647"/>
              <a:gd name="connsiteY1343" fmla="*/ 2952802 h 6407421"/>
              <a:gd name="connsiteX1344" fmla="*/ 6113045 w 6142647"/>
              <a:gd name="connsiteY1344" fmla="*/ 2657500 h 6407421"/>
              <a:gd name="connsiteX1345" fmla="*/ 6142647 w 6142647"/>
              <a:gd name="connsiteY1345" fmla="*/ 2657500 h 6407421"/>
              <a:gd name="connsiteX1346" fmla="*/ 6142647 w 6142647"/>
              <a:gd name="connsiteY1346" fmla="*/ 2687101 h 6407421"/>
              <a:gd name="connsiteX1347" fmla="*/ 6113045 w 6142647"/>
              <a:gd name="connsiteY1347" fmla="*/ 2687101 h 6407421"/>
              <a:gd name="connsiteX1348" fmla="*/ 266197 w 6142647"/>
              <a:gd name="connsiteY1348" fmla="*/ 2657500 h 6407421"/>
              <a:gd name="connsiteX1349" fmla="*/ 295800 w 6142647"/>
              <a:gd name="connsiteY1349" fmla="*/ 2657500 h 6407421"/>
              <a:gd name="connsiteX1350" fmla="*/ 295800 w 6142647"/>
              <a:gd name="connsiteY1350" fmla="*/ 2687101 h 6407421"/>
              <a:gd name="connsiteX1351" fmla="*/ 266197 w 6142647"/>
              <a:gd name="connsiteY1351" fmla="*/ 2687101 h 6407421"/>
              <a:gd name="connsiteX1352" fmla="*/ 5846848 w 6142647"/>
              <a:gd name="connsiteY1352" fmla="*/ 2657497 h 6407421"/>
              <a:gd name="connsiteX1353" fmla="*/ 5876450 w 6142647"/>
              <a:gd name="connsiteY1353" fmla="*/ 2657497 h 6407421"/>
              <a:gd name="connsiteX1354" fmla="*/ 5876450 w 6142647"/>
              <a:gd name="connsiteY1354" fmla="*/ 2687099 h 6407421"/>
              <a:gd name="connsiteX1355" fmla="*/ 5846848 w 6142647"/>
              <a:gd name="connsiteY1355" fmla="*/ 2687099 h 6407421"/>
              <a:gd name="connsiteX1356" fmla="*/ 0 w 6142647"/>
              <a:gd name="connsiteY1356" fmla="*/ 2657497 h 6407421"/>
              <a:gd name="connsiteX1357" fmla="*/ 29602 w 6142647"/>
              <a:gd name="connsiteY1357" fmla="*/ 2657497 h 6407421"/>
              <a:gd name="connsiteX1358" fmla="*/ 29602 w 6142647"/>
              <a:gd name="connsiteY1358" fmla="*/ 2687099 h 6407421"/>
              <a:gd name="connsiteX1359" fmla="*/ 0 w 6142647"/>
              <a:gd name="connsiteY1359" fmla="*/ 2687099 h 6407421"/>
              <a:gd name="connsiteX1360" fmla="*/ 5580759 w 6142647"/>
              <a:gd name="connsiteY1360" fmla="*/ 2657494 h 6407421"/>
              <a:gd name="connsiteX1361" fmla="*/ 5610361 w 6142647"/>
              <a:gd name="connsiteY1361" fmla="*/ 2657494 h 6407421"/>
              <a:gd name="connsiteX1362" fmla="*/ 5610361 w 6142647"/>
              <a:gd name="connsiteY1362" fmla="*/ 2687096 h 6407421"/>
              <a:gd name="connsiteX1363" fmla="*/ 5580759 w 6142647"/>
              <a:gd name="connsiteY1363" fmla="*/ 2687096 h 6407421"/>
              <a:gd name="connsiteX1364" fmla="*/ 5314562 w 6142647"/>
              <a:gd name="connsiteY1364" fmla="*/ 2657491 h 6407421"/>
              <a:gd name="connsiteX1365" fmla="*/ 5344164 w 6142647"/>
              <a:gd name="connsiteY1365" fmla="*/ 2657491 h 6407421"/>
              <a:gd name="connsiteX1366" fmla="*/ 5344164 w 6142647"/>
              <a:gd name="connsiteY1366" fmla="*/ 2687093 h 6407421"/>
              <a:gd name="connsiteX1367" fmla="*/ 5314562 w 6142647"/>
              <a:gd name="connsiteY1367" fmla="*/ 2687093 h 6407421"/>
              <a:gd name="connsiteX1368" fmla="*/ 5048365 w 6142647"/>
              <a:gd name="connsiteY1368" fmla="*/ 2657488 h 6407421"/>
              <a:gd name="connsiteX1369" fmla="*/ 5078075 w 6142647"/>
              <a:gd name="connsiteY1369" fmla="*/ 2657488 h 6407421"/>
              <a:gd name="connsiteX1370" fmla="*/ 5078075 w 6142647"/>
              <a:gd name="connsiteY1370" fmla="*/ 2687090 h 6407421"/>
              <a:gd name="connsiteX1371" fmla="*/ 5048365 w 6142647"/>
              <a:gd name="connsiteY1371" fmla="*/ 2687090 h 6407421"/>
              <a:gd name="connsiteX1372" fmla="*/ 4782276 w 6142647"/>
              <a:gd name="connsiteY1372" fmla="*/ 2657485 h 6407421"/>
              <a:gd name="connsiteX1373" fmla="*/ 4811879 w 6142647"/>
              <a:gd name="connsiteY1373" fmla="*/ 2657485 h 6407421"/>
              <a:gd name="connsiteX1374" fmla="*/ 4811879 w 6142647"/>
              <a:gd name="connsiteY1374" fmla="*/ 2687087 h 6407421"/>
              <a:gd name="connsiteX1375" fmla="*/ 4782276 w 6142647"/>
              <a:gd name="connsiteY1375" fmla="*/ 2687087 h 6407421"/>
              <a:gd name="connsiteX1376" fmla="*/ 4516079 w 6142647"/>
              <a:gd name="connsiteY1376" fmla="*/ 2657482 h 6407421"/>
              <a:gd name="connsiteX1377" fmla="*/ 4545681 w 6142647"/>
              <a:gd name="connsiteY1377" fmla="*/ 2657482 h 6407421"/>
              <a:gd name="connsiteX1378" fmla="*/ 4545681 w 6142647"/>
              <a:gd name="connsiteY1378" fmla="*/ 2687083 h 6407421"/>
              <a:gd name="connsiteX1379" fmla="*/ 4516079 w 6142647"/>
              <a:gd name="connsiteY1379" fmla="*/ 2687083 h 6407421"/>
              <a:gd name="connsiteX1380" fmla="*/ 4249990 w 6142647"/>
              <a:gd name="connsiteY1380" fmla="*/ 2657478 h 6407421"/>
              <a:gd name="connsiteX1381" fmla="*/ 4279592 w 6142647"/>
              <a:gd name="connsiteY1381" fmla="*/ 2657478 h 6407421"/>
              <a:gd name="connsiteX1382" fmla="*/ 4279592 w 6142647"/>
              <a:gd name="connsiteY1382" fmla="*/ 2687080 h 6407421"/>
              <a:gd name="connsiteX1383" fmla="*/ 4249990 w 6142647"/>
              <a:gd name="connsiteY1383" fmla="*/ 2687080 h 6407421"/>
              <a:gd name="connsiteX1384" fmla="*/ 3983793 w 6142647"/>
              <a:gd name="connsiteY1384" fmla="*/ 2657475 h 6407421"/>
              <a:gd name="connsiteX1385" fmla="*/ 4013396 w 6142647"/>
              <a:gd name="connsiteY1385" fmla="*/ 2657475 h 6407421"/>
              <a:gd name="connsiteX1386" fmla="*/ 4013396 w 6142647"/>
              <a:gd name="connsiteY1386" fmla="*/ 2687077 h 6407421"/>
              <a:gd name="connsiteX1387" fmla="*/ 3983793 w 6142647"/>
              <a:gd name="connsiteY1387" fmla="*/ 2687077 h 6407421"/>
              <a:gd name="connsiteX1388" fmla="*/ 3717704 w 6142647"/>
              <a:gd name="connsiteY1388" fmla="*/ 2657472 h 6407421"/>
              <a:gd name="connsiteX1389" fmla="*/ 3747307 w 6142647"/>
              <a:gd name="connsiteY1389" fmla="*/ 2657472 h 6407421"/>
              <a:gd name="connsiteX1390" fmla="*/ 3747307 w 6142647"/>
              <a:gd name="connsiteY1390" fmla="*/ 2687074 h 6407421"/>
              <a:gd name="connsiteX1391" fmla="*/ 3717704 w 6142647"/>
              <a:gd name="connsiteY1391" fmla="*/ 2687074 h 6407421"/>
              <a:gd name="connsiteX1392" fmla="*/ 3451507 w 6142647"/>
              <a:gd name="connsiteY1392" fmla="*/ 2657469 h 6407421"/>
              <a:gd name="connsiteX1393" fmla="*/ 3481109 w 6142647"/>
              <a:gd name="connsiteY1393" fmla="*/ 2657469 h 6407421"/>
              <a:gd name="connsiteX1394" fmla="*/ 3481109 w 6142647"/>
              <a:gd name="connsiteY1394" fmla="*/ 2687071 h 6407421"/>
              <a:gd name="connsiteX1395" fmla="*/ 3451507 w 6142647"/>
              <a:gd name="connsiteY1395" fmla="*/ 2687071 h 6407421"/>
              <a:gd name="connsiteX1396" fmla="*/ 3185310 w 6142647"/>
              <a:gd name="connsiteY1396" fmla="*/ 2657466 h 6407421"/>
              <a:gd name="connsiteX1397" fmla="*/ 3214913 w 6142647"/>
              <a:gd name="connsiteY1397" fmla="*/ 2657466 h 6407421"/>
              <a:gd name="connsiteX1398" fmla="*/ 3214913 w 6142647"/>
              <a:gd name="connsiteY1398" fmla="*/ 2687068 h 6407421"/>
              <a:gd name="connsiteX1399" fmla="*/ 3185310 w 6142647"/>
              <a:gd name="connsiteY1399" fmla="*/ 2687068 h 6407421"/>
              <a:gd name="connsiteX1400" fmla="*/ 2919113 w 6142647"/>
              <a:gd name="connsiteY1400" fmla="*/ 2657462 h 6407421"/>
              <a:gd name="connsiteX1401" fmla="*/ 2948715 w 6142647"/>
              <a:gd name="connsiteY1401" fmla="*/ 2657462 h 6407421"/>
              <a:gd name="connsiteX1402" fmla="*/ 2948715 w 6142647"/>
              <a:gd name="connsiteY1402" fmla="*/ 2687064 h 6407421"/>
              <a:gd name="connsiteX1403" fmla="*/ 2919113 w 6142647"/>
              <a:gd name="connsiteY1403" fmla="*/ 2687064 h 6407421"/>
              <a:gd name="connsiteX1404" fmla="*/ 2653024 w 6142647"/>
              <a:gd name="connsiteY1404" fmla="*/ 2657459 h 6407421"/>
              <a:gd name="connsiteX1405" fmla="*/ 2682627 w 6142647"/>
              <a:gd name="connsiteY1405" fmla="*/ 2657459 h 6407421"/>
              <a:gd name="connsiteX1406" fmla="*/ 2682627 w 6142647"/>
              <a:gd name="connsiteY1406" fmla="*/ 2687061 h 6407421"/>
              <a:gd name="connsiteX1407" fmla="*/ 2653024 w 6142647"/>
              <a:gd name="connsiteY1407" fmla="*/ 2687061 h 6407421"/>
              <a:gd name="connsiteX1408" fmla="*/ 2386827 w 6142647"/>
              <a:gd name="connsiteY1408" fmla="*/ 2657456 h 6407421"/>
              <a:gd name="connsiteX1409" fmla="*/ 2416430 w 6142647"/>
              <a:gd name="connsiteY1409" fmla="*/ 2657456 h 6407421"/>
              <a:gd name="connsiteX1410" fmla="*/ 2416430 w 6142647"/>
              <a:gd name="connsiteY1410" fmla="*/ 2687058 h 6407421"/>
              <a:gd name="connsiteX1411" fmla="*/ 2386827 w 6142647"/>
              <a:gd name="connsiteY1411" fmla="*/ 2687058 h 6407421"/>
              <a:gd name="connsiteX1412" fmla="*/ 2120630 w 6142647"/>
              <a:gd name="connsiteY1412" fmla="*/ 2657453 h 6407421"/>
              <a:gd name="connsiteX1413" fmla="*/ 2150233 w 6142647"/>
              <a:gd name="connsiteY1413" fmla="*/ 2657453 h 6407421"/>
              <a:gd name="connsiteX1414" fmla="*/ 2150233 w 6142647"/>
              <a:gd name="connsiteY1414" fmla="*/ 2687055 h 6407421"/>
              <a:gd name="connsiteX1415" fmla="*/ 2120630 w 6142647"/>
              <a:gd name="connsiteY1415" fmla="*/ 2687055 h 6407421"/>
              <a:gd name="connsiteX1416" fmla="*/ 1854540 w 6142647"/>
              <a:gd name="connsiteY1416" fmla="*/ 2657450 h 6407421"/>
              <a:gd name="connsiteX1417" fmla="*/ 1884143 w 6142647"/>
              <a:gd name="connsiteY1417" fmla="*/ 2657450 h 6407421"/>
              <a:gd name="connsiteX1418" fmla="*/ 1884143 w 6142647"/>
              <a:gd name="connsiteY1418" fmla="*/ 2687052 h 6407421"/>
              <a:gd name="connsiteX1419" fmla="*/ 1854540 w 6142647"/>
              <a:gd name="connsiteY1419" fmla="*/ 2687052 h 6407421"/>
              <a:gd name="connsiteX1420" fmla="*/ 1588343 w 6142647"/>
              <a:gd name="connsiteY1420" fmla="*/ 2657447 h 6407421"/>
              <a:gd name="connsiteX1421" fmla="*/ 1617945 w 6142647"/>
              <a:gd name="connsiteY1421" fmla="*/ 2657447 h 6407421"/>
              <a:gd name="connsiteX1422" fmla="*/ 1617945 w 6142647"/>
              <a:gd name="connsiteY1422" fmla="*/ 2687049 h 6407421"/>
              <a:gd name="connsiteX1423" fmla="*/ 1588343 w 6142647"/>
              <a:gd name="connsiteY1423" fmla="*/ 2687049 h 6407421"/>
              <a:gd name="connsiteX1424" fmla="*/ 1322254 w 6142647"/>
              <a:gd name="connsiteY1424" fmla="*/ 2657443 h 6407421"/>
              <a:gd name="connsiteX1425" fmla="*/ 1351857 w 6142647"/>
              <a:gd name="connsiteY1425" fmla="*/ 2657443 h 6407421"/>
              <a:gd name="connsiteX1426" fmla="*/ 1351857 w 6142647"/>
              <a:gd name="connsiteY1426" fmla="*/ 2687045 h 6407421"/>
              <a:gd name="connsiteX1427" fmla="*/ 1322254 w 6142647"/>
              <a:gd name="connsiteY1427" fmla="*/ 2687045 h 6407421"/>
              <a:gd name="connsiteX1428" fmla="*/ 1056057 w 6142647"/>
              <a:gd name="connsiteY1428" fmla="*/ 2657440 h 6407421"/>
              <a:gd name="connsiteX1429" fmla="*/ 1085660 w 6142647"/>
              <a:gd name="connsiteY1429" fmla="*/ 2657440 h 6407421"/>
              <a:gd name="connsiteX1430" fmla="*/ 1085660 w 6142647"/>
              <a:gd name="connsiteY1430" fmla="*/ 2687042 h 6407421"/>
              <a:gd name="connsiteX1431" fmla="*/ 1056057 w 6142647"/>
              <a:gd name="connsiteY1431" fmla="*/ 2687042 h 6407421"/>
              <a:gd name="connsiteX1432" fmla="*/ 789968 w 6142647"/>
              <a:gd name="connsiteY1432" fmla="*/ 2657437 h 6407421"/>
              <a:gd name="connsiteX1433" fmla="*/ 819570 w 6142647"/>
              <a:gd name="connsiteY1433" fmla="*/ 2657437 h 6407421"/>
              <a:gd name="connsiteX1434" fmla="*/ 819570 w 6142647"/>
              <a:gd name="connsiteY1434" fmla="*/ 2687039 h 6407421"/>
              <a:gd name="connsiteX1435" fmla="*/ 789968 w 6142647"/>
              <a:gd name="connsiteY1435" fmla="*/ 2687039 h 6407421"/>
              <a:gd name="connsiteX1436" fmla="*/ 523771 w 6142647"/>
              <a:gd name="connsiteY1436" fmla="*/ 2657434 h 6407421"/>
              <a:gd name="connsiteX1437" fmla="*/ 553373 w 6142647"/>
              <a:gd name="connsiteY1437" fmla="*/ 2657434 h 6407421"/>
              <a:gd name="connsiteX1438" fmla="*/ 553373 w 6142647"/>
              <a:gd name="connsiteY1438" fmla="*/ 2687036 h 6407421"/>
              <a:gd name="connsiteX1439" fmla="*/ 523771 w 6142647"/>
              <a:gd name="connsiteY1439" fmla="*/ 2687036 h 6407421"/>
              <a:gd name="connsiteX1440" fmla="*/ 6113045 w 6142647"/>
              <a:gd name="connsiteY1440" fmla="*/ 2391735 h 6407421"/>
              <a:gd name="connsiteX1441" fmla="*/ 6142647 w 6142647"/>
              <a:gd name="connsiteY1441" fmla="*/ 2391735 h 6407421"/>
              <a:gd name="connsiteX1442" fmla="*/ 6142647 w 6142647"/>
              <a:gd name="connsiteY1442" fmla="*/ 2421368 h 6407421"/>
              <a:gd name="connsiteX1443" fmla="*/ 6113045 w 6142647"/>
              <a:gd name="connsiteY1443" fmla="*/ 2421368 h 6407421"/>
              <a:gd name="connsiteX1444" fmla="*/ 266197 w 6142647"/>
              <a:gd name="connsiteY1444" fmla="*/ 2391735 h 6407421"/>
              <a:gd name="connsiteX1445" fmla="*/ 295800 w 6142647"/>
              <a:gd name="connsiteY1445" fmla="*/ 2391735 h 6407421"/>
              <a:gd name="connsiteX1446" fmla="*/ 295800 w 6142647"/>
              <a:gd name="connsiteY1446" fmla="*/ 2421368 h 6407421"/>
              <a:gd name="connsiteX1447" fmla="*/ 266197 w 6142647"/>
              <a:gd name="connsiteY1447" fmla="*/ 2421368 h 6407421"/>
              <a:gd name="connsiteX1448" fmla="*/ 5846848 w 6142647"/>
              <a:gd name="connsiteY1448" fmla="*/ 2391732 h 6407421"/>
              <a:gd name="connsiteX1449" fmla="*/ 5876450 w 6142647"/>
              <a:gd name="connsiteY1449" fmla="*/ 2391732 h 6407421"/>
              <a:gd name="connsiteX1450" fmla="*/ 5876450 w 6142647"/>
              <a:gd name="connsiteY1450" fmla="*/ 2421368 h 6407421"/>
              <a:gd name="connsiteX1451" fmla="*/ 5846848 w 6142647"/>
              <a:gd name="connsiteY1451" fmla="*/ 2421368 h 6407421"/>
              <a:gd name="connsiteX1452" fmla="*/ 0 w 6142647"/>
              <a:gd name="connsiteY1452" fmla="*/ 2391732 h 6407421"/>
              <a:gd name="connsiteX1453" fmla="*/ 29602 w 6142647"/>
              <a:gd name="connsiteY1453" fmla="*/ 2391732 h 6407421"/>
              <a:gd name="connsiteX1454" fmla="*/ 29602 w 6142647"/>
              <a:gd name="connsiteY1454" fmla="*/ 2421368 h 6407421"/>
              <a:gd name="connsiteX1455" fmla="*/ 0 w 6142647"/>
              <a:gd name="connsiteY1455" fmla="*/ 2421368 h 6407421"/>
              <a:gd name="connsiteX1456" fmla="*/ 5580759 w 6142647"/>
              <a:gd name="connsiteY1456" fmla="*/ 2391729 h 6407421"/>
              <a:gd name="connsiteX1457" fmla="*/ 5610361 w 6142647"/>
              <a:gd name="connsiteY1457" fmla="*/ 2391729 h 6407421"/>
              <a:gd name="connsiteX1458" fmla="*/ 5610361 w 6142647"/>
              <a:gd name="connsiteY1458" fmla="*/ 2421364 h 6407421"/>
              <a:gd name="connsiteX1459" fmla="*/ 5580759 w 6142647"/>
              <a:gd name="connsiteY1459" fmla="*/ 2421364 h 6407421"/>
              <a:gd name="connsiteX1460" fmla="*/ 5314562 w 6142647"/>
              <a:gd name="connsiteY1460" fmla="*/ 2391726 h 6407421"/>
              <a:gd name="connsiteX1461" fmla="*/ 5344164 w 6142647"/>
              <a:gd name="connsiteY1461" fmla="*/ 2391726 h 6407421"/>
              <a:gd name="connsiteX1462" fmla="*/ 5344164 w 6142647"/>
              <a:gd name="connsiteY1462" fmla="*/ 2421359 h 6407421"/>
              <a:gd name="connsiteX1463" fmla="*/ 5314562 w 6142647"/>
              <a:gd name="connsiteY1463" fmla="*/ 2421359 h 6407421"/>
              <a:gd name="connsiteX1464" fmla="*/ 5048365 w 6142647"/>
              <a:gd name="connsiteY1464" fmla="*/ 2391725 h 6407421"/>
              <a:gd name="connsiteX1465" fmla="*/ 5078075 w 6142647"/>
              <a:gd name="connsiteY1465" fmla="*/ 2391725 h 6407421"/>
              <a:gd name="connsiteX1466" fmla="*/ 5078075 w 6142647"/>
              <a:gd name="connsiteY1466" fmla="*/ 2421354 h 6407421"/>
              <a:gd name="connsiteX1467" fmla="*/ 5048365 w 6142647"/>
              <a:gd name="connsiteY1467" fmla="*/ 2421354 h 6407421"/>
              <a:gd name="connsiteX1468" fmla="*/ 4782276 w 6142647"/>
              <a:gd name="connsiteY1468" fmla="*/ 2391720 h 6407421"/>
              <a:gd name="connsiteX1469" fmla="*/ 4811879 w 6142647"/>
              <a:gd name="connsiteY1469" fmla="*/ 2391720 h 6407421"/>
              <a:gd name="connsiteX1470" fmla="*/ 4811879 w 6142647"/>
              <a:gd name="connsiteY1470" fmla="*/ 2421349 h 6407421"/>
              <a:gd name="connsiteX1471" fmla="*/ 4782276 w 6142647"/>
              <a:gd name="connsiteY1471" fmla="*/ 2421349 h 6407421"/>
              <a:gd name="connsiteX1472" fmla="*/ 4516079 w 6142647"/>
              <a:gd name="connsiteY1472" fmla="*/ 2391716 h 6407421"/>
              <a:gd name="connsiteX1473" fmla="*/ 4545681 w 6142647"/>
              <a:gd name="connsiteY1473" fmla="*/ 2391716 h 6407421"/>
              <a:gd name="connsiteX1474" fmla="*/ 4545681 w 6142647"/>
              <a:gd name="connsiteY1474" fmla="*/ 2421345 h 6407421"/>
              <a:gd name="connsiteX1475" fmla="*/ 4516079 w 6142647"/>
              <a:gd name="connsiteY1475" fmla="*/ 2421345 h 6407421"/>
              <a:gd name="connsiteX1476" fmla="*/ 4249990 w 6142647"/>
              <a:gd name="connsiteY1476" fmla="*/ 2391713 h 6407421"/>
              <a:gd name="connsiteX1477" fmla="*/ 4279592 w 6142647"/>
              <a:gd name="connsiteY1477" fmla="*/ 2391713 h 6407421"/>
              <a:gd name="connsiteX1478" fmla="*/ 4279592 w 6142647"/>
              <a:gd name="connsiteY1478" fmla="*/ 2421340 h 6407421"/>
              <a:gd name="connsiteX1479" fmla="*/ 4249990 w 6142647"/>
              <a:gd name="connsiteY1479" fmla="*/ 2421340 h 6407421"/>
              <a:gd name="connsiteX1480" fmla="*/ 3983793 w 6142647"/>
              <a:gd name="connsiteY1480" fmla="*/ 2391710 h 6407421"/>
              <a:gd name="connsiteX1481" fmla="*/ 4013396 w 6142647"/>
              <a:gd name="connsiteY1481" fmla="*/ 2391710 h 6407421"/>
              <a:gd name="connsiteX1482" fmla="*/ 4013396 w 6142647"/>
              <a:gd name="connsiteY1482" fmla="*/ 2421336 h 6407421"/>
              <a:gd name="connsiteX1483" fmla="*/ 3983793 w 6142647"/>
              <a:gd name="connsiteY1483" fmla="*/ 2421336 h 6407421"/>
              <a:gd name="connsiteX1484" fmla="*/ 3717704 w 6142647"/>
              <a:gd name="connsiteY1484" fmla="*/ 2391707 h 6407421"/>
              <a:gd name="connsiteX1485" fmla="*/ 3747307 w 6142647"/>
              <a:gd name="connsiteY1485" fmla="*/ 2391707 h 6407421"/>
              <a:gd name="connsiteX1486" fmla="*/ 3747307 w 6142647"/>
              <a:gd name="connsiteY1486" fmla="*/ 2421331 h 6407421"/>
              <a:gd name="connsiteX1487" fmla="*/ 3717704 w 6142647"/>
              <a:gd name="connsiteY1487" fmla="*/ 2421331 h 6407421"/>
              <a:gd name="connsiteX1488" fmla="*/ 3451507 w 6142647"/>
              <a:gd name="connsiteY1488" fmla="*/ 2391706 h 6407421"/>
              <a:gd name="connsiteX1489" fmla="*/ 3481109 w 6142647"/>
              <a:gd name="connsiteY1489" fmla="*/ 2391706 h 6407421"/>
              <a:gd name="connsiteX1490" fmla="*/ 3481109 w 6142647"/>
              <a:gd name="connsiteY1490" fmla="*/ 2421326 h 6407421"/>
              <a:gd name="connsiteX1491" fmla="*/ 3451507 w 6142647"/>
              <a:gd name="connsiteY1491" fmla="*/ 2421326 h 6407421"/>
              <a:gd name="connsiteX1492" fmla="*/ 3185310 w 6142647"/>
              <a:gd name="connsiteY1492" fmla="*/ 2391701 h 6407421"/>
              <a:gd name="connsiteX1493" fmla="*/ 3214913 w 6142647"/>
              <a:gd name="connsiteY1493" fmla="*/ 2391701 h 6407421"/>
              <a:gd name="connsiteX1494" fmla="*/ 3214913 w 6142647"/>
              <a:gd name="connsiteY1494" fmla="*/ 2421321 h 6407421"/>
              <a:gd name="connsiteX1495" fmla="*/ 3185310 w 6142647"/>
              <a:gd name="connsiteY1495" fmla="*/ 2421321 h 6407421"/>
              <a:gd name="connsiteX1496" fmla="*/ 2919113 w 6142647"/>
              <a:gd name="connsiteY1496" fmla="*/ 2391697 h 6407421"/>
              <a:gd name="connsiteX1497" fmla="*/ 2948715 w 6142647"/>
              <a:gd name="connsiteY1497" fmla="*/ 2391697 h 6407421"/>
              <a:gd name="connsiteX1498" fmla="*/ 2948715 w 6142647"/>
              <a:gd name="connsiteY1498" fmla="*/ 2421317 h 6407421"/>
              <a:gd name="connsiteX1499" fmla="*/ 2919113 w 6142647"/>
              <a:gd name="connsiteY1499" fmla="*/ 2421317 h 6407421"/>
              <a:gd name="connsiteX1500" fmla="*/ 2653024 w 6142647"/>
              <a:gd name="connsiteY1500" fmla="*/ 2391694 h 6407421"/>
              <a:gd name="connsiteX1501" fmla="*/ 2682627 w 6142647"/>
              <a:gd name="connsiteY1501" fmla="*/ 2391694 h 6407421"/>
              <a:gd name="connsiteX1502" fmla="*/ 2682627 w 6142647"/>
              <a:gd name="connsiteY1502" fmla="*/ 2421312 h 6407421"/>
              <a:gd name="connsiteX1503" fmla="*/ 2653024 w 6142647"/>
              <a:gd name="connsiteY1503" fmla="*/ 2421312 h 6407421"/>
              <a:gd name="connsiteX1504" fmla="*/ 2386827 w 6142647"/>
              <a:gd name="connsiteY1504" fmla="*/ 2391691 h 6407421"/>
              <a:gd name="connsiteX1505" fmla="*/ 2416430 w 6142647"/>
              <a:gd name="connsiteY1505" fmla="*/ 2391691 h 6407421"/>
              <a:gd name="connsiteX1506" fmla="*/ 2416430 w 6142647"/>
              <a:gd name="connsiteY1506" fmla="*/ 2421307 h 6407421"/>
              <a:gd name="connsiteX1507" fmla="*/ 2386827 w 6142647"/>
              <a:gd name="connsiteY1507" fmla="*/ 2421307 h 6407421"/>
              <a:gd name="connsiteX1508" fmla="*/ 2120630 w 6142647"/>
              <a:gd name="connsiteY1508" fmla="*/ 2391688 h 6407421"/>
              <a:gd name="connsiteX1509" fmla="*/ 2150233 w 6142647"/>
              <a:gd name="connsiteY1509" fmla="*/ 2391688 h 6407421"/>
              <a:gd name="connsiteX1510" fmla="*/ 2150233 w 6142647"/>
              <a:gd name="connsiteY1510" fmla="*/ 2421302 h 6407421"/>
              <a:gd name="connsiteX1511" fmla="*/ 2120630 w 6142647"/>
              <a:gd name="connsiteY1511" fmla="*/ 2421302 h 6407421"/>
              <a:gd name="connsiteX1512" fmla="*/ 1854540 w 6142647"/>
              <a:gd name="connsiteY1512" fmla="*/ 2391687 h 6407421"/>
              <a:gd name="connsiteX1513" fmla="*/ 1884143 w 6142647"/>
              <a:gd name="connsiteY1513" fmla="*/ 2391687 h 6407421"/>
              <a:gd name="connsiteX1514" fmla="*/ 1884143 w 6142647"/>
              <a:gd name="connsiteY1514" fmla="*/ 2421298 h 6407421"/>
              <a:gd name="connsiteX1515" fmla="*/ 1854540 w 6142647"/>
              <a:gd name="connsiteY1515" fmla="*/ 2421298 h 6407421"/>
              <a:gd name="connsiteX1516" fmla="*/ 1588343 w 6142647"/>
              <a:gd name="connsiteY1516" fmla="*/ 2391682 h 6407421"/>
              <a:gd name="connsiteX1517" fmla="*/ 1617945 w 6142647"/>
              <a:gd name="connsiteY1517" fmla="*/ 2391682 h 6407421"/>
              <a:gd name="connsiteX1518" fmla="*/ 1617945 w 6142647"/>
              <a:gd name="connsiteY1518" fmla="*/ 2421293 h 6407421"/>
              <a:gd name="connsiteX1519" fmla="*/ 1588343 w 6142647"/>
              <a:gd name="connsiteY1519" fmla="*/ 2421293 h 6407421"/>
              <a:gd name="connsiteX1520" fmla="*/ 1322254 w 6142647"/>
              <a:gd name="connsiteY1520" fmla="*/ 2391678 h 6407421"/>
              <a:gd name="connsiteX1521" fmla="*/ 1351857 w 6142647"/>
              <a:gd name="connsiteY1521" fmla="*/ 2391678 h 6407421"/>
              <a:gd name="connsiteX1522" fmla="*/ 1351857 w 6142647"/>
              <a:gd name="connsiteY1522" fmla="*/ 2421288 h 6407421"/>
              <a:gd name="connsiteX1523" fmla="*/ 1322254 w 6142647"/>
              <a:gd name="connsiteY1523" fmla="*/ 2421288 h 6407421"/>
              <a:gd name="connsiteX1524" fmla="*/ 1056057 w 6142647"/>
              <a:gd name="connsiteY1524" fmla="*/ 2391675 h 6407421"/>
              <a:gd name="connsiteX1525" fmla="*/ 1085660 w 6142647"/>
              <a:gd name="connsiteY1525" fmla="*/ 2391675 h 6407421"/>
              <a:gd name="connsiteX1526" fmla="*/ 1085660 w 6142647"/>
              <a:gd name="connsiteY1526" fmla="*/ 2421283 h 6407421"/>
              <a:gd name="connsiteX1527" fmla="*/ 1056057 w 6142647"/>
              <a:gd name="connsiteY1527" fmla="*/ 2421283 h 6407421"/>
              <a:gd name="connsiteX1528" fmla="*/ 789968 w 6142647"/>
              <a:gd name="connsiteY1528" fmla="*/ 2391672 h 6407421"/>
              <a:gd name="connsiteX1529" fmla="*/ 819570 w 6142647"/>
              <a:gd name="connsiteY1529" fmla="*/ 2391672 h 6407421"/>
              <a:gd name="connsiteX1530" fmla="*/ 819570 w 6142647"/>
              <a:gd name="connsiteY1530" fmla="*/ 2421278 h 6407421"/>
              <a:gd name="connsiteX1531" fmla="*/ 789968 w 6142647"/>
              <a:gd name="connsiteY1531" fmla="*/ 2421278 h 6407421"/>
              <a:gd name="connsiteX1532" fmla="*/ 523771 w 6142647"/>
              <a:gd name="connsiteY1532" fmla="*/ 2391669 h 6407421"/>
              <a:gd name="connsiteX1533" fmla="*/ 553373 w 6142647"/>
              <a:gd name="connsiteY1533" fmla="*/ 2391669 h 6407421"/>
              <a:gd name="connsiteX1534" fmla="*/ 553373 w 6142647"/>
              <a:gd name="connsiteY1534" fmla="*/ 2421272 h 6407421"/>
              <a:gd name="connsiteX1535" fmla="*/ 523771 w 6142647"/>
              <a:gd name="connsiteY1535" fmla="*/ 2421272 h 6407421"/>
              <a:gd name="connsiteX1536" fmla="*/ 6113045 w 6142647"/>
              <a:gd name="connsiteY1536" fmla="*/ 2126064 h 6407421"/>
              <a:gd name="connsiteX1537" fmla="*/ 6142647 w 6142647"/>
              <a:gd name="connsiteY1537" fmla="*/ 2126064 h 6407421"/>
              <a:gd name="connsiteX1538" fmla="*/ 6142647 w 6142647"/>
              <a:gd name="connsiteY1538" fmla="*/ 2155577 h 6407421"/>
              <a:gd name="connsiteX1539" fmla="*/ 6113045 w 6142647"/>
              <a:gd name="connsiteY1539" fmla="*/ 2155577 h 6407421"/>
              <a:gd name="connsiteX1540" fmla="*/ 266197 w 6142647"/>
              <a:gd name="connsiteY1540" fmla="*/ 2126064 h 6407421"/>
              <a:gd name="connsiteX1541" fmla="*/ 295800 w 6142647"/>
              <a:gd name="connsiteY1541" fmla="*/ 2126064 h 6407421"/>
              <a:gd name="connsiteX1542" fmla="*/ 295800 w 6142647"/>
              <a:gd name="connsiteY1542" fmla="*/ 2155577 h 6407421"/>
              <a:gd name="connsiteX1543" fmla="*/ 266197 w 6142647"/>
              <a:gd name="connsiteY1543" fmla="*/ 2155577 h 6407421"/>
              <a:gd name="connsiteX1544" fmla="*/ 5846848 w 6142647"/>
              <a:gd name="connsiteY1544" fmla="*/ 2126062 h 6407421"/>
              <a:gd name="connsiteX1545" fmla="*/ 5876450 w 6142647"/>
              <a:gd name="connsiteY1545" fmla="*/ 2126062 h 6407421"/>
              <a:gd name="connsiteX1546" fmla="*/ 5876450 w 6142647"/>
              <a:gd name="connsiteY1546" fmla="*/ 2155575 h 6407421"/>
              <a:gd name="connsiteX1547" fmla="*/ 5846848 w 6142647"/>
              <a:gd name="connsiteY1547" fmla="*/ 2155575 h 6407421"/>
              <a:gd name="connsiteX1548" fmla="*/ 0 w 6142647"/>
              <a:gd name="connsiteY1548" fmla="*/ 2126062 h 6407421"/>
              <a:gd name="connsiteX1549" fmla="*/ 29602 w 6142647"/>
              <a:gd name="connsiteY1549" fmla="*/ 2126062 h 6407421"/>
              <a:gd name="connsiteX1550" fmla="*/ 29602 w 6142647"/>
              <a:gd name="connsiteY1550" fmla="*/ 2155575 h 6407421"/>
              <a:gd name="connsiteX1551" fmla="*/ 0 w 6142647"/>
              <a:gd name="connsiteY1551" fmla="*/ 2155575 h 6407421"/>
              <a:gd name="connsiteX1552" fmla="*/ 5580759 w 6142647"/>
              <a:gd name="connsiteY1552" fmla="*/ 2126061 h 6407421"/>
              <a:gd name="connsiteX1553" fmla="*/ 5610361 w 6142647"/>
              <a:gd name="connsiteY1553" fmla="*/ 2126061 h 6407421"/>
              <a:gd name="connsiteX1554" fmla="*/ 5610361 w 6142647"/>
              <a:gd name="connsiteY1554" fmla="*/ 2155572 h 6407421"/>
              <a:gd name="connsiteX1555" fmla="*/ 5580759 w 6142647"/>
              <a:gd name="connsiteY1555" fmla="*/ 2155572 h 6407421"/>
              <a:gd name="connsiteX1556" fmla="*/ 5314562 w 6142647"/>
              <a:gd name="connsiteY1556" fmla="*/ 2126058 h 6407421"/>
              <a:gd name="connsiteX1557" fmla="*/ 5344164 w 6142647"/>
              <a:gd name="connsiteY1557" fmla="*/ 2126058 h 6407421"/>
              <a:gd name="connsiteX1558" fmla="*/ 5344164 w 6142647"/>
              <a:gd name="connsiteY1558" fmla="*/ 2155569 h 6407421"/>
              <a:gd name="connsiteX1559" fmla="*/ 5314562 w 6142647"/>
              <a:gd name="connsiteY1559" fmla="*/ 2155569 h 6407421"/>
              <a:gd name="connsiteX1560" fmla="*/ 5048365 w 6142647"/>
              <a:gd name="connsiteY1560" fmla="*/ 2126055 h 6407421"/>
              <a:gd name="connsiteX1561" fmla="*/ 5078075 w 6142647"/>
              <a:gd name="connsiteY1561" fmla="*/ 2126055 h 6407421"/>
              <a:gd name="connsiteX1562" fmla="*/ 5078075 w 6142647"/>
              <a:gd name="connsiteY1562" fmla="*/ 2155565 h 6407421"/>
              <a:gd name="connsiteX1563" fmla="*/ 5048365 w 6142647"/>
              <a:gd name="connsiteY1563" fmla="*/ 2155565 h 6407421"/>
              <a:gd name="connsiteX1564" fmla="*/ 4782276 w 6142647"/>
              <a:gd name="connsiteY1564" fmla="*/ 2126052 h 6407421"/>
              <a:gd name="connsiteX1565" fmla="*/ 4811879 w 6142647"/>
              <a:gd name="connsiteY1565" fmla="*/ 2126052 h 6407421"/>
              <a:gd name="connsiteX1566" fmla="*/ 4811879 w 6142647"/>
              <a:gd name="connsiteY1566" fmla="*/ 2155561 h 6407421"/>
              <a:gd name="connsiteX1567" fmla="*/ 4782276 w 6142647"/>
              <a:gd name="connsiteY1567" fmla="*/ 2155561 h 6407421"/>
              <a:gd name="connsiteX1568" fmla="*/ 4516079 w 6142647"/>
              <a:gd name="connsiteY1568" fmla="*/ 2126049 h 6407421"/>
              <a:gd name="connsiteX1569" fmla="*/ 4545681 w 6142647"/>
              <a:gd name="connsiteY1569" fmla="*/ 2126049 h 6407421"/>
              <a:gd name="connsiteX1570" fmla="*/ 4545681 w 6142647"/>
              <a:gd name="connsiteY1570" fmla="*/ 2155558 h 6407421"/>
              <a:gd name="connsiteX1571" fmla="*/ 4516079 w 6142647"/>
              <a:gd name="connsiteY1571" fmla="*/ 2155558 h 6407421"/>
              <a:gd name="connsiteX1572" fmla="*/ 4249990 w 6142647"/>
              <a:gd name="connsiteY1572" fmla="*/ 2126047 h 6407421"/>
              <a:gd name="connsiteX1573" fmla="*/ 4279592 w 6142647"/>
              <a:gd name="connsiteY1573" fmla="*/ 2126047 h 6407421"/>
              <a:gd name="connsiteX1574" fmla="*/ 4279592 w 6142647"/>
              <a:gd name="connsiteY1574" fmla="*/ 2155554 h 6407421"/>
              <a:gd name="connsiteX1575" fmla="*/ 4249990 w 6142647"/>
              <a:gd name="connsiteY1575" fmla="*/ 2155554 h 6407421"/>
              <a:gd name="connsiteX1576" fmla="*/ 3983793 w 6142647"/>
              <a:gd name="connsiteY1576" fmla="*/ 2126044 h 6407421"/>
              <a:gd name="connsiteX1577" fmla="*/ 4013396 w 6142647"/>
              <a:gd name="connsiteY1577" fmla="*/ 2126044 h 6407421"/>
              <a:gd name="connsiteX1578" fmla="*/ 4013396 w 6142647"/>
              <a:gd name="connsiteY1578" fmla="*/ 2155551 h 6407421"/>
              <a:gd name="connsiteX1579" fmla="*/ 3983793 w 6142647"/>
              <a:gd name="connsiteY1579" fmla="*/ 2155551 h 6407421"/>
              <a:gd name="connsiteX1580" fmla="*/ 3717704 w 6142647"/>
              <a:gd name="connsiteY1580" fmla="*/ 2126042 h 6407421"/>
              <a:gd name="connsiteX1581" fmla="*/ 3747307 w 6142647"/>
              <a:gd name="connsiteY1581" fmla="*/ 2126042 h 6407421"/>
              <a:gd name="connsiteX1582" fmla="*/ 3747307 w 6142647"/>
              <a:gd name="connsiteY1582" fmla="*/ 2155548 h 6407421"/>
              <a:gd name="connsiteX1583" fmla="*/ 3717704 w 6142647"/>
              <a:gd name="connsiteY1583" fmla="*/ 2155548 h 6407421"/>
              <a:gd name="connsiteX1584" fmla="*/ 3451507 w 6142647"/>
              <a:gd name="connsiteY1584" fmla="*/ 2126039 h 6407421"/>
              <a:gd name="connsiteX1585" fmla="*/ 3481109 w 6142647"/>
              <a:gd name="connsiteY1585" fmla="*/ 2126039 h 6407421"/>
              <a:gd name="connsiteX1586" fmla="*/ 3481109 w 6142647"/>
              <a:gd name="connsiteY1586" fmla="*/ 2155544 h 6407421"/>
              <a:gd name="connsiteX1587" fmla="*/ 3451507 w 6142647"/>
              <a:gd name="connsiteY1587" fmla="*/ 2155544 h 6407421"/>
              <a:gd name="connsiteX1588" fmla="*/ 3185310 w 6142647"/>
              <a:gd name="connsiteY1588" fmla="*/ 2126036 h 6407421"/>
              <a:gd name="connsiteX1589" fmla="*/ 3214913 w 6142647"/>
              <a:gd name="connsiteY1589" fmla="*/ 2126036 h 6407421"/>
              <a:gd name="connsiteX1590" fmla="*/ 3214913 w 6142647"/>
              <a:gd name="connsiteY1590" fmla="*/ 2155541 h 6407421"/>
              <a:gd name="connsiteX1591" fmla="*/ 3185310 w 6142647"/>
              <a:gd name="connsiteY1591" fmla="*/ 2155541 h 6407421"/>
              <a:gd name="connsiteX1592" fmla="*/ 2919113 w 6142647"/>
              <a:gd name="connsiteY1592" fmla="*/ 2126033 h 6407421"/>
              <a:gd name="connsiteX1593" fmla="*/ 2948715 w 6142647"/>
              <a:gd name="connsiteY1593" fmla="*/ 2126033 h 6407421"/>
              <a:gd name="connsiteX1594" fmla="*/ 2948715 w 6142647"/>
              <a:gd name="connsiteY1594" fmla="*/ 2155537 h 6407421"/>
              <a:gd name="connsiteX1595" fmla="*/ 2919113 w 6142647"/>
              <a:gd name="connsiteY1595" fmla="*/ 2155537 h 6407421"/>
              <a:gd name="connsiteX1596" fmla="*/ 2653024 w 6142647"/>
              <a:gd name="connsiteY1596" fmla="*/ 2126031 h 6407421"/>
              <a:gd name="connsiteX1597" fmla="*/ 2682627 w 6142647"/>
              <a:gd name="connsiteY1597" fmla="*/ 2126031 h 6407421"/>
              <a:gd name="connsiteX1598" fmla="*/ 2682627 w 6142647"/>
              <a:gd name="connsiteY1598" fmla="*/ 2155534 h 6407421"/>
              <a:gd name="connsiteX1599" fmla="*/ 2653024 w 6142647"/>
              <a:gd name="connsiteY1599" fmla="*/ 2155534 h 6407421"/>
              <a:gd name="connsiteX1600" fmla="*/ 2386827 w 6142647"/>
              <a:gd name="connsiteY1600" fmla="*/ 2126030 h 6407421"/>
              <a:gd name="connsiteX1601" fmla="*/ 2416430 w 6142647"/>
              <a:gd name="connsiteY1601" fmla="*/ 2126030 h 6407421"/>
              <a:gd name="connsiteX1602" fmla="*/ 2416430 w 6142647"/>
              <a:gd name="connsiteY1602" fmla="*/ 2155531 h 6407421"/>
              <a:gd name="connsiteX1603" fmla="*/ 2386827 w 6142647"/>
              <a:gd name="connsiteY1603" fmla="*/ 2155531 h 6407421"/>
              <a:gd name="connsiteX1604" fmla="*/ 2120630 w 6142647"/>
              <a:gd name="connsiteY1604" fmla="*/ 2126028 h 6407421"/>
              <a:gd name="connsiteX1605" fmla="*/ 2150233 w 6142647"/>
              <a:gd name="connsiteY1605" fmla="*/ 2126028 h 6407421"/>
              <a:gd name="connsiteX1606" fmla="*/ 2150233 w 6142647"/>
              <a:gd name="connsiteY1606" fmla="*/ 2155527 h 6407421"/>
              <a:gd name="connsiteX1607" fmla="*/ 2120630 w 6142647"/>
              <a:gd name="connsiteY1607" fmla="*/ 2155527 h 6407421"/>
              <a:gd name="connsiteX1608" fmla="*/ 1854540 w 6142647"/>
              <a:gd name="connsiteY1608" fmla="*/ 2126025 h 6407421"/>
              <a:gd name="connsiteX1609" fmla="*/ 1884143 w 6142647"/>
              <a:gd name="connsiteY1609" fmla="*/ 2126025 h 6407421"/>
              <a:gd name="connsiteX1610" fmla="*/ 1884143 w 6142647"/>
              <a:gd name="connsiteY1610" fmla="*/ 2155523 h 6407421"/>
              <a:gd name="connsiteX1611" fmla="*/ 1854540 w 6142647"/>
              <a:gd name="connsiteY1611" fmla="*/ 2155523 h 6407421"/>
              <a:gd name="connsiteX1612" fmla="*/ 1588343 w 6142647"/>
              <a:gd name="connsiteY1612" fmla="*/ 2126023 h 6407421"/>
              <a:gd name="connsiteX1613" fmla="*/ 1617945 w 6142647"/>
              <a:gd name="connsiteY1613" fmla="*/ 2126023 h 6407421"/>
              <a:gd name="connsiteX1614" fmla="*/ 1617945 w 6142647"/>
              <a:gd name="connsiteY1614" fmla="*/ 2155520 h 6407421"/>
              <a:gd name="connsiteX1615" fmla="*/ 1588343 w 6142647"/>
              <a:gd name="connsiteY1615" fmla="*/ 2155520 h 6407421"/>
              <a:gd name="connsiteX1616" fmla="*/ 1322254 w 6142647"/>
              <a:gd name="connsiteY1616" fmla="*/ 2126020 h 6407421"/>
              <a:gd name="connsiteX1617" fmla="*/ 1351857 w 6142647"/>
              <a:gd name="connsiteY1617" fmla="*/ 2126020 h 6407421"/>
              <a:gd name="connsiteX1618" fmla="*/ 1351857 w 6142647"/>
              <a:gd name="connsiteY1618" fmla="*/ 2155517 h 6407421"/>
              <a:gd name="connsiteX1619" fmla="*/ 1322254 w 6142647"/>
              <a:gd name="connsiteY1619" fmla="*/ 2155517 h 6407421"/>
              <a:gd name="connsiteX1620" fmla="*/ 1056057 w 6142647"/>
              <a:gd name="connsiteY1620" fmla="*/ 2126017 h 6407421"/>
              <a:gd name="connsiteX1621" fmla="*/ 1085660 w 6142647"/>
              <a:gd name="connsiteY1621" fmla="*/ 2126017 h 6407421"/>
              <a:gd name="connsiteX1622" fmla="*/ 1085660 w 6142647"/>
              <a:gd name="connsiteY1622" fmla="*/ 2155513 h 6407421"/>
              <a:gd name="connsiteX1623" fmla="*/ 1056057 w 6142647"/>
              <a:gd name="connsiteY1623" fmla="*/ 2155513 h 6407421"/>
              <a:gd name="connsiteX1624" fmla="*/ 789968 w 6142647"/>
              <a:gd name="connsiteY1624" fmla="*/ 2126014 h 6407421"/>
              <a:gd name="connsiteX1625" fmla="*/ 819570 w 6142647"/>
              <a:gd name="connsiteY1625" fmla="*/ 2126014 h 6407421"/>
              <a:gd name="connsiteX1626" fmla="*/ 819570 w 6142647"/>
              <a:gd name="connsiteY1626" fmla="*/ 2155510 h 6407421"/>
              <a:gd name="connsiteX1627" fmla="*/ 789968 w 6142647"/>
              <a:gd name="connsiteY1627" fmla="*/ 2155510 h 6407421"/>
              <a:gd name="connsiteX1628" fmla="*/ 523771 w 6142647"/>
              <a:gd name="connsiteY1628" fmla="*/ 2126012 h 6407421"/>
              <a:gd name="connsiteX1629" fmla="*/ 553373 w 6142647"/>
              <a:gd name="connsiteY1629" fmla="*/ 2126012 h 6407421"/>
              <a:gd name="connsiteX1630" fmla="*/ 553373 w 6142647"/>
              <a:gd name="connsiteY1630" fmla="*/ 2155506 h 6407421"/>
              <a:gd name="connsiteX1631" fmla="*/ 523771 w 6142647"/>
              <a:gd name="connsiteY1631" fmla="*/ 2155506 h 6407421"/>
              <a:gd name="connsiteX1632" fmla="*/ 6113045 w 6142647"/>
              <a:gd name="connsiteY1632" fmla="*/ 1860298 h 6407421"/>
              <a:gd name="connsiteX1633" fmla="*/ 6142647 w 6142647"/>
              <a:gd name="connsiteY1633" fmla="*/ 1860298 h 6407421"/>
              <a:gd name="connsiteX1634" fmla="*/ 6142647 w 6142647"/>
              <a:gd name="connsiteY1634" fmla="*/ 1889774 h 6407421"/>
              <a:gd name="connsiteX1635" fmla="*/ 6113045 w 6142647"/>
              <a:gd name="connsiteY1635" fmla="*/ 1889774 h 6407421"/>
              <a:gd name="connsiteX1636" fmla="*/ 266197 w 6142647"/>
              <a:gd name="connsiteY1636" fmla="*/ 1860298 h 6407421"/>
              <a:gd name="connsiteX1637" fmla="*/ 295800 w 6142647"/>
              <a:gd name="connsiteY1637" fmla="*/ 1860298 h 6407421"/>
              <a:gd name="connsiteX1638" fmla="*/ 295800 w 6142647"/>
              <a:gd name="connsiteY1638" fmla="*/ 1889774 h 6407421"/>
              <a:gd name="connsiteX1639" fmla="*/ 266197 w 6142647"/>
              <a:gd name="connsiteY1639" fmla="*/ 1889774 h 6407421"/>
              <a:gd name="connsiteX1640" fmla="*/ 5846848 w 6142647"/>
              <a:gd name="connsiteY1640" fmla="*/ 1860296 h 6407421"/>
              <a:gd name="connsiteX1641" fmla="*/ 5876450 w 6142647"/>
              <a:gd name="connsiteY1641" fmla="*/ 1860296 h 6407421"/>
              <a:gd name="connsiteX1642" fmla="*/ 5876450 w 6142647"/>
              <a:gd name="connsiteY1642" fmla="*/ 1889774 h 6407421"/>
              <a:gd name="connsiteX1643" fmla="*/ 5846848 w 6142647"/>
              <a:gd name="connsiteY1643" fmla="*/ 1889774 h 6407421"/>
              <a:gd name="connsiteX1644" fmla="*/ 0 w 6142647"/>
              <a:gd name="connsiteY1644" fmla="*/ 1860296 h 6407421"/>
              <a:gd name="connsiteX1645" fmla="*/ 29602 w 6142647"/>
              <a:gd name="connsiteY1645" fmla="*/ 1860296 h 6407421"/>
              <a:gd name="connsiteX1646" fmla="*/ 29602 w 6142647"/>
              <a:gd name="connsiteY1646" fmla="*/ 1889774 h 6407421"/>
              <a:gd name="connsiteX1647" fmla="*/ 0 w 6142647"/>
              <a:gd name="connsiteY1647" fmla="*/ 1889774 h 6407421"/>
              <a:gd name="connsiteX1648" fmla="*/ 5580759 w 6142647"/>
              <a:gd name="connsiteY1648" fmla="*/ 1860293 h 6407421"/>
              <a:gd name="connsiteX1649" fmla="*/ 5610361 w 6142647"/>
              <a:gd name="connsiteY1649" fmla="*/ 1860293 h 6407421"/>
              <a:gd name="connsiteX1650" fmla="*/ 5610361 w 6142647"/>
              <a:gd name="connsiteY1650" fmla="*/ 1889772 h 6407421"/>
              <a:gd name="connsiteX1651" fmla="*/ 5580759 w 6142647"/>
              <a:gd name="connsiteY1651" fmla="*/ 1889772 h 6407421"/>
              <a:gd name="connsiteX1652" fmla="*/ 5314562 w 6142647"/>
              <a:gd name="connsiteY1652" fmla="*/ 1860291 h 6407421"/>
              <a:gd name="connsiteX1653" fmla="*/ 5344164 w 6142647"/>
              <a:gd name="connsiteY1653" fmla="*/ 1860291 h 6407421"/>
              <a:gd name="connsiteX1654" fmla="*/ 5344164 w 6142647"/>
              <a:gd name="connsiteY1654" fmla="*/ 1889770 h 6407421"/>
              <a:gd name="connsiteX1655" fmla="*/ 5314562 w 6142647"/>
              <a:gd name="connsiteY1655" fmla="*/ 1889770 h 6407421"/>
              <a:gd name="connsiteX1656" fmla="*/ 5048365 w 6142647"/>
              <a:gd name="connsiteY1656" fmla="*/ 1860288 h 6407421"/>
              <a:gd name="connsiteX1657" fmla="*/ 5078075 w 6142647"/>
              <a:gd name="connsiteY1657" fmla="*/ 1860288 h 6407421"/>
              <a:gd name="connsiteX1658" fmla="*/ 5078075 w 6142647"/>
              <a:gd name="connsiteY1658" fmla="*/ 1889769 h 6407421"/>
              <a:gd name="connsiteX1659" fmla="*/ 5048365 w 6142647"/>
              <a:gd name="connsiteY1659" fmla="*/ 1889769 h 6407421"/>
              <a:gd name="connsiteX1660" fmla="*/ 4782276 w 6142647"/>
              <a:gd name="connsiteY1660" fmla="*/ 1860286 h 6407421"/>
              <a:gd name="connsiteX1661" fmla="*/ 4811879 w 6142647"/>
              <a:gd name="connsiteY1661" fmla="*/ 1860286 h 6407421"/>
              <a:gd name="connsiteX1662" fmla="*/ 4811879 w 6142647"/>
              <a:gd name="connsiteY1662" fmla="*/ 1889767 h 6407421"/>
              <a:gd name="connsiteX1663" fmla="*/ 4782276 w 6142647"/>
              <a:gd name="connsiteY1663" fmla="*/ 1889767 h 6407421"/>
              <a:gd name="connsiteX1664" fmla="*/ 4516079 w 6142647"/>
              <a:gd name="connsiteY1664" fmla="*/ 1860283 h 6407421"/>
              <a:gd name="connsiteX1665" fmla="*/ 4545681 w 6142647"/>
              <a:gd name="connsiteY1665" fmla="*/ 1860283 h 6407421"/>
              <a:gd name="connsiteX1666" fmla="*/ 4545681 w 6142647"/>
              <a:gd name="connsiteY1666" fmla="*/ 1889766 h 6407421"/>
              <a:gd name="connsiteX1667" fmla="*/ 4516079 w 6142647"/>
              <a:gd name="connsiteY1667" fmla="*/ 1889766 h 6407421"/>
              <a:gd name="connsiteX1668" fmla="*/ 4249990 w 6142647"/>
              <a:gd name="connsiteY1668" fmla="*/ 1860281 h 6407421"/>
              <a:gd name="connsiteX1669" fmla="*/ 4279592 w 6142647"/>
              <a:gd name="connsiteY1669" fmla="*/ 1860281 h 6407421"/>
              <a:gd name="connsiteX1670" fmla="*/ 4279592 w 6142647"/>
              <a:gd name="connsiteY1670" fmla="*/ 1889764 h 6407421"/>
              <a:gd name="connsiteX1671" fmla="*/ 4249990 w 6142647"/>
              <a:gd name="connsiteY1671" fmla="*/ 1889764 h 6407421"/>
              <a:gd name="connsiteX1672" fmla="*/ 3983793 w 6142647"/>
              <a:gd name="connsiteY1672" fmla="*/ 1860278 h 6407421"/>
              <a:gd name="connsiteX1673" fmla="*/ 4013396 w 6142647"/>
              <a:gd name="connsiteY1673" fmla="*/ 1860278 h 6407421"/>
              <a:gd name="connsiteX1674" fmla="*/ 4013396 w 6142647"/>
              <a:gd name="connsiteY1674" fmla="*/ 1889763 h 6407421"/>
              <a:gd name="connsiteX1675" fmla="*/ 3983793 w 6142647"/>
              <a:gd name="connsiteY1675" fmla="*/ 1889763 h 6407421"/>
              <a:gd name="connsiteX1676" fmla="*/ 3717704 w 6142647"/>
              <a:gd name="connsiteY1676" fmla="*/ 1860276 h 6407421"/>
              <a:gd name="connsiteX1677" fmla="*/ 3747307 w 6142647"/>
              <a:gd name="connsiteY1677" fmla="*/ 1860276 h 6407421"/>
              <a:gd name="connsiteX1678" fmla="*/ 3747307 w 6142647"/>
              <a:gd name="connsiteY1678" fmla="*/ 1889762 h 6407421"/>
              <a:gd name="connsiteX1679" fmla="*/ 3717704 w 6142647"/>
              <a:gd name="connsiteY1679" fmla="*/ 1889762 h 6407421"/>
              <a:gd name="connsiteX1680" fmla="*/ 3451507 w 6142647"/>
              <a:gd name="connsiteY1680" fmla="*/ 1860273 h 6407421"/>
              <a:gd name="connsiteX1681" fmla="*/ 3481109 w 6142647"/>
              <a:gd name="connsiteY1681" fmla="*/ 1860273 h 6407421"/>
              <a:gd name="connsiteX1682" fmla="*/ 3481109 w 6142647"/>
              <a:gd name="connsiteY1682" fmla="*/ 1889761 h 6407421"/>
              <a:gd name="connsiteX1683" fmla="*/ 3451507 w 6142647"/>
              <a:gd name="connsiteY1683" fmla="*/ 1889761 h 6407421"/>
              <a:gd name="connsiteX1684" fmla="*/ 3185310 w 6142647"/>
              <a:gd name="connsiteY1684" fmla="*/ 1860271 h 6407421"/>
              <a:gd name="connsiteX1685" fmla="*/ 3214913 w 6142647"/>
              <a:gd name="connsiteY1685" fmla="*/ 1860271 h 6407421"/>
              <a:gd name="connsiteX1686" fmla="*/ 3214913 w 6142647"/>
              <a:gd name="connsiteY1686" fmla="*/ 1889759 h 6407421"/>
              <a:gd name="connsiteX1687" fmla="*/ 3185310 w 6142647"/>
              <a:gd name="connsiteY1687" fmla="*/ 1889759 h 6407421"/>
              <a:gd name="connsiteX1688" fmla="*/ 2919113 w 6142647"/>
              <a:gd name="connsiteY1688" fmla="*/ 1860268 h 6407421"/>
              <a:gd name="connsiteX1689" fmla="*/ 2948715 w 6142647"/>
              <a:gd name="connsiteY1689" fmla="*/ 1860268 h 6407421"/>
              <a:gd name="connsiteX1690" fmla="*/ 2948715 w 6142647"/>
              <a:gd name="connsiteY1690" fmla="*/ 1889757 h 6407421"/>
              <a:gd name="connsiteX1691" fmla="*/ 2919113 w 6142647"/>
              <a:gd name="connsiteY1691" fmla="*/ 1889757 h 6407421"/>
              <a:gd name="connsiteX1692" fmla="*/ 2653024 w 6142647"/>
              <a:gd name="connsiteY1692" fmla="*/ 1860266 h 6407421"/>
              <a:gd name="connsiteX1693" fmla="*/ 2682627 w 6142647"/>
              <a:gd name="connsiteY1693" fmla="*/ 1860266 h 6407421"/>
              <a:gd name="connsiteX1694" fmla="*/ 2682627 w 6142647"/>
              <a:gd name="connsiteY1694" fmla="*/ 1889755 h 6407421"/>
              <a:gd name="connsiteX1695" fmla="*/ 2653024 w 6142647"/>
              <a:gd name="connsiteY1695" fmla="*/ 1889755 h 6407421"/>
              <a:gd name="connsiteX1696" fmla="*/ 2386827 w 6142647"/>
              <a:gd name="connsiteY1696" fmla="*/ 1860264 h 6407421"/>
              <a:gd name="connsiteX1697" fmla="*/ 2416430 w 6142647"/>
              <a:gd name="connsiteY1697" fmla="*/ 1860264 h 6407421"/>
              <a:gd name="connsiteX1698" fmla="*/ 2416430 w 6142647"/>
              <a:gd name="connsiteY1698" fmla="*/ 1889753 h 6407421"/>
              <a:gd name="connsiteX1699" fmla="*/ 2386827 w 6142647"/>
              <a:gd name="connsiteY1699" fmla="*/ 1889753 h 6407421"/>
              <a:gd name="connsiteX1700" fmla="*/ 2120630 w 6142647"/>
              <a:gd name="connsiteY1700" fmla="*/ 1860261 h 6407421"/>
              <a:gd name="connsiteX1701" fmla="*/ 2150233 w 6142647"/>
              <a:gd name="connsiteY1701" fmla="*/ 1860261 h 6407421"/>
              <a:gd name="connsiteX1702" fmla="*/ 2150233 w 6142647"/>
              <a:gd name="connsiteY1702" fmla="*/ 1889751 h 6407421"/>
              <a:gd name="connsiteX1703" fmla="*/ 2120630 w 6142647"/>
              <a:gd name="connsiteY1703" fmla="*/ 1889751 h 6407421"/>
              <a:gd name="connsiteX1704" fmla="*/ 1854540 w 6142647"/>
              <a:gd name="connsiteY1704" fmla="*/ 1860259 h 6407421"/>
              <a:gd name="connsiteX1705" fmla="*/ 1884143 w 6142647"/>
              <a:gd name="connsiteY1705" fmla="*/ 1860259 h 6407421"/>
              <a:gd name="connsiteX1706" fmla="*/ 1884143 w 6142647"/>
              <a:gd name="connsiteY1706" fmla="*/ 1889750 h 6407421"/>
              <a:gd name="connsiteX1707" fmla="*/ 1854540 w 6142647"/>
              <a:gd name="connsiteY1707" fmla="*/ 1889750 h 6407421"/>
              <a:gd name="connsiteX1708" fmla="*/ 1588343 w 6142647"/>
              <a:gd name="connsiteY1708" fmla="*/ 1860256 h 6407421"/>
              <a:gd name="connsiteX1709" fmla="*/ 1617945 w 6142647"/>
              <a:gd name="connsiteY1709" fmla="*/ 1860256 h 6407421"/>
              <a:gd name="connsiteX1710" fmla="*/ 1617945 w 6142647"/>
              <a:gd name="connsiteY1710" fmla="*/ 1889748 h 6407421"/>
              <a:gd name="connsiteX1711" fmla="*/ 1588343 w 6142647"/>
              <a:gd name="connsiteY1711" fmla="*/ 1889748 h 6407421"/>
              <a:gd name="connsiteX1712" fmla="*/ 1322254 w 6142647"/>
              <a:gd name="connsiteY1712" fmla="*/ 1860254 h 6407421"/>
              <a:gd name="connsiteX1713" fmla="*/ 1351857 w 6142647"/>
              <a:gd name="connsiteY1713" fmla="*/ 1860254 h 6407421"/>
              <a:gd name="connsiteX1714" fmla="*/ 1351857 w 6142647"/>
              <a:gd name="connsiteY1714" fmla="*/ 1889747 h 6407421"/>
              <a:gd name="connsiteX1715" fmla="*/ 1322254 w 6142647"/>
              <a:gd name="connsiteY1715" fmla="*/ 1889747 h 6407421"/>
              <a:gd name="connsiteX1716" fmla="*/ 1056057 w 6142647"/>
              <a:gd name="connsiteY1716" fmla="*/ 1860252 h 6407421"/>
              <a:gd name="connsiteX1717" fmla="*/ 1085660 w 6142647"/>
              <a:gd name="connsiteY1717" fmla="*/ 1860252 h 6407421"/>
              <a:gd name="connsiteX1718" fmla="*/ 1085660 w 6142647"/>
              <a:gd name="connsiteY1718" fmla="*/ 1889745 h 6407421"/>
              <a:gd name="connsiteX1719" fmla="*/ 1056057 w 6142647"/>
              <a:gd name="connsiteY1719" fmla="*/ 1889745 h 6407421"/>
              <a:gd name="connsiteX1720" fmla="*/ 789968 w 6142647"/>
              <a:gd name="connsiteY1720" fmla="*/ 1860249 h 6407421"/>
              <a:gd name="connsiteX1721" fmla="*/ 819570 w 6142647"/>
              <a:gd name="connsiteY1721" fmla="*/ 1860249 h 6407421"/>
              <a:gd name="connsiteX1722" fmla="*/ 819570 w 6142647"/>
              <a:gd name="connsiteY1722" fmla="*/ 1889744 h 6407421"/>
              <a:gd name="connsiteX1723" fmla="*/ 789968 w 6142647"/>
              <a:gd name="connsiteY1723" fmla="*/ 1889744 h 6407421"/>
              <a:gd name="connsiteX1724" fmla="*/ 523771 w 6142647"/>
              <a:gd name="connsiteY1724" fmla="*/ 1860247 h 6407421"/>
              <a:gd name="connsiteX1725" fmla="*/ 553373 w 6142647"/>
              <a:gd name="connsiteY1725" fmla="*/ 1860247 h 6407421"/>
              <a:gd name="connsiteX1726" fmla="*/ 553373 w 6142647"/>
              <a:gd name="connsiteY1726" fmla="*/ 1889742 h 6407421"/>
              <a:gd name="connsiteX1727" fmla="*/ 523771 w 6142647"/>
              <a:gd name="connsiteY1727" fmla="*/ 1889742 h 6407421"/>
              <a:gd name="connsiteX1728" fmla="*/ 6113045 w 6142647"/>
              <a:gd name="connsiteY1728" fmla="*/ 1594533 h 6407421"/>
              <a:gd name="connsiteX1729" fmla="*/ 6142647 w 6142647"/>
              <a:gd name="connsiteY1729" fmla="*/ 1594533 h 6407421"/>
              <a:gd name="connsiteX1730" fmla="*/ 6142647 w 6142647"/>
              <a:gd name="connsiteY1730" fmla="*/ 1624136 h 6407421"/>
              <a:gd name="connsiteX1731" fmla="*/ 6113045 w 6142647"/>
              <a:gd name="connsiteY1731" fmla="*/ 1624136 h 6407421"/>
              <a:gd name="connsiteX1732" fmla="*/ 266197 w 6142647"/>
              <a:gd name="connsiteY1732" fmla="*/ 1594533 h 6407421"/>
              <a:gd name="connsiteX1733" fmla="*/ 295800 w 6142647"/>
              <a:gd name="connsiteY1733" fmla="*/ 1594533 h 6407421"/>
              <a:gd name="connsiteX1734" fmla="*/ 295800 w 6142647"/>
              <a:gd name="connsiteY1734" fmla="*/ 1624136 h 6407421"/>
              <a:gd name="connsiteX1735" fmla="*/ 266197 w 6142647"/>
              <a:gd name="connsiteY1735" fmla="*/ 1624136 h 6407421"/>
              <a:gd name="connsiteX1736" fmla="*/ 5846848 w 6142647"/>
              <a:gd name="connsiteY1736" fmla="*/ 1594531 h 6407421"/>
              <a:gd name="connsiteX1737" fmla="*/ 5876450 w 6142647"/>
              <a:gd name="connsiteY1737" fmla="*/ 1594531 h 6407421"/>
              <a:gd name="connsiteX1738" fmla="*/ 5876450 w 6142647"/>
              <a:gd name="connsiteY1738" fmla="*/ 1624134 h 6407421"/>
              <a:gd name="connsiteX1739" fmla="*/ 5846848 w 6142647"/>
              <a:gd name="connsiteY1739" fmla="*/ 1624134 h 6407421"/>
              <a:gd name="connsiteX1740" fmla="*/ 0 w 6142647"/>
              <a:gd name="connsiteY1740" fmla="*/ 1594531 h 6407421"/>
              <a:gd name="connsiteX1741" fmla="*/ 29602 w 6142647"/>
              <a:gd name="connsiteY1741" fmla="*/ 1594531 h 6407421"/>
              <a:gd name="connsiteX1742" fmla="*/ 29602 w 6142647"/>
              <a:gd name="connsiteY1742" fmla="*/ 1624134 h 6407421"/>
              <a:gd name="connsiteX1743" fmla="*/ 0 w 6142647"/>
              <a:gd name="connsiteY1743" fmla="*/ 1624134 h 6407421"/>
              <a:gd name="connsiteX1744" fmla="*/ 5580759 w 6142647"/>
              <a:gd name="connsiteY1744" fmla="*/ 1594528 h 6407421"/>
              <a:gd name="connsiteX1745" fmla="*/ 5610361 w 6142647"/>
              <a:gd name="connsiteY1745" fmla="*/ 1594528 h 6407421"/>
              <a:gd name="connsiteX1746" fmla="*/ 5610361 w 6142647"/>
              <a:gd name="connsiteY1746" fmla="*/ 1624131 h 6407421"/>
              <a:gd name="connsiteX1747" fmla="*/ 5580759 w 6142647"/>
              <a:gd name="connsiteY1747" fmla="*/ 1624131 h 6407421"/>
              <a:gd name="connsiteX1748" fmla="*/ 5314562 w 6142647"/>
              <a:gd name="connsiteY1748" fmla="*/ 1594526 h 6407421"/>
              <a:gd name="connsiteX1749" fmla="*/ 5344164 w 6142647"/>
              <a:gd name="connsiteY1749" fmla="*/ 1594526 h 6407421"/>
              <a:gd name="connsiteX1750" fmla="*/ 5344164 w 6142647"/>
              <a:gd name="connsiteY1750" fmla="*/ 1624129 h 6407421"/>
              <a:gd name="connsiteX1751" fmla="*/ 5314562 w 6142647"/>
              <a:gd name="connsiteY1751" fmla="*/ 1624129 h 6407421"/>
              <a:gd name="connsiteX1752" fmla="*/ 5048365 w 6142647"/>
              <a:gd name="connsiteY1752" fmla="*/ 1594523 h 6407421"/>
              <a:gd name="connsiteX1753" fmla="*/ 5078075 w 6142647"/>
              <a:gd name="connsiteY1753" fmla="*/ 1594523 h 6407421"/>
              <a:gd name="connsiteX1754" fmla="*/ 5078075 w 6142647"/>
              <a:gd name="connsiteY1754" fmla="*/ 1624127 h 6407421"/>
              <a:gd name="connsiteX1755" fmla="*/ 5048365 w 6142647"/>
              <a:gd name="connsiteY1755" fmla="*/ 1624127 h 6407421"/>
              <a:gd name="connsiteX1756" fmla="*/ 4782276 w 6142647"/>
              <a:gd name="connsiteY1756" fmla="*/ 1594521 h 6407421"/>
              <a:gd name="connsiteX1757" fmla="*/ 4811879 w 6142647"/>
              <a:gd name="connsiteY1757" fmla="*/ 1594521 h 6407421"/>
              <a:gd name="connsiteX1758" fmla="*/ 4811879 w 6142647"/>
              <a:gd name="connsiteY1758" fmla="*/ 1624124 h 6407421"/>
              <a:gd name="connsiteX1759" fmla="*/ 4782276 w 6142647"/>
              <a:gd name="connsiteY1759" fmla="*/ 1624124 h 6407421"/>
              <a:gd name="connsiteX1760" fmla="*/ 4516079 w 6142647"/>
              <a:gd name="connsiteY1760" fmla="*/ 1594518 h 6407421"/>
              <a:gd name="connsiteX1761" fmla="*/ 4545681 w 6142647"/>
              <a:gd name="connsiteY1761" fmla="*/ 1594518 h 6407421"/>
              <a:gd name="connsiteX1762" fmla="*/ 4545681 w 6142647"/>
              <a:gd name="connsiteY1762" fmla="*/ 1624122 h 6407421"/>
              <a:gd name="connsiteX1763" fmla="*/ 4516079 w 6142647"/>
              <a:gd name="connsiteY1763" fmla="*/ 1624122 h 6407421"/>
              <a:gd name="connsiteX1764" fmla="*/ 4249990 w 6142647"/>
              <a:gd name="connsiteY1764" fmla="*/ 1594516 h 6407421"/>
              <a:gd name="connsiteX1765" fmla="*/ 4279592 w 6142647"/>
              <a:gd name="connsiteY1765" fmla="*/ 1594516 h 6407421"/>
              <a:gd name="connsiteX1766" fmla="*/ 4279592 w 6142647"/>
              <a:gd name="connsiteY1766" fmla="*/ 1624120 h 6407421"/>
              <a:gd name="connsiteX1767" fmla="*/ 4249990 w 6142647"/>
              <a:gd name="connsiteY1767" fmla="*/ 1624120 h 6407421"/>
              <a:gd name="connsiteX1768" fmla="*/ 3983793 w 6142647"/>
              <a:gd name="connsiteY1768" fmla="*/ 1594514 h 6407421"/>
              <a:gd name="connsiteX1769" fmla="*/ 4013396 w 6142647"/>
              <a:gd name="connsiteY1769" fmla="*/ 1594514 h 6407421"/>
              <a:gd name="connsiteX1770" fmla="*/ 4013396 w 6142647"/>
              <a:gd name="connsiteY1770" fmla="*/ 1624117 h 6407421"/>
              <a:gd name="connsiteX1771" fmla="*/ 3983793 w 6142647"/>
              <a:gd name="connsiteY1771" fmla="*/ 1624117 h 6407421"/>
              <a:gd name="connsiteX1772" fmla="*/ 3717704 w 6142647"/>
              <a:gd name="connsiteY1772" fmla="*/ 1594511 h 6407421"/>
              <a:gd name="connsiteX1773" fmla="*/ 3747307 w 6142647"/>
              <a:gd name="connsiteY1773" fmla="*/ 1594511 h 6407421"/>
              <a:gd name="connsiteX1774" fmla="*/ 3747307 w 6142647"/>
              <a:gd name="connsiteY1774" fmla="*/ 1624114 h 6407421"/>
              <a:gd name="connsiteX1775" fmla="*/ 3717704 w 6142647"/>
              <a:gd name="connsiteY1775" fmla="*/ 1624114 h 6407421"/>
              <a:gd name="connsiteX1776" fmla="*/ 3451507 w 6142647"/>
              <a:gd name="connsiteY1776" fmla="*/ 1594509 h 6407421"/>
              <a:gd name="connsiteX1777" fmla="*/ 3481109 w 6142647"/>
              <a:gd name="connsiteY1777" fmla="*/ 1594509 h 6407421"/>
              <a:gd name="connsiteX1778" fmla="*/ 3481109 w 6142647"/>
              <a:gd name="connsiteY1778" fmla="*/ 1624112 h 6407421"/>
              <a:gd name="connsiteX1779" fmla="*/ 3451507 w 6142647"/>
              <a:gd name="connsiteY1779" fmla="*/ 1624112 h 6407421"/>
              <a:gd name="connsiteX1780" fmla="*/ 3185310 w 6142647"/>
              <a:gd name="connsiteY1780" fmla="*/ 1594506 h 6407421"/>
              <a:gd name="connsiteX1781" fmla="*/ 3214913 w 6142647"/>
              <a:gd name="connsiteY1781" fmla="*/ 1594506 h 6407421"/>
              <a:gd name="connsiteX1782" fmla="*/ 3214913 w 6142647"/>
              <a:gd name="connsiteY1782" fmla="*/ 1624110 h 6407421"/>
              <a:gd name="connsiteX1783" fmla="*/ 3185310 w 6142647"/>
              <a:gd name="connsiteY1783" fmla="*/ 1624110 h 6407421"/>
              <a:gd name="connsiteX1784" fmla="*/ 2919113 w 6142647"/>
              <a:gd name="connsiteY1784" fmla="*/ 1594504 h 6407421"/>
              <a:gd name="connsiteX1785" fmla="*/ 2948715 w 6142647"/>
              <a:gd name="connsiteY1785" fmla="*/ 1594504 h 6407421"/>
              <a:gd name="connsiteX1786" fmla="*/ 2948715 w 6142647"/>
              <a:gd name="connsiteY1786" fmla="*/ 1624107 h 6407421"/>
              <a:gd name="connsiteX1787" fmla="*/ 2919113 w 6142647"/>
              <a:gd name="connsiteY1787" fmla="*/ 1624107 h 6407421"/>
              <a:gd name="connsiteX1788" fmla="*/ 2653024 w 6142647"/>
              <a:gd name="connsiteY1788" fmla="*/ 1594502 h 6407421"/>
              <a:gd name="connsiteX1789" fmla="*/ 2682627 w 6142647"/>
              <a:gd name="connsiteY1789" fmla="*/ 1594502 h 6407421"/>
              <a:gd name="connsiteX1790" fmla="*/ 2682627 w 6142647"/>
              <a:gd name="connsiteY1790" fmla="*/ 1624105 h 6407421"/>
              <a:gd name="connsiteX1791" fmla="*/ 2653024 w 6142647"/>
              <a:gd name="connsiteY1791" fmla="*/ 1624105 h 6407421"/>
              <a:gd name="connsiteX1792" fmla="*/ 2386827 w 6142647"/>
              <a:gd name="connsiteY1792" fmla="*/ 1594499 h 6407421"/>
              <a:gd name="connsiteX1793" fmla="*/ 2416430 w 6142647"/>
              <a:gd name="connsiteY1793" fmla="*/ 1594499 h 6407421"/>
              <a:gd name="connsiteX1794" fmla="*/ 2416430 w 6142647"/>
              <a:gd name="connsiteY1794" fmla="*/ 1624102 h 6407421"/>
              <a:gd name="connsiteX1795" fmla="*/ 2386827 w 6142647"/>
              <a:gd name="connsiteY1795" fmla="*/ 1624102 h 6407421"/>
              <a:gd name="connsiteX1796" fmla="*/ 2120630 w 6142647"/>
              <a:gd name="connsiteY1796" fmla="*/ 1594496 h 6407421"/>
              <a:gd name="connsiteX1797" fmla="*/ 2150233 w 6142647"/>
              <a:gd name="connsiteY1797" fmla="*/ 1594496 h 6407421"/>
              <a:gd name="connsiteX1798" fmla="*/ 2150233 w 6142647"/>
              <a:gd name="connsiteY1798" fmla="*/ 1624100 h 6407421"/>
              <a:gd name="connsiteX1799" fmla="*/ 2120630 w 6142647"/>
              <a:gd name="connsiteY1799" fmla="*/ 1624100 h 6407421"/>
              <a:gd name="connsiteX1800" fmla="*/ 1854540 w 6142647"/>
              <a:gd name="connsiteY1800" fmla="*/ 1594494 h 6407421"/>
              <a:gd name="connsiteX1801" fmla="*/ 1884143 w 6142647"/>
              <a:gd name="connsiteY1801" fmla="*/ 1594494 h 6407421"/>
              <a:gd name="connsiteX1802" fmla="*/ 1884143 w 6142647"/>
              <a:gd name="connsiteY1802" fmla="*/ 1624097 h 6407421"/>
              <a:gd name="connsiteX1803" fmla="*/ 1854540 w 6142647"/>
              <a:gd name="connsiteY1803" fmla="*/ 1624097 h 6407421"/>
              <a:gd name="connsiteX1804" fmla="*/ 1588343 w 6142647"/>
              <a:gd name="connsiteY1804" fmla="*/ 1594491 h 6407421"/>
              <a:gd name="connsiteX1805" fmla="*/ 1617945 w 6142647"/>
              <a:gd name="connsiteY1805" fmla="*/ 1594491 h 6407421"/>
              <a:gd name="connsiteX1806" fmla="*/ 1617945 w 6142647"/>
              <a:gd name="connsiteY1806" fmla="*/ 1624095 h 6407421"/>
              <a:gd name="connsiteX1807" fmla="*/ 1588343 w 6142647"/>
              <a:gd name="connsiteY1807" fmla="*/ 1624095 h 6407421"/>
              <a:gd name="connsiteX1808" fmla="*/ 1322254 w 6142647"/>
              <a:gd name="connsiteY1808" fmla="*/ 1594489 h 6407421"/>
              <a:gd name="connsiteX1809" fmla="*/ 1351857 w 6142647"/>
              <a:gd name="connsiteY1809" fmla="*/ 1594489 h 6407421"/>
              <a:gd name="connsiteX1810" fmla="*/ 1351857 w 6142647"/>
              <a:gd name="connsiteY1810" fmla="*/ 1624092 h 6407421"/>
              <a:gd name="connsiteX1811" fmla="*/ 1322254 w 6142647"/>
              <a:gd name="connsiteY1811" fmla="*/ 1624092 h 6407421"/>
              <a:gd name="connsiteX1812" fmla="*/ 1056057 w 6142647"/>
              <a:gd name="connsiteY1812" fmla="*/ 1594486 h 6407421"/>
              <a:gd name="connsiteX1813" fmla="*/ 1085660 w 6142647"/>
              <a:gd name="connsiteY1813" fmla="*/ 1594486 h 6407421"/>
              <a:gd name="connsiteX1814" fmla="*/ 1085660 w 6142647"/>
              <a:gd name="connsiteY1814" fmla="*/ 1624090 h 6407421"/>
              <a:gd name="connsiteX1815" fmla="*/ 1056057 w 6142647"/>
              <a:gd name="connsiteY1815" fmla="*/ 1624090 h 6407421"/>
              <a:gd name="connsiteX1816" fmla="*/ 789968 w 6142647"/>
              <a:gd name="connsiteY1816" fmla="*/ 1594484 h 6407421"/>
              <a:gd name="connsiteX1817" fmla="*/ 819570 w 6142647"/>
              <a:gd name="connsiteY1817" fmla="*/ 1594484 h 6407421"/>
              <a:gd name="connsiteX1818" fmla="*/ 819570 w 6142647"/>
              <a:gd name="connsiteY1818" fmla="*/ 1624087 h 6407421"/>
              <a:gd name="connsiteX1819" fmla="*/ 789968 w 6142647"/>
              <a:gd name="connsiteY1819" fmla="*/ 1624087 h 6407421"/>
              <a:gd name="connsiteX1820" fmla="*/ 523771 w 6142647"/>
              <a:gd name="connsiteY1820" fmla="*/ 1594482 h 6407421"/>
              <a:gd name="connsiteX1821" fmla="*/ 553373 w 6142647"/>
              <a:gd name="connsiteY1821" fmla="*/ 1594482 h 6407421"/>
              <a:gd name="connsiteX1822" fmla="*/ 553373 w 6142647"/>
              <a:gd name="connsiteY1822" fmla="*/ 1624085 h 6407421"/>
              <a:gd name="connsiteX1823" fmla="*/ 523771 w 6142647"/>
              <a:gd name="connsiteY1823" fmla="*/ 1624085 h 6407421"/>
              <a:gd name="connsiteX1824" fmla="*/ 6113045 w 6142647"/>
              <a:gd name="connsiteY1824" fmla="*/ 1328772 h 6407421"/>
              <a:gd name="connsiteX1825" fmla="*/ 6142647 w 6142647"/>
              <a:gd name="connsiteY1825" fmla="*/ 1328772 h 6407421"/>
              <a:gd name="connsiteX1826" fmla="*/ 6142647 w 6142647"/>
              <a:gd name="connsiteY1826" fmla="*/ 1358375 h 6407421"/>
              <a:gd name="connsiteX1827" fmla="*/ 6113045 w 6142647"/>
              <a:gd name="connsiteY1827" fmla="*/ 1358375 h 6407421"/>
              <a:gd name="connsiteX1828" fmla="*/ 266197 w 6142647"/>
              <a:gd name="connsiteY1828" fmla="*/ 1328772 h 6407421"/>
              <a:gd name="connsiteX1829" fmla="*/ 295800 w 6142647"/>
              <a:gd name="connsiteY1829" fmla="*/ 1328772 h 6407421"/>
              <a:gd name="connsiteX1830" fmla="*/ 295800 w 6142647"/>
              <a:gd name="connsiteY1830" fmla="*/ 1358375 h 6407421"/>
              <a:gd name="connsiteX1831" fmla="*/ 266197 w 6142647"/>
              <a:gd name="connsiteY1831" fmla="*/ 1358375 h 6407421"/>
              <a:gd name="connsiteX1832" fmla="*/ 5846848 w 6142647"/>
              <a:gd name="connsiteY1832" fmla="*/ 1328769 h 6407421"/>
              <a:gd name="connsiteX1833" fmla="*/ 5876450 w 6142647"/>
              <a:gd name="connsiteY1833" fmla="*/ 1328769 h 6407421"/>
              <a:gd name="connsiteX1834" fmla="*/ 5876450 w 6142647"/>
              <a:gd name="connsiteY1834" fmla="*/ 1358372 h 6407421"/>
              <a:gd name="connsiteX1835" fmla="*/ 5846848 w 6142647"/>
              <a:gd name="connsiteY1835" fmla="*/ 1358372 h 6407421"/>
              <a:gd name="connsiteX1836" fmla="*/ 0 w 6142647"/>
              <a:gd name="connsiteY1836" fmla="*/ 1328769 h 6407421"/>
              <a:gd name="connsiteX1837" fmla="*/ 29602 w 6142647"/>
              <a:gd name="connsiteY1837" fmla="*/ 1328769 h 6407421"/>
              <a:gd name="connsiteX1838" fmla="*/ 29602 w 6142647"/>
              <a:gd name="connsiteY1838" fmla="*/ 1358372 h 6407421"/>
              <a:gd name="connsiteX1839" fmla="*/ 0 w 6142647"/>
              <a:gd name="connsiteY1839" fmla="*/ 1358372 h 6407421"/>
              <a:gd name="connsiteX1840" fmla="*/ 5580759 w 6142647"/>
              <a:gd name="connsiteY1840" fmla="*/ 1328766 h 6407421"/>
              <a:gd name="connsiteX1841" fmla="*/ 5610361 w 6142647"/>
              <a:gd name="connsiteY1841" fmla="*/ 1328766 h 6407421"/>
              <a:gd name="connsiteX1842" fmla="*/ 5610361 w 6142647"/>
              <a:gd name="connsiteY1842" fmla="*/ 1358370 h 6407421"/>
              <a:gd name="connsiteX1843" fmla="*/ 5580759 w 6142647"/>
              <a:gd name="connsiteY1843" fmla="*/ 1358370 h 6407421"/>
              <a:gd name="connsiteX1844" fmla="*/ 5314562 w 6142647"/>
              <a:gd name="connsiteY1844" fmla="*/ 1328764 h 6407421"/>
              <a:gd name="connsiteX1845" fmla="*/ 5344164 w 6142647"/>
              <a:gd name="connsiteY1845" fmla="*/ 1328764 h 6407421"/>
              <a:gd name="connsiteX1846" fmla="*/ 5344164 w 6142647"/>
              <a:gd name="connsiteY1846" fmla="*/ 1358367 h 6407421"/>
              <a:gd name="connsiteX1847" fmla="*/ 5314562 w 6142647"/>
              <a:gd name="connsiteY1847" fmla="*/ 1358367 h 6407421"/>
              <a:gd name="connsiteX1848" fmla="*/ 5048365 w 6142647"/>
              <a:gd name="connsiteY1848" fmla="*/ 1328761 h 6407421"/>
              <a:gd name="connsiteX1849" fmla="*/ 5078075 w 6142647"/>
              <a:gd name="connsiteY1849" fmla="*/ 1328761 h 6407421"/>
              <a:gd name="connsiteX1850" fmla="*/ 5078075 w 6142647"/>
              <a:gd name="connsiteY1850" fmla="*/ 1358365 h 6407421"/>
              <a:gd name="connsiteX1851" fmla="*/ 5048365 w 6142647"/>
              <a:gd name="connsiteY1851" fmla="*/ 1358365 h 6407421"/>
              <a:gd name="connsiteX1852" fmla="*/ 4782276 w 6142647"/>
              <a:gd name="connsiteY1852" fmla="*/ 1328759 h 6407421"/>
              <a:gd name="connsiteX1853" fmla="*/ 4811879 w 6142647"/>
              <a:gd name="connsiteY1853" fmla="*/ 1328759 h 6407421"/>
              <a:gd name="connsiteX1854" fmla="*/ 4811879 w 6142647"/>
              <a:gd name="connsiteY1854" fmla="*/ 1358362 h 6407421"/>
              <a:gd name="connsiteX1855" fmla="*/ 4782276 w 6142647"/>
              <a:gd name="connsiteY1855" fmla="*/ 1358362 h 6407421"/>
              <a:gd name="connsiteX1856" fmla="*/ 4516079 w 6142647"/>
              <a:gd name="connsiteY1856" fmla="*/ 1328756 h 6407421"/>
              <a:gd name="connsiteX1857" fmla="*/ 4545681 w 6142647"/>
              <a:gd name="connsiteY1857" fmla="*/ 1328756 h 6407421"/>
              <a:gd name="connsiteX1858" fmla="*/ 4545681 w 6142647"/>
              <a:gd name="connsiteY1858" fmla="*/ 1358359 h 6407421"/>
              <a:gd name="connsiteX1859" fmla="*/ 4516079 w 6142647"/>
              <a:gd name="connsiteY1859" fmla="*/ 1358359 h 6407421"/>
              <a:gd name="connsiteX1860" fmla="*/ 4249990 w 6142647"/>
              <a:gd name="connsiteY1860" fmla="*/ 1328753 h 6407421"/>
              <a:gd name="connsiteX1861" fmla="*/ 4279592 w 6142647"/>
              <a:gd name="connsiteY1861" fmla="*/ 1328753 h 6407421"/>
              <a:gd name="connsiteX1862" fmla="*/ 4279592 w 6142647"/>
              <a:gd name="connsiteY1862" fmla="*/ 1358357 h 6407421"/>
              <a:gd name="connsiteX1863" fmla="*/ 4249990 w 6142647"/>
              <a:gd name="connsiteY1863" fmla="*/ 1358357 h 6407421"/>
              <a:gd name="connsiteX1864" fmla="*/ 3983793 w 6142647"/>
              <a:gd name="connsiteY1864" fmla="*/ 1328751 h 6407421"/>
              <a:gd name="connsiteX1865" fmla="*/ 4013396 w 6142647"/>
              <a:gd name="connsiteY1865" fmla="*/ 1328751 h 6407421"/>
              <a:gd name="connsiteX1866" fmla="*/ 4013396 w 6142647"/>
              <a:gd name="connsiteY1866" fmla="*/ 1358354 h 6407421"/>
              <a:gd name="connsiteX1867" fmla="*/ 3983793 w 6142647"/>
              <a:gd name="connsiteY1867" fmla="*/ 1358354 h 6407421"/>
              <a:gd name="connsiteX1868" fmla="*/ 3717704 w 6142647"/>
              <a:gd name="connsiteY1868" fmla="*/ 1328748 h 6407421"/>
              <a:gd name="connsiteX1869" fmla="*/ 3747307 w 6142647"/>
              <a:gd name="connsiteY1869" fmla="*/ 1328748 h 6407421"/>
              <a:gd name="connsiteX1870" fmla="*/ 3747307 w 6142647"/>
              <a:gd name="connsiteY1870" fmla="*/ 1358351 h 6407421"/>
              <a:gd name="connsiteX1871" fmla="*/ 3717704 w 6142647"/>
              <a:gd name="connsiteY1871" fmla="*/ 1358351 h 6407421"/>
              <a:gd name="connsiteX1872" fmla="*/ 3451507 w 6142647"/>
              <a:gd name="connsiteY1872" fmla="*/ 1328745 h 6407421"/>
              <a:gd name="connsiteX1873" fmla="*/ 3481109 w 6142647"/>
              <a:gd name="connsiteY1873" fmla="*/ 1328745 h 6407421"/>
              <a:gd name="connsiteX1874" fmla="*/ 3481109 w 6142647"/>
              <a:gd name="connsiteY1874" fmla="*/ 1358349 h 6407421"/>
              <a:gd name="connsiteX1875" fmla="*/ 3451507 w 6142647"/>
              <a:gd name="connsiteY1875" fmla="*/ 1358349 h 6407421"/>
              <a:gd name="connsiteX1876" fmla="*/ 3185310 w 6142647"/>
              <a:gd name="connsiteY1876" fmla="*/ 1328743 h 6407421"/>
              <a:gd name="connsiteX1877" fmla="*/ 3214913 w 6142647"/>
              <a:gd name="connsiteY1877" fmla="*/ 1328743 h 6407421"/>
              <a:gd name="connsiteX1878" fmla="*/ 3214913 w 6142647"/>
              <a:gd name="connsiteY1878" fmla="*/ 1358346 h 6407421"/>
              <a:gd name="connsiteX1879" fmla="*/ 3185310 w 6142647"/>
              <a:gd name="connsiteY1879" fmla="*/ 1358346 h 6407421"/>
              <a:gd name="connsiteX1880" fmla="*/ 2919113 w 6142647"/>
              <a:gd name="connsiteY1880" fmla="*/ 1328740 h 6407421"/>
              <a:gd name="connsiteX1881" fmla="*/ 2948715 w 6142647"/>
              <a:gd name="connsiteY1881" fmla="*/ 1328740 h 6407421"/>
              <a:gd name="connsiteX1882" fmla="*/ 2948715 w 6142647"/>
              <a:gd name="connsiteY1882" fmla="*/ 1358344 h 6407421"/>
              <a:gd name="connsiteX1883" fmla="*/ 2919113 w 6142647"/>
              <a:gd name="connsiteY1883" fmla="*/ 1358344 h 6407421"/>
              <a:gd name="connsiteX1884" fmla="*/ 2653024 w 6142647"/>
              <a:gd name="connsiteY1884" fmla="*/ 1328738 h 6407421"/>
              <a:gd name="connsiteX1885" fmla="*/ 2682627 w 6142647"/>
              <a:gd name="connsiteY1885" fmla="*/ 1328738 h 6407421"/>
              <a:gd name="connsiteX1886" fmla="*/ 2682627 w 6142647"/>
              <a:gd name="connsiteY1886" fmla="*/ 1358341 h 6407421"/>
              <a:gd name="connsiteX1887" fmla="*/ 2653024 w 6142647"/>
              <a:gd name="connsiteY1887" fmla="*/ 1358341 h 6407421"/>
              <a:gd name="connsiteX1888" fmla="*/ 2386827 w 6142647"/>
              <a:gd name="connsiteY1888" fmla="*/ 1328735 h 6407421"/>
              <a:gd name="connsiteX1889" fmla="*/ 2416430 w 6142647"/>
              <a:gd name="connsiteY1889" fmla="*/ 1328735 h 6407421"/>
              <a:gd name="connsiteX1890" fmla="*/ 2416430 w 6142647"/>
              <a:gd name="connsiteY1890" fmla="*/ 1358338 h 6407421"/>
              <a:gd name="connsiteX1891" fmla="*/ 2386827 w 6142647"/>
              <a:gd name="connsiteY1891" fmla="*/ 1358338 h 6407421"/>
              <a:gd name="connsiteX1892" fmla="*/ 2120630 w 6142647"/>
              <a:gd name="connsiteY1892" fmla="*/ 1328732 h 6407421"/>
              <a:gd name="connsiteX1893" fmla="*/ 2150233 w 6142647"/>
              <a:gd name="connsiteY1893" fmla="*/ 1328732 h 6407421"/>
              <a:gd name="connsiteX1894" fmla="*/ 2150233 w 6142647"/>
              <a:gd name="connsiteY1894" fmla="*/ 1358336 h 6407421"/>
              <a:gd name="connsiteX1895" fmla="*/ 2120630 w 6142647"/>
              <a:gd name="connsiteY1895" fmla="*/ 1358336 h 6407421"/>
              <a:gd name="connsiteX1896" fmla="*/ 1854540 w 6142647"/>
              <a:gd name="connsiteY1896" fmla="*/ 1328730 h 6407421"/>
              <a:gd name="connsiteX1897" fmla="*/ 1884143 w 6142647"/>
              <a:gd name="connsiteY1897" fmla="*/ 1328730 h 6407421"/>
              <a:gd name="connsiteX1898" fmla="*/ 1884143 w 6142647"/>
              <a:gd name="connsiteY1898" fmla="*/ 1358333 h 6407421"/>
              <a:gd name="connsiteX1899" fmla="*/ 1854540 w 6142647"/>
              <a:gd name="connsiteY1899" fmla="*/ 1358333 h 6407421"/>
              <a:gd name="connsiteX1900" fmla="*/ 1588343 w 6142647"/>
              <a:gd name="connsiteY1900" fmla="*/ 1328727 h 6407421"/>
              <a:gd name="connsiteX1901" fmla="*/ 1617945 w 6142647"/>
              <a:gd name="connsiteY1901" fmla="*/ 1328727 h 6407421"/>
              <a:gd name="connsiteX1902" fmla="*/ 1617945 w 6142647"/>
              <a:gd name="connsiteY1902" fmla="*/ 1358330 h 6407421"/>
              <a:gd name="connsiteX1903" fmla="*/ 1588343 w 6142647"/>
              <a:gd name="connsiteY1903" fmla="*/ 1358330 h 6407421"/>
              <a:gd name="connsiteX1904" fmla="*/ 1322254 w 6142647"/>
              <a:gd name="connsiteY1904" fmla="*/ 1328724 h 6407421"/>
              <a:gd name="connsiteX1905" fmla="*/ 1351857 w 6142647"/>
              <a:gd name="connsiteY1905" fmla="*/ 1328724 h 6407421"/>
              <a:gd name="connsiteX1906" fmla="*/ 1351857 w 6142647"/>
              <a:gd name="connsiteY1906" fmla="*/ 1358328 h 6407421"/>
              <a:gd name="connsiteX1907" fmla="*/ 1322254 w 6142647"/>
              <a:gd name="connsiteY1907" fmla="*/ 1358328 h 6407421"/>
              <a:gd name="connsiteX1908" fmla="*/ 1056057 w 6142647"/>
              <a:gd name="connsiteY1908" fmla="*/ 1328722 h 6407421"/>
              <a:gd name="connsiteX1909" fmla="*/ 1085660 w 6142647"/>
              <a:gd name="connsiteY1909" fmla="*/ 1328722 h 6407421"/>
              <a:gd name="connsiteX1910" fmla="*/ 1085660 w 6142647"/>
              <a:gd name="connsiteY1910" fmla="*/ 1358325 h 6407421"/>
              <a:gd name="connsiteX1911" fmla="*/ 1056057 w 6142647"/>
              <a:gd name="connsiteY1911" fmla="*/ 1358325 h 6407421"/>
              <a:gd name="connsiteX1912" fmla="*/ 789968 w 6142647"/>
              <a:gd name="connsiteY1912" fmla="*/ 1328719 h 6407421"/>
              <a:gd name="connsiteX1913" fmla="*/ 819570 w 6142647"/>
              <a:gd name="connsiteY1913" fmla="*/ 1328719 h 6407421"/>
              <a:gd name="connsiteX1914" fmla="*/ 819570 w 6142647"/>
              <a:gd name="connsiteY1914" fmla="*/ 1358323 h 6407421"/>
              <a:gd name="connsiteX1915" fmla="*/ 789968 w 6142647"/>
              <a:gd name="connsiteY1915" fmla="*/ 1358323 h 6407421"/>
              <a:gd name="connsiteX1916" fmla="*/ 523771 w 6142647"/>
              <a:gd name="connsiteY1916" fmla="*/ 1328717 h 6407421"/>
              <a:gd name="connsiteX1917" fmla="*/ 553373 w 6142647"/>
              <a:gd name="connsiteY1917" fmla="*/ 1328717 h 6407421"/>
              <a:gd name="connsiteX1918" fmla="*/ 553373 w 6142647"/>
              <a:gd name="connsiteY1918" fmla="*/ 1358320 h 6407421"/>
              <a:gd name="connsiteX1919" fmla="*/ 523771 w 6142647"/>
              <a:gd name="connsiteY1919" fmla="*/ 1358320 h 6407421"/>
              <a:gd name="connsiteX1920" fmla="*/ 6113045 w 6142647"/>
              <a:gd name="connsiteY1920" fmla="*/ 1063123 h 6407421"/>
              <a:gd name="connsiteX1921" fmla="*/ 6142647 w 6142647"/>
              <a:gd name="connsiteY1921" fmla="*/ 1063123 h 6407421"/>
              <a:gd name="connsiteX1922" fmla="*/ 6142647 w 6142647"/>
              <a:gd name="connsiteY1922" fmla="*/ 1092617 h 6407421"/>
              <a:gd name="connsiteX1923" fmla="*/ 6113045 w 6142647"/>
              <a:gd name="connsiteY1923" fmla="*/ 1092617 h 6407421"/>
              <a:gd name="connsiteX1924" fmla="*/ 266197 w 6142647"/>
              <a:gd name="connsiteY1924" fmla="*/ 1063123 h 6407421"/>
              <a:gd name="connsiteX1925" fmla="*/ 295800 w 6142647"/>
              <a:gd name="connsiteY1925" fmla="*/ 1063123 h 6407421"/>
              <a:gd name="connsiteX1926" fmla="*/ 295800 w 6142647"/>
              <a:gd name="connsiteY1926" fmla="*/ 1092617 h 6407421"/>
              <a:gd name="connsiteX1927" fmla="*/ 266197 w 6142647"/>
              <a:gd name="connsiteY1927" fmla="*/ 1092617 h 6407421"/>
              <a:gd name="connsiteX1928" fmla="*/ 5846848 w 6142647"/>
              <a:gd name="connsiteY1928" fmla="*/ 1063120 h 6407421"/>
              <a:gd name="connsiteX1929" fmla="*/ 5876450 w 6142647"/>
              <a:gd name="connsiteY1929" fmla="*/ 1063120 h 6407421"/>
              <a:gd name="connsiteX1930" fmla="*/ 5876450 w 6142647"/>
              <a:gd name="connsiteY1930" fmla="*/ 1092615 h 6407421"/>
              <a:gd name="connsiteX1931" fmla="*/ 5846848 w 6142647"/>
              <a:gd name="connsiteY1931" fmla="*/ 1092615 h 6407421"/>
              <a:gd name="connsiteX1932" fmla="*/ 0 w 6142647"/>
              <a:gd name="connsiteY1932" fmla="*/ 1063120 h 6407421"/>
              <a:gd name="connsiteX1933" fmla="*/ 29602 w 6142647"/>
              <a:gd name="connsiteY1933" fmla="*/ 1063120 h 6407421"/>
              <a:gd name="connsiteX1934" fmla="*/ 29602 w 6142647"/>
              <a:gd name="connsiteY1934" fmla="*/ 1092615 h 6407421"/>
              <a:gd name="connsiteX1935" fmla="*/ 0 w 6142647"/>
              <a:gd name="connsiteY1935" fmla="*/ 1092615 h 6407421"/>
              <a:gd name="connsiteX1936" fmla="*/ 5580759 w 6142647"/>
              <a:gd name="connsiteY1936" fmla="*/ 1063117 h 6407421"/>
              <a:gd name="connsiteX1937" fmla="*/ 5610361 w 6142647"/>
              <a:gd name="connsiteY1937" fmla="*/ 1063117 h 6407421"/>
              <a:gd name="connsiteX1938" fmla="*/ 5610361 w 6142647"/>
              <a:gd name="connsiteY1938" fmla="*/ 1092612 h 6407421"/>
              <a:gd name="connsiteX1939" fmla="*/ 5580759 w 6142647"/>
              <a:gd name="connsiteY1939" fmla="*/ 1092612 h 6407421"/>
              <a:gd name="connsiteX1940" fmla="*/ 5314562 w 6142647"/>
              <a:gd name="connsiteY1940" fmla="*/ 1063114 h 6407421"/>
              <a:gd name="connsiteX1941" fmla="*/ 5344164 w 6142647"/>
              <a:gd name="connsiteY1941" fmla="*/ 1063114 h 6407421"/>
              <a:gd name="connsiteX1942" fmla="*/ 5344164 w 6142647"/>
              <a:gd name="connsiteY1942" fmla="*/ 1092608 h 6407421"/>
              <a:gd name="connsiteX1943" fmla="*/ 5314562 w 6142647"/>
              <a:gd name="connsiteY1943" fmla="*/ 1092608 h 6407421"/>
              <a:gd name="connsiteX1944" fmla="*/ 5048365 w 6142647"/>
              <a:gd name="connsiteY1944" fmla="*/ 1063111 h 6407421"/>
              <a:gd name="connsiteX1945" fmla="*/ 5078075 w 6142647"/>
              <a:gd name="connsiteY1945" fmla="*/ 1063111 h 6407421"/>
              <a:gd name="connsiteX1946" fmla="*/ 5078075 w 6142647"/>
              <a:gd name="connsiteY1946" fmla="*/ 1092605 h 6407421"/>
              <a:gd name="connsiteX1947" fmla="*/ 5048365 w 6142647"/>
              <a:gd name="connsiteY1947" fmla="*/ 1092605 h 6407421"/>
              <a:gd name="connsiteX1948" fmla="*/ 4782276 w 6142647"/>
              <a:gd name="connsiteY1948" fmla="*/ 1063108 h 6407421"/>
              <a:gd name="connsiteX1949" fmla="*/ 4811879 w 6142647"/>
              <a:gd name="connsiteY1949" fmla="*/ 1063108 h 6407421"/>
              <a:gd name="connsiteX1950" fmla="*/ 4811879 w 6142647"/>
              <a:gd name="connsiteY1950" fmla="*/ 1092602 h 6407421"/>
              <a:gd name="connsiteX1951" fmla="*/ 4782276 w 6142647"/>
              <a:gd name="connsiteY1951" fmla="*/ 1092602 h 6407421"/>
              <a:gd name="connsiteX1952" fmla="*/ 4516079 w 6142647"/>
              <a:gd name="connsiteY1952" fmla="*/ 1063105 h 6407421"/>
              <a:gd name="connsiteX1953" fmla="*/ 4545681 w 6142647"/>
              <a:gd name="connsiteY1953" fmla="*/ 1063105 h 6407421"/>
              <a:gd name="connsiteX1954" fmla="*/ 4545681 w 6142647"/>
              <a:gd name="connsiteY1954" fmla="*/ 1092599 h 6407421"/>
              <a:gd name="connsiteX1955" fmla="*/ 4516079 w 6142647"/>
              <a:gd name="connsiteY1955" fmla="*/ 1092599 h 6407421"/>
              <a:gd name="connsiteX1956" fmla="*/ 4249990 w 6142647"/>
              <a:gd name="connsiteY1956" fmla="*/ 1063102 h 6407421"/>
              <a:gd name="connsiteX1957" fmla="*/ 4279592 w 6142647"/>
              <a:gd name="connsiteY1957" fmla="*/ 1063102 h 6407421"/>
              <a:gd name="connsiteX1958" fmla="*/ 4279592 w 6142647"/>
              <a:gd name="connsiteY1958" fmla="*/ 1092596 h 6407421"/>
              <a:gd name="connsiteX1959" fmla="*/ 4249990 w 6142647"/>
              <a:gd name="connsiteY1959" fmla="*/ 1092596 h 6407421"/>
              <a:gd name="connsiteX1960" fmla="*/ 3983793 w 6142647"/>
              <a:gd name="connsiteY1960" fmla="*/ 1063099 h 6407421"/>
              <a:gd name="connsiteX1961" fmla="*/ 4013396 w 6142647"/>
              <a:gd name="connsiteY1961" fmla="*/ 1063099 h 6407421"/>
              <a:gd name="connsiteX1962" fmla="*/ 4013396 w 6142647"/>
              <a:gd name="connsiteY1962" fmla="*/ 1092593 h 6407421"/>
              <a:gd name="connsiteX1963" fmla="*/ 3983793 w 6142647"/>
              <a:gd name="connsiteY1963" fmla="*/ 1092593 h 6407421"/>
              <a:gd name="connsiteX1964" fmla="*/ 3717704 w 6142647"/>
              <a:gd name="connsiteY1964" fmla="*/ 1063096 h 6407421"/>
              <a:gd name="connsiteX1965" fmla="*/ 3747307 w 6142647"/>
              <a:gd name="connsiteY1965" fmla="*/ 1063096 h 6407421"/>
              <a:gd name="connsiteX1966" fmla="*/ 3747307 w 6142647"/>
              <a:gd name="connsiteY1966" fmla="*/ 1092590 h 6407421"/>
              <a:gd name="connsiteX1967" fmla="*/ 3717704 w 6142647"/>
              <a:gd name="connsiteY1967" fmla="*/ 1092590 h 6407421"/>
              <a:gd name="connsiteX1968" fmla="*/ 3451507 w 6142647"/>
              <a:gd name="connsiteY1968" fmla="*/ 1063093 h 6407421"/>
              <a:gd name="connsiteX1969" fmla="*/ 3481109 w 6142647"/>
              <a:gd name="connsiteY1969" fmla="*/ 1063093 h 6407421"/>
              <a:gd name="connsiteX1970" fmla="*/ 3481109 w 6142647"/>
              <a:gd name="connsiteY1970" fmla="*/ 1092587 h 6407421"/>
              <a:gd name="connsiteX1971" fmla="*/ 3451507 w 6142647"/>
              <a:gd name="connsiteY1971" fmla="*/ 1092587 h 6407421"/>
              <a:gd name="connsiteX1972" fmla="*/ 3185310 w 6142647"/>
              <a:gd name="connsiteY1972" fmla="*/ 1063090 h 6407421"/>
              <a:gd name="connsiteX1973" fmla="*/ 3214913 w 6142647"/>
              <a:gd name="connsiteY1973" fmla="*/ 1063090 h 6407421"/>
              <a:gd name="connsiteX1974" fmla="*/ 3214913 w 6142647"/>
              <a:gd name="connsiteY1974" fmla="*/ 1092584 h 6407421"/>
              <a:gd name="connsiteX1975" fmla="*/ 3185310 w 6142647"/>
              <a:gd name="connsiteY1975" fmla="*/ 1092584 h 6407421"/>
              <a:gd name="connsiteX1976" fmla="*/ 2919113 w 6142647"/>
              <a:gd name="connsiteY1976" fmla="*/ 1063087 h 6407421"/>
              <a:gd name="connsiteX1977" fmla="*/ 2948715 w 6142647"/>
              <a:gd name="connsiteY1977" fmla="*/ 1063087 h 6407421"/>
              <a:gd name="connsiteX1978" fmla="*/ 2948715 w 6142647"/>
              <a:gd name="connsiteY1978" fmla="*/ 1092581 h 6407421"/>
              <a:gd name="connsiteX1979" fmla="*/ 2919113 w 6142647"/>
              <a:gd name="connsiteY1979" fmla="*/ 1092581 h 6407421"/>
              <a:gd name="connsiteX1980" fmla="*/ 2653024 w 6142647"/>
              <a:gd name="connsiteY1980" fmla="*/ 1063084 h 6407421"/>
              <a:gd name="connsiteX1981" fmla="*/ 2682627 w 6142647"/>
              <a:gd name="connsiteY1981" fmla="*/ 1063084 h 6407421"/>
              <a:gd name="connsiteX1982" fmla="*/ 2682627 w 6142647"/>
              <a:gd name="connsiteY1982" fmla="*/ 1092578 h 6407421"/>
              <a:gd name="connsiteX1983" fmla="*/ 2653024 w 6142647"/>
              <a:gd name="connsiteY1983" fmla="*/ 1092578 h 6407421"/>
              <a:gd name="connsiteX1984" fmla="*/ 2386827 w 6142647"/>
              <a:gd name="connsiteY1984" fmla="*/ 1063081 h 6407421"/>
              <a:gd name="connsiteX1985" fmla="*/ 2416430 w 6142647"/>
              <a:gd name="connsiteY1985" fmla="*/ 1063081 h 6407421"/>
              <a:gd name="connsiteX1986" fmla="*/ 2416430 w 6142647"/>
              <a:gd name="connsiteY1986" fmla="*/ 1092575 h 6407421"/>
              <a:gd name="connsiteX1987" fmla="*/ 2386827 w 6142647"/>
              <a:gd name="connsiteY1987" fmla="*/ 1092575 h 6407421"/>
              <a:gd name="connsiteX1988" fmla="*/ 2120630 w 6142647"/>
              <a:gd name="connsiteY1988" fmla="*/ 1063078 h 6407421"/>
              <a:gd name="connsiteX1989" fmla="*/ 2150233 w 6142647"/>
              <a:gd name="connsiteY1989" fmla="*/ 1063078 h 6407421"/>
              <a:gd name="connsiteX1990" fmla="*/ 2150233 w 6142647"/>
              <a:gd name="connsiteY1990" fmla="*/ 1092572 h 6407421"/>
              <a:gd name="connsiteX1991" fmla="*/ 2120630 w 6142647"/>
              <a:gd name="connsiteY1991" fmla="*/ 1092572 h 6407421"/>
              <a:gd name="connsiteX1992" fmla="*/ 1854540 w 6142647"/>
              <a:gd name="connsiteY1992" fmla="*/ 1063075 h 6407421"/>
              <a:gd name="connsiteX1993" fmla="*/ 1884143 w 6142647"/>
              <a:gd name="connsiteY1993" fmla="*/ 1063075 h 6407421"/>
              <a:gd name="connsiteX1994" fmla="*/ 1884143 w 6142647"/>
              <a:gd name="connsiteY1994" fmla="*/ 1092569 h 6407421"/>
              <a:gd name="connsiteX1995" fmla="*/ 1854540 w 6142647"/>
              <a:gd name="connsiteY1995" fmla="*/ 1092569 h 6407421"/>
              <a:gd name="connsiteX1996" fmla="*/ 1588343 w 6142647"/>
              <a:gd name="connsiteY1996" fmla="*/ 1063072 h 6407421"/>
              <a:gd name="connsiteX1997" fmla="*/ 1617945 w 6142647"/>
              <a:gd name="connsiteY1997" fmla="*/ 1063072 h 6407421"/>
              <a:gd name="connsiteX1998" fmla="*/ 1617945 w 6142647"/>
              <a:gd name="connsiteY1998" fmla="*/ 1092566 h 6407421"/>
              <a:gd name="connsiteX1999" fmla="*/ 1588343 w 6142647"/>
              <a:gd name="connsiteY1999" fmla="*/ 1092566 h 6407421"/>
              <a:gd name="connsiteX2000" fmla="*/ 1322254 w 6142647"/>
              <a:gd name="connsiteY2000" fmla="*/ 1063069 h 6407421"/>
              <a:gd name="connsiteX2001" fmla="*/ 1351857 w 6142647"/>
              <a:gd name="connsiteY2001" fmla="*/ 1063069 h 6407421"/>
              <a:gd name="connsiteX2002" fmla="*/ 1351857 w 6142647"/>
              <a:gd name="connsiteY2002" fmla="*/ 1092563 h 6407421"/>
              <a:gd name="connsiteX2003" fmla="*/ 1322254 w 6142647"/>
              <a:gd name="connsiteY2003" fmla="*/ 1092563 h 6407421"/>
              <a:gd name="connsiteX2004" fmla="*/ 1056057 w 6142647"/>
              <a:gd name="connsiteY2004" fmla="*/ 1063066 h 6407421"/>
              <a:gd name="connsiteX2005" fmla="*/ 1085660 w 6142647"/>
              <a:gd name="connsiteY2005" fmla="*/ 1063066 h 6407421"/>
              <a:gd name="connsiteX2006" fmla="*/ 1085660 w 6142647"/>
              <a:gd name="connsiteY2006" fmla="*/ 1092560 h 6407421"/>
              <a:gd name="connsiteX2007" fmla="*/ 1056057 w 6142647"/>
              <a:gd name="connsiteY2007" fmla="*/ 1092560 h 6407421"/>
              <a:gd name="connsiteX2008" fmla="*/ 789968 w 6142647"/>
              <a:gd name="connsiteY2008" fmla="*/ 1063063 h 6407421"/>
              <a:gd name="connsiteX2009" fmla="*/ 819570 w 6142647"/>
              <a:gd name="connsiteY2009" fmla="*/ 1063063 h 6407421"/>
              <a:gd name="connsiteX2010" fmla="*/ 819570 w 6142647"/>
              <a:gd name="connsiteY2010" fmla="*/ 1092557 h 6407421"/>
              <a:gd name="connsiteX2011" fmla="*/ 789968 w 6142647"/>
              <a:gd name="connsiteY2011" fmla="*/ 1092557 h 6407421"/>
              <a:gd name="connsiteX2012" fmla="*/ 523771 w 6142647"/>
              <a:gd name="connsiteY2012" fmla="*/ 1063059 h 6407421"/>
              <a:gd name="connsiteX2013" fmla="*/ 553373 w 6142647"/>
              <a:gd name="connsiteY2013" fmla="*/ 1063059 h 6407421"/>
              <a:gd name="connsiteX2014" fmla="*/ 553373 w 6142647"/>
              <a:gd name="connsiteY2014" fmla="*/ 1092554 h 6407421"/>
              <a:gd name="connsiteX2015" fmla="*/ 523771 w 6142647"/>
              <a:gd name="connsiteY2015" fmla="*/ 1092554 h 6407421"/>
              <a:gd name="connsiteX2016" fmla="*/ 6113045 w 6142647"/>
              <a:gd name="connsiteY2016" fmla="*/ 797337 h 6407421"/>
              <a:gd name="connsiteX2017" fmla="*/ 6142647 w 6142647"/>
              <a:gd name="connsiteY2017" fmla="*/ 797337 h 6407421"/>
              <a:gd name="connsiteX2018" fmla="*/ 6142647 w 6142647"/>
              <a:gd name="connsiteY2018" fmla="*/ 826844 h 6407421"/>
              <a:gd name="connsiteX2019" fmla="*/ 6113045 w 6142647"/>
              <a:gd name="connsiteY2019" fmla="*/ 826844 h 6407421"/>
              <a:gd name="connsiteX2020" fmla="*/ 266197 w 6142647"/>
              <a:gd name="connsiteY2020" fmla="*/ 797337 h 6407421"/>
              <a:gd name="connsiteX2021" fmla="*/ 295800 w 6142647"/>
              <a:gd name="connsiteY2021" fmla="*/ 797337 h 6407421"/>
              <a:gd name="connsiteX2022" fmla="*/ 295800 w 6142647"/>
              <a:gd name="connsiteY2022" fmla="*/ 826844 h 6407421"/>
              <a:gd name="connsiteX2023" fmla="*/ 266197 w 6142647"/>
              <a:gd name="connsiteY2023" fmla="*/ 826844 h 6407421"/>
              <a:gd name="connsiteX2024" fmla="*/ 5846848 w 6142647"/>
              <a:gd name="connsiteY2024" fmla="*/ 797335 h 6407421"/>
              <a:gd name="connsiteX2025" fmla="*/ 5876450 w 6142647"/>
              <a:gd name="connsiteY2025" fmla="*/ 797335 h 6407421"/>
              <a:gd name="connsiteX2026" fmla="*/ 5876450 w 6142647"/>
              <a:gd name="connsiteY2026" fmla="*/ 826841 h 6407421"/>
              <a:gd name="connsiteX2027" fmla="*/ 5846848 w 6142647"/>
              <a:gd name="connsiteY2027" fmla="*/ 826841 h 6407421"/>
              <a:gd name="connsiteX2028" fmla="*/ 0 w 6142647"/>
              <a:gd name="connsiteY2028" fmla="*/ 797335 h 6407421"/>
              <a:gd name="connsiteX2029" fmla="*/ 29602 w 6142647"/>
              <a:gd name="connsiteY2029" fmla="*/ 797335 h 6407421"/>
              <a:gd name="connsiteX2030" fmla="*/ 29602 w 6142647"/>
              <a:gd name="connsiteY2030" fmla="*/ 826841 h 6407421"/>
              <a:gd name="connsiteX2031" fmla="*/ 0 w 6142647"/>
              <a:gd name="connsiteY2031" fmla="*/ 826841 h 6407421"/>
              <a:gd name="connsiteX2032" fmla="*/ 5580759 w 6142647"/>
              <a:gd name="connsiteY2032" fmla="*/ 797333 h 6407421"/>
              <a:gd name="connsiteX2033" fmla="*/ 5610361 w 6142647"/>
              <a:gd name="connsiteY2033" fmla="*/ 797333 h 6407421"/>
              <a:gd name="connsiteX2034" fmla="*/ 5610361 w 6142647"/>
              <a:gd name="connsiteY2034" fmla="*/ 826839 h 6407421"/>
              <a:gd name="connsiteX2035" fmla="*/ 5580759 w 6142647"/>
              <a:gd name="connsiteY2035" fmla="*/ 826839 h 6407421"/>
              <a:gd name="connsiteX2036" fmla="*/ 5314562 w 6142647"/>
              <a:gd name="connsiteY2036" fmla="*/ 797331 h 6407421"/>
              <a:gd name="connsiteX2037" fmla="*/ 5344164 w 6142647"/>
              <a:gd name="connsiteY2037" fmla="*/ 797331 h 6407421"/>
              <a:gd name="connsiteX2038" fmla="*/ 5344164 w 6142647"/>
              <a:gd name="connsiteY2038" fmla="*/ 826836 h 6407421"/>
              <a:gd name="connsiteX2039" fmla="*/ 5314562 w 6142647"/>
              <a:gd name="connsiteY2039" fmla="*/ 826836 h 6407421"/>
              <a:gd name="connsiteX2040" fmla="*/ 5048365 w 6142647"/>
              <a:gd name="connsiteY2040" fmla="*/ 797329 h 6407421"/>
              <a:gd name="connsiteX2041" fmla="*/ 5078075 w 6142647"/>
              <a:gd name="connsiteY2041" fmla="*/ 797329 h 6407421"/>
              <a:gd name="connsiteX2042" fmla="*/ 5078075 w 6142647"/>
              <a:gd name="connsiteY2042" fmla="*/ 826833 h 6407421"/>
              <a:gd name="connsiteX2043" fmla="*/ 5048365 w 6142647"/>
              <a:gd name="connsiteY2043" fmla="*/ 826833 h 6407421"/>
              <a:gd name="connsiteX2044" fmla="*/ 4782276 w 6142647"/>
              <a:gd name="connsiteY2044" fmla="*/ 797327 h 6407421"/>
              <a:gd name="connsiteX2045" fmla="*/ 4811879 w 6142647"/>
              <a:gd name="connsiteY2045" fmla="*/ 797327 h 6407421"/>
              <a:gd name="connsiteX2046" fmla="*/ 4811879 w 6142647"/>
              <a:gd name="connsiteY2046" fmla="*/ 826831 h 6407421"/>
              <a:gd name="connsiteX2047" fmla="*/ 4782276 w 6142647"/>
              <a:gd name="connsiteY2047" fmla="*/ 826831 h 6407421"/>
              <a:gd name="connsiteX2048" fmla="*/ 4516079 w 6142647"/>
              <a:gd name="connsiteY2048" fmla="*/ 797325 h 6407421"/>
              <a:gd name="connsiteX2049" fmla="*/ 4545681 w 6142647"/>
              <a:gd name="connsiteY2049" fmla="*/ 797325 h 6407421"/>
              <a:gd name="connsiteX2050" fmla="*/ 4545681 w 6142647"/>
              <a:gd name="connsiteY2050" fmla="*/ 826828 h 6407421"/>
              <a:gd name="connsiteX2051" fmla="*/ 4516079 w 6142647"/>
              <a:gd name="connsiteY2051" fmla="*/ 826828 h 6407421"/>
              <a:gd name="connsiteX2052" fmla="*/ 4249990 w 6142647"/>
              <a:gd name="connsiteY2052" fmla="*/ 797323 h 6407421"/>
              <a:gd name="connsiteX2053" fmla="*/ 4279592 w 6142647"/>
              <a:gd name="connsiteY2053" fmla="*/ 797323 h 6407421"/>
              <a:gd name="connsiteX2054" fmla="*/ 4279592 w 6142647"/>
              <a:gd name="connsiteY2054" fmla="*/ 826826 h 6407421"/>
              <a:gd name="connsiteX2055" fmla="*/ 4249990 w 6142647"/>
              <a:gd name="connsiteY2055" fmla="*/ 826826 h 6407421"/>
              <a:gd name="connsiteX2056" fmla="*/ 3983793 w 6142647"/>
              <a:gd name="connsiteY2056" fmla="*/ 797321 h 6407421"/>
              <a:gd name="connsiteX2057" fmla="*/ 4013396 w 6142647"/>
              <a:gd name="connsiteY2057" fmla="*/ 797321 h 6407421"/>
              <a:gd name="connsiteX2058" fmla="*/ 4013396 w 6142647"/>
              <a:gd name="connsiteY2058" fmla="*/ 826823 h 6407421"/>
              <a:gd name="connsiteX2059" fmla="*/ 3983793 w 6142647"/>
              <a:gd name="connsiteY2059" fmla="*/ 826823 h 6407421"/>
              <a:gd name="connsiteX2060" fmla="*/ 3717704 w 6142647"/>
              <a:gd name="connsiteY2060" fmla="*/ 797319 h 6407421"/>
              <a:gd name="connsiteX2061" fmla="*/ 3747307 w 6142647"/>
              <a:gd name="connsiteY2061" fmla="*/ 797319 h 6407421"/>
              <a:gd name="connsiteX2062" fmla="*/ 3747307 w 6142647"/>
              <a:gd name="connsiteY2062" fmla="*/ 826820 h 6407421"/>
              <a:gd name="connsiteX2063" fmla="*/ 3717704 w 6142647"/>
              <a:gd name="connsiteY2063" fmla="*/ 826820 h 6407421"/>
              <a:gd name="connsiteX2064" fmla="*/ 3451507 w 6142647"/>
              <a:gd name="connsiteY2064" fmla="*/ 797317 h 6407421"/>
              <a:gd name="connsiteX2065" fmla="*/ 3481109 w 6142647"/>
              <a:gd name="connsiteY2065" fmla="*/ 797317 h 6407421"/>
              <a:gd name="connsiteX2066" fmla="*/ 3481109 w 6142647"/>
              <a:gd name="connsiteY2066" fmla="*/ 826818 h 6407421"/>
              <a:gd name="connsiteX2067" fmla="*/ 3451507 w 6142647"/>
              <a:gd name="connsiteY2067" fmla="*/ 826818 h 6407421"/>
              <a:gd name="connsiteX2068" fmla="*/ 3185310 w 6142647"/>
              <a:gd name="connsiteY2068" fmla="*/ 797315 h 6407421"/>
              <a:gd name="connsiteX2069" fmla="*/ 3214913 w 6142647"/>
              <a:gd name="connsiteY2069" fmla="*/ 797315 h 6407421"/>
              <a:gd name="connsiteX2070" fmla="*/ 3214913 w 6142647"/>
              <a:gd name="connsiteY2070" fmla="*/ 826815 h 6407421"/>
              <a:gd name="connsiteX2071" fmla="*/ 3185310 w 6142647"/>
              <a:gd name="connsiteY2071" fmla="*/ 826815 h 6407421"/>
              <a:gd name="connsiteX2072" fmla="*/ 2919113 w 6142647"/>
              <a:gd name="connsiteY2072" fmla="*/ 797312 h 6407421"/>
              <a:gd name="connsiteX2073" fmla="*/ 2948715 w 6142647"/>
              <a:gd name="connsiteY2073" fmla="*/ 797312 h 6407421"/>
              <a:gd name="connsiteX2074" fmla="*/ 2948715 w 6142647"/>
              <a:gd name="connsiteY2074" fmla="*/ 826812 h 6407421"/>
              <a:gd name="connsiteX2075" fmla="*/ 2919113 w 6142647"/>
              <a:gd name="connsiteY2075" fmla="*/ 826812 h 6407421"/>
              <a:gd name="connsiteX2076" fmla="*/ 2653024 w 6142647"/>
              <a:gd name="connsiteY2076" fmla="*/ 797310 h 6407421"/>
              <a:gd name="connsiteX2077" fmla="*/ 2682627 w 6142647"/>
              <a:gd name="connsiteY2077" fmla="*/ 797310 h 6407421"/>
              <a:gd name="connsiteX2078" fmla="*/ 2682627 w 6142647"/>
              <a:gd name="connsiteY2078" fmla="*/ 826810 h 6407421"/>
              <a:gd name="connsiteX2079" fmla="*/ 2653024 w 6142647"/>
              <a:gd name="connsiteY2079" fmla="*/ 826810 h 6407421"/>
              <a:gd name="connsiteX2080" fmla="*/ 2386827 w 6142647"/>
              <a:gd name="connsiteY2080" fmla="*/ 797308 h 6407421"/>
              <a:gd name="connsiteX2081" fmla="*/ 2416430 w 6142647"/>
              <a:gd name="connsiteY2081" fmla="*/ 797308 h 6407421"/>
              <a:gd name="connsiteX2082" fmla="*/ 2416430 w 6142647"/>
              <a:gd name="connsiteY2082" fmla="*/ 826807 h 6407421"/>
              <a:gd name="connsiteX2083" fmla="*/ 2386827 w 6142647"/>
              <a:gd name="connsiteY2083" fmla="*/ 826807 h 6407421"/>
              <a:gd name="connsiteX2084" fmla="*/ 2120630 w 6142647"/>
              <a:gd name="connsiteY2084" fmla="*/ 797306 h 6407421"/>
              <a:gd name="connsiteX2085" fmla="*/ 2150233 w 6142647"/>
              <a:gd name="connsiteY2085" fmla="*/ 797306 h 6407421"/>
              <a:gd name="connsiteX2086" fmla="*/ 2150233 w 6142647"/>
              <a:gd name="connsiteY2086" fmla="*/ 826805 h 6407421"/>
              <a:gd name="connsiteX2087" fmla="*/ 2120630 w 6142647"/>
              <a:gd name="connsiteY2087" fmla="*/ 826805 h 6407421"/>
              <a:gd name="connsiteX2088" fmla="*/ 1854540 w 6142647"/>
              <a:gd name="connsiteY2088" fmla="*/ 797304 h 6407421"/>
              <a:gd name="connsiteX2089" fmla="*/ 1884143 w 6142647"/>
              <a:gd name="connsiteY2089" fmla="*/ 797304 h 6407421"/>
              <a:gd name="connsiteX2090" fmla="*/ 1884143 w 6142647"/>
              <a:gd name="connsiteY2090" fmla="*/ 826802 h 6407421"/>
              <a:gd name="connsiteX2091" fmla="*/ 1854540 w 6142647"/>
              <a:gd name="connsiteY2091" fmla="*/ 826802 h 6407421"/>
              <a:gd name="connsiteX2092" fmla="*/ 1588343 w 6142647"/>
              <a:gd name="connsiteY2092" fmla="*/ 797302 h 6407421"/>
              <a:gd name="connsiteX2093" fmla="*/ 1617945 w 6142647"/>
              <a:gd name="connsiteY2093" fmla="*/ 797302 h 6407421"/>
              <a:gd name="connsiteX2094" fmla="*/ 1617945 w 6142647"/>
              <a:gd name="connsiteY2094" fmla="*/ 826799 h 6407421"/>
              <a:gd name="connsiteX2095" fmla="*/ 1588343 w 6142647"/>
              <a:gd name="connsiteY2095" fmla="*/ 826799 h 6407421"/>
              <a:gd name="connsiteX2096" fmla="*/ 1322254 w 6142647"/>
              <a:gd name="connsiteY2096" fmla="*/ 797300 h 6407421"/>
              <a:gd name="connsiteX2097" fmla="*/ 1351857 w 6142647"/>
              <a:gd name="connsiteY2097" fmla="*/ 797300 h 6407421"/>
              <a:gd name="connsiteX2098" fmla="*/ 1351857 w 6142647"/>
              <a:gd name="connsiteY2098" fmla="*/ 826797 h 6407421"/>
              <a:gd name="connsiteX2099" fmla="*/ 1322254 w 6142647"/>
              <a:gd name="connsiteY2099" fmla="*/ 826797 h 6407421"/>
              <a:gd name="connsiteX2100" fmla="*/ 1056057 w 6142647"/>
              <a:gd name="connsiteY2100" fmla="*/ 797298 h 6407421"/>
              <a:gd name="connsiteX2101" fmla="*/ 1085660 w 6142647"/>
              <a:gd name="connsiteY2101" fmla="*/ 797298 h 6407421"/>
              <a:gd name="connsiteX2102" fmla="*/ 1085660 w 6142647"/>
              <a:gd name="connsiteY2102" fmla="*/ 826794 h 6407421"/>
              <a:gd name="connsiteX2103" fmla="*/ 1056057 w 6142647"/>
              <a:gd name="connsiteY2103" fmla="*/ 826794 h 6407421"/>
              <a:gd name="connsiteX2104" fmla="*/ 789968 w 6142647"/>
              <a:gd name="connsiteY2104" fmla="*/ 797296 h 6407421"/>
              <a:gd name="connsiteX2105" fmla="*/ 819570 w 6142647"/>
              <a:gd name="connsiteY2105" fmla="*/ 797296 h 6407421"/>
              <a:gd name="connsiteX2106" fmla="*/ 819570 w 6142647"/>
              <a:gd name="connsiteY2106" fmla="*/ 826792 h 6407421"/>
              <a:gd name="connsiteX2107" fmla="*/ 789968 w 6142647"/>
              <a:gd name="connsiteY2107" fmla="*/ 826792 h 6407421"/>
              <a:gd name="connsiteX2108" fmla="*/ 523771 w 6142647"/>
              <a:gd name="connsiteY2108" fmla="*/ 797294 h 6407421"/>
              <a:gd name="connsiteX2109" fmla="*/ 553373 w 6142647"/>
              <a:gd name="connsiteY2109" fmla="*/ 797294 h 6407421"/>
              <a:gd name="connsiteX2110" fmla="*/ 553373 w 6142647"/>
              <a:gd name="connsiteY2110" fmla="*/ 826789 h 6407421"/>
              <a:gd name="connsiteX2111" fmla="*/ 523771 w 6142647"/>
              <a:gd name="connsiteY2111" fmla="*/ 826789 h 6407421"/>
              <a:gd name="connsiteX2112" fmla="*/ 6113045 w 6142647"/>
              <a:gd name="connsiteY2112" fmla="*/ 531575 h 6407421"/>
              <a:gd name="connsiteX2113" fmla="*/ 6142647 w 6142647"/>
              <a:gd name="connsiteY2113" fmla="*/ 531575 h 6407421"/>
              <a:gd name="connsiteX2114" fmla="*/ 6142647 w 6142647"/>
              <a:gd name="connsiteY2114" fmla="*/ 561177 h 6407421"/>
              <a:gd name="connsiteX2115" fmla="*/ 6113045 w 6142647"/>
              <a:gd name="connsiteY2115" fmla="*/ 561177 h 6407421"/>
              <a:gd name="connsiteX2116" fmla="*/ 266197 w 6142647"/>
              <a:gd name="connsiteY2116" fmla="*/ 531575 h 6407421"/>
              <a:gd name="connsiteX2117" fmla="*/ 295800 w 6142647"/>
              <a:gd name="connsiteY2117" fmla="*/ 531575 h 6407421"/>
              <a:gd name="connsiteX2118" fmla="*/ 295800 w 6142647"/>
              <a:gd name="connsiteY2118" fmla="*/ 561177 h 6407421"/>
              <a:gd name="connsiteX2119" fmla="*/ 266197 w 6142647"/>
              <a:gd name="connsiteY2119" fmla="*/ 561177 h 6407421"/>
              <a:gd name="connsiteX2120" fmla="*/ 5846848 w 6142647"/>
              <a:gd name="connsiteY2120" fmla="*/ 531573 h 6407421"/>
              <a:gd name="connsiteX2121" fmla="*/ 5876450 w 6142647"/>
              <a:gd name="connsiteY2121" fmla="*/ 531573 h 6407421"/>
              <a:gd name="connsiteX2122" fmla="*/ 5876450 w 6142647"/>
              <a:gd name="connsiteY2122" fmla="*/ 561175 h 6407421"/>
              <a:gd name="connsiteX2123" fmla="*/ 5846848 w 6142647"/>
              <a:gd name="connsiteY2123" fmla="*/ 561175 h 6407421"/>
              <a:gd name="connsiteX2124" fmla="*/ 0 w 6142647"/>
              <a:gd name="connsiteY2124" fmla="*/ 531573 h 6407421"/>
              <a:gd name="connsiteX2125" fmla="*/ 29602 w 6142647"/>
              <a:gd name="connsiteY2125" fmla="*/ 531573 h 6407421"/>
              <a:gd name="connsiteX2126" fmla="*/ 29602 w 6142647"/>
              <a:gd name="connsiteY2126" fmla="*/ 561175 h 6407421"/>
              <a:gd name="connsiteX2127" fmla="*/ 0 w 6142647"/>
              <a:gd name="connsiteY2127" fmla="*/ 561175 h 6407421"/>
              <a:gd name="connsiteX2128" fmla="*/ 5580759 w 6142647"/>
              <a:gd name="connsiteY2128" fmla="*/ 531571 h 6407421"/>
              <a:gd name="connsiteX2129" fmla="*/ 5610361 w 6142647"/>
              <a:gd name="connsiteY2129" fmla="*/ 531571 h 6407421"/>
              <a:gd name="connsiteX2130" fmla="*/ 5610361 w 6142647"/>
              <a:gd name="connsiteY2130" fmla="*/ 561173 h 6407421"/>
              <a:gd name="connsiteX2131" fmla="*/ 5580759 w 6142647"/>
              <a:gd name="connsiteY2131" fmla="*/ 561173 h 6407421"/>
              <a:gd name="connsiteX2132" fmla="*/ 5314562 w 6142647"/>
              <a:gd name="connsiteY2132" fmla="*/ 531568 h 6407421"/>
              <a:gd name="connsiteX2133" fmla="*/ 5344164 w 6142647"/>
              <a:gd name="connsiteY2133" fmla="*/ 531568 h 6407421"/>
              <a:gd name="connsiteX2134" fmla="*/ 5344164 w 6142647"/>
              <a:gd name="connsiteY2134" fmla="*/ 561170 h 6407421"/>
              <a:gd name="connsiteX2135" fmla="*/ 5314562 w 6142647"/>
              <a:gd name="connsiteY2135" fmla="*/ 561170 h 6407421"/>
              <a:gd name="connsiteX2136" fmla="*/ 5048365 w 6142647"/>
              <a:gd name="connsiteY2136" fmla="*/ 531566 h 6407421"/>
              <a:gd name="connsiteX2137" fmla="*/ 5078075 w 6142647"/>
              <a:gd name="connsiteY2137" fmla="*/ 531566 h 6407421"/>
              <a:gd name="connsiteX2138" fmla="*/ 5078075 w 6142647"/>
              <a:gd name="connsiteY2138" fmla="*/ 561168 h 6407421"/>
              <a:gd name="connsiteX2139" fmla="*/ 5048365 w 6142647"/>
              <a:gd name="connsiteY2139" fmla="*/ 561168 h 6407421"/>
              <a:gd name="connsiteX2140" fmla="*/ 4782276 w 6142647"/>
              <a:gd name="connsiteY2140" fmla="*/ 531564 h 6407421"/>
              <a:gd name="connsiteX2141" fmla="*/ 4811879 w 6142647"/>
              <a:gd name="connsiteY2141" fmla="*/ 531564 h 6407421"/>
              <a:gd name="connsiteX2142" fmla="*/ 4811879 w 6142647"/>
              <a:gd name="connsiteY2142" fmla="*/ 561166 h 6407421"/>
              <a:gd name="connsiteX2143" fmla="*/ 4782276 w 6142647"/>
              <a:gd name="connsiteY2143" fmla="*/ 561166 h 6407421"/>
              <a:gd name="connsiteX2144" fmla="*/ 4516079 w 6142647"/>
              <a:gd name="connsiteY2144" fmla="*/ 531562 h 6407421"/>
              <a:gd name="connsiteX2145" fmla="*/ 4545681 w 6142647"/>
              <a:gd name="connsiteY2145" fmla="*/ 531562 h 6407421"/>
              <a:gd name="connsiteX2146" fmla="*/ 4545681 w 6142647"/>
              <a:gd name="connsiteY2146" fmla="*/ 561164 h 6407421"/>
              <a:gd name="connsiteX2147" fmla="*/ 4516079 w 6142647"/>
              <a:gd name="connsiteY2147" fmla="*/ 561164 h 6407421"/>
              <a:gd name="connsiteX2148" fmla="*/ 4249990 w 6142647"/>
              <a:gd name="connsiteY2148" fmla="*/ 531560 h 6407421"/>
              <a:gd name="connsiteX2149" fmla="*/ 4279592 w 6142647"/>
              <a:gd name="connsiteY2149" fmla="*/ 531560 h 6407421"/>
              <a:gd name="connsiteX2150" fmla="*/ 4279592 w 6142647"/>
              <a:gd name="connsiteY2150" fmla="*/ 561162 h 6407421"/>
              <a:gd name="connsiteX2151" fmla="*/ 4249990 w 6142647"/>
              <a:gd name="connsiteY2151" fmla="*/ 561162 h 6407421"/>
              <a:gd name="connsiteX2152" fmla="*/ 3983793 w 6142647"/>
              <a:gd name="connsiteY2152" fmla="*/ 531558 h 6407421"/>
              <a:gd name="connsiteX2153" fmla="*/ 4013396 w 6142647"/>
              <a:gd name="connsiteY2153" fmla="*/ 531558 h 6407421"/>
              <a:gd name="connsiteX2154" fmla="*/ 4013396 w 6142647"/>
              <a:gd name="connsiteY2154" fmla="*/ 561160 h 6407421"/>
              <a:gd name="connsiteX2155" fmla="*/ 3983793 w 6142647"/>
              <a:gd name="connsiteY2155" fmla="*/ 561160 h 6407421"/>
              <a:gd name="connsiteX2156" fmla="*/ 3717704 w 6142647"/>
              <a:gd name="connsiteY2156" fmla="*/ 531556 h 6407421"/>
              <a:gd name="connsiteX2157" fmla="*/ 3747307 w 6142647"/>
              <a:gd name="connsiteY2157" fmla="*/ 531556 h 6407421"/>
              <a:gd name="connsiteX2158" fmla="*/ 3747307 w 6142647"/>
              <a:gd name="connsiteY2158" fmla="*/ 561158 h 6407421"/>
              <a:gd name="connsiteX2159" fmla="*/ 3717704 w 6142647"/>
              <a:gd name="connsiteY2159" fmla="*/ 561158 h 6407421"/>
              <a:gd name="connsiteX2160" fmla="*/ 3451507 w 6142647"/>
              <a:gd name="connsiteY2160" fmla="*/ 531554 h 6407421"/>
              <a:gd name="connsiteX2161" fmla="*/ 3481109 w 6142647"/>
              <a:gd name="connsiteY2161" fmla="*/ 531554 h 6407421"/>
              <a:gd name="connsiteX2162" fmla="*/ 3481109 w 6142647"/>
              <a:gd name="connsiteY2162" fmla="*/ 561156 h 6407421"/>
              <a:gd name="connsiteX2163" fmla="*/ 3451507 w 6142647"/>
              <a:gd name="connsiteY2163" fmla="*/ 561156 h 6407421"/>
              <a:gd name="connsiteX2164" fmla="*/ 3185310 w 6142647"/>
              <a:gd name="connsiteY2164" fmla="*/ 531551 h 6407421"/>
              <a:gd name="connsiteX2165" fmla="*/ 3214913 w 6142647"/>
              <a:gd name="connsiteY2165" fmla="*/ 531551 h 6407421"/>
              <a:gd name="connsiteX2166" fmla="*/ 3214913 w 6142647"/>
              <a:gd name="connsiteY2166" fmla="*/ 561154 h 6407421"/>
              <a:gd name="connsiteX2167" fmla="*/ 3185310 w 6142647"/>
              <a:gd name="connsiteY2167" fmla="*/ 561154 h 6407421"/>
              <a:gd name="connsiteX2168" fmla="*/ 2919113 w 6142647"/>
              <a:gd name="connsiteY2168" fmla="*/ 531549 h 6407421"/>
              <a:gd name="connsiteX2169" fmla="*/ 2948715 w 6142647"/>
              <a:gd name="connsiteY2169" fmla="*/ 531549 h 6407421"/>
              <a:gd name="connsiteX2170" fmla="*/ 2948715 w 6142647"/>
              <a:gd name="connsiteY2170" fmla="*/ 561152 h 6407421"/>
              <a:gd name="connsiteX2171" fmla="*/ 2919113 w 6142647"/>
              <a:gd name="connsiteY2171" fmla="*/ 561152 h 6407421"/>
              <a:gd name="connsiteX2172" fmla="*/ 2653024 w 6142647"/>
              <a:gd name="connsiteY2172" fmla="*/ 531547 h 6407421"/>
              <a:gd name="connsiteX2173" fmla="*/ 2682627 w 6142647"/>
              <a:gd name="connsiteY2173" fmla="*/ 531547 h 6407421"/>
              <a:gd name="connsiteX2174" fmla="*/ 2682627 w 6142647"/>
              <a:gd name="connsiteY2174" fmla="*/ 561149 h 6407421"/>
              <a:gd name="connsiteX2175" fmla="*/ 2653024 w 6142647"/>
              <a:gd name="connsiteY2175" fmla="*/ 561149 h 6407421"/>
              <a:gd name="connsiteX2176" fmla="*/ 2386827 w 6142647"/>
              <a:gd name="connsiteY2176" fmla="*/ 531545 h 6407421"/>
              <a:gd name="connsiteX2177" fmla="*/ 2416430 w 6142647"/>
              <a:gd name="connsiteY2177" fmla="*/ 531545 h 6407421"/>
              <a:gd name="connsiteX2178" fmla="*/ 2416430 w 6142647"/>
              <a:gd name="connsiteY2178" fmla="*/ 561147 h 6407421"/>
              <a:gd name="connsiteX2179" fmla="*/ 2386827 w 6142647"/>
              <a:gd name="connsiteY2179" fmla="*/ 561147 h 6407421"/>
              <a:gd name="connsiteX2180" fmla="*/ 2120630 w 6142647"/>
              <a:gd name="connsiteY2180" fmla="*/ 531543 h 6407421"/>
              <a:gd name="connsiteX2181" fmla="*/ 2150233 w 6142647"/>
              <a:gd name="connsiteY2181" fmla="*/ 531543 h 6407421"/>
              <a:gd name="connsiteX2182" fmla="*/ 2150233 w 6142647"/>
              <a:gd name="connsiteY2182" fmla="*/ 561145 h 6407421"/>
              <a:gd name="connsiteX2183" fmla="*/ 2120630 w 6142647"/>
              <a:gd name="connsiteY2183" fmla="*/ 561145 h 6407421"/>
              <a:gd name="connsiteX2184" fmla="*/ 1854540 w 6142647"/>
              <a:gd name="connsiteY2184" fmla="*/ 531541 h 6407421"/>
              <a:gd name="connsiteX2185" fmla="*/ 1884143 w 6142647"/>
              <a:gd name="connsiteY2185" fmla="*/ 531541 h 6407421"/>
              <a:gd name="connsiteX2186" fmla="*/ 1884143 w 6142647"/>
              <a:gd name="connsiteY2186" fmla="*/ 561143 h 6407421"/>
              <a:gd name="connsiteX2187" fmla="*/ 1854540 w 6142647"/>
              <a:gd name="connsiteY2187" fmla="*/ 561143 h 6407421"/>
              <a:gd name="connsiteX2188" fmla="*/ 1588343 w 6142647"/>
              <a:gd name="connsiteY2188" fmla="*/ 531539 h 6407421"/>
              <a:gd name="connsiteX2189" fmla="*/ 1617945 w 6142647"/>
              <a:gd name="connsiteY2189" fmla="*/ 531539 h 6407421"/>
              <a:gd name="connsiteX2190" fmla="*/ 1617945 w 6142647"/>
              <a:gd name="connsiteY2190" fmla="*/ 561141 h 6407421"/>
              <a:gd name="connsiteX2191" fmla="*/ 1588343 w 6142647"/>
              <a:gd name="connsiteY2191" fmla="*/ 561141 h 6407421"/>
              <a:gd name="connsiteX2192" fmla="*/ 1322254 w 6142647"/>
              <a:gd name="connsiteY2192" fmla="*/ 531537 h 6407421"/>
              <a:gd name="connsiteX2193" fmla="*/ 1351857 w 6142647"/>
              <a:gd name="connsiteY2193" fmla="*/ 531537 h 6407421"/>
              <a:gd name="connsiteX2194" fmla="*/ 1351857 w 6142647"/>
              <a:gd name="connsiteY2194" fmla="*/ 561139 h 6407421"/>
              <a:gd name="connsiteX2195" fmla="*/ 1322254 w 6142647"/>
              <a:gd name="connsiteY2195" fmla="*/ 561139 h 6407421"/>
              <a:gd name="connsiteX2196" fmla="*/ 1056057 w 6142647"/>
              <a:gd name="connsiteY2196" fmla="*/ 531534 h 6407421"/>
              <a:gd name="connsiteX2197" fmla="*/ 1085660 w 6142647"/>
              <a:gd name="connsiteY2197" fmla="*/ 531534 h 6407421"/>
              <a:gd name="connsiteX2198" fmla="*/ 1085660 w 6142647"/>
              <a:gd name="connsiteY2198" fmla="*/ 561137 h 6407421"/>
              <a:gd name="connsiteX2199" fmla="*/ 1056057 w 6142647"/>
              <a:gd name="connsiteY2199" fmla="*/ 561137 h 6407421"/>
              <a:gd name="connsiteX2200" fmla="*/ 789968 w 6142647"/>
              <a:gd name="connsiteY2200" fmla="*/ 531532 h 6407421"/>
              <a:gd name="connsiteX2201" fmla="*/ 819570 w 6142647"/>
              <a:gd name="connsiteY2201" fmla="*/ 531532 h 6407421"/>
              <a:gd name="connsiteX2202" fmla="*/ 819570 w 6142647"/>
              <a:gd name="connsiteY2202" fmla="*/ 561135 h 6407421"/>
              <a:gd name="connsiteX2203" fmla="*/ 789968 w 6142647"/>
              <a:gd name="connsiteY2203" fmla="*/ 561135 h 6407421"/>
              <a:gd name="connsiteX2204" fmla="*/ 523771 w 6142647"/>
              <a:gd name="connsiteY2204" fmla="*/ 531530 h 6407421"/>
              <a:gd name="connsiteX2205" fmla="*/ 553373 w 6142647"/>
              <a:gd name="connsiteY2205" fmla="*/ 531530 h 6407421"/>
              <a:gd name="connsiteX2206" fmla="*/ 553373 w 6142647"/>
              <a:gd name="connsiteY2206" fmla="*/ 561133 h 6407421"/>
              <a:gd name="connsiteX2207" fmla="*/ 523771 w 6142647"/>
              <a:gd name="connsiteY2207" fmla="*/ 561133 h 6407421"/>
              <a:gd name="connsiteX2208" fmla="*/ 6113045 w 6142647"/>
              <a:gd name="connsiteY2208" fmla="*/ 265811 h 6407421"/>
              <a:gd name="connsiteX2209" fmla="*/ 6142647 w 6142647"/>
              <a:gd name="connsiteY2209" fmla="*/ 265811 h 6407421"/>
              <a:gd name="connsiteX2210" fmla="*/ 6142647 w 6142647"/>
              <a:gd name="connsiteY2210" fmla="*/ 295414 h 6407421"/>
              <a:gd name="connsiteX2211" fmla="*/ 6113045 w 6142647"/>
              <a:gd name="connsiteY2211" fmla="*/ 295414 h 6407421"/>
              <a:gd name="connsiteX2212" fmla="*/ 266197 w 6142647"/>
              <a:gd name="connsiteY2212" fmla="*/ 265811 h 6407421"/>
              <a:gd name="connsiteX2213" fmla="*/ 295800 w 6142647"/>
              <a:gd name="connsiteY2213" fmla="*/ 265811 h 6407421"/>
              <a:gd name="connsiteX2214" fmla="*/ 295800 w 6142647"/>
              <a:gd name="connsiteY2214" fmla="*/ 295414 h 6407421"/>
              <a:gd name="connsiteX2215" fmla="*/ 266197 w 6142647"/>
              <a:gd name="connsiteY2215" fmla="*/ 295414 h 6407421"/>
              <a:gd name="connsiteX2216" fmla="*/ 5846848 w 6142647"/>
              <a:gd name="connsiteY2216" fmla="*/ 265809 h 6407421"/>
              <a:gd name="connsiteX2217" fmla="*/ 5876450 w 6142647"/>
              <a:gd name="connsiteY2217" fmla="*/ 265809 h 6407421"/>
              <a:gd name="connsiteX2218" fmla="*/ 5876450 w 6142647"/>
              <a:gd name="connsiteY2218" fmla="*/ 295412 h 6407421"/>
              <a:gd name="connsiteX2219" fmla="*/ 5846848 w 6142647"/>
              <a:gd name="connsiteY2219" fmla="*/ 295412 h 6407421"/>
              <a:gd name="connsiteX2220" fmla="*/ 0 w 6142647"/>
              <a:gd name="connsiteY2220" fmla="*/ 265809 h 6407421"/>
              <a:gd name="connsiteX2221" fmla="*/ 29602 w 6142647"/>
              <a:gd name="connsiteY2221" fmla="*/ 265809 h 6407421"/>
              <a:gd name="connsiteX2222" fmla="*/ 29602 w 6142647"/>
              <a:gd name="connsiteY2222" fmla="*/ 295412 h 6407421"/>
              <a:gd name="connsiteX2223" fmla="*/ 0 w 6142647"/>
              <a:gd name="connsiteY2223" fmla="*/ 295412 h 6407421"/>
              <a:gd name="connsiteX2224" fmla="*/ 5580759 w 6142647"/>
              <a:gd name="connsiteY2224" fmla="*/ 265807 h 6407421"/>
              <a:gd name="connsiteX2225" fmla="*/ 5610361 w 6142647"/>
              <a:gd name="connsiteY2225" fmla="*/ 265807 h 6407421"/>
              <a:gd name="connsiteX2226" fmla="*/ 5610361 w 6142647"/>
              <a:gd name="connsiteY2226" fmla="*/ 295409 h 6407421"/>
              <a:gd name="connsiteX2227" fmla="*/ 5580759 w 6142647"/>
              <a:gd name="connsiteY2227" fmla="*/ 295409 h 6407421"/>
              <a:gd name="connsiteX2228" fmla="*/ 5314562 w 6142647"/>
              <a:gd name="connsiteY2228" fmla="*/ 265805 h 6407421"/>
              <a:gd name="connsiteX2229" fmla="*/ 5344164 w 6142647"/>
              <a:gd name="connsiteY2229" fmla="*/ 265805 h 6407421"/>
              <a:gd name="connsiteX2230" fmla="*/ 5344164 w 6142647"/>
              <a:gd name="connsiteY2230" fmla="*/ 295407 h 6407421"/>
              <a:gd name="connsiteX2231" fmla="*/ 5314562 w 6142647"/>
              <a:gd name="connsiteY2231" fmla="*/ 295407 h 6407421"/>
              <a:gd name="connsiteX2232" fmla="*/ 5048365 w 6142647"/>
              <a:gd name="connsiteY2232" fmla="*/ 265803 h 6407421"/>
              <a:gd name="connsiteX2233" fmla="*/ 5078075 w 6142647"/>
              <a:gd name="connsiteY2233" fmla="*/ 265803 h 6407421"/>
              <a:gd name="connsiteX2234" fmla="*/ 5078075 w 6142647"/>
              <a:gd name="connsiteY2234" fmla="*/ 295405 h 6407421"/>
              <a:gd name="connsiteX2235" fmla="*/ 5048365 w 6142647"/>
              <a:gd name="connsiteY2235" fmla="*/ 295405 h 6407421"/>
              <a:gd name="connsiteX2236" fmla="*/ 4782276 w 6142647"/>
              <a:gd name="connsiteY2236" fmla="*/ 265800 h 6407421"/>
              <a:gd name="connsiteX2237" fmla="*/ 4811879 w 6142647"/>
              <a:gd name="connsiteY2237" fmla="*/ 265800 h 6407421"/>
              <a:gd name="connsiteX2238" fmla="*/ 4811879 w 6142647"/>
              <a:gd name="connsiteY2238" fmla="*/ 295403 h 6407421"/>
              <a:gd name="connsiteX2239" fmla="*/ 4782276 w 6142647"/>
              <a:gd name="connsiteY2239" fmla="*/ 295403 h 6407421"/>
              <a:gd name="connsiteX2240" fmla="*/ 4516079 w 6142647"/>
              <a:gd name="connsiteY2240" fmla="*/ 265798 h 6407421"/>
              <a:gd name="connsiteX2241" fmla="*/ 4545681 w 6142647"/>
              <a:gd name="connsiteY2241" fmla="*/ 265798 h 6407421"/>
              <a:gd name="connsiteX2242" fmla="*/ 4545681 w 6142647"/>
              <a:gd name="connsiteY2242" fmla="*/ 295401 h 6407421"/>
              <a:gd name="connsiteX2243" fmla="*/ 4516079 w 6142647"/>
              <a:gd name="connsiteY2243" fmla="*/ 295401 h 6407421"/>
              <a:gd name="connsiteX2244" fmla="*/ 4249990 w 6142647"/>
              <a:gd name="connsiteY2244" fmla="*/ 265796 h 6407421"/>
              <a:gd name="connsiteX2245" fmla="*/ 4279592 w 6142647"/>
              <a:gd name="connsiteY2245" fmla="*/ 265796 h 6407421"/>
              <a:gd name="connsiteX2246" fmla="*/ 4279592 w 6142647"/>
              <a:gd name="connsiteY2246" fmla="*/ 295398 h 6407421"/>
              <a:gd name="connsiteX2247" fmla="*/ 4249990 w 6142647"/>
              <a:gd name="connsiteY2247" fmla="*/ 295398 h 6407421"/>
              <a:gd name="connsiteX2248" fmla="*/ 3983793 w 6142647"/>
              <a:gd name="connsiteY2248" fmla="*/ 265794 h 6407421"/>
              <a:gd name="connsiteX2249" fmla="*/ 4013396 w 6142647"/>
              <a:gd name="connsiteY2249" fmla="*/ 265794 h 6407421"/>
              <a:gd name="connsiteX2250" fmla="*/ 4013396 w 6142647"/>
              <a:gd name="connsiteY2250" fmla="*/ 295396 h 6407421"/>
              <a:gd name="connsiteX2251" fmla="*/ 3983793 w 6142647"/>
              <a:gd name="connsiteY2251" fmla="*/ 295396 h 6407421"/>
              <a:gd name="connsiteX2252" fmla="*/ 3717704 w 6142647"/>
              <a:gd name="connsiteY2252" fmla="*/ 265792 h 6407421"/>
              <a:gd name="connsiteX2253" fmla="*/ 3747307 w 6142647"/>
              <a:gd name="connsiteY2253" fmla="*/ 265792 h 6407421"/>
              <a:gd name="connsiteX2254" fmla="*/ 3747307 w 6142647"/>
              <a:gd name="connsiteY2254" fmla="*/ 295394 h 6407421"/>
              <a:gd name="connsiteX2255" fmla="*/ 3717704 w 6142647"/>
              <a:gd name="connsiteY2255" fmla="*/ 295394 h 6407421"/>
              <a:gd name="connsiteX2256" fmla="*/ 3451507 w 6142647"/>
              <a:gd name="connsiteY2256" fmla="*/ 265789 h 6407421"/>
              <a:gd name="connsiteX2257" fmla="*/ 3481109 w 6142647"/>
              <a:gd name="connsiteY2257" fmla="*/ 265789 h 6407421"/>
              <a:gd name="connsiteX2258" fmla="*/ 3481109 w 6142647"/>
              <a:gd name="connsiteY2258" fmla="*/ 295392 h 6407421"/>
              <a:gd name="connsiteX2259" fmla="*/ 3451507 w 6142647"/>
              <a:gd name="connsiteY2259" fmla="*/ 295392 h 6407421"/>
              <a:gd name="connsiteX2260" fmla="*/ 3185310 w 6142647"/>
              <a:gd name="connsiteY2260" fmla="*/ 265787 h 6407421"/>
              <a:gd name="connsiteX2261" fmla="*/ 3214913 w 6142647"/>
              <a:gd name="connsiteY2261" fmla="*/ 265787 h 6407421"/>
              <a:gd name="connsiteX2262" fmla="*/ 3214913 w 6142647"/>
              <a:gd name="connsiteY2262" fmla="*/ 295390 h 6407421"/>
              <a:gd name="connsiteX2263" fmla="*/ 3185310 w 6142647"/>
              <a:gd name="connsiteY2263" fmla="*/ 295390 h 6407421"/>
              <a:gd name="connsiteX2264" fmla="*/ 2919113 w 6142647"/>
              <a:gd name="connsiteY2264" fmla="*/ 265785 h 6407421"/>
              <a:gd name="connsiteX2265" fmla="*/ 2948715 w 6142647"/>
              <a:gd name="connsiteY2265" fmla="*/ 265785 h 6407421"/>
              <a:gd name="connsiteX2266" fmla="*/ 2948715 w 6142647"/>
              <a:gd name="connsiteY2266" fmla="*/ 295387 h 6407421"/>
              <a:gd name="connsiteX2267" fmla="*/ 2919113 w 6142647"/>
              <a:gd name="connsiteY2267" fmla="*/ 295387 h 6407421"/>
              <a:gd name="connsiteX2268" fmla="*/ 2653024 w 6142647"/>
              <a:gd name="connsiteY2268" fmla="*/ 265783 h 6407421"/>
              <a:gd name="connsiteX2269" fmla="*/ 2682627 w 6142647"/>
              <a:gd name="connsiteY2269" fmla="*/ 265783 h 6407421"/>
              <a:gd name="connsiteX2270" fmla="*/ 2682627 w 6142647"/>
              <a:gd name="connsiteY2270" fmla="*/ 295385 h 6407421"/>
              <a:gd name="connsiteX2271" fmla="*/ 2653024 w 6142647"/>
              <a:gd name="connsiteY2271" fmla="*/ 295385 h 6407421"/>
              <a:gd name="connsiteX2272" fmla="*/ 2386827 w 6142647"/>
              <a:gd name="connsiteY2272" fmla="*/ 265781 h 6407421"/>
              <a:gd name="connsiteX2273" fmla="*/ 2416430 w 6142647"/>
              <a:gd name="connsiteY2273" fmla="*/ 265781 h 6407421"/>
              <a:gd name="connsiteX2274" fmla="*/ 2416430 w 6142647"/>
              <a:gd name="connsiteY2274" fmla="*/ 295383 h 6407421"/>
              <a:gd name="connsiteX2275" fmla="*/ 2386827 w 6142647"/>
              <a:gd name="connsiteY2275" fmla="*/ 295383 h 6407421"/>
              <a:gd name="connsiteX2276" fmla="*/ 2120630 w 6142647"/>
              <a:gd name="connsiteY2276" fmla="*/ 265778 h 6407421"/>
              <a:gd name="connsiteX2277" fmla="*/ 2150233 w 6142647"/>
              <a:gd name="connsiteY2277" fmla="*/ 265778 h 6407421"/>
              <a:gd name="connsiteX2278" fmla="*/ 2150233 w 6142647"/>
              <a:gd name="connsiteY2278" fmla="*/ 295381 h 6407421"/>
              <a:gd name="connsiteX2279" fmla="*/ 2120630 w 6142647"/>
              <a:gd name="connsiteY2279" fmla="*/ 295381 h 6407421"/>
              <a:gd name="connsiteX2280" fmla="*/ 1854540 w 6142647"/>
              <a:gd name="connsiteY2280" fmla="*/ 265776 h 6407421"/>
              <a:gd name="connsiteX2281" fmla="*/ 1884143 w 6142647"/>
              <a:gd name="connsiteY2281" fmla="*/ 265776 h 6407421"/>
              <a:gd name="connsiteX2282" fmla="*/ 1884143 w 6142647"/>
              <a:gd name="connsiteY2282" fmla="*/ 295379 h 6407421"/>
              <a:gd name="connsiteX2283" fmla="*/ 1854540 w 6142647"/>
              <a:gd name="connsiteY2283" fmla="*/ 295379 h 6407421"/>
              <a:gd name="connsiteX2284" fmla="*/ 1588343 w 6142647"/>
              <a:gd name="connsiteY2284" fmla="*/ 265774 h 6407421"/>
              <a:gd name="connsiteX2285" fmla="*/ 1617945 w 6142647"/>
              <a:gd name="connsiteY2285" fmla="*/ 265774 h 6407421"/>
              <a:gd name="connsiteX2286" fmla="*/ 1617945 w 6142647"/>
              <a:gd name="connsiteY2286" fmla="*/ 295376 h 6407421"/>
              <a:gd name="connsiteX2287" fmla="*/ 1588343 w 6142647"/>
              <a:gd name="connsiteY2287" fmla="*/ 295376 h 6407421"/>
              <a:gd name="connsiteX2288" fmla="*/ 1322254 w 6142647"/>
              <a:gd name="connsiteY2288" fmla="*/ 265772 h 6407421"/>
              <a:gd name="connsiteX2289" fmla="*/ 1351857 w 6142647"/>
              <a:gd name="connsiteY2289" fmla="*/ 265772 h 6407421"/>
              <a:gd name="connsiteX2290" fmla="*/ 1351857 w 6142647"/>
              <a:gd name="connsiteY2290" fmla="*/ 295374 h 6407421"/>
              <a:gd name="connsiteX2291" fmla="*/ 1322254 w 6142647"/>
              <a:gd name="connsiteY2291" fmla="*/ 295374 h 6407421"/>
              <a:gd name="connsiteX2292" fmla="*/ 1056057 w 6142647"/>
              <a:gd name="connsiteY2292" fmla="*/ 265770 h 6407421"/>
              <a:gd name="connsiteX2293" fmla="*/ 1085660 w 6142647"/>
              <a:gd name="connsiteY2293" fmla="*/ 265770 h 6407421"/>
              <a:gd name="connsiteX2294" fmla="*/ 1085660 w 6142647"/>
              <a:gd name="connsiteY2294" fmla="*/ 295372 h 6407421"/>
              <a:gd name="connsiteX2295" fmla="*/ 1056057 w 6142647"/>
              <a:gd name="connsiteY2295" fmla="*/ 295372 h 6407421"/>
              <a:gd name="connsiteX2296" fmla="*/ 789968 w 6142647"/>
              <a:gd name="connsiteY2296" fmla="*/ 265767 h 6407421"/>
              <a:gd name="connsiteX2297" fmla="*/ 819570 w 6142647"/>
              <a:gd name="connsiteY2297" fmla="*/ 265767 h 6407421"/>
              <a:gd name="connsiteX2298" fmla="*/ 819570 w 6142647"/>
              <a:gd name="connsiteY2298" fmla="*/ 295370 h 6407421"/>
              <a:gd name="connsiteX2299" fmla="*/ 789968 w 6142647"/>
              <a:gd name="connsiteY2299" fmla="*/ 295370 h 6407421"/>
              <a:gd name="connsiteX2300" fmla="*/ 523771 w 6142647"/>
              <a:gd name="connsiteY2300" fmla="*/ 265765 h 6407421"/>
              <a:gd name="connsiteX2301" fmla="*/ 553373 w 6142647"/>
              <a:gd name="connsiteY2301" fmla="*/ 265765 h 6407421"/>
              <a:gd name="connsiteX2302" fmla="*/ 553373 w 6142647"/>
              <a:gd name="connsiteY2302" fmla="*/ 295368 h 6407421"/>
              <a:gd name="connsiteX2303" fmla="*/ 523771 w 6142647"/>
              <a:gd name="connsiteY2303" fmla="*/ 295368 h 6407421"/>
              <a:gd name="connsiteX2304" fmla="*/ 6113045 w 6142647"/>
              <a:gd name="connsiteY2304" fmla="*/ 48 h 6407421"/>
              <a:gd name="connsiteX2305" fmla="*/ 6142647 w 6142647"/>
              <a:gd name="connsiteY2305" fmla="*/ 48 h 6407421"/>
              <a:gd name="connsiteX2306" fmla="*/ 6142647 w 6142647"/>
              <a:gd name="connsiteY2306" fmla="*/ 29651 h 6407421"/>
              <a:gd name="connsiteX2307" fmla="*/ 6113045 w 6142647"/>
              <a:gd name="connsiteY2307" fmla="*/ 29651 h 6407421"/>
              <a:gd name="connsiteX2308" fmla="*/ 266197 w 6142647"/>
              <a:gd name="connsiteY2308" fmla="*/ 48 h 6407421"/>
              <a:gd name="connsiteX2309" fmla="*/ 295800 w 6142647"/>
              <a:gd name="connsiteY2309" fmla="*/ 48 h 6407421"/>
              <a:gd name="connsiteX2310" fmla="*/ 295800 w 6142647"/>
              <a:gd name="connsiteY2310" fmla="*/ 29651 h 6407421"/>
              <a:gd name="connsiteX2311" fmla="*/ 266197 w 6142647"/>
              <a:gd name="connsiteY2311" fmla="*/ 29651 h 6407421"/>
              <a:gd name="connsiteX2312" fmla="*/ 5846848 w 6142647"/>
              <a:gd name="connsiteY2312" fmla="*/ 46 h 6407421"/>
              <a:gd name="connsiteX2313" fmla="*/ 5876450 w 6142647"/>
              <a:gd name="connsiteY2313" fmla="*/ 46 h 6407421"/>
              <a:gd name="connsiteX2314" fmla="*/ 5876450 w 6142647"/>
              <a:gd name="connsiteY2314" fmla="*/ 29648 h 6407421"/>
              <a:gd name="connsiteX2315" fmla="*/ 5846848 w 6142647"/>
              <a:gd name="connsiteY2315" fmla="*/ 29648 h 6407421"/>
              <a:gd name="connsiteX2316" fmla="*/ 0 w 6142647"/>
              <a:gd name="connsiteY2316" fmla="*/ 46 h 6407421"/>
              <a:gd name="connsiteX2317" fmla="*/ 29602 w 6142647"/>
              <a:gd name="connsiteY2317" fmla="*/ 46 h 6407421"/>
              <a:gd name="connsiteX2318" fmla="*/ 29602 w 6142647"/>
              <a:gd name="connsiteY2318" fmla="*/ 29648 h 6407421"/>
              <a:gd name="connsiteX2319" fmla="*/ 0 w 6142647"/>
              <a:gd name="connsiteY2319" fmla="*/ 29648 h 6407421"/>
              <a:gd name="connsiteX2320" fmla="*/ 5580759 w 6142647"/>
              <a:gd name="connsiteY2320" fmla="*/ 44 h 6407421"/>
              <a:gd name="connsiteX2321" fmla="*/ 5610361 w 6142647"/>
              <a:gd name="connsiteY2321" fmla="*/ 44 h 6407421"/>
              <a:gd name="connsiteX2322" fmla="*/ 5610361 w 6142647"/>
              <a:gd name="connsiteY2322" fmla="*/ 29646 h 6407421"/>
              <a:gd name="connsiteX2323" fmla="*/ 5580759 w 6142647"/>
              <a:gd name="connsiteY2323" fmla="*/ 29646 h 6407421"/>
              <a:gd name="connsiteX2324" fmla="*/ 5314562 w 6142647"/>
              <a:gd name="connsiteY2324" fmla="*/ 41 h 6407421"/>
              <a:gd name="connsiteX2325" fmla="*/ 5344164 w 6142647"/>
              <a:gd name="connsiteY2325" fmla="*/ 41 h 6407421"/>
              <a:gd name="connsiteX2326" fmla="*/ 5344164 w 6142647"/>
              <a:gd name="connsiteY2326" fmla="*/ 29644 h 6407421"/>
              <a:gd name="connsiteX2327" fmla="*/ 5314562 w 6142647"/>
              <a:gd name="connsiteY2327" fmla="*/ 29644 h 6407421"/>
              <a:gd name="connsiteX2328" fmla="*/ 5048365 w 6142647"/>
              <a:gd name="connsiteY2328" fmla="*/ 39 h 6407421"/>
              <a:gd name="connsiteX2329" fmla="*/ 5078075 w 6142647"/>
              <a:gd name="connsiteY2329" fmla="*/ 39 h 6407421"/>
              <a:gd name="connsiteX2330" fmla="*/ 5078075 w 6142647"/>
              <a:gd name="connsiteY2330" fmla="*/ 29641 h 6407421"/>
              <a:gd name="connsiteX2331" fmla="*/ 5048365 w 6142647"/>
              <a:gd name="connsiteY2331" fmla="*/ 29641 h 6407421"/>
              <a:gd name="connsiteX2332" fmla="*/ 4782276 w 6142647"/>
              <a:gd name="connsiteY2332" fmla="*/ 37 h 6407421"/>
              <a:gd name="connsiteX2333" fmla="*/ 4811879 w 6142647"/>
              <a:gd name="connsiteY2333" fmla="*/ 37 h 6407421"/>
              <a:gd name="connsiteX2334" fmla="*/ 4811879 w 6142647"/>
              <a:gd name="connsiteY2334" fmla="*/ 29639 h 6407421"/>
              <a:gd name="connsiteX2335" fmla="*/ 4782276 w 6142647"/>
              <a:gd name="connsiteY2335" fmla="*/ 29639 h 6407421"/>
              <a:gd name="connsiteX2336" fmla="*/ 4516079 w 6142647"/>
              <a:gd name="connsiteY2336" fmla="*/ 34 h 6407421"/>
              <a:gd name="connsiteX2337" fmla="*/ 4545681 w 6142647"/>
              <a:gd name="connsiteY2337" fmla="*/ 34 h 6407421"/>
              <a:gd name="connsiteX2338" fmla="*/ 4545681 w 6142647"/>
              <a:gd name="connsiteY2338" fmla="*/ 29637 h 6407421"/>
              <a:gd name="connsiteX2339" fmla="*/ 4516079 w 6142647"/>
              <a:gd name="connsiteY2339" fmla="*/ 29637 h 6407421"/>
              <a:gd name="connsiteX2340" fmla="*/ 4249990 w 6142647"/>
              <a:gd name="connsiteY2340" fmla="*/ 32 h 6407421"/>
              <a:gd name="connsiteX2341" fmla="*/ 4279592 w 6142647"/>
              <a:gd name="connsiteY2341" fmla="*/ 32 h 6407421"/>
              <a:gd name="connsiteX2342" fmla="*/ 4279592 w 6142647"/>
              <a:gd name="connsiteY2342" fmla="*/ 29635 h 6407421"/>
              <a:gd name="connsiteX2343" fmla="*/ 4249990 w 6142647"/>
              <a:gd name="connsiteY2343" fmla="*/ 29635 h 6407421"/>
              <a:gd name="connsiteX2344" fmla="*/ 3983793 w 6142647"/>
              <a:gd name="connsiteY2344" fmla="*/ 30 h 6407421"/>
              <a:gd name="connsiteX2345" fmla="*/ 4013396 w 6142647"/>
              <a:gd name="connsiteY2345" fmla="*/ 30 h 6407421"/>
              <a:gd name="connsiteX2346" fmla="*/ 4013396 w 6142647"/>
              <a:gd name="connsiteY2346" fmla="*/ 29632 h 6407421"/>
              <a:gd name="connsiteX2347" fmla="*/ 3983793 w 6142647"/>
              <a:gd name="connsiteY2347" fmla="*/ 29632 h 6407421"/>
              <a:gd name="connsiteX2348" fmla="*/ 3717704 w 6142647"/>
              <a:gd name="connsiteY2348" fmla="*/ 28 h 6407421"/>
              <a:gd name="connsiteX2349" fmla="*/ 3747307 w 6142647"/>
              <a:gd name="connsiteY2349" fmla="*/ 28 h 6407421"/>
              <a:gd name="connsiteX2350" fmla="*/ 3747307 w 6142647"/>
              <a:gd name="connsiteY2350" fmla="*/ 29630 h 6407421"/>
              <a:gd name="connsiteX2351" fmla="*/ 3717704 w 6142647"/>
              <a:gd name="connsiteY2351" fmla="*/ 29630 h 6407421"/>
              <a:gd name="connsiteX2352" fmla="*/ 3451507 w 6142647"/>
              <a:gd name="connsiteY2352" fmla="*/ 25 h 6407421"/>
              <a:gd name="connsiteX2353" fmla="*/ 3481109 w 6142647"/>
              <a:gd name="connsiteY2353" fmla="*/ 25 h 6407421"/>
              <a:gd name="connsiteX2354" fmla="*/ 3481109 w 6142647"/>
              <a:gd name="connsiteY2354" fmla="*/ 29628 h 6407421"/>
              <a:gd name="connsiteX2355" fmla="*/ 3451507 w 6142647"/>
              <a:gd name="connsiteY2355" fmla="*/ 29628 h 6407421"/>
              <a:gd name="connsiteX2356" fmla="*/ 3185310 w 6142647"/>
              <a:gd name="connsiteY2356" fmla="*/ 23 h 6407421"/>
              <a:gd name="connsiteX2357" fmla="*/ 3214913 w 6142647"/>
              <a:gd name="connsiteY2357" fmla="*/ 23 h 6407421"/>
              <a:gd name="connsiteX2358" fmla="*/ 3214913 w 6142647"/>
              <a:gd name="connsiteY2358" fmla="*/ 29625 h 6407421"/>
              <a:gd name="connsiteX2359" fmla="*/ 3185310 w 6142647"/>
              <a:gd name="connsiteY2359" fmla="*/ 29625 h 6407421"/>
              <a:gd name="connsiteX2360" fmla="*/ 2919113 w 6142647"/>
              <a:gd name="connsiteY2360" fmla="*/ 21 h 6407421"/>
              <a:gd name="connsiteX2361" fmla="*/ 2948715 w 6142647"/>
              <a:gd name="connsiteY2361" fmla="*/ 21 h 6407421"/>
              <a:gd name="connsiteX2362" fmla="*/ 2948715 w 6142647"/>
              <a:gd name="connsiteY2362" fmla="*/ 29623 h 6407421"/>
              <a:gd name="connsiteX2363" fmla="*/ 2919113 w 6142647"/>
              <a:gd name="connsiteY2363" fmla="*/ 29623 h 6407421"/>
              <a:gd name="connsiteX2364" fmla="*/ 2653024 w 6142647"/>
              <a:gd name="connsiteY2364" fmla="*/ 18 h 6407421"/>
              <a:gd name="connsiteX2365" fmla="*/ 2682627 w 6142647"/>
              <a:gd name="connsiteY2365" fmla="*/ 18 h 6407421"/>
              <a:gd name="connsiteX2366" fmla="*/ 2682627 w 6142647"/>
              <a:gd name="connsiteY2366" fmla="*/ 29621 h 6407421"/>
              <a:gd name="connsiteX2367" fmla="*/ 2653024 w 6142647"/>
              <a:gd name="connsiteY2367" fmla="*/ 29621 h 6407421"/>
              <a:gd name="connsiteX2368" fmla="*/ 2386827 w 6142647"/>
              <a:gd name="connsiteY2368" fmla="*/ 16 h 6407421"/>
              <a:gd name="connsiteX2369" fmla="*/ 2416430 w 6142647"/>
              <a:gd name="connsiteY2369" fmla="*/ 16 h 6407421"/>
              <a:gd name="connsiteX2370" fmla="*/ 2416430 w 6142647"/>
              <a:gd name="connsiteY2370" fmla="*/ 29618 h 6407421"/>
              <a:gd name="connsiteX2371" fmla="*/ 2386827 w 6142647"/>
              <a:gd name="connsiteY2371" fmla="*/ 29618 h 6407421"/>
              <a:gd name="connsiteX2372" fmla="*/ 2120630 w 6142647"/>
              <a:gd name="connsiteY2372" fmla="*/ 14 h 6407421"/>
              <a:gd name="connsiteX2373" fmla="*/ 2150233 w 6142647"/>
              <a:gd name="connsiteY2373" fmla="*/ 14 h 6407421"/>
              <a:gd name="connsiteX2374" fmla="*/ 2150233 w 6142647"/>
              <a:gd name="connsiteY2374" fmla="*/ 29616 h 6407421"/>
              <a:gd name="connsiteX2375" fmla="*/ 2120630 w 6142647"/>
              <a:gd name="connsiteY2375" fmla="*/ 29616 h 6407421"/>
              <a:gd name="connsiteX2376" fmla="*/ 1854540 w 6142647"/>
              <a:gd name="connsiteY2376" fmla="*/ 12 h 6407421"/>
              <a:gd name="connsiteX2377" fmla="*/ 1884143 w 6142647"/>
              <a:gd name="connsiteY2377" fmla="*/ 12 h 6407421"/>
              <a:gd name="connsiteX2378" fmla="*/ 1884143 w 6142647"/>
              <a:gd name="connsiteY2378" fmla="*/ 29614 h 6407421"/>
              <a:gd name="connsiteX2379" fmla="*/ 1854540 w 6142647"/>
              <a:gd name="connsiteY2379" fmla="*/ 29614 h 6407421"/>
              <a:gd name="connsiteX2380" fmla="*/ 1588343 w 6142647"/>
              <a:gd name="connsiteY2380" fmla="*/ 9 h 6407421"/>
              <a:gd name="connsiteX2381" fmla="*/ 1617945 w 6142647"/>
              <a:gd name="connsiteY2381" fmla="*/ 9 h 6407421"/>
              <a:gd name="connsiteX2382" fmla="*/ 1617945 w 6142647"/>
              <a:gd name="connsiteY2382" fmla="*/ 29612 h 6407421"/>
              <a:gd name="connsiteX2383" fmla="*/ 1588343 w 6142647"/>
              <a:gd name="connsiteY2383" fmla="*/ 29612 h 6407421"/>
              <a:gd name="connsiteX2384" fmla="*/ 1322254 w 6142647"/>
              <a:gd name="connsiteY2384" fmla="*/ 7 h 6407421"/>
              <a:gd name="connsiteX2385" fmla="*/ 1351857 w 6142647"/>
              <a:gd name="connsiteY2385" fmla="*/ 7 h 6407421"/>
              <a:gd name="connsiteX2386" fmla="*/ 1351857 w 6142647"/>
              <a:gd name="connsiteY2386" fmla="*/ 29609 h 6407421"/>
              <a:gd name="connsiteX2387" fmla="*/ 1322254 w 6142647"/>
              <a:gd name="connsiteY2387" fmla="*/ 29609 h 6407421"/>
              <a:gd name="connsiteX2388" fmla="*/ 1056057 w 6142647"/>
              <a:gd name="connsiteY2388" fmla="*/ 5 h 6407421"/>
              <a:gd name="connsiteX2389" fmla="*/ 1085660 w 6142647"/>
              <a:gd name="connsiteY2389" fmla="*/ 5 h 6407421"/>
              <a:gd name="connsiteX2390" fmla="*/ 1085660 w 6142647"/>
              <a:gd name="connsiteY2390" fmla="*/ 29607 h 6407421"/>
              <a:gd name="connsiteX2391" fmla="*/ 1056057 w 6142647"/>
              <a:gd name="connsiteY2391" fmla="*/ 29607 h 6407421"/>
              <a:gd name="connsiteX2392" fmla="*/ 789968 w 6142647"/>
              <a:gd name="connsiteY2392" fmla="*/ 2 h 6407421"/>
              <a:gd name="connsiteX2393" fmla="*/ 819570 w 6142647"/>
              <a:gd name="connsiteY2393" fmla="*/ 2 h 6407421"/>
              <a:gd name="connsiteX2394" fmla="*/ 819570 w 6142647"/>
              <a:gd name="connsiteY2394" fmla="*/ 29605 h 6407421"/>
              <a:gd name="connsiteX2395" fmla="*/ 789968 w 6142647"/>
              <a:gd name="connsiteY2395" fmla="*/ 29605 h 6407421"/>
              <a:gd name="connsiteX2396" fmla="*/ 523771 w 6142647"/>
              <a:gd name="connsiteY2396" fmla="*/ 0 h 6407421"/>
              <a:gd name="connsiteX2397" fmla="*/ 553373 w 6142647"/>
              <a:gd name="connsiteY2397" fmla="*/ 0 h 6407421"/>
              <a:gd name="connsiteX2398" fmla="*/ 553373 w 6142647"/>
              <a:gd name="connsiteY2398" fmla="*/ 29602 h 6407421"/>
              <a:gd name="connsiteX2399" fmla="*/ 523771 w 6142647"/>
              <a:gd name="connsiteY239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Lst>
            <a:rect l="l" t="t" r="r" b="b"/>
            <a:pathLst>
              <a:path w="6142647" h="6407421">
                <a:moveTo>
                  <a:pt x="6113045" y="6377925"/>
                </a:moveTo>
                <a:lnTo>
                  <a:pt x="6142647" y="6377925"/>
                </a:lnTo>
                <a:lnTo>
                  <a:pt x="6142647" y="6407421"/>
                </a:lnTo>
                <a:lnTo>
                  <a:pt x="6113045" y="6407421"/>
                </a:lnTo>
                <a:close/>
                <a:moveTo>
                  <a:pt x="5846848" y="6377925"/>
                </a:moveTo>
                <a:lnTo>
                  <a:pt x="5876450" y="6377925"/>
                </a:lnTo>
                <a:lnTo>
                  <a:pt x="5876450" y="6407421"/>
                </a:lnTo>
                <a:lnTo>
                  <a:pt x="5846848" y="6407421"/>
                </a:lnTo>
                <a:close/>
                <a:moveTo>
                  <a:pt x="5580759" y="6377925"/>
                </a:moveTo>
                <a:lnTo>
                  <a:pt x="5610361" y="6377925"/>
                </a:lnTo>
                <a:lnTo>
                  <a:pt x="5610361" y="6407421"/>
                </a:lnTo>
                <a:lnTo>
                  <a:pt x="5580759" y="6407421"/>
                </a:lnTo>
                <a:close/>
                <a:moveTo>
                  <a:pt x="5314562" y="6377925"/>
                </a:moveTo>
                <a:lnTo>
                  <a:pt x="5344164" y="6377925"/>
                </a:lnTo>
                <a:lnTo>
                  <a:pt x="5344164" y="6407421"/>
                </a:lnTo>
                <a:lnTo>
                  <a:pt x="5314562" y="6407421"/>
                </a:lnTo>
                <a:close/>
                <a:moveTo>
                  <a:pt x="5048365" y="6377925"/>
                </a:moveTo>
                <a:lnTo>
                  <a:pt x="5078075" y="6377925"/>
                </a:lnTo>
                <a:lnTo>
                  <a:pt x="5078075" y="6407421"/>
                </a:lnTo>
                <a:lnTo>
                  <a:pt x="5048365" y="6407421"/>
                </a:lnTo>
                <a:close/>
                <a:moveTo>
                  <a:pt x="4782276" y="6377925"/>
                </a:moveTo>
                <a:lnTo>
                  <a:pt x="4811879" y="6377925"/>
                </a:lnTo>
                <a:lnTo>
                  <a:pt x="4811879" y="6407421"/>
                </a:lnTo>
                <a:lnTo>
                  <a:pt x="4782276" y="6407421"/>
                </a:lnTo>
                <a:close/>
                <a:moveTo>
                  <a:pt x="4516079" y="6377925"/>
                </a:moveTo>
                <a:lnTo>
                  <a:pt x="4545681" y="6377925"/>
                </a:lnTo>
                <a:lnTo>
                  <a:pt x="4545681" y="6407421"/>
                </a:lnTo>
                <a:lnTo>
                  <a:pt x="4516079" y="6407421"/>
                </a:lnTo>
                <a:close/>
                <a:moveTo>
                  <a:pt x="4249990" y="6377925"/>
                </a:moveTo>
                <a:lnTo>
                  <a:pt x="4279592" y="6377925"/>
                </a:lnTo>
                <a:lnTo>
                  <a:pt x="4279592" y="6407421"/>
                </a:lnTo>
                <a:lnTo>
                  <a:pt x="4249990" y="6407421"/>
                </a:lnTo>
                <a:close/>
                <a:moveTo>
                  <a:pt x="3983793" y="6377925"/>
                </a:moveTo>
                <a:lnTo>
                  <a:pt x="4013396" y="6377925"/>
                </a:lnTo>
                <a:lnTo>
                  <a:pt x="4013396" y="6407421"/>
                </a:lnTo>
                <a:lnTo>
                  <a:pt x="3983793" y="6407421"/>
                </a:lnTo>
                <a:close/>
                <a:moveTo>
                  <a:pt x="3717704" y="6377925"/>
                </a:moveTo>
                <a:lnTo>
                  <a:pt x="3747307" y="6377925"/>
                </a:lnTo>
                <a:lnTo>
                  <a:pt x="3747307" y="6407421"/>
                </a:lnTo>
                <a:lnTo>
                  <a:pt x="3717704" y="6407421"/>
                </a:lnTo>
                <a:close/>
                <a:moveTo>
                  <a:pt x="3451507" y="6377925"/>
                </a:moveTo>
                <a:lnTo>
                  <a:pt x="3481109" y="6377925"/>
                </a:lnTo>
                <a:lnTo>
                  <a:pt x="3481109" y="6407421"/>
                </a:lnTo>
                <a:lnTo>
                  <a:pt x="3451507" y="6407421"/>
                </a:lnTo>
                <a:close/>
                <a:moveTo>
                  <a:pt x="3185310" y="6377925"/>
                </a:moveTo>
                <a:lnTo>
                  <a:pt x="3214913" y="6377925"/>
                </a:lnTo>
                <a:lnTo>
                  <a:pt x="3214913" y="6407421"/>
                </a:lnTo>
                <a:lnTo>
                  <a:pt x="3185310" y="6407421"/>
                </a:lnTo>
                <a:close/>
                <a:moveTo>
                  <a:pt x="2919113" y="6377925"/>
                </a:moveTo>
                <a:lnTo>
                  <a:pt x="2948715" y="6377925"/>
                </a:lnTo>
                <a:lnTo>
                  <a:pt x="2948715" y="6407421"/>
                </a:lnTo>
                <a:lnTo>
                  <a:pt x="2919113" y="6407421"/>
                </a:lnTo>
                <a:close/>
                <a:moveTo>
                  <a:pt x="2653024" y="6377925"/>
                </a:moveTo>
                <a:lnTo>
                  <a:pt x="2682627" y="6377925"/>
                </a:lnTo>
                <a:lnTo>
                  <a:pt x="2682627" y="6407421"/>
                </a:lnTo>
                <a:lnTo>
                  <a:pt x="2653024" y="6407421"/>
                </a:lnTo>
                <a:close/>
                <a:moveTo>
                  <a:pt x="2386827" y="6377925"/>
                </a:moveTo>
                <a:lnTo>
                  <a:pt x="2416430" y="6377925"/>
                </a:lnTo>
                <a:lnTo>
                  <a:pt x="2416430" y="6407421"/>
                </a:lnTo>
                <a:lnTo>
                  <a:pt x="2386827" y="6407421"/>
                </a:lnTo>
                <a:close/>
                <a:moveTo>
                  <a:pt x="2120630" y="6377925"/>
                </a:moveTo>
                <a:lnTo>
                  <a:pt x="2150233" y="6377925"/>
                </a:lnTo>
                <a:lnTo>
                  <a:pt x="2150233" y="6407421"/>
                </a:lnTo>
                <a:lnTo>
                  <a:pt x="2120630" y="6407421"/>
                </a:lnTo>
                <a:close/>
                <a:moveTo>
                  <a:pt x="1854540" y="6377925"/>
                </a:moveTo>
                <a:lnTo>
                  <a:pt x="1884143" y="6377925"/>
                </a:lnTo>
                <a:lnTo>
                  <a:pt x="1884143" y="6407421"/>
                </a:lnTo>
                <a:lnTo>
                  <a:pt x="1854540" y="6407421"/>
                </a:lnTo>
                <a:close/>
                <a:moveTo>
                  <a:pt x="1588343" y="6377925"/>
                </a:moveTo>
                <a:lnTo>
                  <a:pt x="1617945" y="6377925"/>
                </a:lnTo>
                <a:lnTo>
                  <a:pt x="1617945" y="6407421"/>
                </a:lnTo>
                <a:lnTo>
                  <a:pt x="1588343" y="6407421"/>
                </a:lnTo>
                <a:close/>
                <a:moveTo>
                  <a:pt x="1322254" y="6377925"/>
                </a:moveTo>
                <a:lnTo>
                  <a:pt x="1351857" y="6377925"/>
                </a:lnTo>
                <a:lnTo>
                  <a:pt x="1351857" y="6407421"/>
                </a:lnTo>
                <a:lnTo>
                  <a:pt x="1322254" y="6407421"/>
                </a:lnTo>
                <a:close/>
                <a:moveTo>
                  <a:pt x="1056057" y="6377925"/>
                </a:moveTo>
                <a:lnTo>
                  <a:pt x="1085660" y="6377925"/>
                </a:lnTo>
                <a:lnTo>
                  <a:pt x="1085660" y="6407421"/>
                </a:lnTo>
                <a:lnTo>
                  <a:pt x="1056057" y="6407421"/>
                </a:lnTo>
                <a:close/>
                <a:moveTo>
                  <a:pt x="789968" y="6377925"/>
                </a:moveTo>
                <a:lnTo>
                  <a:pt x="819570" y="6377925"/>
                </a:lnTo>
                <a:lnTo>
                  <a:pt x="819570" y="6407421"/>
                </a:lnTo>
                <a:lnTo>
                  <a:pt x="789968" y="6407421"/>
                </a:lnTo>
                <a:close/>
                <a:moveTo>
                  <a:pt x="523771" y="6377925"/>
                </a:moveTo>
                <a:lnTo>
                  <a:pt x="553373" y="6377925"/>
                </a:lnTo>
                <a:lnTo>
                  <a:pt x="553373" y="6407421"/>
                </a:lnTo>
                <a:lnTo>
                  <a:pt x="523771" y="6407421"/>
                </a:lnTo>
                <a:close/>
                <a:moveTo>
                  <a:pt x="266197" y="6377925"/>
                </a:moveTo>
                <a:lnTo>
                  <a:pt x="295800" y="6377925"/>
                </a:lnTo>
                <a:lnTo>
                  <a:pt x="295800" y="6407421"/>
                </a:lnTo>
                <a:lnTo>
                  <a:pt x="266197" y="6407421"/>
                </a:lnTo>
                <a:close/>
                <a:moveTo>
                  <a:pt x="0" y="6377925"/>
                </a:moveTo>
                <a:lnTo>
                  <a:pt x="29602" y="6377925"/>
                </a:lnTo>
                <a:lnTo>
                  <a:pt x="29602" y="6407421"/>
                </a:lnTo>
                <a:lnTo>
                  <a:pt x="0" y="6407421"/>
                </a:lnTo>
                <a:close/>
                <a:moveTo>
                  <a:pt x="6113045" y="6112161"/>
                </a:moveTo>
                <a:lnTo>
                  <a:pt x="6142647" y="6112161"/>
                </a:lnTo>
                <a:lnTo>
                  <a:pt x="6142647" y="6141763"/>
                </a:lnTo>
                <a:lnTo>
                  <a:pt x="6113045" y="6141763"/>
                </a:lnTo>
                <a:close/>
                <a:moveTo>
                  <a:pt x="5846848" y="6112161"/>
                </a:moveTo>
                <a:lnTo>
                  <a:pt x="5876450" y="6112161"/>
                </a:lnTo>
                <a:lnTo>
                  <a:pt x="5876450" y="6141763"/>
                </a:lnTo>
                <a:lnTo>
                  <a:pt x="5846848" y="6141763"/>
                </a:lnTo>
                <a:close/>
                <a:moveTo>
                  <a:pt x="5580759" y="6112161"/>
                </a:moveTo>
                <a:lnTo>
                  <a:pt x="5610361" y="6112161"/>
                </a:lnTo>
                <a:lnTo>
                  <a:pt x="5610361" y="6141763"/>
                </a:lnTo>
                <a:lnTo>
                  <a:pt x="5580759" y="6141763"/>
                </a:lnTo>
                <a:close/>
                <a:moveTo>
                  <a:pt x="5314562" y="6112161"/>
                </a:moveTo>
                <a:lnTo>
                  <a:pt x="5344164" y="6112161"/>
                </a:lnTo>
                <a:lnTo>
                  <a:pt x="5344164" y="6141763"/>
                </a:lnTo>
                <a:lnTo>
                  <a:pt x="5314562" y="6141763"/>
                </a:lnTo>
                <a:close/>
                <a:moveTo>
                  <a:pt x="5048365" y="6112161"/>
                </a:moveTo>
                <a:lnTo>
                  <a:pt x="5078075" y="6112161"/>
                </a:lnTo>
                <a:lnTo>
                  <a:pt x="5078075" y="6141763"/>
                </a:lnTo>
                <a:lnTo>
                  <a:pt x="5048365" y="6141763"/>
                </a:lnTo>
                <a:close/>
                <a:moveTo>
                  <a:pt x="4782276" y="6112161"/>
                </a:moveTo>
                <a:lnTo>
                  <a:pt x="4811879" y="6112161"/>
                </a:lnTo>
                <a:lnTo>
                  <a:pt x="4811879" y="6141763"/>
                </a:lnTo>
                <a:lnTo>
                  <a:pt x="4782276" y="6141763"/>
                </a:lnTo>
                <a:close/>
                <a:moveTo>
                  <a:pt x="4516079" y="6112161"/>
                </a:moveTo>
                <a:lnTo>
                  <a:pt x="4545681" y="6112161"/>
                </a:lnTo>
                <a:lnTo>
                  <a:pt x="4545681" y="6141763"/>
                </a:lnTo>
                <a:lnTo>
                  <a:pt x="4516079" y="6141763"/>
                </a:lnTo>
                <a:close/>
                <a:moveTo>
                  <a:pt x="4249990" y="6112161"/>
                </a:moveTo>
                <a:lnTo>
                  <a:pt x="4279592" y="6112161"/>
                </a:lnTo>
                <a:lnTo>
                  <a:pt x="4279592" y="6141763"/>
                </a:lnTo>
                <a:lnTo>
                  <a:pt x="4249990" y="6141763"/>
                </a:lnTo>
                <a:close/>
                <a:moveTo>
                  <a:pt x="3983793" y="6112161"/>
                </a:moveTo>
                <a:lnTo>
                  <a:pt x="4013396" y="6112161"/>
                </a:lnTo>
                <a:lnTo>
                  <a:pt x="4013396" y="6141763"/>
                </a:lnTo>
                <a:lnTo>
                  <a:pt x="3983793" y="6141763"/>
                </a:lnTo>
                <a:close/>
                <a:moveTo>
                  <a:pt x="3717704" y="6112161"/>
                </a:moveTo>
                <a:lnTo>
                  <a:pt x="3747307" y="6112161"/>
                </a:lnTo>
                <a:lnTo>
                  <a:pt x="3747307" y="6141763"/>
                </a:lnTo>
                <a:lnTo>
                  <a:pt x="3717704" y="6141763"/>
                </a:lnTo>
                <a:close/>
                <a:moveTo>
                  <a:pt x="3451507" y="6112161"/>
                </a:moveTo>
                <a:lnTo>
                  <a:pt x="3481109" y="6112161"/>
                </a:lnTo>
                <a:lnTo>
                  <a:pt x="3481109" y="6141763"/>
                </a:lnTo>
                <a:lnTo>
                  <a:pt x="3451507" y="6141763"/>
                </a:lnTo>
                <a:close/>
                <a:moveTo>
                  <a:pt x="3185310" y="6112161"/>
                </a:moveTo>
                <a:lnTo>
                  <a:pt x="3214913" y="6112161"/>
                </a:lnTo>
                <a:lnTo>
                  <a:pt x="3214913" y="6141763"/>
                </a:lnTo>
                <a:lnTo>
                  <a:pt x="3185310" y="6141763"/>
                </a:lnTo>
                <a:close/>
                <a:moveTo>
                  <a:pt x="2919113" y="6112161"/>
                </a:moveTo>
                <a:lnTo>
                  <a:pt x="2948715" y="6112161"/>
                </a:lnTo>
                <a:lnTo>
                  <a:pt x="2948715" y="6141763"/>
                </a:lnTo>
                <a:lnTo>
                  <a:pt x="2919113" y="6141763"/>
                </a:lnTo>
                <a:close/>
                <a:moveTo>
                  <a:pt x="2653024" y="6112161"/>
                </a:moveTo>
                <a:lnTo>
                  <a:pt x="2682627" y="6112161"/>
                </a:lnTo>
                <a:lnTo>
                  <a:pt x="2682627" y="6141763"/>
                </a:lnTo>
                <a:lnTo>
                  <a:pt x="2653024" y="6141763"/>
                </a:lnTo>
                <a:close/>
                <a:moveTo>
                  <a:pt x="2386827" y="6112161"/>
                </a:moveTo>
                <a:lnTo>
                  <a:pt x="2416430" y="6112161"/>
                </a:lnTo>
                <a:lnTo>
                  <a:pt x="2416430" y="6141763"/>
                </a:lnTo>
                <a:lnTo>
                  <a:pt x="2386827" y="6141763"/>
                </a:lnTo>
                <a:close/>
                <a:moveTo>
                  <a:pt x="2120630" y="6112161"/>
                </a:moveTo>
                <a:lnTo>
                  <a:pt x="2150233" y="6112161"/>
                </a:lnTo>
                <a:lnTo>
                  <a:pt x="2150233" y="6141763"/>
                </a:lnTo>
                <a:lnTo>
                  <a:pt x="2120630" y="6141763"/>
                </a:lnTo>
                <a:close/>
                <a:moveTo>
                  <a:pt x="1854540" y="6112161"/>
                </a:moveTo>
                <a:lnTo>
                  <a:pt x="1884143" y="6112161"/>
                </a:lnTo>
                <a:lnTo>
                  <a:pt x="1884143" y="6141763"/>
                </a:lnTo>
                <a:lnTo>
                  <a:pt x="1854540" y="6141763"/>
                </a:lnTo>
                <a:close/>
                <a:moveTo>
                  <a:pt x="1588343" y="6112161"/>
                </a:moveTo>
                <a:lnTo>
                  <a:pt x="1617945" y="6112161"/>
                </a:lnTo>
                <a:lnTo>
                  <a:pt x="1617945" y="6141763"/>
                </a:lnTo>
                <a:lnTo>
                  <a:pt x="1588343" y="6141763"/>
                </a:lnTo>
                <a:close/>
                <a:moveTo>
                  <a:pt x="1322254" y="6112161"/>
                </a:moveTo>
                <a:lnTo>
                  <a:pt x="1351857" y="6112161"/>
                </a:lnTo>
                <a:lnTo>
                  <a:pt x="1351857" y="6141763"/>
                </a:lnTo>
                <a:lnTo>
                  <a:pt x="1322254" y="6141763"/>
                </a:lnTo>
                <a:close/>
                <a:moveTo>
                  <a:pt x="1056057" y="6112161"/>
                </a:moveTo>
                <a:lnTo>
                  <a:pt x="1085660" y="6112161"/>
                </a:lnTo>
                <a:lnTo>
                  <a:pt x="1085660" y="6141763"/>
                </a:lnTo>
                <a:lnTo>
                  <a:pt x="1056057" y="6141763"/>
                </a:lnTo>
                <a:close/>
                <a:moveTo>
                  <a:pt x="789968" y="6112161"/>
                </a:moveTo>
                <a:lnTo>
                  <a:pt x="819570" y="6112161"/>
                </a:lnTo>
                <a:lnTo>
                  <a:pt x="819570" y="6141763"/>
                </a:lnTo>
                <a:lnTo>
                  <a:pt x="789968" y="6141763"/>
                </a:lnTo>
                <a:close/>
                <a:moveTo>
                  <a:pt x="523771" y="6112161"/>
                </a:moveTo>
                <a:lnTo>
                  <a:pt x="553373" y="6112161"/>
                </a:lnTo>
                <a:lnTo>
                  <a:pt x="553373" y="6141763"/>
                </a:lnTo>
                <a:lnTo>
                  <a:pt x="523771" y="6141763"/>
                </a:lnTo>
                <a:close/>
                <a:moveTo>
                  <a:pt x="266197" y="6112161"/>
                </a:moveTo>
                <a:lnTo>
                  <a:pt x="295800" y="6112161"/>
                </a:lnTo>
                <a:lnTo>
                  <a:pt x="295800" y="6141763"/>
                </a:lnTo>
                <a:lnTo>
                  <a:pt x="266197" y="6141763"/>
                </a:lnTo>
                <a:close/>
                <a:moveTo>
                  <a:pt x="0" y="6112161"/>
                </a:moveTo>
                <a:lnTo>
                  <a:pt x="29602" y="6112161"/>
                </a:lnTo>
                <a:lnTo>
                  <a:pt x="29602" y="6141763"/>
                </a:lnTo>
                <a:lnTo>
                  <a:pt x="0" y="6141763"/>
                </a:lnTo>
                <a:close/>
                <a:moveTo>
                  <a:pt x="6113045" y="5846396"/>
                </a:moveTo>
                <a:lnTo>
                  <a:pt x="6142647" y="5846396"/>
                </a:lnTo>
                <a:lnTo>
                  <a:pt x="6142647" y="5875998"/>
                </a:lnTo>
                <a:lnTo>
                  <a:pt x="6113045" y="5875998"/>
                </a:lnTo>
                <a:close/>
                <a:moveTo>
                  <a:pt x="5846848" y="5846396"/>
                </a:moveTo>
                <a:lnTo>
                  <a:pt x="5876450" y="5846396"/>
                </a:lnTo>
                <a:lnTo>
                  <a:pt x="5876450" y="5875998"/>
                </a:lnTo>
                <a:lnTo>
                  <a:pt x="5846848" y="5875998"/>
                </a:lnTo>
                <a:close/>
                <a:moveTo>
                  <a:pt x="5580759" y="5846396"/>
                </a:moveTo>
                <a:lnTo>
                  <a:pt x="5610361" y="5846396"/>
                </a:lnTo>
                <a:lnTo>
                  <a:pt x="5610361" y="5875998"/>
                </a:lnTo>
                <a:lnTo>
                  <a:pt x="5580759" y="5875998"/>
                </a:lnTo>
                <a:close/>
                <a:moveTo>
                  <a:pt x="5314562" y="5846396"/>
                </a:moveTo>
                <a:lnTo>
                  <a:pt x="5344164" y="5846396"/>
                </a:lnTo>
                <a:lnTo>
                  <a:pt x="5344164" y="5875998"/>
                </a:lnTo>
                <a:lnTo>
                  <a:pt x="5314562" y="5875998"/>
                </a:lnTo>
                <a:close/>
                <a:moveTo>
                  <a:pt x="5048365" y="5846396"/>
                </a:moveTo>
                <a:lnTo>
                  <a:pt x="5078075" y="5846396"/>
                </a:lnTo>
                <a:lnTo>
                  <a:pt x="5078075" y="5875998"/>
                </a:lnTo>
                <a:lnTo>
                  <a:pt x="5048365" y="5875998"/>
                </a:lnTo>
                <a:close/>
                <a:moveTo>
                  <a:pt x="4782276" y="5846396"/>
                </a:moveTo>
                <a:lnTo>
                  <a:pt x="4811879" y="5846396"/>
                </a:lnTo>
                <a:lnTo>
                  <a:pt x="4811879" y="5875998"/>
                </a:lnTo>
                <a:lnTo>
                  <a:pt x="4782276" y="5875998"/>
                </a:lnTo>
                <a:close/>
                <a:moveTo>
                  <a:pt x="4516079" y="5846396"/>
                </a:moveTo>
                <a:lnTo>
                  <a:pt x="4545681" y="5846396"/>
                </a:lnTo>
                <a:lnTo>
                  <a:pt x="4545681" y="5875998"/>
                </a:lnTo>
                <a:lnTo>
                  <a:pt x="4516079" y="5875998"/>
                </a:lnTo>
                <a:close/>
                <a:moveTo>
                  <a:pt x="4249990" y="5846396"/>
                </a:moveTo>
                <a:lnTo>
                  <a:pt x="4279592" y="5846396"/>
                </a:lnTo>
                <a:lnTo>
                  <a:pt x="4279592" y="5875998"/>
                </a:lnTo>
                <a:lnTo>
                  <a:pt x="4249990" y="5875998"/>
                </a:lnTo>
                <a:close/>
                <a:moveTo>
                  <a:pt x="3983793" y="5846396"/>
                </a:moveTo>
                <a:lnTo>
                  <a:pt x="4013396" y="5846396"/>
                </a:lnTo>
                <a:lnTo>
                  <a:pt x="4013396" y="5875998"/>
                </a:lnTo>
                <a:lnTo>
                  <a:pt x="3983793" y="5875998"/>
                </a:lnTo>
                <a:close/>
                <a:moveTo>
                  <a:pt x="3717704" y="5846396"/>
                </a:moveTo>
                <a:lnTo>
                  <a:pt x="3747307" y="5846396"/>
                </a:lnTo>
                <a:lnTo>
                  <a:pt x="3747307" y="5875998"/>
                </a:lnTo>
                <a:lnTo>
                  <a:pt x="3717704" y="5875998"/>
                </a:lnTo>
                <a:close/>
                <a:moveTo>
                  <a:pt x="3451507" y="5846396"/>
                </a:moveTo>
                <a:lnTo>
                  <a:pt x="3481109" y="5846396"/>
                </a:lnTo>
                <a:lnTo>
                  <a:pt x="3481109" y="5875998"/>
                </a:lnTo>
                <a:lnTo>
                  <a:pt x="3451507" y="5875998"/>
                </a:lnTo>
                <a:close/>
                <a:moveTo>
                  <a:pt x="3185310" y="5846396"/>
                </a:moveTo>
                <a:lnTo>
                  <a:pt x="3214913" y="5846396"/>
                </a:lnTo>
                <a:lnTo>
                  <a:pt x="3214913" y="5875998"/>
                </a:lnTo>
                <a:lnTo>
                  <a:pt x="3185310" y="5875998"/>
                </a:lnTo>
                <a:close/>
                <a:moveTo>
                  <a:pt x="2919113" y="5846396"/>
                </a:moveTo>
                <a:lnTo>
                  <a:pt x="2948715" y="5846396"/>
                </a:lnTo>
                <a:lnTo>
                  <a:pt x="2948715" y="5875998"/>
                </a:lnTo>
                <a:lnTo>
                  <a:pt x="2919113" y="5875998"/>
                </a:lnTo>
                <a:close/>
                <a:moveTo>
                  <a:pt x="2653024" y="5846396"/>
                </a:moveTo>
                <a:lnTo>
                  <a:pt x="2682627" y="5846396"/>
                </a:lnTo>
                <a:lnTo>
                  <a:pt x="2682627" y="5875998"/>
                </a:lnTo>
                <a:lnTo>
                  <a:pt x="2653024" y="5875998"/>
                </a:lnTo>
                <a:close/>
                <a:moveTo>
                  <a:pt x="2386827" y="5846396"/>
                </a:moveTo>
                <a:lnTo>
                  <a:pt x="2416430" y="5846396"/>
                </a:lnTo>
                <a:lnTo>
                  <a:pt x="2416430" y="5875998"/>
                </a:lnTo>
                <a:lnTo>
                  <a:pt x="2386827" y="5875998"/>
                </a:lnTo>
                <a:close/>
                <a:moveTo>
                  <a:pt x="2120630" y="5846396"/>
                </a:moveTo>
                <a:lnTo>
                  <a:pt x="2150233" y="5846396"/>
                </a:lnTo>
                <a:lnTo>
                  <a:pt x="2150233" y="5875998"/>
                </a:lnTo>
                <a:lnTo>
                  <a:pt x="2120630" y="5875998"/>
                </a:lnTo>
                <a:close/>
                <a:moveTo>
                  <a:pt x="1854540" y="5846396"/>
                </a:moveTo>
                <a:lnTo>
                  <a:pt x="1884143" y="5846396"/>
                </a:lnTo>
                <a:lnTo>
                  <a:pt x="1884143" y="5875998"/>
                </a:lnTo>
                <a:lnTo>
                  <a:pt x="1854540" y="5875998"/>
                </a:lnTo>
                <a:close/>
                <a:moveTo>
                  <a:pt x="1588343" y="5846396"/>
                </a:moveTo>
                <a:lnTo>
                  <a:pt x="1617945" y="5846396"/>
                </a:lnTo>
                <a:lnTo>
                  <a:pt x="1617945" y="5875998"/>
                </a:lnTo>
                <a:lnTo>
                  <a:pt x="1588343" y="5875998"/>
                </a:lnTo>
                <a:close/>
                <a:moveTo>
                  <a:pt x="1322254" y="5846396"/>
                </a:moveTo>
                <a:lnTo>
                  <a:pt x="1351857" y="5846396"/>
                </a:lnTo>
                <a:lnTo>
                  <a:pt x="1351857" y="5875998"/>
                </a:lnTo>
                <a:lnTo>
                  <a:pt x="1322254" y="5875998"/>
                </a:lnTo>
                <a:close/>
                <a:moveTo>
                  <a:pt x="1056057" y="5846396"/>
                </a:moveTo>
                <a:lnTo>
                  <a:pt x="1085660" y="5846396"/>
                </a:lnTo>
                <a:lnTo>
                  <a:pt x="1085660" y="5875998"/>
                </a:lnTo>
                <a:lnTo>
                  <a:pt x="1056057" y="5875998"/>
                </a:lnTo>
                <a:close/>
                <a:moveTo>
                  <a:pt x="789968" y="5846396"/>
                </a:moveTo>
                <a:lnTo>
                  <a:pt x="819570" y="5846396"/>
                </a:lnTo>
                <a:lnTo>
                  <a:pt x="819570" y="5875998"/>
                </a:lnTo>
                <a:lnTo>
                  <a:pt x="789968" y="5875998"/>
                </a:lnTo>
                <a:close/>
                <a:moveTo>
                  <a:pt x="523771" y="5846396"/>
                </a:moveTo>
                <a:lnTo>
                  <a:pt x="553373" y="5846396"/>
                </a:lnTo>
                <a:lnTo>
                  <a:pt x="553373" y="5875998"/>
                </a:lnTo>
                <a:lnTo>
                  <a:pt x="523771" y="5875998"/>
                </a:lnTo>
                <a:close/>
                <a:moveTo>
                  <a:pt x="266197" y="5846396"/>
                </a:moveTo>
                <a:lnTo>
                  <a:pt x="295800" y="5846396"/>
                </a:lnTo>
                <a:lnTo>
                  <a:pt x="295800" y="5875998"/>
                </a:lnTo>
                <a:lnTo>
                  <a:pt x="266197" y="5875998"/>
                </a:lnTo>
                <a:close/>
                <a:moveTo>
                  <a:pt x="0" y="5846396"/>
                </a:moveTo>
                <a:lnTo>
                  <a:pt x="29602" y="5846396"/>
                </a:lnTo>
                <a:lnTo>
                  <a:pt x="29602" y="5875998"/>
                </a:lnTo>
                <a:lnTo>
                  <a:pt x="0" y="5875998"/>
                </a:lnTo>
                <a:close/>
                <a:moveTo>
                  <a:pt x="6113045" y="5580631"/>
                </a:moveTo>
                <a:lnTo>
                  <a:pt x="6142647" y="5580631"/>
                </a:lnTo>
                <a:lnTo>
                  <a:pt x="6142647" y="5610233"/>
                </a:lnTo>
                <a:lnTo>
                  <a:pt x="6113045" y="5610233"/>
                </a:lnTo>
                <a:close/>
                <a:moveTo>
                  <a:pt x="5846848" y="5580631"/>
                </a:moveTo>
                <a:lnTo>
                  <a:pt x="5876450" y="5580631"/>
                </a:lnTo>
                <a:lnTo>
                  <a:pt x="5876450" y="5610233"/>
                </a:lnTo>
                <a:lnTo>
                  <a:pt x="5846848" y="5610233"/>
                </a:lnTo>
                <a:close/>
                <a:moveTo>
                  <a:pt x="5580759" y="5580631"/>
                </a:moveTo>
                <a:lnTo>
                  <a:pt x="5610361" y="5580631"/>
                </a:lnTo>
                <a:lnTo>
                  <a:pt x="5610361" y="5610233"/>
                </a:lnTo>
                <a:lnTo>
                  <a:pt x="5580759" y="5610233"/>
                </a:lnTo>
                <a:close/>
                <a:moveTo>
                  <a:pt x="5314562" y="5580631"/>
                </a:moveTo>
                <a:lnTo>
                  <a:pt x="5344164" y="5580631"/>
                </a:lnTo>
                <a:lnTo>
                  <a:pt x="5344164" y="5610233"/>
                </a:lnTo>
                <a:lnTo>
                  <a:pt x="5314562" y="5610233"/>
                </a:lnTo>
                <a:close/>
                <a:moveTo>
                  <a:pt x="5048365" y="5580631"/>
                </a:moveTo>
                <a:lnTo>
                  <a:pt x="5078075" y="5580631"/>
                </a:lnTo>
                <a:lnTo>
                  <a:pt x="5078075" y="5610233"/>
                </a:lnTo>
                <a:lnTo>
                  <a:pt x="5048365" y="5610233"/>
                </a:lnTo>
                <a:close/>
                <a:moveTo>
                  <a:pt x="4782276" y="5580631"/>
                </a:moveTo>
                <a:lnTo>
                  <a:pt x="4811879" y="5580631"/>
                </a:lnTo>
                <a:lnTo>
                  <a:pt x="4811879" y="5610233"/>
                </a:lnTo>
                <a:lnTo>
                  <a:pt x="4782276" y="5610233"/>
                </a:lnTo>
                <a:close/>
                <a:moveTo>
                  <a:pt x="4516079" y="5580631"/>
                </a:moveTo>
                <a:lnTo>
                  <a:pt x="4545681" y="5580631"/>
                </a:lnTo>
                <a:lnTo>
                  <a:pt x="4545681" y="5610233"/>
                </a:lnTo>
                <a:lnTo>
                  <a:pt x="4516079" y="5610233"/>
                </a:lnTo>
                <a:close/>
                <a:moveTo>
                  <a:pt x="4249990" y="5580631"/>
                </a:moveTo>
                <a:lnTo>
                  <a:pt x="4279592" y="5580631"/>
                </a:lnTo>
                <a:lnTo>
                  <a:pt x="4279592" y="5610233"/>
                </a:lnTo>
                <a:lnTo>
                  <a:pt x="4249990" y="5610233"/>
                </a:lnTo>
                <a:close/>
                <a:moveTo>
                  <a:pt x="3983793" y="5580631"/>
                </a:moveTo>
                <a:lnTo>
                  <a:pt x="4013396" y="5580631"/>
                </a:lnTo>
                <a:lnTo>
                  <a:pt x="4013396" y="5610233"/>
                </a:lnTo>
                <a:lnTo>
                  <a:pt x="3983793" y="5610233"/>
                </a:lnTo>
                <a:close/>
                <a:moveTo>
                  <a:pt x="3717704" y="5580631"/>
                </a:moveTo>
                <a:lnTo>
                  <a:pt x="3747307" y="5580631"/>
                </a:lnTo>
                <a:lnTo>
                  <a:pt x="3747307" y="5610233"/>
                </a:lnTo>
                <a:lnTo>
                  <a:pt x="3717704" y="5610233"/>
                </a:lnTo>
                <a:close/>
                <a:moveTo>
                  <a:pt x="3451507" y="5580631"/>
                </a:moveTo>
                <a:lnTo>
                  <a:pt x="3481109" y="5580631"/>
                </a:lnTo>
                <a:lnTo>
                  <a:pt x="3481109" y="5610233"/>
                </a:lnTo>
                <a:lnTo>
                  <a:pt x="3451507" y="5610233"/>
                </a:lnTo>
                <a:close/>
                <a:moveTo>
                  <a:pt x="3185310" y="5580631"/>
                </a:moveTo>
                <a:lnTo>
                  <a:pt x="3214913" y="5580631"/>
                </a:lnTo>
                <a:lnTo>
                  <a:pt x="3214913" y="5610233"/>
                </a:lnTo>
                <a:lnTo>
                  <a:pt x="3185310" y="5610233"/>
                </a:lnTo>
                <a:close/>
                <a:moveTo>
                  <a:pt x="2919113" y="5580631"/>
                </a:moveTo>
                <a:lnTo>
                  <a:pt x="2948715" y="5580631"/>
                </a:lnTo>
                <a:lnTo>
                  <a:pt x="2948715" y="5610233"/>
                </a:lnTo>
                <a:lnTo>
                  <a:pt x="2919113" y="5610233"/>
                </a:lnTo>
                <a:close/>
                <a:moveTo>
                  <a:pt x="2653024" y="5580631"/>
                </a:moveTo>
                <a:lnTo>
                  <a:pt x="2682627" y="5580631"/>
                </a:lnTo>
                <a:lnTo>
                  <a:pt x="2682627" y="5610233"/>
                </a:lnTo>
                <a:lnTo>
                  <a:pt x="2653024" y="5610233"/>
                </a:lnTo>
                <a:close/>
                <a:moveTo>
                  <a:pt x="2386827" y="5580631"/>
                </a:moveTo>
                <a:lnTo>
                  <a:pt x="2416430" y="5580631"/>
                </a:lnTo>
                <a:lnTo>
                  <a:pt x="2416430" y="5610233"/>
                </a:lnTo>
                <a:lnTo>
                  <a:pt x="2386827" y="5610233"/>
                </a:lnTo>
                <a:close/>
                <a:moveTo>
                  <a:pt x="2120630" y="5580631"/>
                </a:moveTo>
                <a:lnTo>
                  <a:pt x="2150233" y="5580631"/>
                </a:lnTo>
                <a:lnTo>
                  <a:pt x="2150233" y="5610233"/>
                </a:lnTo>
                <a:lnTo>
                  <a:pt x="2120630" y="5610233"/>
                </a:lnTo>
                <a:close/>
                <a:moveTo>
                  <a:pt x="1854540" y="5580631"/>
                </a:moveTo>
                <a:lnTo>
                  <a:pt x="1884143" y="5580631"/>
                </a:lnTo>
                <a:lnTo>
                  <a:pt x="1884143" y="5610233"/>
                </a:lnTo>
                <a:lnTo>
                  <a:pt x="1854540" y="5610233"/>
                </a:lnTo>
                <a:close/>
                <a:moveTo>
                  <a:pt x="1588343" y="5580631"/>
                </a:moveTo>
                <a:lnTo>
                  <a:pt x="1617945" y="5580631"/>
                </a:lnTo>
                <a:lnTo>
                  <a:pt x="1617945" y="5610233"/>
                </a:lnTo>
                <a:lnTo>
                  <a:pt x="1588343" y="5610233"/>
                </a:lnTo>
                <a:close/>
                <a:moveTo>
                  <a:pt x="1322254" y="5580631"/>
                </a:moveTo>
                <a:lnTo>
                  <a:pt x="1351857" y="5580631"/>
                </a:lnTo>
                <a:lnTo>
                  <a:pt x="1351857" y="5610233"/>
                </a:lnTo>
                <a:lnTo>
                  <a:pt x="1322254" y="5610233"/>
                </a:lnTo>
                <a:close/>
                <a:moveTo>
                  <a:pt x="1056057" y="5580631"/>
                </a:moveTo>
                <a:lnTo>
                  <a:pt x="1085660" y="5580631"/>
                </a:lnTo>
                <a:lnTo>
                  <a:pt x="1085660" y="5610233"/>
                </a:lnTo>
                <a:lnTo>
                  <a:pt x="1056057" y="5610233"/>
                </a:lnTo>
                <a:close/>
                <a:moveTo>
                  <a:pt x="789968" y="5580631"/>
                </a:moveTo>
                <a:lnTo>
                  <a:pt x="819570" y="5580631"/>
                </a:lnTo>
                <a:lnTo>
                  <a:pt x="819570" y="5610233"/>
                </a:lnTo>
                <a:lnTo>
                  <a:pt x="789968" y="5610233"/>
                </a:lnTo>
                <a:close/>
                <a:moveTo>
                  <a:pt x="523771" y="5580631"/>
                </a:moveTo>
                <a:lnTo>
                  <a:pt x="553373" y="5580631"/>
                </a:lnTo>
                <a:lnTo>
                  <a:pt x="553373" y="5610233"/>
                </a:lnTo>
                <a:lnTo>
                  <a:pt x="523771" y="5610233"/>
                </a:lnTo>
                <a:close/>
                <a:moveTo>
                  <a:pt x="266197" y="5580631"/>
                </a:moveTo>
                <a:lnTo>
                  <a:pt x="295800" y="5580631"/>
                </a:lnTo>
                <a:lnTo>
                  <a:pt x="295800" y="5610233"/>
                </a:lnTo>
                <a:lnTo>
                  <a:pt x="266197" y="5610233"/>
                </a:lnTo>
                <a:close/>
                <a:moveTo>
                  <a:pt x="0" y="5580631"/>
                </a:moveTo>
                <a:lnTo>
                  <a:pt x="29602" y="5580631"/>
                </a:lnTo>
                <a:lnTo>
                  <a:pt x="29602" y="5610233"/>
                </a:lnTo>
                <a:lnTo>
                  <a:pt x="0" y="5610233"/>
                </a:lnTo>
                <a:close/>
                <a:moveTo>
                  <a:pt x="6113045" y="5314974"/>
                </a:moveTo>
                <a:lnTo>
                  <a:pt x="6142647" y="5314974"/>
                </a:lnTo>
                <a:lnTo>
                  <a:pt x="6142647" y="5344468"/>
                </a:lnTo>
                <a:lnTo>
                  <a:pt x="6113045" y="5344468"/>
                </a:lnTo>
                <a:close/>
                <a:moveTo>
                  <a:pt x="5846848" y="5314974"/>
                </a:moveTo>
                <a:lnTo>
                  <a:pt x="5876450" y="5314974"/>
                </a:lnTo>
                <a:lnTo>
                  <a:pt x="5876450" y="5344468"/>
                </a:lnTo>
                <a:lnTo>
                  <a:pt x="5846848" y="5344468"/>
                </a:lnTo>
                <a:close/>
                <a:moveTo>
                  <a:pt x="5580759" y="5314974"/>
                </a:moveTo>
                <a:lnTo>
                  <a:pt x="5610361" y="5314974"/>
                </a:lnTo>
                <a:lnTo>
                  <a:pt x="5610361" y="5344468"/>
                </a:lnTo>
                <a:lnTo>
                  <a:pt x="5580759" y="5344468"/>
                </a:lnTo>
                <a:close/>
                <a:moveTo>
                  <a:pt x="5314562" y="5314974"/>
                </a:moveTo>
                <a:lnTo>
                  <a:pt x="5344164" y="5314974"/>
                </a:lnTo>
                <a:lnTo>
                  <a:pt x="5344164" y="5344468"/>
                </a:lnTo>
                <a:lnTo>
                  <a:pt x="5314562" y="5344468"/>
                </a:lnTo>
                <a:close/>
                <a:moveTo>
                  <a:pt x="5048365" y="5314974"/>
                </a:moveTo>
                <a:lnTo>
                  <a:pt x="5078075" y="5314974"/>
                </a:lnTo>
                <a:lnTo>
                  <a:pt x="5078075" y="5344468"/>
                </a:lnTo>
                <a:lnTo>
                  <a:pt x="5048365" y="5344468"/>
                </a:lnTo>
                <a:close/>
                <a:moveTo>
                  <a:pt x="4782276" y="5314974"/>
                </a:moveTo>
                <a:lnTo>
                  <a:pt x="4811879" y="5314974"/>
                </a:lnTo>
                <a:lnTo>
                  <a:pt x="4811879" y="5344468"/>
                </a:lnTo>
                <a:lnTo>
                  <a:pt x="4782276" y="5344468"/>
                </a:lnTo>
                <a:close/>
                <a:moveTo>
                  <a:pt x="4516079" y="5314974"/>
                </a:moveTo>
                <a:lnTo>
                  <a:pt x="4545681" y="5314974"/>
                </a:lnTo>
                <a:lnTo>
                  <a:pt x="4545681" y="5344468"/>
                </a:lnTo>
                <a:lnTo>
                  <a:pt x="4516079" y="5344468"/>
                </a:lnTo>
                <a:close/>
                <a:moveTo>
                  <a:pt x="4249990" y="5314974"/>
                </a:moveTo>
                <a:lnTo>
                  <a:pt x="4279592" y="5314974"/>
                </a:lnTo>
                <a:lnTo>
                  <a:pt x="4279592" y="5344468"/>
                </a:lnTo>
                <a:lnTo>
                  <a:pt x="4249990" y="5344468"/>
                </a:lnTo>
                <a:close/>
                <a:moveTo>
                  <a:pt x="3983793" y="5314974"/>
                </a:moveTo>
                <a:lnTo>
                  <a:pt x="4013396" y="5314974"/>
                </a:lnTo>
                <a:lnTo>
                  <a:pt x="4013396" y="5344468"/>
                </a:lnTo>
                <a:lnTo>
                  <a:pt x="3983793" y="5344468"/>
                </a:lnTo>
                <a:close/>
                <a:moveTo>
                  <a:pt x="3717704" y="5314974"/>
                </a:moveTo>
                <a:lnTo>
                  <a:pt x="3747307" y="5314974"/>
                </a:lnTo>
                <a:lnTo>
                  <a:pt x="3747307" y="5344468"/>
                </a:lnTo>
                <a:lnTo>
                  <a:pt x="3717704" y="5344468"/>
                </a:lnTo>
                <a:close/>
                <a:moveTo>
                  <a:pt x="3451507" y="5314974"/>
                </a:moveTo>
                <a:lnTo>
                  <a:pt x="3481109" y="5314974"/>
                </a:lnTo>
                <a:lnTo>
                  <a:pt x="3481109" y="5344468"/>
                </a:lnTo>
                <a:lnTo>
                  <a:pt x="3451507" y="5344468"/>
                </a:lnTo>
                <a:close/>
                <a:moveTo>
                  <a:pt x="3185310" y="5314974"/>
                </a:moveTo>
                <a:lnTo>
                  <a:pt x="3214913" y="5314974"/>
                </a:lnTo>
                <a:lnTo>
                  <a:pt x="3214913" y="5344468"/>
                </a:lnTo>
                <a:lnTo>
                  <a:pt x="3185310" y="5344468"/>
                </a:lnTo>
                <a:close/>
                <a:moveTo>
                  <a:pt x="2919113" y="5314974"/>
                </a:moveTo>
                <a:lnTo>
                  <a:pt x="2948715" y="5314974"/>
                </a:lnTo>
                <a:lnTo>
                  <a:pt x="2948715" y="5344468"/>
                </a:lnTo>
                <a:lnTo>
                  <a:pt x="2919113" y="5344468"/>
                </a:lnTo>
                <a:close/>
                <a:moveTo>
                  <a:pt x="2653024" y="5314974"/>
                </a:moveTo>
                <a:lnTo>
                  <a:pt x="2682627" y="5314974"/>
                </a:lnTo>
                <a:lnTo>
                  <a:pt x="2682627" y="5344468"/>
                </a:lnTo>
                <a:lnTo>
                  <a:pt x="2653024" y="5344468"/>
                </a:lnTo>
                <a:close/>
                <a:moveTo>
                  <a:pt x="2386827" y="5314974"/>
                </a:moveTo>
                <a:lnTo>
                  <a:pt x="2416430" y="5314974"/>
                </a:lnTo>
                <a:lnTo>
                  <a:pt x="2416430" y="5344468"/>
                </a:lnTo>
                <a:lnTo>
                  <a:pt x="2386827" y="5344468"/>
                </a:lnTo>
                <a:close/>
                <a:moveTo>
                  <a:pt x="2120630" y="5314974"/>
                </a:moveTo>
                <a:lnTo>
                  <a:pt x="2150233" y="5314974"/>
                </a:lnTo>
                <a:lnTo>
                  <a:pt x="2150233" y="5344468"/>
                </a:lnTo>
                <a:lnTo>
                  <a:pt x="2120630" y="5344468"/>
                </a:lnTo>
                <a:close/>
                <a:moveTo>
                  <a:pt x="1854540" y="5314974"/>
                </a:moveTo>
                <a:lnTo>
                  <a:pt x="1884143" y="5314974"/>
                </a:lnTo>
                <a:lnTo>
                  <a:pt x="1884143" y="5344468"/>
                </a:lnTo>
                <a:lnTo>
                  <a:pt x="1854540" y="5344468"/>
                </a:lnTo>
                <a:close/>
                <a:moveTo>
                  <a:pt x="1588343" y="5314974"/>
                </a:moveTo>
                <a:lnTo>
                  <a:pt x="1617945" y="5314974"/>
                </a:lnTo>
                <a:lnTo>
                  <a:pt x="1617945" y="5344468"/>
                </a:lnTo>
                <a:lnTo>
                  <a:pt x="1588343" y="5344468"/>
                </a:lnTo>
                <a:close/>
                <a:moveTo>
                  <a:pt x="1322254" y="5314974"/>
                </a:moveTo>
                <a:lnTo>
                  <a:pt x="1351857" y="5314974"/>
                </a:lnTo>
                <a:lnTo>
                  <a:pt x="1351857" y="5344468"/>
                </a:lnTo>
                <a:lnTo>
                  <a:pt x="1322254" y="5344468"/>
                </a:lnTo>
                <a:close/>
                <a:moveTo>
                  <a:pt x="1056057" y="5314974"/>
                </a:moveTo>
                <a:lnTo>
                  <a:pt x="1085660" y="5314974"/>
                </a:lnTo>
                <a:lnTo>
                  <a:pt x="1085660" y="5344468"/>
                </a:lnTo>
                <a:lnTo>
                  <a:pt x="1056057" y="5344468"/>
                </a:lnTo>
                <a:close/>
                <a:moveTo>
                  <a:pt x="789968" y="5314974"/>
                </a:moveTo>
                <a:lnTo>
                  <a:pt x="819570" y="5314974"/>
                </a:lnTo>
                <a:lnTo>
                  <a:pt x="819570" y="5344468"/>
                </a:lnTo>
                <a:lnTo>
                  <a:pt x="789968" y="5344468"/>
                </a:lnTo>
                <a:close/>
                <a:moveTo>
                  <a:pt x="523771" y="5314974"/>
                </a:moveTo>
                <a:lnTo>
                  <a:pt x="553373" y="5314974"/>
                </a:lnTo>
                <a:lnTo>
                  <a:pt x="553373" y="5344468"/>
                </a:lnTo>
                <a:lnTo>
                  <a:pt x="523771" y="5344468"/>
                </a:lnTo>
                <a:close/>
                <a:moveTo>
                  <a:pt x="266197" y="5314974"/>
                </a:moveTo>
                <a:lnTo>
                  <a:pt x="295800" y="5314974"/>
                </a:lnTo>
                <a:lnTo>
                  <a:pt x="295800" y="5344468"/>
                </a:lnTo>
                <a:lnTo>
                  <a:pt x="266197" y="5344468"/>
                </a:lnTo>
                <a:close/>
                <a:moveTo>
                  <a:pt x="0" y="5314974"/>
                </a:moveTo>
                <a:lnTo>
                  <a:pt x="29602" y="5314974"/>
                </a:lnTo>
                <a:lnTo>
                  <a:pt x="29602" y="5344468"/>
                </a:lnTo>
                <a:lnTo>
                  <a:pt x="0" y="5344468"/>
                </a:lnTo>
                <a:close/>
                <a:moveTo>
                  <a:pt x="6113045" y="5049209"/>
                </a:moveTo>
                <a:lnTo>
                  <a:pt x="6142647" y="5049209"/>
                </a:lnTo>
                <a:lnTo>
                  <a:pt x="6142647" y="5078812"/>
                </a:lnTo>
                <a:lnTo>
                  <a:pt x="6113045" y="5078812"/>
                </a:lnTo>
                <a:close/>
                <a:moveTo>
                  <a:pt x="5846848" y="5049209"/>
                </a:moveTo>
                <a:lnTo>
                  <a:pt x="5876450" y="5049209"/>
                </a:lnTo>
                <a:lnTo>
                  <a:pt x="5876450" y="5078812"/>
                </a:lnTo>
                <a:lnTo>
                  <a:pt x="5846848" y="5078812"/>
                </a:lnTo>
                <a:close/>
                <a:moveTo>
                  <a:pt x="5580759" y="5049209"/>
                </a:moveTo>
                <a:lnTo>
                  <a:pt x="5610361" y="5049209"/>
                </a:lnTo>
                <a:lnTo>
                  <a:pt x="5610361" y="5078812"/>
                </a:lnTo>
                <a:lnTo>
                  <a:pt x="5580759" y="5078812"/>
                </a:lnTo>
                <a:close/>
                <a:moveTo>
                  <a:pt x="5314562" y="5049209"/>
                </a:moveTo>
                <a:lnTo>
                  <a:pt x="5344164" y="5049209"/>
                </a:lnTo>
                <a:lnTo>
                  <a:pt x="5344164" y="5078812"/>
                </a:lnTo>
                <a:lnTo>
                  <a:pt x="5314562" y="5078812"/>
                </a:lnTo>
                <a:close/>
                <a:moveTo>
                  <a:pt x="5048365" y="5049209"/>
                </a:moveTo>
                <a:lnTo>
                  <a:pt x="5078075" y="5049209"/>
                </a:lnTo>
                <a:lnTo>
                  <a:pt x="5078075" y="5078812"/>
                </a:lnTo>
                <a:lnTo>
                  <a:pt x="5048365" y="5078812"/>
                </a:lnTo>
                <a:close/>
                <a:moveTo>
                  <a:pt x="4782276" y="5049209"/>
                </a:moveTo>
                <a:lnTo>
                  <a:pt x="4811879" y="5049209"/>
                </a:lnTo>
                <a:lnTo>
                  <a:pt x="4811879" y="5078812"/>
                </a:lnTo>
                <a:lnTo>
                  <a:pt x="4782276" y="5078812"/>
                </a:lnTo>
                <a:close/>
                <a:moveTo>
                  <a:pt x="4516079" y="5049209"/>
                </a:moveTo>
                <a:lnTo>
                  <a:pt x="4545681" y="5049209"/>
                </a:lnTo>
                <a:lnTo>
                  <a:pt x="4545681" y="5078812"/>
                </a:lnTo>
                <a:lnTo>
                  <a:pt x="4516079" y="5078812"/>
                </a:lnTo>
                <a:close/>
                <a:moveTo>
                  <a:pt x="4249990" y="5049209"/>
                </a:moveTo>
                <a:lnTo>
                  <a:pt x="4279592" y="5049209"/>
                </a:lnTo>
                <a:lnTo>
                  <a:pt x="4279592" y="5078812"/>
                </a:lnTo>
                <a:lnTo>
                  <a:pt x="4249990" y="5078812"/>
                </a:lnTo>
                <a:close/>
                <a:moveTo>
                  <a:pt x="3983793" y="5049209"/>
                </a:moveTo>
                <a:lnTo>
                  <a:pt x="4013396" y="5049209"/>
                </a:lnTo>
                <a:lnTo>
                  <a:pt x="4013396" y="5078812"/>
                </a:lnTo>
                <a:lnTo>
                  <a:pt x="3983793" y="5078812"/>
                </a:lnTo>
                <a:close/>
                <a:moveTo>
                  <a:pt x="3717704" y="5049209"/>
                </a:moveTo>
                <a:lnTo>
                  <a:pt x="3747307" y="5049209"/>
                </a:lnTo>
                <a:lnTo>
                  <a:pt x="3747307" y="5078812"/>
                </a:lnTo>
                <a:lnTo>
                  <a:pt x="3717704" y="5078812"/>
                </a:lnTo>
                <a:close/>
                <a:moveTo>
                  <a:pt x="3451507" y="5049209"/>
                </a:moveTo>
                <a:lnTo>
                  <a:pt x="3481109" y="5049209"/>
                </a:lnTo>
                <a:lnTo>
                  <a:pt x="3481109" y="5078812"/>
                </a:lnTo>
                <a:lnTo>
                  <a:pt x="3451507" y="5078812"/>
                </a:lnTo>
                <a:close/>
                <a:moveTo>
                  <a:pt x="3185310" y="5049209"/>
                </a:moveTo>
                <a:lnTo>
                  <a:pt x="3214913" y="5049209"/>
                </a:lnTo>
                <a:lnTo>
                  <a:pt x="3214913" y="5078812"/>
                </a:lnTo>
                <a:lnTo>
                  <a:pt x="3185310" y="5078812"/>
                </a:lnTo>
                <a:close/>
                <a:moveTo>
                  <a:pt x="2919113" y="5049209"/>
                </a:moveTo>
                <a:lnTo>
                  <a:pt x="2948715" y="5049209"/>
                </a:lnTo>
                <a:lnTo>
                  <a:pt x="2948715" y="5078812"/>
                </a:lnTo>
                <a:lnTo>
                  <a:pt x="2919113" y="5078812"/>
                </a:lnTo>
                <a:close/>
                <a:moveTo>
                  <a:pt x="2653024" y="5049209"/>
                </a:moveTo>
                <a:lnTo>
                  <a:pt x="2682627" y="5049209"/>
                </a:lnTo>
                <a:lnTo>
                  <a:pt x="2682627" y="5078812"/>
                </a:lnTo>
                <a:lnTo>
                  <a:pt x="2653024" y="5078812"/>
                </a:lnTo>
                <a:close/>
                <a:moveTo>
                  <a:pt x="2386827" y="5049209"/>
                </a:moveTo>
                <a:lnTo>
                  <a:pt x="2416430" y="5049209"/>
                </a:lnTo>
                <a:lnTo>
                  <a:pt x="2416430" y="5078812"/>
                </a:lnTo>
                <a:lnTo>
                  <a:pt x="2386827" y="5078812"/>
                </a:lnTo>
                <a:close/>
                <a:moveTo>
                  <a:pt x="2120630" y="5049209"/>
                </a:moveTo>
                <a:lnTo>
                  <a:pt x="2150233" y="5049209"/>
                </a:lnTo>
                <a:lnTo>
                  <a:pt x="2150233" y="5078812"/>
                </a:lnTo>
                <a:lnTo>
                  <a:pt x="2120630" y="5078812"/>
                </a:lnTo>
                <a:close/>
                <a:moveTo>
                  <a:pt x="1854540" y="5049209"/>
                </a:moveTo>
                <a:lnTo>
                  <a:pt x="1884143" y="5049209"/>
                </a:lnTo>
                <a:lnTo>
                  <a:pt x="1884143" y="5078812"/>
                </a:lnTo>
                <a:lnTo>
                  <a:pt x="1854540" y="5078812"/>
                </a:lnTo>
                <a:close/>
                <a:moveTo>
                  <a:pt x="1588343" y="5049209"/>
                </a:moveTo>
                <a:lnTo>
                  <a:pt x="1617945" y="5049209"/>
                </a:lnTo>
                <a:lnTo>
                  <a:pt x="1617945" y="5078812"/>
                </a:lnTo>
                <a:lnTo>
                  <a:pt x="1588343" y="5078812"/>
                </a:lnTo>
                <a:close/>
                <a:moveTo>
                  <a:pt x="1322254" y="5049209"/>
                </a:moveTo>
                <a:lnTo>
                  <a:pt x="1351857" y="5049209"/>
                </a:lnTo>
                <a:lnTo>
                  <a:pt x="1351857" y="5078812"/>
                </a:lnTo>
                <a:lnTo>
                  <a:pt x="1322254" y="5078812"/>
                </a:lnTo>
                <a:close/>
                <a:moveTo>
                  <a:pt x="1056057" y="5049209"/>
                </a:moveTo>
                <a:lnTo>
                  <a:pt x="1085660" y="5049209"/>
                </a:lnTo>
                <a:lnTo>
                  <a:pt x="1085660" y="5078812"/>
                </a:lnTo>
                <a:lnTo>
                  <a:pt x="1056057" y="5078812"/>
                </a:lnTo>
                <a:close/>
                <a:moveTo>
                  <a:pt x="789968" y="5049209"/>
                </a:moveTo>
                <a:lnTo>
                  <a:pt x="819570" y="5049209"/>
                </a:lnTo>
                <a:lnTo>
                  <a:pt x="819570" y="5078812"/>
                </a:lnTo>
                <a:lnTo>
                  <a:pt x="789968" y="5078812"/>
                </a:lnTo>
                <a:close/>
                <a:moveTo>
                  <a:pt x="523771" y="5049209"/>
                </a:moveTo>
                <a:lnTo>
                  <a:pt x="553373" y="5049209"/>
                </a:lnTo>
                <a:lnTo>
                  <a:pt x="553373" y="5078812"/>
                </a:lnTo>
                <a:lnTo>
                  <a:pt x="523771" y="5078812"/>
                </a:lnTo>
                <a:close/>
                <a:moveTo>
                  <a:pt x="266197" y="5049209"/>
                </a:moveTo>
                <a:lnTo>
                  <a:pt x="295800" y="5049209"/>
                </a:lnTo>
                <a:lnTo>
                  <a:pt x="295800" y="5078812"/>
                </a:lnTo>
                <a:lnTo>
                  <a:pt x="266197" y="5078812"/>
                </a:lnTo>
                <a:close/>
                <a:moveTo>
                  <a:pt x="0" y="5049209"/>
                </a:moveTo>
                <a:lnTo>
                  <a:pt x="29602" y="5049209"/>
                </a:lnTo>
                <a:lnTo>
                  <a:pt x="29602" y="5078812"/>
                </a:lnTo>
                <a:lnTo>
                  <a:pt x="0" y="5078812"/>
                </a:lnTo>
                <a:close/>
                <a:moveTo>
                  <a:pt x="6113045" y="4783444"/>
                </a:moveTo>
                <a:lnTo>
                  <a:pt x="6142647" y="4783444"/>
                </a:lnTo>
                <a:lnTo>
                  <a:pt x="6142647" y="4813046"/>
                </a:lnTo>
                <a:lnTo>
                  <a:pt x="6113045" y="4813046"/>
                </a:lnTo>
                <a:close/>
                <a:moveTo>
                  <a:pt x="5846848" y="4783444"/>
                </a:moveTo>
                <a:lnTo>
                  <a:pt x="5876450" y="4783444"/>
                </a:lnTo>
                <a:lnTo>
                  <a:pt x="5876450" y="4813046"/>
                </a:lnTo>
                <a:lnTo>
                  <a:pt x="5846848" y="4813046"/>
                </a:lnTo>
                <a:close/>
                <a:moveTo>
                  <a:pt x="5580759" y="4783444"/>
                </a:moveTo>
                <a:lnTo>
                  <a:pt x="5610361" y="4783444"/>
                </a:lnTo>
                <a:lnTo>
                  <a:pt x="5610361" y="4813046"/>
                </a:lnTo>
                <a:lnTo>
                  <a:pt x="5580759" y="4813046"/>
                </a:lnTo>
                <a:close/>
                <a:moveTo>
                  <a:pt x="5314562" y="4783444"/>
                </a:moveTo>
                <a:lnTo>
                  <a:pt x="5344164" y="4783444"/>
                </a:lnTo>
                <a:lnTo>
                  <a:pt x="5344164" y="4813046"/>
                </a:lnTo>
                <a:lnTo>
                  <a:pt x="5314562" y="4813046"/>
                </a:lnTo>
                <a:close/>
                <a:moveTo>
                  <a:pt x="5048365" y="4783444"/>
                </a:moveTo>
                <a:lnTo>
                  <a:pt x="5078075" y="4783444"/>
                </a:lnTo>
                <a:lnTo>
                  <a:pt x="5078075" y="4813046"/>
                </a:lnTo>
                <a:lnTo>
                  <a:pt x="5048365" y="4813046"/>
                </a:lnTo>
                <a:close/>
                <a:moveTo>
                  <a:pt x="4782276" y="4783444"/>
                </a:moveTo>
                <a:lnTo>
                  <a:pt x="4811879" y="4783444"/>
                </a:lnTo>
                <a:lnTo>
                  <a:pt x="4811879" y="4813046"/>
                </a:lnTo>
                <a:lnTo>
                  <a:pt x="4782276" y="4813046"/>
                </a:lnTo>
                <a:close/>
                <a:moveTo>
                  <a:pt x="4516079" y="4783444"/>
                </a:moveTo>
                <a:lnTo>
                  <a:pt x="4545681" y="4783444"/>
                </a:lnTo>
                <a:lnTo>
                  <a:pt x="4545681" y="4813046"/>
                </a:lnTo>
                <a:lnTo>
                  <a:pt x="4516079" y="4813046"/>
                </a:lnTo>
                <a:close/>
                <a:moveTo>
                  <a:pt x="4249990" y="4783444"/>
                </a:moveTo>
                <a:lnTo>
                  <a:pt x="4279592" y="4783444"/>
                </a:lnTo>
                <a:lnTo>
                  <a:pt x="4279592" y="4813046"/>
                </a:lnTo>
                <a:lnTo>
                  <a:pt x="4249990" y="4813046"/>
                </a:lnTo>
                <a:close/>
                <a:moveTo>
                  <a:pt x="3983793" y="4783444"/>
                </a:moveTo>
                <a:lnTo>
                  <a:pt x="4013396" y="4783444"/>
                </a:lnTo>
                <a:lnTo>
                  <a:pt x="4013396" y="4813046"/>
                </a:lnTo>
                <a:lnTo>
                  <a:pt x="3983793" y="4813046"/>
                </a:lnTo>
                <a:close/>
                <a:moveTo>
                  <a:pt x="3717704" y="4783444"/>
                </a:moveTo>
                <a:lnTo>
                  <a:pt x="3747307" y="4783444"/>
                </a:lnTo>
                <a:lnTo>
                  <a:pt x="3747307" y="4813046"/>
                </a:lnTo>
                <a:lnTo>
                  <a:pt x="3717704" y="4813046"/>
                </a:lnTo>
                <a:close/>
                <a:moveTo>
                  <a:pt x="3451507" y="4783444"/>
                </a:moveTo>
                <a:lnTo>
                  <a:pt x="3481109" y="4783444"/>
                </a:lnTo>
                <a:lnTo>
                  <a:pt x="3481109" y="4813046"/>
                </a:lnTo>
                <a:lnTo>
                  <a:pt x="3451507" y="4813046"/>
                </a:lnTo>
                <a:close/>
                <a:moveTo>
                  <a:pt x="3185310" y="4783444"/>
                </a:moveTo>
                <a:lnTo>
                  <a:pt x="3214913" y="4783444"/>
                </a:lnTo>
                <a:lnTo>
                  <a:pt x="3214913" y="4813046"/>
                </a:lnTo>
                <a:lnTo>
                  <a:pt x="3185310" y="4813046"/>
                </a:lnTo>
                <a:close/>
                <a:moveTo>
                  <a:pt x="2919113" y="4783444"/>
                </a:moveTo>
                <a:lnTo>
                  <a:pt x="2948715" y="4783444"/>
                </a:lnTo>
                <a:lnTo>
                  <a:pt x="2948715" y="4813046"/>
                </a:lnTo>
                <a:lnTo>
                  <a:pt x="2919113" y="4813046"/>
                </a:lnTo>
                <a:close/>
                <a:moveTo>
                  <a:pt x="2653024" y="4783444"/>
                </a:moveTo>
                <a:lnTo>
                  <a:pt x="2682627" y="4783444"/>
                </a:lnTo>
                <a:lnTo>
                  <a:pt x="2682627" y="4813046"/>
                </a:lnTo>
                <a:lnTo>
                  <a:pt x="2653024" y="4813046"/>
                </a:lnTo>
                <a:close/>
                <a:moveTo>
                  <a:pt x="2386827" y="4783444"/>
                </a:moveTo>
                <a:lnTo>
                  <a:pt x="2416430" y="4783444"/>
                </a:lnTo>
                <a:lnTo>
                  <a:pt x="2416430" y="4813046"/>
                </a:lnTo>
                <a:lnTo>
                  <a:pt x="2386827" y="4813046"/>
                </a:lnTo>
                <a:close/>
                <a:moveTo>
                  <a:pt x="2120630" y="4783444"/>
                </a:moveTo>
                <a:lnTo>
                  <a:pt x="2150233" y="4783444"/>
                </a:lnTo>
                <a:lnTo>
                  <a:pt x="2150233" y="4813046"/>
                </a:lnTo>
                <a:lnTo>
                  <a:pt x="2120630" y="4813046"/>
                </a:lnTo>
                <a:close/>
                <a:moveTo>
                  <a:pt x="1854540" y="4783444"/>
                </a:moveTo>
                <a:lnTo>
                  <a:pt x="1884143" y="4783444"/>
                </a:lnTo>
                <a:lnTo>
                  <a:pt x="1884143" y="4813046"/>
                </a:lnTo>
                <a:lnTo>
                  <a:pt x="1854540" y="4813046"/>
                </a:lnTo>
                <a:close/>
                <a:moveTo>
                  <a:pt x="1588343" y="4783444"/>
                </a:moveTo>
                <a:lnTo>
                  <a:pt x="1617945" y="4783444"/>
                </a:lnTo>
                <a:lnTo>
                  <a:pt x="1617945" y="4813046"/>
                </a:lnTo>
                <a:lnTo>
                  <a:pt x="1588343" y="4813046"/>
                </a:lnTo>
                <a:close/>
                <a:moveTo>
                  <a:pt x="1322254" y="4783444"/>
                </a:moveTo>
                <a:lnTo>
                  <a:pt x="1351857" y="4783444"/>
                </a:lnTo>
                <a:lnTo>
                  <a:pt x="1351857" y="4813046"/>
                </a:lnTo>
                <a:lnTo>
                  <a:pt x="1322254" y="4813046"/>
                </a:lnTo>
                <a:close/>
                <a:moveTo>
                  <a:pt x="1056057" y="4783444"/>
                </a:moveTo>
                <a:lnTo>
                  <a:pt x="1085660" y="4783444"/>
                </a:lnTo>
                <a:lnTo>
                  <a:pt x="1085660" y="4813046"/>
                </a:lnTo>
                <a:lnTo>
                  <a:pt x="1056057" y="4813046"/>
                </a:lnTo>
                <a:close/>
                <a:moveTo>
                  <a:pt x="789968" y="4783444"/>
                </a:moveTo>
                <a:lnTo>
                  <a:pt x="819570" y="4783444"/>
                </a:lnTo>
                <a:lnTo>
                  <a:pt x="819570" y="4813046"/>
                </a:lnTo>
                <a:lnTo>
                  <a:pt x="789968" y="4813046"/>
                </a:lnTo>
                <a:close/>
                <a:moveTo>
                  <a:pt x="523771" y="4783444"/>
                </a:moveTo>
                <a:lnTo>
                  <a:pt x="553373" y="4783444"/>
                </a:lnTo>
                <a:lnTo>
                  <a:pt x="553373" y="4813046"/>
                </a:lnTo>
                <a:lnTo>
                  <a:pt x="523771" y="4813046"/>
                </a:lnTo>
                <a:close/>
                <a:moveTo>
                  <a:pt x="266197" y="4783444"/>
                </a:moveTo>
                <a:lnTo>
                  <a:pt x="295800" y="4783444"/>
                </a:lnTo>
                <a:lnTo>
                  <a:pt x="295800" y="4813046"/>
                </a:lnTo>
                <a:lnTo>
                  <a:pt x="266197" y="4813046"/>
                </a:lnTo>
                <a:close/>
                <a:moveTo>
                  <a:pt x="0" y="4783444"/>
                </a:moveTo>
                <a:lnTo>
                  <a:pt x="29602" y="4783444"/>
                </a:lnTo>
                <a:lnTo>
                  <a:pt x="29602" y="4813046"/>
                </a:lnTo>
                <a:lnTo>
                  <a:pt x="0" y="4813046"/>
                </a:lnTo>
                <a:close/>
                <a:moveTo>
                  <a:pt x="6113045" y="4517679"/>
                </a:moveTo>
                <a:lnTo>
                  <a:pt x="6142647" y="4517679"/>
                </a:lnTo>
                <a:lnTo>
                  <a:pt x="6142647" y="4547281"/>
                </a:lnTo>
                <a:lnTo>
                  <a:pt x="6113045" y="4547281"/>
                </a:lnTo>
                <a:close/>
                <a:moveTo>
                  <a:pt x="5846848" y="4517679"/>
                </a:moveTo>
                <a:lnTo>
                  <a:pt x="5876450" y="4517679"/>
                </a:lnTo>
                <a:lnTo>
                  <a:pt x="5876450" y="4547281"/>
                </a:lnTo>
                <a:lnTo>
                  <a:pt x="5846848" y="4547281"/>
                </a:lnTo>
                <a:close/>
                <a:moveTo>
                  <a:pt x="5580759" y="4517679"/>
                </a:moveTo>
                <a:lnTo>
                  <a:pt x="5610361" y="4517679"/>
                </a:lnTo>
                <a:lnTo>
                  <a:pt x="5610361" y="4547281"/>
                </a:lnTo>
                <a:lnTo>
                  <a:pt x="5580759" y="4547281"/>
                </a:lnTo>
                <a:close/>
                <a:moveTo>
                  <a:pt x="5314562" y="4517679"/>
                </a:moveTo>
                <a:lnTo>
                  <a:pt x="5344164" y="4517679"/>
                </a:lnTo>
                <a:lnTo>
                  <a:pt x="5344164" y="4547281"/>
                </a:lnTo>
                <a:lnTo>
                  <a:pt x="5314562" y="4547281"/>
                </a:lnTo>
                <a:close/>
                <a:moveTo>
                  <a:pt x="5048365" y="4517679"/>
                </a:moveTo>
                <a:lnTo>
                  <a:pt x="5078075" y="4517679"/>
                </a:lnTo>
                <a:lnTo>
                  <a:pt x="5078075" y="4547281"/>
                </a:lnTo>
                <a:lnTo>
                  <a:pt x="5048365" y="4547281"/>
                </a:lnTo>
                <a:close/>
                <a:moveTo>
                  <a:pt x="4782276" y="4517679"/>
                </a:moveTo>
                <a:lnTo>
                  <a:pt x="4811879" y="4517679"/>
                </a:lnTo>
                <a:lnTo>
                  <a:pt x="4811879" y="4547281"/>
                </a:lnTo>
                <a:lnTo>
                  <a:pt x="4782276" y="4547281"/>
                </a:lnTo>
                <a:close/>
                <a:moveTo>
                  <a:pt x="4516079" y="4517679"/>
                </a:moveTo>
                <a:lnTo>
                  <a:pt x="4545681" y="4517679"/>
                </a:lnTo>
                <a:lnTo>
                  <a:pt x="4545681" y="4547281"/>
                </a:lnTo>
                <a:lnTo>
                  <a:pt x="4516079" y="4547281"/>
                </a:lnTo>
                <a:close/>
                <a:moveTo>
                  <a:pt x="4249990" y="4517679"/>
                </a:moveTo>
                <a:lnTo>
                  <a:pt x="4279592" y="4517679"/>
                </a:lnTo>
                <a:lnTo>
                  <a:pt x="4279592" y="4547281"/>
                </a:lnTo>
                <a:lnTo>
                  <a:pt x="4249990" y="4547281"/>
                </a:lnTo>
                <a:close/>
                <a:moveTo>
                  <a:pt x="3983793" y="4517679"/>
                </a:moveTo>
                <a:lnTo>
                  <a:pt x="4013396" y="4517679"/>
                </a:lnTo>
                <a:lnTo>
                  <a:pt x="4013396" y="4547281"/>
                </a:lnTo>
                <a:lnTo>
                  <a:pt x="3983793" y="4547281"/>
                </a:lnTo>
                <a:close/>
                <a:moveTo>
                  <a:pt x="3717704" y="4517679"/>
                </a:moveTo>
                <a:lnTo>
                  <a:pt x="3747307" y="4517679"/>
                </a:lnTo>
                <a:lnTo>
                  <a:pt x="3747307" y="4547281"/>
                </a:lnTo>
                <a:lnTo>
                  <a:pt x="3717704" y="4547281"/>
                </a:lnTo>
                <a:close/>
                <a:moveTo>
                  <a:pt x="3451507" y="4517679"/>
                </a:moveTo>
                <a:lnTo>
                  <a:pt x="3481109" y="4517679"/>
                </a:lnTo>
                <a:lnTo>
                  <a:pt x="3481109" y="4547281"/>
                </a:lnTo>
                <a:lnTo>
                  <a:pt x="3451507" y="4547281"/>
                </a:lnTo>
                <a:close/>
                <a:moveTo>
                  <a:pt x="3185310" y="4517679"/>
                </a:moveTo>
                <a:lnTo>
                  <a:pt x="3214913" y="4517679"/>
                </a:lnTo>
                <a:lnTo>
                  <a:pt x="3214913" y="4547281"/>
                </a:lnTo>
                <a:lnTo>
                  <a:pt x="3185310" y="4547281"/>
                </a:lnTo>
                <a:close/>
                <a:moveTo>
                  <a:pt x="2919113" y="4517679"/>
                </a:moveTo>
                <a:lnTo>
                  <a:pt x="2948715" y="4517679"/>
                </a:lnTo>
                <a:lnTo>
                  <a:pt x="2948715" y="4547281"/>
                </a:lnTo>
                <a:lnTo>
                  <a:pt x="2919113" y="4547281"/>
                </a:lnTo>
                <a:close/>
                <a:moveTo>
                  <a:pt x="2653024" y="4517679"/>
                </a:moveTo>
                <a:lnTo>
                  <a:pt x="2682627" y="4517679"/>
                </a:lnTo>
                <a:lnTo>
                  <a:pt x="2682627" y="4547281"/>
                </a:lnTo>
                <a:lnTo>
                  <a:pt x="2653024" y="4547281"/>
                </a:lnTo>
                <a:close/>
                <a:moveTo>
                  <a:pt x="2386827" y="4517679"/>
                </a:moveTo>
                <a:lnTo>
                  <a:pt x="2416430" y="4517679"/>
                </a:lnTo>
                <a:lnTo>
                  <a:pt x="2416430" y="4547281"/>
                </a:lnTo>
                <a:lnTo>
                  <a:pt x="2386827" y="4547281"/>
                </a:lnTo>
                <a:close/>
                <a:moveTo>
                  <a:pt x="2120630" y="4517679"/>
                </a:moveTo>
                <a:lnTo>
                  <a:pt x="2150233" y="4517679"/>
                </a:lnTo>
                <a:lnTo>
                  <a:pt x="2150233" y="4547281"/>
                </a:lnTo>
                <a:lnTo>
                  <a:pt x="2120630" y="4547281"/>
                </a:lnTo>
                <a:close/>
                <a:moveTo>
                  <a:pt x="1854540" y="4517679"/>
                </a:moveTo>
                <a:lnTo>
                  <a:pt x="1884143" y="4517679"/>
                </a:lnTo>
                <a:lnTo>
                  <a:pt x="1884143" y="4547281"/>
                </a:lnTo>
                <a:lnTo>
                  <a:pt x="1854540" y="4547281"/>
                </a:lnTo>
                <a:close/>
                <a:moveTo>
                  <a:pt x="1588343" y="4517679"/>
                </a:moveTo>
                <a:lnTo>
                  <a:pt x="1617945" y="4517679"/>
                </a:lnTo>
                <a:lnTo>
                  <a:pt x="1617945" y="4547281"/>
                </a:lnTo>
                <a:lnTo>
                  <a:pt x="1588343" y="4547281"/>
                </a:lnTo>
                <a:close/>
                <a:moveTo>
                  <a:pt x="1322254" y="4517679"/>
                </a:moveTo>
                <a:lnTo>
                  <a:pt x="1351857" y="4517679"/>
                </a:lnTo>
                <a:lnTo>
                  <a:pt x="1351857" y="4547281"/>
                </a:lnTo>
                <a:lnTo>
                  <a:pt x="1322254" y="4547281"/>
                </a:lnTo>
                <a:close/>
                <a:moveTo>
                  <a:pt x="1056057" y="4517679"/>
                </a:moveTo>
                <a:lnTo>
                  <a:pt x="1085660" y="4517679"/>
                </a:lnTo>
                <a:lnTo>
                  <a:pt x="1085660" y="4547281"/>
                </a:lnTo>
                <a:lnTo>
                  <a:pt x="1056057" y="4547281"/>
                </a:lnTo>
                <a:close/>
                <a:moveTo>
                  <a:pt x="789968" y="4517679"/>
                </a:moveTo>
                <a:lnTo>
                  <a:pt x="819570" y="4517679"/>
                </a:lnTo>
                <a:lnTo>
                  <a:pt x="819570" y="4547281"/>
                </a:lnTo>
                <a:lnTo>
                  <a:pt x="789968" y="4547281"/>
                </a:lnTo>
                <a:close/>
                <a:moveTo>
                  <a:pt x="523771" y="4517679"/>
                </a:moveTo>
                <a:lnTo>
                  <a:pt x="553373" y="4517679"/>
                </a:lnTo>
                <a:lnTo>
                  <a:pt x="553373" y="4547281"/>
                </a:lnTo>
                <a:lnTo>
                  <a:pt x="523771" y="4547281"/>
                </a:lnTo>
                <a:close/>
                <a:moveTo>
                  <a:pt x="266197" y="4517679"/>
                </a:moveTo>
                <a:lnTo>
                  <a:pt x="295800" y="4517679"/>
                </a:lnTo>
                <a:lnTo>
                  <a:pt x="295800" y="4547281"/>
                </a:lnTo>
                <a:lnTo>
                  <a:pt x="266197" y="4547281"/>
                </a:lnTo>
                <a:close/>
                <a:moveTo>
                  <a:pt x="0" y="4517679"/>
                </a:moveTo>
                <a:lnTo>
                  <a:pt x="29602" y="4517679"/>
                </a:lnTo>
                <a:lnTo>
                  <a:pt x="29602" y="4547281"/>
                </a:lnTo>
                <a:lnTo>
                  <a:pt x="0" y="4547281"/>
                </a:lnTo>
                <a:close/>
                <a:moveTo>
                  <a:pt x="6113045" y="4252022"/>
                </a:moveTo>
                <a:lnTo>
                  <a:pt x="6142647" y="4252022"/>
                </a:lnTo>
                <a:lnTo>
                  <a:pt x="6142647" y="4281516"/>
                </a:lnTo>
                <a:lnTo>
                  <a:pt x="6113045" y="4281516"/>
                </a:lnTo>
                <a:close/>
                <a:moveTo>
                  <a:pt x="5846848" y="4252022"/>
                </a:moveTo>
                <a:lnTo>
                  <a:pt x="5876450" y="4252022"/>
                </a:lnTo>
                <a:lnTo>
                  <a:pt x="5876450" y="4281516"/>
                </a:lnTo>
                <a:lnTo>
                  <a:pt x="5846848" y="4281516"/>
                </a:lnTo>
                <a:close/>
                <a:moveTo>
                  <a:pt x="5580759" y="4252022"/>
                </a:moveTo>
                <a:lnTo>
                  <a:pt x="5610361" y="4252022"/>
                </a:lnTo>
                <a:lnTo>
                  <a:pt x="5610361" y="4281516"/>
                </a:lnTo>
                <a:lnTo>
                  <a:pt x="5580759" y="4281516"/>
                </a:lnTo>
                <a:close/>
                <a:moveTo>
                  <a:pt x="5314562" y="4252022"/>
                </a:moveTo>
                <a:lnTo>
                  <a:pt x="5344164" y="4252022"/>
                </a:lnTo>
                <a:lnTo>
                  <a:pt x="5344164" y="4281516"/>
                </a:lnTo>
                <a:lnTo>
                  <a:pt x="5314562" y="4281516"/>
                </a:lnTo>
                <a:close/>
                <a:moveTo>
                  <a:pt x="5048365" y="4252022"/>
                </a:moveTo>
                <a:lnTo>
                  <a:pt x="5078075" y="4252022"/>
                </a:lnTo>
                <a:lnTo>
                  <a:pt x="5078075" y="4281516"/>
                </a:lnTo>
                <a:lnTo>
                  <a:pt x="5048365" y="4281516"/>
                </a:lnTo>
                <a:close/>
                <a:moveTo>
                  <a:pt x="4782276" y="4252022"/>
                </a:moveTo>
                <a:lnTo>
                  <a:pt x="4811879" y="4252022"/>
                </a:lnTo>
                <a:lnTo>
                  <a:pt x="4811879" y="4281516"/>
                </a:lnTo>
                <a:lnTo>
                  <a:pt x="4782276" y="4281516"/>
                </a:lnTo>
                <a:close/>
                <a:moveTo>
                  <a:pt x="4516079" y="4252022"/>
                </a:moveTo>
                <a:lnTo>
                  <a:pt x="4545681" y="4252022"/>
                </a:lnTo>
                <a:lnTo>
                  <a:pt x="4545681" y="4281516"/>
                </a:lnTo>
                <a:lnTo>
                  <a:pt x="4516079" y="4281516"/>
                </a:lnTo>
                <a:close/>
                <a:moveTo>
                  <a:pt x="4249990" y="4252022"/>
                </a:moveTo>
                <a:lnTo>
                  <a:pt x="4279592" y="4252022"/>
                </a:lnTo>
                <a:lnTo>
                  <a:pt x="4279592" y="4281516"/>
                </a:lnTo>
                <a:lnTo>
                  <a:pt x="4249990" y="4281516"/>
                </a:lnTo>
                <a:close/>
                <a:moveTo>
                  <a:pt x="3983793" y="4252022"/>
                </a:moveTo>
                <a:lnTo>
                  <a:pt x="4013396" y="4252022"/>
                </a:lnTo>
                <a:lnTo>
                  <a:pt x="4013396" y="4281516"/>
                </a:lnTo>
                <a:lnTo>
                  <a:pt x="3983793" y="4281516"/>
                </a:lnTo>
                <a:close/>
                <a:moveTo>
                  <a:pt x="3717704" y="4252022"/>
                </a:moveTo>
                <a:lnTo>
                  <a:pt x="3747307" y="4252022"/>
                </a:lnTo>
                <a:lnTo>
                  <a:pt x="3747307" y="4281516"/>
                </a:lnTo>
                <a:lnTo>
                  <a:pt x="3717704" y="4281516"/>
                </a:lnTo>
                <a:close/>
                <a:moveTo>
                  <a:pt x="3451507" y="4252022"/>
                </a:moveTo>
                <a:lnTo>
                  <a:pt x="3481109" y="4252022"/>
                </a:lnTo>
                <a:lnTo>
                  <a:pt x="3481109" y="4281516"/>
                </a:lnTo>
                <a:lnTo>
                  <a:pt x="3451507" y="4281516"/>
                </a:lnTo>
                <a:close/>
                <a:moveTo>
                  <a:pt x="3185310" y="4252022"/>
                </a:moveTo>
                <a:lnTo>
                  <a:pt x="3214913" y="4252022"/>
                </a:lnTo>
                <a:lnTo>
                  <a:pt x="3214913" y="4281516"/>
                </a:lnTo>
                <a:lnTo>
                  <a:pt x="3185310" y="4281516"/>
                </a:lnTo>
                <a:close/>
                <a:moveTo>
                  <a:pt x="2919113" y="4252022"/>
                </a:moveTo>
                <a:lnTo>
                  <a:pt x="2948715" y="4252022"/>
                </a:lnTo>
                <a:lnTo>
                  <a:pt x="2948715" y="4281516"/>
                </a:lnTo>
                <a:lnTo>
                  <a:pt x="2919113" y="4281516"/>
                </a:lnTo>
                <a:close/>
                <a:moveTo>
                  <a:pt x="2653024" y="4252022"/>
                </a:moveTo>
                <a:lnTo>
                  <a:pt x="2682627" y="4252022"/>
                </a:lnTo>
                <a:lnTo>
                  <a:pt x="2682627" y="4281516"/>
                </a:lnTo>
                <a:lnTo>
                  <a:pt x="2653024" y="4281516"/>
                </a:lnTo>
                <a:close/>
                <a:moveTo>
                  <a:pt x="2386827" y="4252022"/>
                </a:moveTo>
                <a:lnTo>
                  <a:pt x="2416430" y="4252022"/>
                </a:lnTo>
                <a:lnTo>
                  <a:pt x="2416430" y="4281516"/>
                </a:lnTo>
                <a:lnTo>
                  <a:pt x="2386827" y="4281516"/>
                </a:lnTo>
                <a:close/>
                <a:moveTo>
                  <a:pt x="2120630" y="4252022"/>
                </a:moveTo>
                <a:lnTo>
                  <a:pt x="2150233" y="4252022"/>
                </a:lnTo>
                <a:lnTo>
                  <a:pt x="2150233" y="4281516"/>
                </a:lnTo>
                <a:lnTo>
                  <a:pt x="2120630" y="4281516"/>
                </a:lnTo>
                <a:close/>
                <a:moveTo>
                  <a:pt x="1854540" y="4252022"/>
                </a:moveTo>
                <a:lnTo>
                  <a:pt x="1884143" y="4252022"/>
                </a:lnTo>
                <a:lnTo>
                  <a:pt x="1884143" y="4281516"/>
                </a:lnTo>
                <a:lnTo>
                  <a:pt x="1854540" y="4281516"/>
                </a:lnTo>
                <a:close/>
                <a:moveTo>
                  <a:pt x="1588343" y="4252022"/>
                </a:moveTo>
                <a:lnTo>
                  <a:pt x="1617945" y="4252022"/>
                </a:lnTo>
                <a:lnTo>
                  <a:pt x="1617945" y="4281516"/>
                </a:lnTo>
                <a:lnTo>
                  <a:pt x="1588343" y="4281516"/>
                </a:lnTo>
                <a:close/>
                <a:moveTo>
                  <a:pt x="1322254" y="4252022"/>
                </a:moveTo>
                <a:lnTo>
                  <a:pt x="1351857" y="4252022"/>
                </a:lnTo>
                <a:lnTo>
                  <a:pt x="1351857" y="4281516"/>
                </a:lnTo>
                <a:lnTo>
                  <a:pt x="1322254" y="4281516"/>
                </a:lnTo>
                <a:close/>
                <a:moveTo>
                  <a:pt x="1056057" y="4252022"/>
                </a:moveTo>
                <a:lnTo>
                  <a:pt x="1085660" y="4252022"/>
                </a:lnTo>
                <a:lnTo>
                  <a:pt x="1085660" y="4281516"/>
                </a:lnTo>
                <a:lnTo>
                  <a:pt x="1056057" y="4281516"/>
                </a:lnTo>
                <a:close/>
                <a:moveTo>
                  <a:pt x="789968" y="4252022"/>
                </a:moveTo>
                <a:lnTo>
                  <a:pt x="819570" y="4252022"/>
                </a:lnTo>
                <a:lnTo>
                  <a:pt x="819570" y="4281516"/>
                </a:lnTo>
                <a:lnTo>
                  <a:pt x="789968" y="4281516"/>
                </a:lnTo>
                <a:close/>
                <a:moveTo>
                  <a:pt x="523771" y="4252022"/>
                </a:moveTo>
                <a:lnTo>
                  <a:pt x="553373" y="4252022"/>
                </a:lnTo>
                <a:lnTo>
                  <a:pt x="553373" y="4281516"/>
                </a:lnTo>
                <a:lnTo>
                  <a:pt x="523771" y="4281516"/>
                </a:lnTo>
                <a:close/>
                <a:moveTo>
                  <a:pt x="266197" y="4252022"/>
                </a:moveTo>
                <a:lnTo>
                  <a:pt x="295800" y="4252022"/>
                </a:lnTo>
                <a:lnTo>
                  <a:pt x="295800" y="4281516"/>
                </a:lnTo>
                <a:lnTo>
                  <a:pt x="266197" y="4281516"/>
                </a:lnTo>
                <a:close/>
                <a:moveTo>
                  <a:pt x="0" y="4252022"/>
                </a:moveTo>
                <a:lnTo>
                  <a:pt x="29602" y="4252022"/>
                </a:lnTo>
                <a:lnTo>
                  <a:pt x="29602" y="4281516"/>
                </a:lnTo>
                <a:lnTo>
                  <a:pt x="0" y="4281516"/>
                </a:lnTo>
                <a:close/>
                <a:moveTo>
                  <a:pt x="6113045" y="3986257"/>
                </a:moveTo>
                <a:lnTo>
                  <a:pt x="6142647" y="3986257"/>
                </a:lnTo>
                <a:lnTo>
                  <a:pt x="6142647" y="4015859"/>
                </a:lnTo>
                <a:lnTo>
                  <a:pt x="6113045" y="4015859"/>
                </a:lnTo>
                <a:close/>
                <a:moveTo>
                  <a:pt x="5846848" y="3986257"/>
                </a:moveTo>
                <a:lnTo>
                  <a:pt x="5876450" y="3986257"/>
                </a:lnTo>
                <a:lnTo>
                  <a:pt x="5876450" y="4015859"/>
                </a:lnTo>
                <a:lnTo>
                  <a:pt x="5846848" y="4015859"/>
                </a:lnTo>
                <a:close/>
                <a:moveTo>
                  <a:pt x="5580759" y="3986257"/>
                </a:moveTo>
                <a:lnTo>
                  <a:pt x="5610361" y="3986257"/>
                </a:lnTo>
                <a:lnTo>
                  <a:pt x="5610361" y="4015859"/>
                </a:lnTo>
                <a:lnTo>
                  <a:pt x="5580759" y="4015859"/>
                </a:lnTo>
                <a:close/>
                <a:moveTo>
                  <a:pt x="5314562" y="3986257"/>
                </a:moveTo>
                <a:lnTo>
                  <a:pt x="5344164" y="3986257"/>
                </a:lnTo>
                <a:lnTo>
                  <a:pt x="5344164" y="4015859"/>
                </a:lnTo>
                <a:lnTo>
                  <a:pt x="5314562" y="4015859"/>
                </a:lnTo>
                <a:close/>
                <a:moveTo>
                  <a:pt x="5048365" y="3986257"/>
                </a:moveTo>
                <a:lnTo>
                  <a:pt x="5078075" y="3986257"/>
                </a:lnTo>
                <a:lnTo>
                  <a:pt x="5078075" y="4015859"/>
                </a:lnTo>
                <a:lnTo>
                  <a:pt x="5048365" y="4015859"/>
                </a:lnTo>
                <a:close/>
                <a:moveTo>
                  <a:pt x="4782276" y="3986257"/>
                </a:moveTo>
                <a:lnTo>
                  <a:pt x="4811879" y="3986257"/>
                </a:lnTo>
                <a:lnTo>
                  <a:pt x="4811879" y="4015859"/>
                </a:lnTo>
                <a:lnTo>
                  <a:pt x="4782276" y="4015859"/>
                </a:lnTo>
                <a:close/>
                <a:moveTo>
                  <a:pt x="4516079" y="3986257"/>
                </a:moveTo>
                <a:lnTo>
                  <a:pt x="4545681" y="3986257"/>
                </a:lnTo>
                <a:lnTo>
                  <a:pt x="4545681" y="4015859"/>
                </a:lnTo>
                <a:lnTo>
                  <a:pt x="4516079" y="4015859"/>
                </a:lnTo>
                <a:close/>
                <a:moveTo>
                  <a:pt x="4249990" y="3986257"/>
                </a:moveTo>
                <a:lnTo>
                  <a:pt x="4279592" y="3986257"/>
                </a:lnTo>
                <a:lnTo>
                  <a:pt x="4279592" y="4015859"/>
                </a:lnTo>
                <a:lnTo>
                  <a:pt x="4249990" y="4015859"/>
                </a:lnTo>
                <a:close/>
                <a:moveTo>
                  <a:pt x="3983793" y="3986257"/>
                </a:moveTo>
                <a:lnTo>
                  <a:pt x="4013396" y="3986257"/>
                </a:lnTo>
                <a:lnTo>
                  <a:pt x="4013396" y="4015859"/>
                </a:lnTo>
                <a:lnTo>
                  <a:pt x="3983793" y="4015859"/>
                </a:lnTo>
                <a:close/>
                <a:moveTo>
                  <a:pt x="3717704" y="3986257"/>
                </a:moveTo>
                <a:lnTo>
                  <a:pt x="3747307" y="3986257"/>
                </a:lnTo>
                <a:lnTo>
                  <a:pt x="3747307" y="4015859"/>
                </a:lnTo>
                <a:lnTo>
                  <a:pt x="3717704" y="4015859"/>
                </a:lnTo>
                <a:close/>
                <a:moveTo>
                  <a:pt x="3451507" y="3986257"/>
                </a:moveTo>
                <a:lnTo>
                  <a:pt x="3481109" y="3986257"/>
                </a:lnTo>
                <a:lnTo>
                  <a:pt x="3481109" y="4015859"/>
                </a:lnTo>
                <a:lnTo>
                  <a:pt x="3451507" y="4015859"/>
                </a:lnTo>
                <a:close/>
                <a:moveTo>
                  <a:pt x="3185310" y="3986257"/>
                </a:moveTo>
                <a:lnTo>
                  <a:pt x="3214913" y="3986257"/>
                </a:lnTo>
                <a:lnTo>
                  <a:pt x="3214913" y="4015859"/>
                </a:lnTo>
                <a:lnTo>
                  <a:pt x="3185310" y="4015859"/>
                </a:lnTo>
                <a:close/>
                <a:moveTo>
                  <a:pt x="2919113" y="3986257"/>
                </a:moveTo>
                <a:lnTo>
                  <a:pt x="2948715" y="3986257"/>
                </a:lnTo>
                <a:lnTo>
                  <a:pt x="2948715" y="4015859"/>
                </a:lnTo>
                <a:lnTo>
                  <a:pt x="2919113" y="4015859"/>
                </a:lnTo>
                <a:close/>
                <a:moveTo>
                  <a:pt x="2653024" y="3986257"/>
                </a:moveTo>
                <a:lnTo>
                  <a:pt x="2682627" y="3986257"/>
                </a:lnTo>
                <a:lnTo>
                  <a:pt x="2682627" y="4015859"/>
                </a:lnTo>
                <a:lnTo>
                  <a:pt x="2653024" y="4015859"/>
                </a:lnTo>
                <a:close/>
                <a:moveTo>
                  <a:pt x="2386827" y="3986257"/>
                </a:moveTo>
                <a:lnTo>
                  <a:pt x="2416430" y="3986257"/>
                </a:lnTo>
                <a:lnTo>
                  <a:pt x="2416430" y="4015859"/>
                </a:lnTo>
                <a:lnTo>
                  <a:pt x="2386827" y="4015859"/>
                </a:lnTo>
                <a:close/>
                <a:moveTo>
                  <a:pt x="2120630" y="3986257"/>
                </a:moveTo>
                <a:lnTo>
                  <a:pt x="2150233" y="3986257"/>
                </a:lnTo>
                <a:lnTo>
                  <a:pt x="2150233" y="4015859"/>
                </a:lnTo>
                <a:lnTo>
                  <a:pt x="2120630" y="4015859"/>
                </a:lnTo>
                <a:close/>
                <a:moveTo>
                  <a:pt x="1854540" y="3986257"/>
                </a:moveTo>
                <a:lnTo>
                  <a:pt x="1884143" y="3986257"/>
                </a:lnTo>
                <a:lnTo>
                  <a:pt x="1884143" y="4015859"/>
                </a:lnTo>
                <a:lnTo>
                  <a:pt x="1854540" y="4015859"/>
                </a:lnTo>
                <a:close/>
                <a:moveTo>
                  <a:pt x="1588343" y="3986257"/>
                </a:moveTo>
                <a:lnTo>
                  <a:pt x="1617945" y="3986257"/>
                </a:lnTo>
                <a:lnTo>
                  <a:pt x="1617945" y="4015859"/>
                </a:lnTo>
                <a:lnTo>
                  <a:pt x="1588343" y="4015859"/>
                </a:lnTo>
                <a:close/>
                <a:moveTo>
                  <a:pt x="1322254" y="3986257"/>
                </a:moveTo>
                <a:lnTo>
                  <a:pt x="1351857" y="3986257"/>
                </a:lnTo>
                <a:lnTo>
                  <a:pt x="1351857" y="4015859"/>
                </a:lnTo>
                <a:lnTo>
                  <a:pt x="1322254" y="4015859"/>
                </a:lnTo>
                <a:close/>
                <a:moveTo>
                  <a:pt x="1056057" y="3986257"/>
                </a:moveTo>
                <a:lnTo>
                  <a:pt x="1085660" y="3986257"/>
                </a:lnTo>
                <a:lnTo>
                  <a:pt x="1085660" y="4015859"/>
                </a:lnTo>
                <a:lnTo>
                  <a:pt x="1056057" y="4015859"/>
                </a:lnTo>
                <a:close/>
                <a:moveTo>
                  <a:pt x="789968" y="3986257"/>
                </a:moveTo>
                <a:lnTo>
                  <a:pt x="819570" y="3986257"/>
                </a:lnTo>
                <a:lnTo>
                  <a:pt x="819570" y="4015859"/>
                </a:lnTo>
                <a:lnTo>
                  <a:pt x="789968" y="4015859"/>
                </a:lnTo>
                <a:close/>
                <a:moveTo>
                  <a:pt x="523771" y="3986257"/>
                </a:moveTo>
                <a:lnTo>
                  <a:pt x="553373" y="3986257"/>
                </a:lnTo>
                <a:lnTo>
                  <a:pt x="553373" y="4015859"/>
                </a:lnTo>
                <a:lnTo>
                  <a:pt x="523771" y="4015859"/>
                </a:lnTo>
                <a:close/>
                <a:moveTo>
                  <a:pt x="266197" y="3986257"/>
                </a:moveTo>
                <a:lnTo>
                  <a:pt x="295800" y="3986257"/>
                </a:lnTo>
                <a:lnTo>
                  <a:pt x="295800" y="4015859"/>
                </a:lnTo>
                <a:lnTo>
                  <a:pt x="266197" y="4015859"/>
                </a:lnTo>
                <a:close/>
                <a:moveTo>
                  <a:pt x="0" y="3986257"/>
                </a:moveTo>
                <a:lnTo>
                  <a:pt x="29602" y="3986257"/>
                </a:lnTo>
                <a:lnTo>
                  <a:pt x="29602" y="4015859"/>
                </a:lnTo>
                <a:lnTo>
                  <a:pt x="0" y="4015859"/>
                </a:lnTo>
                <a:close/>
                <a:moveTo>
                  <a:pt x="6113045" y="3720492"/>
                </a:moveTo>
                <a:lnTo>
                  <a:pt x="6142647" y="3720492"/>
                </a:lnTo>
                <a:lnTo>
                  <a:pt x="6142647" y="3750094"/>
                </a:lnTo>
                <a:lnTo>
                  <a:pt x="6113045" y="3750094"/>
                </a:lnTo>
                <a:close/>
                <a:moveTo>
                  <a:pt x="5846848" y="3720492"/>
                </a:moveTo>
                <a:lnTo>
                  <a:pt x="5876450" y="3720492"/>
                </a:lnTo>
                <a:lnTo>
                  <a:pt x="5876450" y="3750094"/>
                </a:lnTo>
                <a:lnTo>
                  <a:pt x="5846848" y="3750094"/>
                </a:lnTo>
                <a:close/>
                <a:moveTo>
                  <a:pt x="5580759" y="3720492"/>
                </a:moveTo>
                <a:lnTo>
                  <a:pt x="5610361" y="3720492"/>
                </a:lnTo>
                <a:lnTo>
                  <a:pt x="5610361" y="3750094"/>
                </a:lnTo>
                <a:lnTo>
                  <a:pt x="5580759" y="3750094"/>
                </a:lnTo>
                <a:close/>
                <a:moveTo>
                  <a:pt x="5314562" y="3720492"/>
                </a:moveTo>
                <a:lnTo>
                  <a:pt x="5344164" y="3720492"/>
                </a:lnTo>
                <a:lnTo>
                  <a:pt x="5344164" y="3750094"/>
                </a:lnTo>
                <a:lnTo>
                  <a:pt x="5314562" y="3750094"/>
                </a:lnTo>
                <a:close/>
                <a:moveTo>
                  <a:pt x="5048365" y="3720492"/>
                </a:moveTo>
                <a:lnTo>
                  <a:pt x="5078075" y="3720492"/>
                </a:lnTo>
                <a:lnTo>
                  <a:pt x="5078075" y="3750094"/>
                </a:lnTo>
                <a:lnTo>
                  <a:pt x="5048365" y="3750094"/>
                </a:lnTo>
                <a:close/>
                <a:moveTo>
                  <a:pt x="4782276" y="3720492"/>
                </a:moveTo>
                <a:lnTo>
                  <a:pt x="4811879" y="3720492"/>
                </a:lnTo>
                <a:lnTo>
                  <a:pt x="4811879" y="3750094"/>
                </a:lnTo>
                <a:lnTo>
                  <a:pt x="4782276" y="3750094"/>
                </a:lnTo>
                <a:close/>
                <a:moveTo>
                  <a:pt x="4516079" y="3720492"/>
                </a:moveTo>
                <a:lnTo>
                  <a:pt x="4545681" y="3720492"/>
                </a:lnTo>
                <a:lnTo>
                  <a:pt x="4545681" y="3750094"/>
                </a:lnTo>
                <a:lnTo>
                  <a:pt x="4516079" y="3750094"/>
                </a:lnTo>
                <a:close/>
                <a:moveTo>
                  <a:pt x="4249990" y="3720492"/>
                </a:moveTo>
                <a:lnTo>
                  <a:pt x="4279592" y="3720492"/>
                </a:lnTo>
                <a:lnTo>
                  <a:pt x="4279592" y="3750094"/>
                </a:lnTo>
                <a:lnTo>
                  <a:pt x="4249990" y="3750094"/>
                </a:lnTo>
                <a:close/>
                <a:moveTo>
                  <a:pt x="3983793" y="3720492"/>
                </a:moveTo>
                <a:lnTo>
                  <a:pt x="4013396" y="3720492"/>
                </a:lnTo>
                <a:lnTo>
                  <a:pt x="4013396" y="3750094"/>
                </a:lnTo>
                <a:lnTo>
                  <a:pt x="3983793" y="3750094"/>
                </a:lnTo>
                <a:close/>
                <a:moveTo>
                  <a:pt x="3717704" y="3720492"/>
                </a:moveTo>
                <a:lnTo>
                  <a:pt x="3747307" y="3720492"/>
                </a:lnTo>
                <a:lnTo>
                  <a:pt x="3747307" y="3750094"/>
                </a:lnTo>
                <a:lnTo>
                  <a:pt x="3717704" y="3750094"/>
                </a:lnTo>
                <a:close/>
                <a:moveTo>
                  <a:pt x="3451507" y="3720492"/>
                </a:moveTo>
                <a:lnTo>
                  <a:pt x="3481109" y="3720492"/>
                </a:lnTo>
                <a:lnTo>
                  <a:pt x="3481109" y="3750094"/>
                </a:lnTo>
                <a:lnTo>
                  <a:pt x="3451507" y="3750094"/>
                </a:lnTo>
                <a:close/>
                <a:moveTo>
                  <a:pt x="3185310" y="3720492"/>
                </a:moveTo>
                <a:lnTo>
                  <a:pt x="3214913" y="3720492"/>
                </a:lnTo>
                <a:lnTo>
                  <a:pt x="3214913" y="3750094"/>
                </a:lnTo>
                <a:lnTo>
                  <a:pt x="3185310" y="3750094"/>
                </a:lnTo>
                <a:close/>
                <a:moveTo>
                  <a:pt x="2919113" y="3720492"/>
                </a:moveTo>
                <a:lnTo>
                  <a:pt x="2948715" y="3720492"/>
                </a:lnTo>
                <a:lnTo>
                  <a:pt x="2948715" y="3750094"/>
                </a:lnTo>
                <a:lnTo>
                  <a:pt x="2919113" y="3750094"/>
                </a:lnTo>
                <a:close/>
                <a:moveTo>
                  <a:pt x="2653024" y="3720492"/>
                </a:moveTo>
                <a:lnTo>
                  <a:pt x="2682627" y="3720492"/>
                </a:lnTo>
                <a:lnTo>
                  <a:pt x="2682627" y="3750094"/>
                </a:lnTo>
                <a:lnTo>
                  <a:pt x="2653024" y="3750094"/>
                </a:lnTo>
                <a:close/>
                <a:moveTo>
                  <a:pt x="2386827" y="3720492"/>
                </a:moveTo>
                <a:lnTo>
                  <a:pt x="2416430" y="3720492"/>
                </a:lnTo>
                <a:lnTo>
                  <a:pt x="2416430" y="3750094"/>
                </a:lnTo>
                <a:lnTo>
                  <a:pt x="2386827" y="3750094"/>
                </a:lnTo>
                <a:close/>
                <a:moveTo>
                  <a:pt x="2120630" y="3720492"/>
                </a:moveTo>
                <a:lnTo>
                  <a:pt x="2150233" y="3720492"/>
                </a:lnTo>
                <a:lnTo>
                  <a:pt x="2150233" y="3750094"/>
                </a:lnTo>
                <a:lnTo>
                  <a:pt x="2120630" y="3750094"/>
                </a:lnTo>
                <a:close/>
                <a:moveTo>
                  <a:pt x="1854540" y="3720492"/>
                </a:moveTo>
                <a:lnTo>
                  <a:pt x="1884143" y="3720492"/>
                </a:lnTo>
                <a:lnTo>
                  <a:pt x="1884143" y="3750094"/>
                </a:lnTo>
                <a:lnTo>
                  <a:pt x="1854540" y="3750094"/>
                </a:lnTo>
                <a:close/>
                <a:moveTo>
                  <a:pt x="1588343" y="3720492"/>
                </a:moveTo>
                <a:lnTo>
                  <a:pt x="1617945" y="3720492"/>
                </a:lnTo>
                <a:lnTo>
                  <a:pt x="1617945" y="3750094"/>
                </a:lnTo>
                <a:lnTo>
                  <a:pt x="1588343" y="3750094"/>
                </a:lnTo>
                <a:close/>
                <a:moveTo>
                  <a:pt x="1322254" y="3720492"/>
                </a:moveTo>
                <a:lnTo>
                  <a:pt x="1351857" y="3720492"/>
                </a:lnTo>
                <a:lnTo>
                  <a:pt x="1351857" y="3750094"/>
                </a:lnTo>
                <a:lnTo>
                  <a:pt x="1322254" y="3750094"/>
                </a:lnTo>
                <a:close/>
                <a:moveTo>
                  <a:pt x="1056057" y="3720492"/>
                </a:moveTo>
                <a:lnTo>
                  <a:pt x="1085660" y="3720492"/>
                </a:lnTo>
                <a:lnTo>
                  <a:pt x="1085660" y="3750094"/>
                </a:lnTo>
                <a:lnTo>
                  <a:pt x="1056057" y="3750094"/>
                </a:lnTo>
                <a:close/>
                <a:moveTo>
                  <a:pt x="789968" y="3720492"/>
                </a:moveTo>
                <a:lnTo>
                  <a:pt x="819570" y="3720492"/>
                </a:lnTo>
                <a:lnTo>
                  <a:pt x="819570" y="3750094"/>
                </a:lnTo>
                <a:lnTo>
                  <a:pt x="789968" y="3750094"/>
                </a:lnTo>
                <a:close/>
                <a:moveTo>
                  <a:pt x="523771" y="3720492"/>
                </a:moveTo>
                <a:lnTo>
                  <a:pt x="553373" y="3720492"/>
                </a:lnTo>
                <a:lnTo>
                  <a:pt x="553373" y="3750094"/>
                </a:lnTo>
                <a:lnTo>
                  <a:pt x="523771" y="3750094"/>
                </a:lnTo>
                <a:close/>
                <a:moveTo>
                  <a:pt x="266197" y="3720492"/>
                </a:moveTo>
                <a:lnTo>
                  <a:pt x="295800" y="3720492"/>
                </a:lnTo>
                <a:lnTo>
                  <a:pt x="295800" y="3750094"/>
                </a:lnTo>
                <a:lnTo>
                  <a:pt x="266197" y="3750094"/>
                </a:lnTo>
                <a:close/>
                <a:moveTo>
                  <a:pt x="0" y="3720492"/>
                </a:moveTo>
                <a:lnTo>
                  <a:pt x="29602" y="3720492"/>
                </a:lnTo>
                <a:lnTo>
                  <a:pt x="29602" y="3750094"/>
                </a:lnTo>
                <a:lnTo>
                  <a:pt x="0" y="3750094"/>
                </a:lnTo>
                <a:close/>
                <a:moveTo>
                  <a:pt x="6113045" y="3454727"/>
                </a:moveTo>
                <a:lnTo>
                  <a:pt x="6142647" y="3454727"/>
                </a:lnTo>
                <a:lnTo>
                  <a:pt x="6142647" y="3484330"/>
                </a:lnTo>
                <a:lnTo>
                  <a:pt x="6113045" y="3484330"/>
                </a:lnTo>
                <a:close/>
                <a:moveTo>
                  <a:pt x="5846848" y="3454727"/>
                </a:moveTo>
                <a:lnTo>
                  <a:pt x="5876450" y="3454727"/>
                </a:lnTo>
                <a:lnTo>
                  <a:pt x="5876450" y="3484330"/>
                </a:lnTo>
                <a:lnTo>
                  <a:pt x="5846848" y="3484330"/>
                </a:lnTo>
                <a:close/>
                <a:moveTo>
                  <a:pt x="5580759" y="3454727"/>
                </a:moveTo>
                <a:lnTo>
                  <a:pt x="5610361" y="3454727"/>
                </a:lnTo>
                <a:lnTo>
                  <a:pt x="5610361" y="3484330"/>
                </a:lnTo>
                <a:lnTo>
                  <a:pt x="5580759" y="3484330"/>
                </a:lnTo>
                <a:close/>
                <a:moveTo>
                  <a:pt x="5314562" y="3454727"/>
                </a:moveTo>
                <a:lnTo>
                  <a:pt x="5344164" y="3454727"/>
                </a:lnTo>
                <a:lnTo>
                  <a:pt x="5344164" y="3484330"/>
                </a:lnTo>
                <a:lnTo>
                  <a:pt x="5314562" y="3484330"/>
                </a:lnTo>
                <a:close/>
                <a:moveTo>
                  <a:pt x="5048365" y="3454727"/>
                </a:moveTo>
                <a:lnTo>
                  <a:pt x="5078075" y="3454727"/>
                </a:lnTo>
                <a:lnTo>
                  <a:pt x="5078075" y="3484330"/>
                </a:lnTo>
                <a:lnTo>
                  <a:pt x="5048365" y="3484330"/>
                </a:lnTo>
                <a:close/>
                <a:moveTo>
                  <a:pt x="4782276" y="3454727"/>
                </a:moveTo>
                <a:lnTo>
                  <a:pt x="4811879" y="3454727"/>
                </a:lnTo>
                <a:lnTo>
                  <a:pt x="4811879" y="3484330"/>
                </a:lnTo>
                <a:lnTo>
                  <a:pt x="4782276" y="3484330"/>
                </a:lnTo>
                <a:close/>
                <a:moveTo>
                  <a:pt x="4516079" y="3454727"/>
                </a:moveTo>
                <a:lnTo>
                  <a:pt x="4545681" y="3454727"/>
                </a:lnTo>
                <a:lnTo>
                  <a:pt x="4545681" y="3484330"/>
                </a:lnTo>
                <a:lnTo>
                  <a:pt x="4516079" y="3484330"/>
                </a:lnTo>
                <a:close/>
                <a:moveTo>
                  <a:pt x="4249990" y="3454727"/>
                </a:moveTo>
                <a:lnTo>
                  <a:pt x="4279592" y="3454727"/>
                </a:lnTo>
                <a:lnTo>
                  <a:pt x="4279592" y="3484330"/>
                </a:lnTo>
                <a:lnTo>
                  <a:pt x="4249990" y="3484330"/>
                </a:lnTo>
                <a:close/>
                <a:moveTo>
                  <a:pt x="3983793" y="3454727"/>
                </a:moveTo>
                <a:lnTo>
                  <a:pt x="4013396" y="3454727"/>
                </a:lnTo>
                <a:lnTo>
                  <a:pt x="4013396" y="3484330"/>
                </a:lnTo>
                <a:lnTo>
                  <a:pt x="3983793" y="3484330"/>
                </a:lnTo>
                <a:close/>
                <a:moveTo>
                  <a:pt x="3717704" y="3454727"/>
                </a:moveTo>
                <a:lnTo>
                  <a:pt x="3747307" y="3454727"/>
                </a:lnTo>
                <a:lnTo>
                  <a:pt x="3747307" y="3484330"/>
                </a:lnTo>
                <a:lnTo>
                  <a:pt x="3717704" y="3484330"/>
                </a:lnTo>
                <a:close/>
                <a:moveTo>
                  <a:pt x="3451507" y="3454727"/>
                </a:moveTo>
                <a:lnTo>
                  <a:pt x="3481109" y="3454727"/>
                </a:lnTo>
                <a:lnTo>
                  <a:pt x="3481109" y="3484330"/>
                </a:lnTo>
                <a:lnTo>
                  <a:pt x="3451507" y="3484330"/>
                </a:lnTo>
                <a:close/>
                <a:moveTo>
                  <a:pt x="3185310" y="3454727"/>
                </a:moveTo>
                <a:lnTo>
                  <a:pt x="3214913" y="3454727"/>
                </a:lnTo>
                <a:lnTo>
                  <a:pt x="3214913" y="3484330"/>
                </a:lnTo>
                <a:lnTo>
                  <a:pt x="3185310" y="3484330"/>
                </a:lnTo>
                <a:close/>
                <a:moveTo>
                  <a:pt x="2919113" y="3454727"/>
                </a:moveTo>
                <a:lnTo>
                  <a:pt x="2948715" y="3454727"/>
                </a:lnTo>
                <a:lnTo>
                  <a:pt x="2948715" y="3484330"/>
                </a:lnTo>
                <a:lnTo>
                  <a:pt x="2919113" y="3484330"/>
                </a:lnTo>
                <a:close/>
                <a:moveTo>
                  <a:pt x="2653024" y="3454727"/>
                </a:moveTo>
                <a:lnTo>
                  <a:pt x="2682627" y="3454727"/>
                </a:lnTo>
                <a:lnTo>
                  <a:pt x="2682627" y="3484330"/>
                </a:lnTo>
                <a:lnTo>
                  <a:pt x="2653024" y="3484330"/>
                </a:lnTo>
                <a:close/>
                <a:moveTo>
                  <a:pt x="2386827" y="3454727"/>
                </a:moveTo>
                <a:lnTo>
                  <a:pt x="2416430" y="3454727"/>
                </a:lnTo>
                <a:lnTo>
                  <a:pt x="2416430" y="3484330"/>
                </a:lnTo>
                <a:lnTo>
                  <a:pt x="2386827" y="3484330"/>
                </a:lnTo>
                <a:close/>
                <a:moveTo>
                  <a:pt x="2120630" y="3454727"/>
                </a:moveTo>
                <a:lnTo>
                  <a:pt x="2150233" y="3454727"/>
                </a:lnTo>
                <a:lnTo>
                  <a:pt x="2150233" y="3484330"/>
                </a:lnTo>
                <a:lnTo>
                  <a:pt x="2120630" y="3484330"/>
                </a:lnTo>
                <a:close/>
                <a:moveTo>
                  <a:pt x="1854540" y="3454727"/>
                </a:moveTo>
                <a:lnTo>
                  <a:pt x="1884143" y="3454727"/>
                </a:lnTo>
                <a:lnTo>
                  <a:pt x="1884143" y="3484330"/>
                </a:lnTo>
                <a:lnTo>
                  <a:pt x="1854540" y="3484330"/>
                </a:lnTo>
                <a:close/>
                <a:moveTo>
                  <a:pt x="1588343" y="3454727"/>
                </a:moveTo>
                <a:lnTo>
                  <a:pt x="1617945" y="3454727"/>
                </a:lnTo>
                <a:lnTo>
                  <a:pt x="1617945" y="3484330"/>
                </a:lnTo>
                <a:lnTo>
                  <a:pt x="1588343" y="3484330"/>
                </a:lnTo>
                <a:close/>
                <a:moveTo>
                  <a:pt x="1322254" y="3454727"/>
                </a:moveTo>
                <a:lnTo>
                  <a:pt x="1351857" y="3454727"/>
                </a:lnTo>
                <a:lnTo>
                  <a:pt x="1351857" y="3484330"/>
                </a:lnTo>
                <a:lnTo>
                  <a:pt x="1322254" y="3484330"/>
                </a:lnTo>
                <a:close/>
                <a:moveTo>
                  <a:pt x="1056057" y="3454727"/>
                </a:moveTo>
                <a:lnTo>
                  <a:pt x="1085660" y="3454727"/>
                </a:lnTo>
                <a:lnTo>
                  <a:pt x="1085660" y="3484330"/>
                </a:lnTo>
                <a:lnTo>
                  <a:pt x="1056057" y="3484330"/>
                </a:lnTo>
                <a:close/>
                <a:moveTo>
                  <a:pt x="789968" y="3454727"/>
                </a:moveTo>
                <a:lnTo>
                  <a:pt x="819570" y="3454727"/>
                </a:lnTo>
                <a:lnTo>
                  <a:pt x="819570" y="3484330"/>
                </a:lnTo>
                <a:lnTo>
                  <a:pt x="789968" y="3484330"/>
                </a:lnTo>
                <a:close/>
                <a:moveTo>
                  <a:pt x="523771" y="3454727"/>
                </a:moveTo>
                <a:lnTo>
                  <a:pt x="553373" y="3454727"/>
                </a:lnTo>
                <a:lnTo>
                  <a:pt x="553373" y="3484330"/>
                </a:lnTo>
                <a:lnTo>
                  <a:pt x="523771" y="3484330"/>
                </a:lnTo>
                <a:close/>
                <a:moveTo>
                  <a:pt x="266197" y="3454727"/>
                </a:moveTo>
                <a:lnTo>
                  <a:pt x="295800" y="3454727"/>
                </a:lnTo>
                <a:lnTo>
                  <a:pt x="295800" y="3484330"/>
                </a:lnTo>
                <a:lnTo>
                  <a:pt x="266197" y="3484330"/>
                </a:lnTo>
                <a:close/>
                <a:moveTo>
                  <a:pt x="0" y="3454727"/>
                </a:moveTo>
                <a:lnTo>
                  <a:pt x="29602" y="3454727"/>
                </a:lnTo>
                <a:lnTo>
                  <a:pt x="29602" y="3484330"/>
                </a:lnTo>
                <a:lnTo>
                  <a:pt x="0" y="3484330"/>
                </a:lnTo>
                <a:close/>
                <a:moveTo>
                  <a:pt x="6113045" y="3189089"/>
                </a:moveTo>
                <a:lnTo>
                  <a:pt x="6142647" y="3189089"/>
                </a:lnTo>
                <a:lnTo>
                  <a:pt x="6142647" y="3218566"/>
                </a:lnTo>
                <a:lnTo>
                  <a:pt x="6113045" y="3218566"/>
                </a:lnTo>
                <a:close/>
                <a:moveTo>
                  <a:pt x="5846848" y="3189089"/>
                </a:moveTo>
                <a:lnTo>
                  <a:pt x="5876450" y="3189089"/>
                </a:lnTo>
                <a:lnTo>
                  <a:pt x="5876450" y="3218566"/>
                </a:lnTo>
                <a:lnTo>
                  <a:pt x="5846848" y="3218566"/>
                </a:lnTo>
                <a:close/>
                <a:moveTo>
                  <a:pt x="266197" y="3189089"/>
                </a:moveTo>
                <a:lnTo>
                  <a:pt x="295800" y="3189089"/>
                </a:lnTo>
                <a:lnTo>
                  <a:pt x="295800" y="3218566"/>
                </a:lnTo>
                <a:lnTo>
                  <a:pt x="266197" y="3218566"/>
                </a:lnTo>
                <a:close/>
                <a:moveTo>
                  <a:pt x="0" y="3189089"/>
                </a:moveTo>
                <a:lnTo>
                  <a:pt x="29602" y="3189089"/>
                </a:lnTo>
                <a:lnTo>
                  <a:pt x="29602" y="3218566"/>
                </a:lnTo>
                <a:lnTo>
                  <a:pt x="0" y="3218566"/>
                </a:lnTo>
                <a:close/>
                <a:moveTo>
                  <a:pt x="5580759" y="3189087"/>
                </a:moveTo>
                <a:lnTo>
                  <a:pt x="5610361" y="3189087"/>
                </a:lnTo>
                <a:lnTo>
                  <a:pt x="5610361" y="3218566"/>
                </a:lnTo>
                <a:lnTo>
                  <a:pt x="5580759" y="3218566"/>
                </a:lnTo>
                <a:close/>
                <a:moveTo>
                  <a:pt x="5314562" y="3189087"/>
                </a:moveTo>
                <a:lnTo>
                  <a:pt x="5344164" y="3189087"/>
                </a:lnTo>
                <a:lnTo>
                  <a:pt x="5344164" y="3218566"/>
                </a:lnTo>
                <a:lnTo>
                  <a:pt x="5314562" y="3218566"/>
                </a:lnTo>
                <a:close/>
                <a:moveTo>
                  <a:pt x="5048365" y="3189086"/>
                </a:moveTo>
                <a:lnTo>
                  <a:pt x="5078075" y="3189086"/>
                </a:lnTo>
                <a:lnTo>
                  <a:pt x="5078075" y="3218566"/>
                </a:lnTo>
                <a:lnTo>
                  <a:pt x="5048365" y="3218566"/>
                </a:lnTo>
                <a:close/>
                <a:moveTo>
                  <a:pt x="4782276" y="3189085"/>
                </a:moveTo>
                <a:lnTo>
                  <a:pt x="4811879" y="3189085"/>
                </a:lnTo>
                <a:lnTo>
                  <a:pt x="4811879" y="3218566"/>
                </a:lnTo>
                <a:lnTo>
                  <a:pt x="4782276" y="3218566"/>
                </a:lnTo>
                <a:close/>
                <a:moveTo>
                  <a:pt x="4516079" y="3189084"/>
                </a:moveTo>
                <a:lnTo>
                  <a:pt x="4545681" y="3189084"/>
                </a:lnTo>
                <a:lnTo>
                  <a:pt x="4545681" y="3218566"/>
                </a:lnTo>
                <a:lnTo>
                  <a:pt x="4516079" y="3218566"/>
                </a:lnTo>
                <a:close/>
                <a:moveTo>
                  <a:pt x="4249990" y="3189083"/>
                </a:moveTo>
                <a:lnTo>
                  <a:pt x="4279592" y="3189083"/>
                </a:lnTo>
                <a:lnTo>
                  <a:pt x="4279592" y="3218566"/>
                </a:lnTo>
                <a:lnTo>
                  <a:pt x="4249990" y="3218566"/>
                </a:lnTo>
                <a:close/>
                <a:moveTo>
                  <a:pt x="3983793" y="3189082"/>
                </a:moveTo>
                <a:lnTo>
                  <a:pt x="4013396" y="3189082"/>
                </a:lnTo>
                <a:lnTo>
                  <a:pt x="4013396" y="3218566"/>
                </a:lnTo>
                <a:lnTo>
                  <a:pt x="3983793" y="3218566"/>
                </a:lnTo>
                <a:close/>
                <a:moveTo>
                  <a:pt x="3717704" y="3189081"/>
                </a:moveTo>
                <a:lnTo>
                  <a:pt x="3747307" y="3189081"/>
                </a:lnTo>
                <a:lnTo>
                  <a:pt x="3747307" y="3218566"/>
                </a:lnTo>
                <a:lnTo>
                  <a:pt x="3717704" y="3218566"/>
                </a:lnTo>
                <a:close/>
                <a:moveTo>
                  <a:pt x="3451507" y="3189081"/>
                </a:moveTo>
                <a:lnTo>
                  <a:pt x="3481109" y="3189081"/>
                </a:lnTo>
                <a:lnTo>
                  <a:pt x="3481109" y="3218566"/>
                </a:lnTo>
                <a:lnTo>
                  <a:pt x="3451507" y="3218566"/>
                </a:lnTo>
                <a:close/>
                <a:moveTo>
                  <a:pt x="3185310" y="3189080"/>
                </a:moveTo>
                <a:lnTo>
                  <a:pt x="3214913" y="3189080"/>
                </a:lnTo>
                <a:lnTo>
                  <a:pt x="3214913" y="3218566"/>
                </a:lnTo>
                <a:lnTo>
                  <a:pt x="3185310" y="3218566"/>
                </a:lnTo>
                <a:close/>
                <a:moveTo>
                  <a:pt x="2919113" y="3189079"/>
                </a:moveTo>
                <a:lnTo>
                  <a:pt x="2948715" y="3189079"/>
                </a:lnTo>
                <a:lnTo>
                  <a:pt x="2948715" y="3218566"/>
                </a:lnTo>
                <a:lnTo>
                  <a:pt x="2919113" y="3218566"/>
                </a:lnTo>
                <a:close/>
                <a:moveTo>
                  <a:pt x="2653024" y="3189078"/>
                </a:moveTo>
                <a:lnTo>
                  <a:pt x="2682627" y="3189078"/>
                </a:lnTo>
                <a:lnTo>
                  <a:pt x="2682627" y="3218566"/>
                </a:lnTo>
                <a:lnTo>
                  <a:pt x="2653024" y="3218566"/>
                </a:lnTo>
                <a:close/>
                <a:moveTo>
                  <a:pt x="2386827" y="3189077"/>
                </a:moveTo>
                <a:lnTo>
                  <a:pt x="2416430" y="3189077"/>
                </a:lnTo>
                <a:lnTo>
                  <a:pt x="2416430" y="3218566"/>
                </a:lnTo>
                <a:lnTo>
                  <a:pt x="2386827" y="3218566"/>
                </a:lnTo>
                <a:close/>
                <a:moveTo>
                  <a:pt x="2120630" y="3189076"/>
                </a:moveTo>
                <a:lnTo>
                  <a:pt x="2150233" y="3189076"/>
                </a:lnTo>
                <a:lnTo>
                  <a:pt x="2150233" y="3218566"/>
                </a:lnTo>
                <a:lnTo>
                  <a:pt x="2120630" y="3218566"/>
                </a:lnTo>
                <a:close/>
                <a:moveTo>
                  <a:pt x="1854540" y="3189076"/>
                </a:moveTo>
                <a:lnTo>
                  <a:pt x="1884143" y="3189076"/>
                </a:lnTo>
                <a:lnTo>
                  <a:pt x="1884143" y="3218566"/>
                </a:lnTo>
                <a:lnTo>
                  <a:pt x="1854540" y="3218566"/>
                </a:lnTo>
                <a:close/>
                <a:moveTo>
                  <a:pt x="1588343" y="3189075"/>
                </a:moveTo>
                <a:lnTo>
                  <a:pt x="1617945" y="3189075"/>
                </a:lnTo>
                <a:lnTo>
                  <a:pt x="1617945" y="3218566"/>
                </a:lnTo>
                <a:lnTo>
                  <a:pt x="1588343" y="3218566"/>
                </a:lnTo>
                <a:close/>
                <a:moveTo>
                  <a:pt x="1322254" y="3189074"/>
                </a:moveTo>
                <a:lnTo>
                  <a:pt x="1351857" y="3189074"/>
                </a:lnTo>
                <a:lnTo>
                  <a:pt x="1351857" y="3218566"/>
                </a:lnTo>
                <a:lnTo>
                  <a:pt x="1322254" y="3218566"/>
                </a:lnTo>
                <a:close/>
                <a:moveTo>
                  <a:pt x="1056057" y="3189073"/>
                </a:moveTo>
                <a:lnTo>
                  <a:pt x="1085660" y="3189073"/>
                </a:lnTo>
                <a:lnTo>
                  <a:pt x="1085660" y="3218566"/>
                </a:lnTo>
                <a:lnTo>
                  <a:pt x="1056057" y="3218566"/>
                </a:lnTo>
                <a:close/>
                <a:moveTo>
                  <a:pt x="789968" y="3189072"/>
                </a:moveTo>
                <a:lnTo>
                  <a:pt x="819570" y="3189072"/>
                </a:lnTo>
                <a:lnTo>
                  <a:pt x="819570" y="3218566"/>
                </a:lnTo>
                <a:lnTo>
                  <a:pt x="789968" y="3218566"/>
                </a:lnTo>
                <a:close/>
                <a:moveTo>
                  <a:pt x="523771" y="3189071"/>
                </a:moveTo>
                <a:lnTo>
                  <a:pt x="553373" y="3189071"/>
                </a:lnTo>
                <a:lnTo>
                  <a:pt x="553373" y="3218566"/>
                </a:lnTo>
                <a:lnTo>
                  <a:pt x="523771" y="3218566"/>
                </a:lnTo>
                <a:close/>
                <a:moveTo>
                  <a:pt x="6113045" y="2923329"/>
                </a:moveTo>
                <a:lnTo>
                  <a:pt x="6142647" y="2923329"/>
                </a:lnTo>
                <a:lnTo>
                  <a:pt x="6142647" y="2952824"/>
                </a:lnTo>
                <a:lnTo>
                  <a:pt x="6113045" y="2952824"/>
                </a:lnTo>
                <a:close/>
                <a:moveTo>
                  <a:pt x="266197" y="2923329"/>
                </a:moveTo>
                <a:lnTo>
                  <a:pt x="295800" y="2923329"/>
                </a:lnTo>
                <a:lnTo>
                  <a:pt x="295800" y="2952824"/>
                </a:lnTo>
                <a:lnTo>
                  <a:pt x="266197" y="2952824"/>
                </a:lnTo>
                <a:close/>
                <a:moveTo>
                  <a:pt x="5846848" y="2923328"/>
                </a:moveTo>
                <a:lnTo>
                  <a:pt x="5876450" y="2923328"/>
                </a:lnTo>
                <a:lnTo>
                  <a:pt x="5876450" y="2952823"/>
                </a:lnTo>
                <a:lnTo>
                  <a:pt x="5846848" y="2952823"/>
                </a:lnTo>
                <a:close/>
                <a:moveTo>
                  <a:pt x="0" y="2923328"/>
                </a:moveTo>
                <a:lnTo>
                  <a:pt x="29602" y="2923328"/>
                </a:lnTo>
                <a:lnTo>
                  <a:pt x="29602" y="2952823"/>
                </a:lnTo>
                <a:lnTo>
                  <a:pt x="0" y="2952823"/>
                </a:lnTo>
                <a:close/>
                <a:moveTo>
                  <a:pt x="5580759" y="2923327"/>
                </a:moveTo>
                <a:lnTo>
                  <a:pt x="5610361" y="2923327"/>
                </a:lnTo>
                <a:lnTo>
                  <a:pt x="5610361" y="2952822"/>
                </a:lnTo>
                <a:lnTo>
                  <a:pt x="5580759" y="2952822"/>
                </a:lnTo>
                <a:close/>
                <a:moveTo>
                  <a:pt x="5314562" y="2923326"/>
                </a:moveTo>
                <a:lnTo>
                  <a:pt x="5344164" y="2923326"/>
                </a:lnTo>
                <a:lnTo>
                  <a:pt x="5344164" y="2952821"/>
                </a:lnTo>
                <a:lnTo>
                  <a:pt x="5314562" y="2952821"/>
                </a:lnTo>
                <a:close/>
                <a:moveTo>
                  <a:pt x="5048365" y="2923325"/>
                </a:moveTo>
                <a:lnTo>
                  <a:pt x="5078075" y="2923325"/>
                </a:lnTo>
                <a:lnTo>
                  <a:pt x="5078075" y="2952820"/>
                </a:lnTo>
                <a:lnTo>
                  <a:pt x="5048365" y="2952820"/>
                </a:lnTo>
                <a:close/>
                <a:moveTo>
                  <a:pt x="4782276" y="2923323"/>
                </a:moveTo>
                <a:lnTo>
                  <a:pt x="4811879" y="2923323"/>
                </a:lnTo>
                <a:lnTo>
                  <a:pt x="4811879" y="2952819"/>
                </a:lnTo>
                <a:lnTo>
                  <a:pt x="4782276" y="2952819"/>
                </a:lnTo>
                <a:close/>
                <a:moveTo>
                  <a:pt x="4516079" y="2923322"/>
                </a:moveTo>
                <a:lnTo>
                  <a:pt x="4545681" y="2923322"/>
                </a:lnTo>
                <a:lnTo>
                  <a:pt x="4545681" y="2952818"/>
                </a:lnTo>
                <a:lnTo>
                  <a:pt x="4516079" y="2952818"/>
                </a:lnTo>
                <a:close/>
                <a:moveTo>
                  <a:pt x="4249990" y="2923321"/>
                </a:moveTo>
                <a:lnTo>
                  <a:pt x="4279592" y="2923321"/>
                </a:lnTo>
                <a:lnTo>
                  <a:pt x="4279592" y="2952817"/>
                </a:lnTo>
                <a:lnTo>
                  <a:pt x="4249990" y="2952817"/>
                </a:lnTo>
                <a:close/>
                <a:moveTo>
                  <a:pt x="3983793" y="2923320"/>
                </a:moveTo>
                <a:lnTo>
                  <a:pt x="4013396" y="2923320"/>
                </a:lnTo>
                <a:lnTo>
                  <a:pt x="4013396" y="2952815"/>
                </a:lnTo>
                <a:lnTo>
                  <a:pt x="3983793" y="2952815"/>
                </a:lnTo>
                <a:close/>
                <a:moveTo>
                  <a:pt x="3717704" y="2923319"/>
                </a:moveTo>
                <a:lnTo>
                  <a:pt x="3747307" y="2923319"/>
                </a:lnTo>
                <a:lnTo>
                  <a:pt x="3747307" y="2952814"/>
                </a:lnTo>
                <a:lnTo>
                  <a:pt x="3717704" y="2952814"/>
                </a:lnTo>
                <a:close/>
                <a:moveTo>
                  <a:pt x="3451507" y="2923318"/>
                </a:moveTo>
                <a:lnTo>
                  <a:pt x="3481109" y="2923318"/>
                </a:lnTo>
                <a:lnTo>
                  <a:pt x="3481109" y="2952813"/>
                </a:lnTo>
                <a:lnTo>
                  <a:pt x="3451507" y="2952813"/>
                </a:lnTo>
                <a:close/>
                <a:moveTo>
                  <a:pt x="3185310" y="2923317"/>
                </a:moveTo>
                <a:lnTo>
                  <a:pt x="3214913" y="2923317"/>
                </a:lnTo>
                <a:lnTo>
                  <a:pt x="3214913" y="2952812"/>
                </a:lnTo>
                <a:lnTo>
                  <a:pt x="3185310" y="2952812"/>
                </a:lnTo>
                <a:close/>
                <a:moveTo>
                  <a:pt x="2919113" y="2923316"/>
                </a:moveTo>
                <a:lnTo>
                  <a:pt x="2948715" y="2923316"/>
                </a:lnTo>
                <a:lnTo>
                  <a:pt x="2948715" y="2952811"/>
                </a:lnTo>
                <a:lnTo>
                  <a:pt x="2919113" y="2952811"/>
                </a:lnTo>
                <a:close/>
                <a:moveTo>
                  <a:pt x="2653024" y="2923315"/>
                </a:moveTo>
                <a:lnTo>
                  <a:pt x="2682627" y="2923315"/>
                </a:lnTo>
                <a:lnTo>
                  <a:pt x="2682627" y="2952810"/>
                </a:lnTo>
                <a:lnTo>
                  <a:pt x="2653024" y="2952810"/>
                </a:lnTo>
                <a:close/>
                <a:moveTo>
                  <a:pt x="2386827" y="2923314"/>
                </a:moveTo>
                <a:lnTo>
                  <a:pt x="2416430" y="2923314"/>
                </a:lnTo>
                <a:lnTo>
                  <a:pt x="2416430" y="2952809"/>
                </a:lnTo>
                <a:lnTo>
                  <a:pt x="2386827" y="2952809"/>
                </a:lnTo>
                <a:close/>
                <a:moveTo>
                  <a:pt x="2120630" y="2923313"/>
                </a:moveTo>
                <a:lnTo>
                  <a:pt x="2150233" y="2923313"/>
                </a:lnTo>
                <a:lnTo>
                  <a:pt x="2150233" y="2952808"/>
                </a:lnTo>
                <a:lnTo>
                  <a:pt x="2120630" y="2952808"/>
                </a:lnTo>
                <a:close/>
                <a:moveTo>
                  <a:pt x="1854540" y="2923312"/>
                </a:moveTo>
                <a:lnTo>
                  <a:pt x="1884143" y="2923312"/>
                </a:lnTo>
                <a:lnTo>
                  <a:pt x="1884143" y="2952807"/>
                </a:lnTo>
                <a:lnTo>
                  <a:pt x="1854540" y="2952807"/>
                </a:lnTo>
                <a:close/>
                <a:moveTo>
                  <a:pt x="1588343" y="2923311"/>
                </a:moveTo>
                <a:lnTo>
                  <a:pt x="1617945" y="2923311"/>
                </a:lnTo>
                <a:lnTo>
                  <a:pt x="1617945" y="2952806"/>
                </a:lnTo>
                <a:lnTo>
                  <a:pt x="1588343" y="2952806"/>
                </a:lnTo>
                <a:close/>
                <a:moveTo>
                  <a:pt x="1322254" y="2923310"/>
                </a:moveTo>
                <a:lnTo>
                  <a:pt x="1351857" y="2923310"/>
                </a:lnTo>
                <a:lnTo>
                  <a:pt x="1351857" y="2952805"/>
                </a:lnTo>
                <a:lnTo>
                  <a:pt x="1322254" y="2952805"/>
                </a:lnTo>
                <a:close/>
                <a:moveTo>
                  <a:pt x="1056057" y="2923309"/>
                </a:moveTo>
                <a:lnTo>
                  <a:pt x="1085660" y="2923309"/>
                </a:lnTo>
                <a:lnTo>
                  <a:pt x="1085660" y="2952804"/>
                </a:lnTo>
                <a:lnTo>
                  <a:pt x="1056057" y="2952804"/>
                </a:lnTo>
                <a:close/>
                <a:moveTo>
                  <a:pt x="789968" y="2923308"/>
                </a:moveTo>
                <a:lnTo>
                  <a:pt x="819570" y="2923308"/>
                </a:lnTo>
                <a:lnTo>
                  <a:pt x="819570" y="2952803"/>
                </a:lnTo>
                <a:lnTo>
                  <a:pt x="789968" y="2952803"/>
                </a:lnTo>
                <a:close/>
                <a:moveTo>
                  <a:pt x="523771" y="2923307"/>
                </a:moveTo>
                <a:lnTo>
                  <a:pt x="553373" y="2923307"/>
                </a:lnTo>
                <a:lnTo>
                  <a:pt x="553373" y="2952802"/>
                </a:lnTo>
                <a:lnTo>
                  <a:pt x="523771" y="2952802"/>
                </a:lnTo>
                <a:close/>
                <a:moveTo>
                  <a:pt x="6113045" y="2657500"/>
                </a:moveTo>
                <a:lnTo>
                  <a:pt x="6142647" y="2657500"/>
                </a:lnTo>
                <a:lnTo>
                  <a:pt x="6142647" y="2687101"/>
                </a:lnTo>
                <a:lnTo>
                  <a:pt x="6113045" y="2687101"/>
                </a:lnTo>
                <a:close/>
                <a:moveTo>
                  <a:pt x="266197" y="2657500"/>
                </a:moveTo>
                <a:lnTo>
                  <a:pt x="295800" y="2657500"/>
                </a:lnTo>
                <a:lnTo>
                  <a:pt x="295800" y="2687101"/>
                </a:lnTo>
                <a:lnTo>
                  <a:pt x="266197" y="2687101"/>
                </a:lnTo>
                <a:close/>
                <a:moveTo>
                  <a:pt x="5846848" y="2657497"/>
                </a:moveTo>
                <a:lnTo>
                  <a:pt x="5876450" y="2657497"/>
                </a:lnTo>
                <a:lnTo>
                  <a:pt x="5876450" y="2687099"/>
                </a:lnTo>
                <a:lnTo>
                  <a:pt x="5846848" y="2687099"/>
                </a:lnTo>
                <a:close/>
                <a:moveTo>
                  <a:pt x="0" y="2657497"/>
                </a:moveTo>
                <a:lnTo>
                  <a:pt x="29602" y="2657497"/>
                </a:lnTo>
                <a:lnTo>
                  <a:pt x="29602" y="2687099"/>
                </a:lnTo>
                <a:lnTo>
                  <a:pt x="0" y="2687099"/>
                </a:lnTo>
                <a:close/>
                <a:moveTo>
                  <a:pt x="5580759" y="2657494"/>
                </a:moveTo>
                <a:lnTo>
                  <a:pt x="5610361" y="2657494"/>
                </a:lnTo>
                <a:lnTo>
                  <a:pt x="5610361" y="2687096"/>
                </a:lnTo>
                <a:lnTo>
                  <a:pt x="5580759" y="2687096"/>
                </a:lnTo>
                <a:close/>
                <a:moveTo>
                  <a:pt x="5314562" y="2657491"/>
                </a:moveTo>
                <a:lnTo>
                  <a:pt x="5344164" y="2657491"/>
                </a:lnTo>
                <a:lnTo>
                  <a:pt x="5344164" y="2687093"/>
                </a:lnTo>
                <a:lnTo>
                  <a:pt x="5314562" y="2687093"/>
                </a:lnTo>
                <a:close/>
                <a:moveTo>
                  <a:pt x="5048365" y="2657488"/>
                </a:moveTo>
                <a:lnTo>
                  <a:pt x="5078075" y="2657488"/>
                </a:lnTo>
                <a:lnTo>
                  <a:pt x="5078075" y="2687090"/>
                </a:lnTo>
                <a:lnTo>
                  <a:pt x="5048365" y="2687090"/>
                </a:lnTo>
                <a:close/>
                <a:moveTo>
                  <a:pt x="4782276" y="2657485"/>
                </a:moveTo>
                <a:lnTo>
                  <a:pt x="4811879" y="2657485"/>
                </a:lnTo>
                <a:lnTo>
                  <a:pt x="4811879" y="2687087"/>
                </a:lnTo>
                <a:lnTo>
                  <a:pt x="4782276" y="2687087"/>
                </a:lnTo>
                <a:close/>
                <a:moveTo>
                  <a:pt x="4516079" y="2657482"/>
                </a:moveTo>
                <a:lnTo>
                  <a:pt x="4545681" y="2657482"/>
                </a:lnTo>
                <a:lnTo>
                  <a:pt x="4545681" y="2687083"/>
                </a:lnTo>
                <a:lnTo>
                  <a:pt x="4516079" y="2687083"/>
                </a:lnTo>
                <a:close/>
                <a:moveTo>
                  <a:pt x="4249990" y="2657478"/>
                </a:moveTo>
                <a:lnTo>
                  <a:pt x="4279592" y="2657478"/>
                </a:lnTo>
                <a:lnTo>
                  <a:pt x="4279592" y="2687080"/>
                </a:lnTo>
                <a:lnTo>
                  <a:pt x="4249990" y="2687080"/>
                </a:lnTo>
                <a:close/>
                <a:moveTo>
                  <a:pt x="3983793" y="2657475"/>
                </a:moveTo>
                <a:lnTo>
                  <a:pt x="4013396" y="2657475"/>
                </a:lnTo>
                <a:lnTo>
                  <a:pt x="4013396" y="2687077"/>
                </a:lnTo>
                <a:lnTo>
                  <a:pt x="3983793" y="2687077"/>
                </a:lnTo>
                <a:close/>
                <a:moveTo>
                  <a:pt x="3717704" y="2657472"/>
                </a:moveTo>
                <a:lnTo>
                  <a:pt x="3747307" y="2657472"/>
                </a:lnTo>
                <a:lnTo>
                  <a:pt x="3747307" y="2687074"/>
                </a:lnTo>
                <a:lnTo>
                  <a:pt x="3717704" y="2687074"/>
                </a:lnTo>
                <a:close/>
                <a:moveTo>
                  <a:pt x="3451507" y="2657469"/>
                </a:moveTo>
                <a:lnTo>
                  <a:pt x="3481109" y="2657469"/>
                </a:lnTo>
                <a:lnTo>
                  <a:pt x="3481109" y="2687071"/>
                </a:lnTo>
                <a:lnTo>
                  <a:pt x="3451507" y="2687071"/>
                </a:lnTo>
                <a:close/>
                <a:moveTo>
                  <a:pt x="3185310" y="2657466"/>
                </a:moveTo>
                <a:lnTo>
                  <a:pt x="3214913" y="2657466"/>
                </a:lnTo>
                <a:lnTo>
                  <a:pt x="3214913" y="2687068"/>
                </a:lnTo>
                <a:lnTo>
                  <a:pt x="3185310" y="2687068"/>
                </a:lnTo>
                <a:close/>
                <a:moveTo>
                  <a:pt x="2919113" y="2657462"/>
                </a:moveTo>
                <a:lnTo>
                  <a:pt x="2948715" y="2657462"/>
                </a:lnTo>
                <a:lnTo>
                  <a:pt x="2948715" y="2687064"/>
                </a:lnTo>
                <a:lnTo>
                  <a:pt x="2919113" y="2687064"/>
                </a:lnTo>
                <a:close/>
                <a:moveTo>
                  <a:pt x="2653024" y="2657459"/>
                </a:moveTo>
                <a:lnTo>
                  <a:pt x="2682627" y="2657459"/>
                </a:lnTo>
                <a:lnTo>
                  <a:pt x="2682627" y="2687061"/>
                </a:lnTo>
                <a:lnTo>
                  <a:pt x="2653024" y="2687061"/>
                </a:lnTo>
                <a:close/>
                <a:moveTo>
                  <a:pt x="2386827" y="2657456"/>
                </a:moveTo>
                <a:lnTo>
                  <a:pt x="2416430" y="2657456"/>
                </a:lnTo>
                <a:lnTo>
                  <a:pt x="2416430" y="2687058"/>
                </a:lnTo>
                <a:lnTo>
                  <a:pt x="2386827" y="2687058"/>
                </a:lnTo>
                <a:close/>
                <a:moveTo>
                  <a:pt x="2120630" y="2657453"/>
                </a:moveTo>
                <a:lnTo>
                  <a:pt x="2150233" y="2657453"/>
                </a:lnTo>
                <a:lnTo>
                  <a:pt x="2150233" y="2687055"/>
                </a:lnTo>
                <a:lnTo>
                  <a:pt x="2120630" y="2687055"/>
                </a:lnTo>
                <a:close/>
                <a:moveTo>
                  <a:pt x="1854540" y="2657450"/>
                </a:moveTo>
                <a:lnTo>
                  <a:pt x="1884143" y="2657450"/>
                </a:lnTo>
                <a:lnTo>
                  <a:pt x="1884143" y="2687052"/>
                </a:lnTo>
                <a:lnTo>
                  <a:pt x="1854540" y="2687052"/>
                </a:lnTo>
                <a:close/>
                <a:moveTo>
                  <a:pt x="1588343" y="2657447"/>
                </a:moveTo>
                <a:lnTo>
                  <a:pt x="1617945" y="2657447"/>
                </a:lnTo>
                <a:lnTo>
                  <a:pt x="1617945" y="2687049"/>
                </a:lnTo>
                <a:lnTo>
                  <a:pt x="1588343" y="2687049"/>
                </a:lnTo>
                <a:close/>
                <a:moveTo>
                  <a:pt x="1322254" y="2657443"/>
                </a:moveTo>
                <a:lnTo>
                  <a:pt x="1351857" y="2657443"/>
                </a:lnTo>
                <a:lnTo>
                  <a:pt x="1351857" y="2687045"/>
                </a:lnTo>
                <a:lnTo>
                  <a:pt x="1322254" y="2687045"/>
                </a:lnTo>
                <a:close/>
                <a:moveTo>
                  <a:pt x="1056057" y="2657440"/>
                </a:moveTo>
                <a:lnTo>
                  <a:pt x="1085660" y="2657440"/>
                </a:lnTo>
                <a:lnTo>
                  <a:pt x="1085660" y="2687042"/>
                </a:lnTo>
                <a:lnTo>
                  <a:pt x="1056057" y="2687042"/>
                </a:lnTo>
                <a:close/>
                <a:moveTo>
                  <a:pt x="789968" y="2657437"/>
                </a:moveTo>
                <a:lnTo>
                  <a:pt x="819570" y="2657437"/>
                </a:lnTo>
                <a:lnTo>
                  <a:pt x="819570" y="2687039"/>
                </a:lnTo>
                <a:lnTo>
                  <a:pt x="789968" y="2687039"/>
                </a:lnTo>
                <a:close/>
                <a:moveTo>
                  <a:pt x="523771" y="2657434"/>
                </a:moveTo>
                <a:lnTo>
                  <a:pt x="553373" y="2657434"/>
                </a:lnTo>
                <a:lnTo>
                  <a:pt x="553373" y="2687036"/>
                </a:lnTo>
                <a:lnTo>
                  <a:pt x="523771" y="2687036"/>
                </a:lnTo>
                <a:close/>
                <a:moveTo>
                  <a:pt x="6113045" y="2391735"/>
                </a:moveTo>
                <a:lnTo>
                  <a:pt x="6142647" y="2391735"/>
                </a:lnTo>
                <a:lnTo>
                  <a:pt x="6142647" y="2421368"/>
                </a:lnTo>
                <a:lnTo>
                  <a:pt x="6113045" y="2421368"/>
                </a:lnTo>
                <a:close/>
                <a:moveTo>
                  <a:pt x="266197" y="2391735"/>
                </a:moveTo>
                <a:lnTo>
                  <a:pt x="295800" y="2391735"/>
                </a:lnTo>
                <a:lnTo>
                  <a:pt x="295800" y="2421368"/>
                </a:lnTo>
                <a:lnTo>
                  <a:pt x="266197" y="2421368"/>
                </a:lnTo>
                <a:close/>
                <a:moveTo>
                  <a:pt x="5846848" y="2391732"/>
                </a:moveTo>
                <a:lnTo>
                  <a:pt x="5876450" y="2391732"/>
                </a:lnTo>
                <a:lnTo>
                  <a:pt x="5876450" y="2421368"/>
                </a:lnTo>
                <a:lnTo>
                  <a:pt x="5846848" y="2421368"/>
                </a:lnTo>
                <a:close/>
                <a:moveTo>
                  <a:pt x="0" y="2391732"/>
                </a:moveTo>
                <a:lnTo>
                  <a:pt x="29602" y="2391732"/>
                </a:lnTo>
                <a:lnTo>
                  <a:pt x="29602" y="2421368"/>
                </a:lnTo>
                <a:lnTo>
                  <a:pt x="0" y="2421368"/>
                </a:lnTo>
                <a:close/>
                <a:moveTo>
                  <a:pt x="5580759" y="2391729"/>
                </a:moveTo>
                <a:lnTo>
                  <a:pt x="5610361" y="2391729"/>
                </a:lnTo>
                <a:lnTo>
                  <a:pt x="5610361" y="2421364"/>
                </a:lnTo>
                <a:lnTo>
                  <a:pt x="5580759" y="2421364"/>
                </a:lnTo>
                <a:close/>
                <a:moveTo>
                  <a:pt x="5314562" y="2391726"/>
                </a:moveTo>
                <a:lnTo>
                  <a:pt x="5344164" y="2391726"/>
                </a:lnTo>
                <a:lnTo>
                  <a:pt x="5344164" y="2421359"/>
                </a:lnTo>
                <a:lnTo>
                  <a:pt x="5314562" y="2421359"/>
                </a:lnTo>
                <a:close/>
                <a:moveTo>
                  <a:pt x="5048365" y="2391725"/>
                </a:moveTo>
                <a:lnTo>
                  <a:pt x="5078075" y="2391725"/>
                </a:lnTo>
                <a:lnTo>
                  <a:pt x="5078075" y="2421354"/>
                </a:lnTo>
                <a:lnTo>
                  <a:pt x="5048365" y="2421354"/>
                </a:lnTo>
                <a:close/>
                <a:moveTo>
                  <a:pt x="4782276" y="2391720"/>
                </a:moveTo>
                <a:lnTo>
                  <a:pt x="4811879" y="2391720"/>
                </a:lnTo>
                <a:lnTo>
                  <a:pt x="4811879" y="2421349"/>
                </a:lnTo>
                <a:lnTo>
                  <a:pt x="4782276" y="2421349"/>
                </a:lnTo>
                <a:close/>
                <a:moveTo>
                  <a:pt x="4516079" y="2391716"/>
                </a:moveTo>
                <a:lnTo>
                  <a:pt x="4545681" y="2391716"/>
                </a:lnTo>
                <a:lnTo>
                  <a:pt x="4545681" y="2421345"/>
                </a:lnTo>
                <a:lnTo>
                  <a:pt x="4516079" y="2421345"/>
                </a:lnTo>
                <a:close/>
                <a:moveTo>
                  <a:pt x="4249990" y="2391713"/>
                </a:moveTo>
                <a:lnTo>
                  <a:pt x="4279592" y="2391713"/>
                </a:lnTo>
                <a:lnTo>
                  <a:pt x="4279592" y="2421340"/>
                </a:lnTo>
                <a:lnTo>
                  <a:pt x="4249990" y="2421340"/>
                </a:lnTo>
                <a:close/>
                <a:moveTo>
                  <a:pt x="3983793" y="2391710"/>
                </a:moveTo>
                <a:lnTo>
                  <a:pt x="4013396" y="2391710"/>
                </a:lnTo>
                <a:lnTo>
                  <a:pt x="4013396" y="2421336"/>
                </a:lnTo>
                <a:lnTo>
                  <a:pt x="3983793" y="2421336"/>
                </a:lnTo>
                <a:close/>
                <a:moveTo>
                  <a:pt x="3717704" y="2391707"/>
                </a:moveTo>
                <a:lnTo>
                  <a:pt x="3747307" y="2391707"/>
                </a:lnTo>
                <a:lnTo>
                  <a:pt x="3747307" y="2421331"/>
                </a:lnTo>
                <a:lnTo>
                  <a:pt x="3717704" y="2421331"/>
                </a:lnTo>
                <a:close/>
                <a:moveTo>
                  <a:pt x="3451507" y="2391706"/>
                </a:moveTo>
                <a:lnTo>
                  <a:pt x="3481109" y="2391706"/>
                </a:lnTo>
                <a:lnTo>
                  <a:pt x="3481109" y="2421326"/>
                </a:lnTo>
                <a:lnTo>
                  <a:pt x="3451507" y="2421326"/>
                </a:lnTo>
                <a:close/>
                <a:moveTo>
                  <a:pt x="3185310" y="2391701"/>
                </a:moveTo>
                <a:lnTo>
                  <a:pt x="3214913" y="2391701"/>
                </a:lnTo>
                <a:lnTo>
                  <a:pt x="3214913" y="2421321"/>
                </a:lnTo>
                <a:lnTo>
                  <a:pt x="3185310" y="2421321"/>
                </a:lnTo>
                <a:close/>
                <a:moveTo>
                  <a:pt x="2919113" y="2391697"/>
                </a:moveTo>
                <a:lnTo>
                  <a:pt x="2948715" y="2391697"/>
                </a:lnTo>
                <a:lnTo>
                  <a:pt x="2948715" y="2421317"/>
                </a:lnTo>
                <a:lnTo>
                  <a:pt x="2919113" y="2421317"/>
                </a:lnTo>
                <a:close/>
                <a:moveTo>
                  <a:pt x="2653024" y="2391694"/>
                </a:moveTo>
                <a:lnTo>
                  <a:pt x="2682627" y="2391694"/>
                </a:lnTo>
                <a:lnTo>
                  <a:pt x="2682627" y="2421312"/>
                </a:lnTo>
                <a:lnTo>
                  <a:pt x="2653024" y="2421312"/>
                </a:lnTo>
                <a:close/>
                <a:moveTo>
                  <a:pt x="2386827" y="2391691"/>
                </a:moveTo>
                <a:lnTo>
                  <a:pt x="2416430" y="2391691"/>
                </a:lnTo>
                <a:lnTo>
                  <a:pt x="2416430" y="2421307"/>
                </a:lnTo>
                <a:lnTo>
                  <a:pt x="2386827" y="2421307"/>
                </a:lnTo>
                <a:close/>
                <a:moveTo>
                  <a:pt x="2120630" y="2391688"/>
                </a:moveTo>
                <a:lnTo>
                  <a:pt x="2150233" y="2391688"/>
                </a:lnTo>
                <a:lnTo>
                  <a:pt x="2150233" y="2421302"/>
                </a:lnTo>
                <a:lnTo>
                  <a:pt x="2120630" y="2421302"/>
                </a:lnTo>
                <a:close/>
                <a:moveTo>
                  <a:pt x="1854540" y="2391687"/>
                </a:moveTo>
                <a:lnTo>
                  <a:pt x="1884143" y="2391687"/>
                </a:lnTo>
                <a:lnTo>
                  <a:pt x="1884143" y="2421298"/>
                </a:lnTo>
                <a:lnTo>
                  <a:pt x="1854540" y="2421298"/>
                </a:lnTo>
                <a:close/>
                <a:moveTo>
                  <a:pt x="1588343" y="2391682"/>
                </a:moveTo>
                <a:lnTo>
                  <a:pt x="1617945" y="2391682"/>
                </a:lnTo>
                <a:lnTo>
                  <a:pt x="1617945" y="2421293"/>
                </a:lnTo>
                <a:lnTo>
                  <a:pt x="1588343" y="2421293"/>
                </a:lnTo>
                <a:close/>
                <a:moveTo>
                  <a:pt x="1322254" y="2391678"/>
                </a:moveTo>
                <a:lnTo>
                  <a:pt x="1351857" y="2391678"/>
                </a:lnTo>
                <a:lnTo>
                  <a:pt x="1351857" y="2421288"/>
                </a:lnTo>
                <a:lnTo>
                  <a:pt x="1322254" y="2421288"/>
                </a:lnTo>
                <a:close/>
                <a:moveTo>
                  <a:pt x="1056057" y="2391675"/>
                </a:moveTo>
                <a:lnTo>
                  <a:pt x="1085660" y="2391675"/>
                </a:lnTo>
                <a:lnTo>
                  <a:pt x="1085660" y="2421283"/>
                </a:lnTo>
                <a:lnTo>
                  <a:pt x="1056057" y="2421283"/>
                </a:lnTo>
                <a:close/>
                <a:moveTo>
                  <a:pt x="789968" y="2391672"/>
                </a:moveTo>
                <a:lnTo>
                  <a:pt x="819570" y="2391672"/>
                </a:lnTo>
                <a:lnTo>
                  <a:pt x="819570" y="2421278"/>
                </a:lnTo>
                <a:lnTo>
                  <a:pt x="789968" y="2421278"/>
                </a:lnTo>
                <a:close/>
                <a:moveTo>
                  <a:pt x="523771" y="2391669"/>
                </a:moveTo>
                <a:lnTo>
                  <a:pt x="553373" y="2391669"/>
                </a:lnTo>
                <a:lnTo>
                  <a:pt x="553373" y="2421272"/>
                </a:lnTo>
                <a:lnTo>
                  <a:pt x="523771" y="2421272"/>
                </a:lnTo>
                <a:close/>
                <a:moveTo>
                  <a:pt x="6113045" y="2126064"/>
                </a:moveTo>
                <a:lnTo>
                  <a:pt x="6142647" y="2126064"/>
                </a:lnTo>
                <a:lnTo>
                  <a:pt x="6142647" y="2155577"/>
                </a:lnTo>
                <a:lnTo>
                  <a:pt x="6113045" y="2155577"/>
                </a:lnTo>
                <a:close/>
                <a:moveTo>
                  <a:pt x="266197" y="2126064"/>
                </a:moveTo>
                <a:lnTo>
                  <a:pt x="295800" y="2126064"/>
                </a:lnTo>
                <a:lnTo>
                  <a:pt x="295800" y="2155577"/>
                </a:lnTo>
                <a:lnTo>
                  <a:pt x="266197" y="2155577"/>
                </a:lnTo>
                <a:close/>
                <a:moveTo>
                  <a:pt x="5846848" y="2126062"/>
                </a:moveTo>
                <a:lnTo>
                  <a:pt x="5876450" y="2126062"/>
                </a:lnTo>
                <a:lnTo>
                  <a:pt x="5876450" y="2155575"/>
                </a:lnTo>
                <a:lnTo>
                  <a:pt x="5846848" y="2155575"/>
                </a:lnTo>
                <a:close/>
                <a:moveTo>
                  <a:pt x="0" y="2126062"/>
                </a:moveTo>
                <a:lnTo>
                  <a:pt x="29602" y="2126062"/>
                </a:lnTo>
                <a:lnTo>
                  <a:pt x="29602" y="2155575"/>
                </a:lnTo>
                <a:lnTo>
                  <a:pt x="0" y="2155575"/>
                </a:lnTo>
                <a:close/>
                <a:moveTo>
                  <a:pt x="5580759" y="2126061"/>
                </a:moveTo>
                <a:lnTo>
                  <a:pt x="5610361" y="2126061"/>
                </a:lnTo>
                <a:lnTo>
                  <a:pt x="5610361" y="2155572"/>
                </a:lnTo>
                <a:lnTo>
                  <a:pt x="5580759" y="2155572"/>
                </a:lnTo>
                <a:close/>
                <a:moveTo>
                  <a:pt x="5314562" y="2126058"/>
                </a:moveTo>
                <a:lnTo>
                  <a:pt x="5344164" y="2126058"/>
                </a:lnTo>
                <a:lnTo>
                  <a:pt x="5344164" y="2155569"/>
                </a:lnTo>
                <a:lnTo>
                  <a:pt x="5314562" y="2155569"/>
                </a:lnTo>
                <a:close/>
                <a:moveTo>
                  <a:pt x="5048365" y="2126055"/>
                </a:moveTo>
                <a:lnTo>
                  <a:pt x="5078075" y="2126055"/>
                </a:lnTo>
                <a:lnTo>
                  <a:pt x="5078075" y="2155565"/>
                </a:lnTo>
                <a:lnTo>
                  <a:pt x="5048365" y="2155565"/>
                </a:lnTo>
                <a:close/>
                <a:moveTo>
                  <a:pt x="4782276" y="2126052"/>
                </a:moveTo>
                <a:lnTo>
                  <a:pt x="4811879" y="2126052"/>
                </a:lnTo>
                <a:lnTo>
                  <a:pt x="4811879" y="2155561"/>
                </a:lnTo>
                <a:lnTo>
                  <a:pt x="4782276" y="2155561"/>
                </a:lnTo>
                <a:close/>
                <a:moveTo>
                  <a:pt x="4516079" y="2126049"/>
                </a:moveTo>
                <a:lnTo>
                  <a:pt x="4545681" y="2126049"/>
                </a:lnTo>
                <a:lnTo>
                  <a:pt x="4545681" y="2155558"/>
                </a:lnTo>
                <a:lnTo>
                  <a:pt x="4516079" y="2155558"/>
                </a:lnTo>
                <a:close/>
                <a:moveTo>
                  <a:pt x="4249990" y="2126047"/>
                </a:moveTo>
                <a:lnTo>
                  <a:pt x="4279592" y="2126047"/>
                </a:lnTo>
                <a:lnTo>
                  <a:pt x="4279592" y="2155554"/>
                </a:lnTo>
                <a:lnTo>
                  <a:pt x="4249990" y="2155554"/>
                </a:lnTo>
                <a:close/>
                <a:moveTo>
                  <a:pt x="3983793" y="2126044"/>
                </a:moveTo>
                <a:lnTo>
                  <a:pt x="4013396" y="2126044"/>
                </a:lnTo>
                <a:lnTo>
                  <a:pt x="4013396" y="2155551"/>
                </a:lnTo>
                <a:lnTo>
                  <a:pt x="3983793" y="2155551"/>
                </a:lnTo>
                <a:close/>
                <a:moveTo>
                  <a:pt x="3717704" y="2126042"/>
                </a:moveTo>
                <a:lnTo>
                  <a:pt x="3747307" y="2126042"/>
                </a:lnTo>
                <a:lnTo>
                  <a:pt x="3747307" y="2155548"/>
                </a:lnTo>
                <a:lnTo>
                  <a:pt x="3717704" y="2155548"/>
                </a:lnTo>
                <a:close/>
                <a:moveTo>
                  <a:pt x="3451507" y="2126039"/>
                </a:moveTo>
                <a:lnTo>
                  <a:pt x="3481109" y="2126039"/>
                </a:lnTo>
                <a:lnTo>
                  <a:pt x="3481109" y="2155544"/>
                </a:lnTo>
                <a:lnTo>
                  <a:pt x="3451507" y="2155544"/>
                </a:lnTo>
                <a:close/>
                <a:moveTo>
                  <a:pt x="3185310" y="2126036"/>
                </a:moveTo>
                <a:lnTo>
                  <a:pt x="3214913" y="2126036"/>
                </a:lnTo>
                <a:lnTo>
                  <a:pt x="3214913" y="2155541"/>
                </a:lnTo>
                <a:lnTo>
                  <a:pt x="3185310" y="2155541"/>
                </a:lnTo>
                <a:close/>
                <a:moveTo>
                  <a:pt x="2919113" y="2126033"/>
                </a:moveTo>
                <a:lnTo>
                  <a:pt x="2948715" y="2126033"/>
                </a:lnTo>
                <a:lnTo>
                  <a:pt x="2948715" y="2155537"/>
                </a:lnTo>
                <a:lnTo>
                  <a:pt x="2919113" y="2155537"/>
                </a:lnTo>
                <a:close/>
                <a:moveTo>
                  <a:pt x="2653024" y="2126031"/>
                </a:moveTo>
                <a:lnTo>
                  <a:pt x="2682627" y="2126031"/>
                </a:lnTo>
                <a:lnTo>
                  <a:pt x="2682627" y="2155534"/>
                </a:lnTo>
                <a:lnTo>
                  <a:pt x="2653024" y="2155534"/>
                </a:lnTo>
                <a:close/>
                <a:moveTo>
                  <a:pt x="2386827" y="2126030"/>
                </a:moveTo>
                <a:lnTo>
                  <a:pt x="2416430" y="2126030"/>
                </a:lnTo>
                <a:lnTo>
                  <a:pt x="2416430" y="2155531"/>
                </a:lnTo>
                <a:lnTo>
                  <a:pt x="2386827" y="2155531"/>
                </a:lnTo>
                <a:close/>
                <a:moveTo>
                  <a:pt x="2120630" y="2126028"/>
                </a:moveTo>
                <a:lnTo>
                  <a:pt x="2150233" y="2126028"/>
                </a:lnTo>
                <a:lnTo>
                  <a:pt x="2150233" y="2155527"/>
                </a:lnTo>
                <a:lnTo>
                  <a:pt x="2120630" y="2155527"/>
                </a:lnTo>
                <a:close/>
                <a:moveTo>
                  <a:pt x="1854540" y="2126025"/>
                </a:moveTo>
                <a:lnTo>
                  <a:pt x="1884143" y="2126025"/>
                </a:lnTo>
                <a:lnTo>
                  <a:pt x="1884143" y="2155523"/>
                </a:lnTo>
                <a:lnTo>
                  <a:pt x="1854540" y="2155523"/>
                </a:lnTo>
                <a:close/>
                <a:moveTo>
                  <a:pt x="1588343" y="2126023"/>
                </a:moveTo>
                <a:lnTo>
                  <a:pt x="1617945" y="2126023"/>
                </a:lnTo>
                <a:lnTo>
                  <a:pt x="1617945" y="2155520"/>
                </a:lnTo>
                <a:lnTo>
                  <a:pt x="1588343" y="2155520"/>
                </a:lnTo>
                <a:close/>
                <a:moveTo>
                  <a:pt x="1322254" y="2126020"/>
                </a:moveTo>
                <a:lnTo>
                  <a:pt x="1351857" y="2126020"/>
                </a:lnTo>
                <a:lnTo>
                  <a:pt x="1351857" y="2155517"/>
                </a:lnTo>
                <a:lnTo>
                  <a:pt x="1322254" y="2155517"/>
                </a:lnTo>
                <a:close/>
                <a:moveTo>
                  <a:pt x="1056057" y="2126017"/>
                </a:moveTo>
                <a:lnTo>
                  <a:pt x="1085660" y="2126017"/>
                </a:lnTo>
                <a:lnTo>
                  <a:pt x="1085660" y="2155513"/>
                </a:lnTo>
                <a:lnTo>
                  <a:pt x="1056057" y="2155513"/>
                </a:lnTo>
                <a:close/>
                <a:moveTo>
                  <a:pt x="789968" y="2126014"/>
                </a:moveTo>
                <a:lnTo>
                  <a:pt x="819570" y="2126014"/>
                </a:lnTo>
                <a:lnTo>
                  <a:pt x="819570" y="2155510"/>
                </a:lnTo>
                <a:lnTo>
                  <a:pt x="789968" y="2155510"/>
                </a:lnTo>
                <a:close/>
                <a:moveTo>
                  <a:pt x="523771" y="2126012"/>
                </a:moveTo>
                <a:lnTo>
                  <a:pt x="553373" y="2126012"/>
                </a:lnTo>
                <a:lnTo>
                  <a:pt x="553373" y="2155506"/>
                </a:lnTo>
                <a:lnTo>
                  <a:pt x="523771" y="2155506"/>
                </a:lnTo>
                <a:close/>
                <a:moveTo>
                  <a:pt x="6113045" y="1860298"/>
                </a:moveTo>
                <a:lnTo>
                  <a:pt x="6142647" y="1860298"/>
                </a:lnTo>
                <a:lnTo>
                  <a:pt x="6142647" y="1889774"/>
                </a:lnTo>
                <a:lnTo>
                  <a:pt x="6113045" y="1889774"/>
                </a:lnTo>
                <a:close/>
                <a:moveTo>
                  <a:pt x="266197" y="1860298"/>
                </a:moveTo>
                <a:lnTo>
                  <a:pt x="295800" y="1860298"/>
                </a:lnTo>
                <a:lnTo>
                  <a:pt x="295800" y="1889774"/>
                </a:lnTo>
                <a:lnTo>
                  <a:pt x="266197" y="1889774"/>
                </a:lnTo>
                <a:close/>
                <a:moveTo>
                  <a:pt x="5846848" y="1860296"/>
                </a:moveTo>
                <a:lnTo>
                  <a:pt x="5876450" y="1860296"/>
                </a:lnTo>
                <a:lnTo>
                  <a:pt x="5876450" y="1889774"/>
                </a:lnTo>
                <a:lnTo>
                  <a:pt x="5846848" y="1889774"/>
                </a:lnTo>
                <a:close/>
                <a:moveTo>
                  <a:pt x="0" y="1860296"/>
                </a:moveTo>
                <a:lnTo>
                  <a:pt x="29602" y="1860296"/>
                </a:lnTo>
                <a:lnTo>
                  <a:pt x="29602" y="1889774"/>
                </a:lnTo>
                <a:lnTo>
                  <a:pt x="0" y="1889774"/>
                </a:lnTo>
                <a:close/>
                <a:moveTo>
                  <a:pt x="5580759" y="1860293"/>
                </a:moveTo>
                <a:lnTo>
                  <a:pt x="5610361" y="1860293"/>
                </a:lnTo>
                <a:lnTo>
                  <a:pt x="5610361" y="1889772"/>
                </a:lnTo>
                <a:lnTo>
                  <a:pt x="5580759" y="1889772"/>
                </a:lnTo>
                <a:close/>
                <a:moveTo>
                  <a:pt x="5314562" y="1860291"/>
                </a:moveTo>
                <a:lnTo>
                  <a:pt x="5344164" y="1860291"/>
                </a:lnTo>
                <a:lnTo>
                  <a:pt x="5344164" y="1889770"/>
                </a:lnTo>
                <a:lnTo>
                  <a:pt x="5314562" y="1889770"/>
                </a:lnTo>
                <a:close/>
                <a:moveTo>
                  <a:pt x="5048365" y="1860288"/>
                </a:moveTo>
                <a:lnTo>
                  <a:pt x="5078075" y="1860288"/>
                </a:lnTo>
                <a:lnTo>
                  <a:pt x="5078075" y="1889769"/>
                </a:lnTo>
                <a:lnTo>
                  <a:pt x="5048365" y="1889769"/>
                </a:lnTo>
                <a:close/>
                <a:moveTo>
                  <a:pt x="4782276" y="1860286"/>
                </a:moveTo>
                <a:lnTo>
                  <a:pt x="4811879" y="1860286"/>
                </a:lnTo>
                <a:lnTo>
                  <a:pt x="4811879" y="1889767"/>
                </a:lnTo>
                <a:lnTo>
                  <a:pt x="4782276" y="1889767"/>
                </a:lnTo>
                <a:close/>
                <a:moveTo>
                  <a:pt x="4516079" y="1860283"/>
                </a:moveTo>
                <a:lnTo>
                  <a:pt x="4545681" y="1860283"/>
                </a:lnTo>
                <a:lnTo>
                  <a:pt x="4545681" y="1889766"/>
                </a:lnTo>
                <a:lnTo>
                  <a:pt x="4516079" y="1889766"/>
                </a:lnTo>
                <a:close/>
                <a:moveTo>
                  <a:pt x="4249990" y="1860281"/>
                </a:moveTo>
                <a:lnTo>
                  <a:pt x="4279592" y="1860281"/>
                </a:lnTo>
                <a:lnTo>
                  <a:pt x="4279592" y="1889764"/>
                </a:lnTo>
                <a:lnTo>
                  <a:pt x="4249990" y="1889764"/>
                </a:lnTo>
                <a:close/>
                <a:moveTo>
                  <a:pt x="3983793" y="1860278"/>
                </a:moveTo>
                <a:lnTo>
                  <a:pt x="4013396" y="1860278"/>
                </a:lnTo>
                <a:lnTo>
                  <a:pt x="4013396" y="1889763"/>
                </a:lnTo>
                <a:lnTo>
                  <a:pt x="3983793" y="1889763"/>
                </a:lnTo>
                <a:close/>
                <a:moveTo>
                  <a:pt x="3717704" y="1860276"/>
                </a:moveTo>
                <a:lnTo>
                  <a:pt x="3747307" y="1860276"/>
                </a:lnTo>
                <a:lnTo>
                  <a:pt x="3747307" y="1889762"/>
                </a:lnTo>
                <a:lnTo>
                  <a:pt x="3717704" y="1889762"/>
                </a:lnTo>
                <a:close/>
                <a:moveTo>
                  <a:pt x="3451507" y="1860273"/>
                </a:moveTo>
                <a:lnTo>
                  <a:pt x="3481109" y="1860273"/>
                </a:lnTo>
                <a:lnTo>
                  <a:pt x="3481109" y="1889761"/>
                </a:lnTo>
                <a:lnTo>
                  <a:pt x="3451507" y="1889761"/>
                </a:lnTo>
                <a:close/>
                <a:moveTo>
                  <a:pt x="3185310" y="1860271"/>
                </a:moveTo>
                <a:lnTo>
                  <a:pt x="3214913" y="1860271"/>
                </a:lnTo>
                <a:lnTo>
                  <a:pt x="3214913" y="1889759"/>
                </a:lnTo>
                <a:lnTo>
                  <a:pt x="3185310" y="1889759"/>
                </a:lnTo>
                <a:close/>
                <a:moveTo>
                  <a:pt x="2919113" y="1860268"/>
                </a:moveTo>
                <a:lnTo>
                  <a:pt x="2948715" y="1860268"/>
                </a:lnTo>
                <a:lnTo>
                  <a:pt x="2948715" y="1889757"/>
                </a:lnTo>
                <a:lnTo>
                  <a:pt x="2919113" y="1889757"/>
                </a:lnTo>
                <a:close/>
                <a:moveTo>
                  <a:pt x="2653024" y="1860266"/>
                </a:moveTo>
                <a:lnTo>
                  <a:pt x="2682627" y="1860266"/>
                </a:lnTo>
                <a:lnTo>
                  <a:pt x="2682627" y="1889755"/>
                </a:lnTo>
                <a:lnTo>
                  <a:pt x="2653024" y="1889755"/>
                </a:lnTo>
                <a:close/>
                <a:moveTo>
                  <a:pt x="2386827" y="1860264"/>
                </a:moveTo>
                <a:lnTo>
                  <a:pt x="2416430" y="1860264"/>
                </a:lnTo>
                <a:lnTo>
                  <a:pt x="2416430" y="1889753"/>
                </a:lnTo>
                <a:lnTo>
                  <a:pt x="2386827" y="1889753"/>
                </a:lnTo>
                <a:close/>
                <a:moveTo>
                  <a:pt x="2120630" y="1860261"/>
                </a:moveTo>
                <a:lnTo>
                  <a:pt x="2150233" y="1860261"/>
                </a:lnTo>
                <a:lnTo>
                  <a:pt x="2150233" y="1889751"/>
                </a:lnTo>
                <a:lnTo>
                  <a:pt x="2120630" y="1889751"/>
                </a:lnTo>
                <a:close/>
                <a:moveTo>
                  <a:pt x="1854540" y="1860259"/>
                </a:moveTo>
                <a:lnTo>
                  <a:pt x="1884143" y="1860259"/>
                </a:lnTo>
                <a:lnTo>
                  <a:pt x="1884143" y="1889750"/>
                </a:lnTo>
                <a:lnTo>
                  <a:pt x="1854540" y="1889750"/>
                </a:lnTo>
                <a:close/>
                <a:moveTo>
                  <a:pt x="1588343" y="1860256"/>
                </a:moveTo>
                <a:lnTo>
                  <a:pt x="1617945" y="1860256"/>
                </a:lnTo>
                <a:lnTo>
                  <a:pt x="1617945" y="1889748"/>
                </a:lnTo>
                <a:lnTo>
                  <a:pt x="1588343" y="1889748"/>
                </a:lnTo>
                <a:close/>
                <a:moveTo>
                  <a:pt x="1322254" y="1860254"/>
                </a:moveTo>
                <a:lnTo>
                  <a:pt x="1351857" y="1860254"/>
                </a:lnTo>
                <a:lnTo>
                  <a:pt x="1351857" y="1889747"/>
                </a:lnTo>
                <a:lnTo>
                  <a:pt x="1322254" y="1889747"/>
                </a:lnTo>
                <a:close/>
                <a:moveTo>
                  <a:pt x="1056057" y="1860252"/>
                </a:moveTo>
                <a:lnTo>
                  <a:pt x="1085660" y="1860252"/>
                </a:lnTo>
                <a:lnTo>
                  <a:pt x="1085660" y="1889745"/>
                </a:lnTo>
                <a:lnTo>
                  <a:pt x="1056057" y="1889745"/>
                </a:lnTo>
                <a:close/>
                <a:moveTo>
                  <a:pt x="789968" y="1860249"/>
                </a:moveTo>
                <a:lnTo>
                  <a:pt x="819570" y="1860249"/>
                </a:lnTo>
                <a:lnTo>
                  <a:pt x="819570" y="1889744"/>
                </a:lnTo>
                <a:lnTo>
                  <a:pt x="789968" y="1889744"/>
                </a:lnTo>
                <a:close/>
                <a:moveTo>
                  <a:pt x="523771" y="1860247"/>
                </a:moveTo>
                <a:lnTo>
                  <a:pt x="553373" y="1860247"/>
                </a:lnTo>
                <a:lnTo>
                  <a:pt x="553373" y="1889742"/>
                </a:lnTo>
                <a:lnTo>
                  <a:pt x="523771" y="1889742"/>
                </a:lnTo>
                <a:close/>
                <a:moveTo>
                  <a:pt x="6113045" y="1594533"/>
                </a:moveTo>
                <a:lnTo>
                  <a:pt x="6142647" y="1594533"/>
                </a:lnTo>
                <a:lnTo>
                  <a:pt x="6142647" y="1624136"/>
                </a:lnTo>
                <a:lnTo>
                  <a:pt x="6113045" y="1624136"/>
                </a:lnTo>
                <a:close/>
                <a:moveTo>
                  <a:pt x="266197" y="1594533"/>
                </a:moveTo>
                <a:lnTo>
                  <a:pt x="295800" y="1594533"/>
                </a:lnTo>
                <a:lnTo>
                  <a:pt x="295800" y="1624136"/>
                </a:lnTo>
                <a:lnTo>
                  <a:pt x="266197" y="1624136"/>
                </a:lnTo>
                <a:close/>
                <a:moveTo>
                  <a:pt x="5846848" y="1594531"/>
                </a:moveTo>
                <a:lnTo>
                  <a:pt x="5876450" y="1594531"/>
                </a:lnTo>
                <a:lnTo>
                  <a:pt x="5876450" y="1624134"/>
                </a:lnTo>
                <a:lnTo>
                  <a:pt x="5846848" y="1624134"/>
                </a:lnTo>
                <a:close/>
                <a:moveTo>
                  <a:pt x="0" y="1594531"/>
                </a:moveTo>
                <a:lnTo>
                  <a:pt x="29602" y="1594531"/>
                </a:lnTo>
                <a:lnTo>
                  <a:pt x="29602" y="1624134"/>
                </a:lnTo>
                <a:lnTo>
                  <a:pt x="0" y="1624134"/>
                </a:lnTo>
                <a:close/>
                <a:moveTo>
                  <a:pt x="5580759" y="1594528"/>
                </a:moveTo>
                <a:lnTo>
                  <a:pt x="5610361" y="1594528"/>
                </a:lnTo>
                <a:lnTo>
                  <a:pt x="5610361" y="1624131"/>
                </a:lnTo>
                <a:lnTo>
                  <a:pt x="5580759" y="1624131"/>
                </a:lnTo>
                <a:close/>
                <a:moveTo>
                  <a:pt x="5314562" y="1594526"/>
                </a:moveTo>
                <a:lnTo>
                  <a:pt x="5344164" y="1594526"/>
                </a:lnTo>
                <a:lnTo>
                  <a:pt x="5344164" y="1624129"/>
                </a:lnTo>
                <a:lnTo>
                  <a:pt x="5314562" y="1624129"/>
                </a:lnTo>
                <a:close/>
                <a:moveTo>
                  <a:pt x="5048365" y="1594523"/>
                </a:moveTo>
                <a:lnTo>
                  <a:pt x="5078075" y="1594523"/>
                </a:lnTo>
                <a:lnTo>
                  <a:pt x="5078075" y="1624127"/>
                </a:lnTo>
                <a:lnTo>
                  <a:pt x="5048365" y="1624127"/>
                </a:lnTo>
                <a:close/>
                <a:moveTo>
                  <a:pt x="4782276" y="1594521"/>
                </a:moveTo>
                <a:lnTo>
                  <a:pt x="4811879" y="1594521"/>
                </a:lnTo>
                <a:lnTo>
                  <a:pt x="4811879" y="1624124"/>
                </a:lnTo>
                <a:lnTo>
                  <a:pt x="4782276" y="1624124"/>
                </a:lnTo>
                <a:close/>
                <a:moveTo>
                  <a:pt x="4516079" y="1594518"/>
                </a:moveTo>
                <a:lnTo>
                  <a:pt x="4545681" y="1594518"/>
                </a:lnTo>
                <a:lnTo>
                  <a:pt x="4545681" y="1624122"/>
                </a:lnTo>
                <a:lnTo>
                  <a:pt x="4516079" y="1624122"/>
                </a:lnTo>
                <a:close/>
                <a:moveTo>
                  <a:pt x="4249990" y="1594516"/>
                </a:moveTo>
                <a:lnTo>
                  <a:pt x="4279592" y="1594516"/>
                </a:lnTo>
                <a:lnTo>
                  <a:pt x="4279592" y="1624120"/>
                </a:lnTo>
                <a:lnTo>
                  <a:pt x="4249990" y="1624120"/>
                </a:lnTo>
                <a:close/>
                <a:moveTo>
                  <a:pt x="3983793" y="1594514"/>
                </a:moveTo>
                <a:lnTo>
                  <a:pt x="4013396" y="1594514"/>
                </a:lnTo>
                <a:lnTo>
                  <a:pt x="4013396" y="1624117"/>
                </a:lnTo>
                <a:lnTo>
                  <a:pt x="3983793" y="1624117"/>
                </a:lnTo>
                <a:close/>
                <a:moveTo>
                  <a:pt x="3717704" y="1594511"/>
                </a:moveTo>
                <a:lnTo>
                  <a:pt x="3747307" y="1594511"/>
                </a:lnTo>
                <a:lnTo>
                  <a:pt x="3747307" y="1624114"/>
                </a:lnTo>
                <a:lnTo>
                  <a:pt x="3717704" y="1624114"/>
                </a:lnTo>
                <a:close/>
                <a:moveTo>
                  <a:pt x="3451507" y="1594509"/>
                </a:moveTo>
                <a:lnTo>
                  <a:pt x="3481109" y="1594509"/>
                </a:lnTo>
                <a:lnTo>
                  <a:pt x="3481109" y="1624112"/>
                </a:lnTo>
                <a:lnTo>
                  <a:pt x="3451507" y="1624112"/>
                </a:lnTo>
                <a:close/>
                <a:moveTo>
                  <a:pt x="3185310" y="1594506"/>
                </a:moveTo>
                <a:lnTo>
                  <a:pt x="3214913" y="1594506"/>
                </a:lnTo>
                <a:lnTo>
                  <a:pt x="3214913" y="1624110"/>
                </a:lnTo>
                <a:lnTo>
                  <a:pt x="3185310" y="1624110"/>
                </a:lnTo>
                <a:close/>
                <a:moveTo>
                  <a:pt x="2919113" y="1594504"/>
                </a:moveTo>
                <a:lnTo>
                  <a:pt x="2948715" y="1594504"/>
                </a:lnTo>
                <a:lnTo>
                  <a:pt x="2948715" y="1624107"/>
                </a:lnTo>
                <a:lnTo>
                  <a:pt x="2919113" y="1624107"/>
                </a:lnTo>
                <a:close/>
                <a:moveTo>
                  <a:pt x="2653024" y="1594502"/>
                </a:moveTo>
                <a:lnTo>
                  <a:pt x="2682627" y="1594502"/>
                </a:lnTo>
                <a:lnTo>
                  <a:pt x="2682627" y="1624105"/>
                </a:lnTo>
                <a:lnTo>
                  <a:pt x="2653024" y="1624105"/>
                </a:lnTo>
                <a:close/>
                <a:moveTo>
                  <a:pt x="2386827" y="1594499"/>
                </a:moveTo>
                <a:lnTo>
                  <a:pt x="2416430" y="1594499"/>
                </a:lnTo>
                <a:lnTo>
                  <a:pt x="2416430" y="1624102"/>
                </a:lnTo>
                <a:lnTo>
                  <a:pt x="2386827" y="1624102"/>
                </a:lnTo>
                <a:close/>
                <a:moveTo>
                  <a:pt x="2120630" y="1594496"/>
                </a:moveTo>
                <a:lnTo>
                  <a:pt x="2150233" y="1594496"/>
                </a:lnTo>
                <a:lnTo>
                  <a:pt x="2150233" y="1624100"/>
                </a:lnTo>
                <a:lnTo>
                  <a:pt x="2120630" y="1624100"/>
                </a:lnTo>
                <a:close/>
                <a:moveTo>
                  <a:pt x="1854540" y="1594494"/>
                </a:moveTo>
                <a:lnTo>
                  <a:pt x="1884143" y="1594494"/>
                </a:lnTo>
                <a:lnTo>
                  <a:pt x="1884143" y="1624097"/>
                </a:lnTo>
                <a:lnTo>
                  <a:pt x="1854540" y="1624097"/>
                </a:lnTo>
                <a:close/>
                <a:moveTo>
                  <a:pt x="1588343" y="1594491"/>
                </a:moveTo>
                <a:lnTo>
                  <a:pt x="1617945" y="1594491"/>
                </a:lnTo>
                <a:lnTo>
                  <a:pt x="1617945" y="1624095"/>
                </a:lnTo>
                <a:lnTo>
                  <a:pt x="1588343" y="1624095"/>
                </a:lnTo>
                <a:close/>
                <a:moveTo>
                  <a:pt x="1322254" y="1594489"/>
                </a:moveTo>
                <a:lnTo>
                  <a:pt x="1351857" y="1594489"/>
                </a:lnTo>
                <a:lnTo>
                  <a:pt x="1351857" y="1624092"/>
                </a:lnTo>
                <a:lnTo>
                  <a:pt x="1322254" y="1624092"/>
                </a:lnTo>
                <a:close/>
                <a:moveTo>
                  <a:pt x="1056057" y="1594486"/>
                </a:moveTo>
                <a:lnTo>
                  <a:pt x="1085660" y="1594486"/>
                </a:lnTo>
                <a:lnTo>
                  <a:pt x="1085660" y="1624090"/>
                </a:lnTo>
                <a:lnTo>
                  <a:pt x="1056057" y="1624090"/>
                </a:lnTo>
                <a:close/>
                <a:moveTo>
                  <a:pt x="789968" y="1594484"/>
                </a:moveTo>
                <a:lnTo>
                  <a:pt x="819570" y="1594484"/>
                </a:lnTo>
                <a:lnTo>
                  <a:pt x="819570" y="1624087"/>
                </a:lnTo>
                <a:lnTo>
                  <a:pt x="789968" y="1624087"/>
                </a:lnTo>
                <a:close/>
                <a:moveTo>
                  <a:pt x="523771" y="1594482"/>
                </a:moveTo>
                <a:lnTo>
                  <a:pt x="553373" y="1594482"/>
                </a:lnTo>
                <a:lnTo>
                  <a:pt x="553373" y="1624085"/>
                </a:lnTo>
                <a:lnTo>
                  <a:pt x="523771" y="1624085"/>
                </a:lnTo>
                <a:close/>
                <a:moveTo>
                  <a:pt x="6113045" y="1328772"/>
                </a:moveTo>
                <a:lnTo>
                  <a:pt x="6142647" y="1328772"/>
                </a:lnTo>
                <a:lnTo>
                  <a:pt x="6142647" y="1358375"/>
                </a:lnTo>
                <a:lnTo>
                  <a:pt x="6113045" y="1358375"/>
                </a:lnTo>
                <a:close/>
                <a:moveTo>
                  <a:pt x="266197" y="1328772"/>
                </a:moveTo>
                <a:lnTo>
                  <a:pt x="295800" y="1328772"/>
                </a:lnTo>
                <a:lnTo>
                  <a:pt x="295800" y="1358375"/>
                </a:lnTo>
                <a:lnTo>
                  <a:pt x="266197" y="1358375"/>
                </a:lnTo>
                <a:close/>
                <a:moveTo>
                  <a:pt x="5846848" y="1328769"/>
                </a:moveTo>
                <a:lnTo>
                  <a:pt x="5876450" y="1328769"/>
                </a:lnTo>
                <a:lnTo>
                  <a:pt x="5876450" y="1358372"/>
                </a:lnTo>
                <a:lnTo>
                  <a:pt x="5846848" y="1358372"/>
                </a:lnTo>
                <a:close/>
                <a:moveTo>
                  <a:pt x="0" y="1328769"/>
                </a:moveTo>
                <a:lnTo>
                  <a:pt x="29602" y="1328769"/>
                </a:lnTo>
                <a:lnTo>
                  <a:pt x="29602" y="1358372"/>
                </a:lnTo>
                <a:lnTo>
                  <a:pt x="0" y="1358372"/>
                </a:lnTo>
                <a:close/>
                <a:moveTo>
                  <a:pt x="5580759" y="1328766"/>
                </a:moveTo>
                <a:lnTo>
                  <a:pt x="5610361" y="1328766"/>
                </a:lnTo>
                <a:lnTo>
                  <a:pt x="5610361" y="1358370"/>
                </a:lnTo>
                <a:lnTo>
                  <a:pt x="5580759" y="1358370"/>
                </a:lnTo>
                <a:close/>
                <a:moveTo>
                  <a:pt x="5314562" y="1328764"/>
                </a:moveTo>
                <a:lnTo>
                  <a:pt x="5344164" y="1328764"/>
                </a:lnTo>
                <a:lnTo>
                  <a:pt x="5344164" y="1358367"/>
                </a:lnTo>
                <a:lnTo>
                  <a:pt x="5314562" y="1358367"/>
                </a:lnTo>
                <a:close/>
                <a:moveTo>
                  <a:pt x="5048365" y="1328761"/>
                </a:moveTo>
                <a:lnTo>
                  <a:pt x="5078075" y="1328761"/>
                </a:lnTo>
                <a:lnTo>
                  <a:pt x="5078075" y="1358365"/>
                </a:lnTo>
                <a:lnTo>
                  <a:pt x="5048365" y="1358365"/>
                </a:lnTo>
                <a:close/>
                <a:moveTo>
                  <a:pt x="4782276" y="1328759"/>
                </a:moveTo>
                <a:lnTo>
                  <a:pt x="4811879" y="1328759"/>
                </a:lnTo>
                <a:lnTo>
                  <a:pt x="4811879" y="1358362"/>
                </a:lnTo>
                <a:lnTo>
                  <a:pt x="4782276" y="1358362"/>
                </a:lnTo>
                <a:close/>
                <a:moveTo>
                  <a:pt x="4516079" y="1328756"/>
                </a:moveTo>
                <a:lnTo>
                  <a:pt x="4545681" y="1328756"/>
                </a:lnTo>
                <a:lnTo>
                  <a:pt x="4545681" y="1358359"/>
                </a:lnTo>
                <a:lnTo>
                  <a:pt x="4516079" y="1358359"/>
                </a:lnTo>
                <a:close/>
                <a:moveTo>
                  <a:pt x="4249990" y="1328753"/>
                </a:moveTo>
                <a:lnTo>
                  <a:pt x="4279592" y="1328753"/>
                </a:lnTo>
                <a:lnTo>
                  <a:pt x="4279592" y="1358357"/>
                </a:lnTo>
                <a:lnTo>
                  <a:pt x="4249990" y="1358357"/>
                </a:lnTo>
                <a:close/>
                <a:moveTo>
                  <a:pt x="3983793" y="1328751"/>
                </a:moveTo>
                <a:lnTo>
                  <a:pt x="4013396" y="1328751"/>
                </a:lnTo>
                <a:lnTo>
                  <a:pt x="4013396" y="1358354"/>
                </a:lnTo>
                <a:lnTo>
                  <a:pt x="3983793" y="1358354"/>
                </a:lnTo>
                <a:close/>
                <a:moveTo>
                  <a:pt x="3717704" y="1328748"/>
                </a:moveTo>
                <a:lnTo>
                  <a:pt x="3747307" y="1328748"/>
                </a:lnTo>
                <a:lnTo>
                  <a:pt x="3747307" y="1358351"/>
                </a:lnTo>
                <a:lnTo>
                  <a:pt x="3717704" y="1358351"/>
                </a:lnTo>
                <a:close/>
                <a:moveTo>
                  <a:pt x="3451507" y="1328745"/>
                </a:moveTo>
                <a:lnTo>
                  <a:pt x="3481109" y="1328745"/>
                </a:lnTo>
                <a:lnTo>
                  <a:pt x="3481109" y="1358349"/>
                </a:lnTo>
                <a:lnTo>
                  <a:pt x="3451507" y="1358349"/>
                </a:lnTo>
                <a:close/>
                <a:moveTo>
                  <a:pt x="3185310" y="1328743"/>
                </a:moveTo>
                <a:lnTo>
                  <a:pt x="3214913" y="1328743"/>
                </a:lnTo>
                <a:lnTo>
                  <a:pt x="3214913" y="1358346"/>
                </a:lnTo>
                <a:lnTo>
                  <a:pt x="3185310" y="1358346"/>
                </a:lnTo>
                <a:close/>
                <a:moveTo>
                  <a:pt x="2919113" y="1328740"/>
                </a:moveTo>
                <a:lnTo>
                  <a:pt x="2948715" y="1328740"/>
                </a:lnTo>
                <a:lnTo>
                  <a:pt x="2948715" y="1358344"/>
                </a:lnTo>
                <a:lnTo>
                  <a:pt x="2919113" y="1358344"/>
                </a:lnTo>
                <a:close/>
                <a:moveTo>
                  <a:pt x="2653024" y="1328738"/>
                </a:moveTo>
                <a:lnTo>
                  <a:pt x="2682627" y="1328738"/>
                </a:lnTo>
                <a:lnTo>
                  <a:pt x="2682627" y="1358341"/>
                </a:lnTo>
                <a:lnTo>
                  <a:pt x="2653024" y="1358341"/>
                </a:lnTo>
                <a:close/>
                <a:moveTo>
                  <a:pt x="2386827" y="1328735"/>
                </a:moveTo>
                <a:lnTo>
                  <a:pt x="2416430" y="1328735"/>
                </a:lnTo>
                <a:lnTo>
                  <a:pt x="2416430" y="1358338"/>
                </a:lnTo>
                <a:lnTo>
                  <a:pt x="2386827" y="1358338"/>
                </a:lnTo>
                <a:close/>
                <a:moveTo>
                  <a:pt x="2120630" y="1328732"/>
                </a:moveTo>
                <a:lnTo>
                  <a:pt x="2150233" y="1328732"/>
                </a:lnTo>
                <a:lnTo>
                  <a:pt x="2150233" y="1358336"/>
                </a:lnTo>
                <a:lnTo>
                  <a:pt x="2120630" y="1358336"/>
                </a:lnTo>
                <a:close/>
                <a:moveTo>
                  <a:pt x="1854540" y="1328730"/>
                </a:moveTo>
                <a:lnTo>
                  <a:pt x="1884143" y="1328730"/>
                </a:lnTo>
                <a:lnTo>
                  <a:pt x="1884143" y="1358333"/>
                </a:lnTo>
                <a:lnTo>
                  <a:pt x="1854540" y="1358333"/>
                </a:lnTo>
                <a:close/>
                <a:moveTo>
                  <a:pt x="1588343" y="1328727"/>
                </a:moveTo>
                <a:lnTo>
                  <a:pt x="1617945" y="1328727"/>
                </a:lnTo>
                <a:lnTo>
                  <a:pt x="1617945" y="1358330"/>
                </a:lnTo>
                <a:lnTo>
                  <a:pt x="1588343" y="1358330"/>
                </a:lnTo>
                <a:close/>
                <a:moveTo>
                  <a:pt x="1322254" y="1328724"/>
                </a:moveTo>
                <a:lnTo>
                  <a:pt x="1351857" y="1328724"/>
                </a:lnTo>
                <a:lnTo>
                  <a:pt x="1351857" y="1358328"/>
                </a:lnTo>
                <a:lnTo>
                  <a:pt x="1322254" y="1358328"/>
                </a:lnTo>
                <a:close/>
                <a:moveTo>
                  <a:pt x="1056057" y="1328722"/>
                </a:moveTo>
                <a:lnTo>
                  <a:pt x="1085660" y="1328722"/>
                </a:lnTo>
                <a:lnTo>
                  <a:pt x="1085660" y="1358325"/>
                </a:lnTo>
                <a:lnTo>
                  <a:pt x="1056057" y="1358325"/>
                </a:lnTo>
                <a:close/>
                <a:moveTo>
                  <a:pt x="789968" y="1328719"/>
                </a:moveTo>
                <a:lnTo>
                  <a:pt x="819570" y="1328719"/>
                </a:lnTo>
                <a:lnTo>
                  <a:pt x="819570" y="1358323"/>
                </a:lnTo>
                <a:lnTo>
                  <a:pt x="789968" y="1358323"/>
                </a:lnTo>
                <a:close/>
                <a:moveTo>
                  <a:pt x="523771" y="1328717"/>
                </a:moveTo>
                <a:lnTo>
                  <a:pt x="553373" y="1328717"/>
                </a:lnTo>
                <a:lnTo>
                  <a:pt x="553373" y="1358320"/>
                </a:lnTo>
                <a:lnTo>
                  <a:pt x="523771" y="1358320"/>
                </a:lnTo>
                <a:close/>
                <a:moveTo>
                  <a:pt x="6113045" y="1063123"/>
                </a:moveTo>
                <a:lnTo>
                  <a:pt x="6142647" y="1063123"/>
                </a:lnTo>
                <a:lnTo>
                  <a:pt x="6142647" y="1092617"/>
                </a:lnTo>
                <a:lnTo>
                  <a:pt x="6113045" y="1092617"/>
                </a:lnTo>
                <a:close/>
                <a:moveTo>
                  <a:pt x="266197" y="1063123"/>
                </a:moveTo>
                <a:lnTo>
                  <a:pt x="295800" y="1063123"/>
                </a:lnTo>
                <a:lnTo>
                  <a:pt x="295800" y="1092617"/>
                </a:lnTo>
                <a:lnTo>
                  <a:pt x="266197" y="1092617"/>
                </a:lnTo>
                <a:close/>
                <a:moveTo>
                  <a:pt x="5846848" y="1063120"/>
                </a:moveTo>
                <a:lnTo>
                  <a:pt x="5876450" y="1063120"/>
                </a:lnTo>
                <a:lnTo>
                  <a:pt x="5876450" y="1092615"/>
                </a:lnTo>
                <a:lnTo>
                  <a:pt x="5846848" y="1092615"/>
                </a:lnTo>
                <a:close/>
                <a:moveTo>
                  <a:pt x="0" y="1063120"/>
                </a:moveTo>
                <a:lnTo>
                  <a:pt x="29602" y="1063120"/>
                </a:lnTo>
                <a:lnTo>
                  <a:pt x="29602" y="1092615"/>
                </a:lnTo>
                <a:lnTo>
                  <a:pt x="0" y="1092615"/>
                </a:lnTo>
                <a:close/>
                <a:moveTo>
                  <a:pt x="5580759" y="1063117"/>
                </a:moveTo>
                <a:lnTo>
                  <a:pt x="5610361" y="1063117"/>
                </a:lnTo>
                <a:lnTo>
                  <a:pt x="5610361" y="1092612"/>
                </a:lnTo>
                <a:lnTo>
                  <a:pt x="5580759" y="1092612"/>
                </a:lnTo>
                <a:close/>
                <a:moveTo>
                  <a:pt x="5314562" y="1063114"/>
                </a:moveTo>
                <a:lnTo>
                  <a:pt x="5344164" y="1063114"/>
                </a:lnTo>
                <a:lnTo>
                  <a:pt x="5344164" y="1092608"/>
                </a:lnTo>
                <a:lnTo>
                  <a:pt x="5314562" y="1092608"/>
                </a:lnTo>
                <a:close/>
                <a:moveTo>
                  <a:pt x="5048365" y="1063111"/>
                </a:moveTo>
                <a:lnTo>
                  <a:pt x="5078075" y="1063111"/>
                </a:lnTo>
                <a:lnTo>
                  <a:pt x="5078075" y="1092605"/>
                </a:lnTo>
                <a:lnTo>
                  <a:pt x="5048365" y="1092605"/>
                </a:lnTo>
                <a:close/>
                <a:moveTo>
                  <a:pt x="4782276" y="1063108"/>
                </a:moveTo>
                <a:lnTo>
                  <a:pt x="4811879" y="1063108"/>
                </a:lnTo>
                <a:lnTo>
                  <a:pt x="4811879" y="1092602"/>
                </a:lnTo>
                <a:lnTo>
                  <a:pt x="4782276" y="1092602"/>
                </a:lnTo>
                <a:close/>
                <a:moveTo>
                  <a:pt x="4516079" y="1063105"/>
                </a:moveTo>
                <a:lnTo>
                  <a:pt x="4545681" y="1063105"/>
                </a:lnTo>
                <a:lnTo>
                  <a:pt x="4545681" y="1092599"/>
                </a:lnTo>
                <a:lnTo>
                  <a:pt x="4516079" y="1092599"/>
                </a:lnTo>
                <a:close/>
                <a:moveTo>
                  <a:pt x="4249990" y="1063102"/>
                </a:moveTo>
                <a:lnTo>
                  <a:pt x="4279592" y="1063102"/>
                </a:lnTo>
                <a:lnTo>
                  <a:pt x="4279592" y="1092596"/>
                </a:lnTo>
                <a:lnTo>
                  <a:pt x="4249990" y="1092596"/>
                </a:lnTo>
                <a:close/>
                <a:moveTo>
                  <a:pt x="3983793" y="1063099"/>
                </a:moveTo>
                <a:lnTo>
                  <a:pt x="4013396" y="1063099"/>
                </a:lnTo>
                <a:lnTo>
                  <a:pt x="4013396" y="1092593"/>
                </a:lnTo>
                <a:lnTo>
                  <a:pt x="3983793" y="1092593"/>
                </a:lnTo>
                <a:close/>
                <a:moveTo>
                  <a:pt x="3717704" y="1063096"/>
                </a:moveTo>
                <a:lnTo>
                  <a:pt x="3747307" y="1063096"/>
                </a:lnTo>
                <a:lnTo>
                  <a:pt x="3747307" y="1092590"/>
                </a:lnTo>
                <a:lnTo>
                  <a:pt x="3717704" y="1092590"/>
                </a:lnTo>
                <a:close/>
                <a:moveTo>
                  <a:pt x="3451507" y="1063093"/>
                </a:moveTo>
                <a:lnTo>
                  <a:pt x="3481109" y="1063093"/>
                </a:lnTo>
                <a:lnTo>
                  <a:pt x="3481109" y="1092587"/>
                </a:lnTo>
                <a:lnTo>
                  <a:pt x="3451507" y="1092587"/>
                </a:lnTo>
                <a:close/>
                <a:moveTo>
                  <a:pt x="3185310" y="1063090"/>
                </a:moveTo>
                <a:lnTo>
                  <a:pt x="3214913" y="1063090"/>
                </a:lnTo>
                <a:lnTo>
                  <a:pt x="3214913" y="1092584"/>
                </a:lnTo>
                <a:lnTo>
                  <a:pt x="3185310" y="1092584"/>
                </a:lnTo>
                <a:close/>
                <a:moveTo>
                  <a:pt x="2919113" y="1063087"/>
                </a:moveTo>
                <a:lnTo>
                  <a:pt x="2948715" y="1063087"/>
                </a:lnTo>
                <a:lnTo>
                  <a:pt x="2948715" y="1092581"/>
                </a:lnTo>
                <a:lnTo>
                  <a:pt x="2919113" y="1092581"/>
                </a:lnTo>
                <a:close/>
                <a:moveTo>
                  <a:pt x="2653024" y="1063084"/>
                </a:moveTo>
                <a:lnTo>
                  <a:pt x="2682627" y="1063084"/>
                </a:lnTo>
                <a:lnTo>
                  <a:pt x="2682627" y="1092578"/>
                </a:lnTo>
                <a:lnTo>
                  <a:pt x="2653024" y="1092578"/>
                </a:lnTo>
                <a:close/>
                <a:moveTo>
                  <a:pt x="2386827" y="1063081"/>
                </a:moveTo>
                <a:lnTo>
                  <a:pt x="2416430" y="1063081"/>
                </a:lnTo>
                <a:lnTo>
                  <a:pt x="2416430" y="1092575"/>
                </a:lnTo>
                <a:lnTo>
                  <a:pt x="2386827" y="1092575"/>
                </a:lnTo>
                <a:close/>
                <a:moveTo>
                  <a:pt x="2120630" y="1063078"/>
                </a:moveTo>
                <a:lnTo>
                  <a:pt x="2150233" y="1063078"/>
                </a:lnTo>
                <a:lnTo>
                  <a:pt x="2150233" y="1092572"/>
                </a:lnTo>
                <a:lnTo>
                  <a:pt x="2120630" y="1092572"/>
                </a:lnTo>
                <a:close/>
                <a:moveTo>
                  <a:pt x="1854540" y="1063075"/>
                </a:moveTo>
                <a:lnTo>
                  <a:pt x="1884143" y="1063075"/>
                </a:lnTo>
                <a:lnTo>
                  <a:pt x="1884143" y="1092569"/>
                </a:lnTo>
                <a:lnTo>
                  <a:pt x="1854540" y="1092569"/>
                </a:lnTo>
                <a:close/>
                <a:moveTo>
                  <a:pt x="1588343" y="1063072"/>
                </a:moveTo>
                <a:lnTo>
                  <a:pt x="1617945" y="1063072"/>
                </a:lnTo>
                <a:lnTo>
                  <a:pt x="1617945" y="1092566"/>
                </a:lnTo>
                <a:lnTo>
                  <a:pt x="1588343" y="1092566"/>
                </a:lnTo>
                <a:close/>
                <a:moveTo>
                  <a:pt x="1322254" y="1063069"/>
                </a:moveTo>
                <a:lnTo>
                  <a:pt x="1351857" y="1063069"/>
                </a:lnTo>
                <a:lnTo>
                  <a:pt x="1351857" y="1092563"/>
                </a:lnTo>
                <a:lnTo>
                  <a:pt x="1322254" y="1092563"/>
                </a:lnTo>
                <a:close/>
                <a:moveTo>
                  <a:pt x="1056057" y="1063066"/>
                </a:moveTo>
                <a:lnTo>
                  <a:pt x="1085660" y="1063066"/>
                </a:lnTo>
                <a:lnTo>
                  <a:pt x="1085660" y="1092560"/>
                </a:lnTo>
                <a:lnTo>
                  <a:pt x="1056057" y="1092560"/>
                </a:lnTo>
                <a:close/>
                <a:moveTo>
                  <a:pt x="789968" y="1063063"/>
                </a:moveTo>
                <a:lnTo>
                  <a:pt x="819570" y="1063063"/>
                </a:lnTo>
                <a:lnTo>
                  <a:pt x="819570" y="1092557"/>
                </a:lnTo>
                <a:lnTo>
                  <a:pt x="789968" y="1092557"/>
                </a:lnTo>
                <a:close/>
                <a:moveTo>
                  <a:pt x="523771" y="1063059"/>
                </a:moveTo>
                <a:lnTo>
                  <a:pt x="553373" y="1063059"/>
                </a:lnTo>
                <a:lnTo>
                  <a:pt x="553373" y="1092554"/>
                </a:lnTo>
                <a:lnTo>
                  <a:pt x="523771" y="1092554"/>
                </a:lnTo>
                <a:close/>
                <a:moveTo>
                  <a:pt x="6113045" y="797337"/>
                </a:moveTo>
                <a:lnTo>
                  <a:pt x="6142647" y="797337"/>
                </a:lnTo>
                <a:lnTo>
                  <a:pt x="6142647" y="826844"/>
                </a:lnTo>
                <a:lnTo>
                  <a:pt x="6113045" y="826844"/>
                </a:lnTo>
                <a:close/>
                <a:moveTo>
                  <a:pt x="266197" y="797337"/>
                </a:moveTo>
                <a:lnTo>
                  <a:pt x="295800" y="797337"/>
                </a:lnTo>
                <a:lnTo>
                  <a:pt x="295800" y="826844"/>
                </a:lnTo>
                <a:lnTo>
                  <a:pt x="266197" y="826844"/>
                </a:lnTo>
                <a:close/>
                <a:moveTo>
                  <a:pt x="5846848" y="797335"/>
                </a:moveTo>
                <a:lnTo>
                  <a:pt x="5876450" y="797335"/>
                </a:lnTo>
                <a:lnTo>
                  <a:pt x="5876450" y="826841"/>
                </a:lnTo>
                <a:lnTo>
                  <a:pt x="5846848" y="826841"/>
                </a:lnTo>
                <a:close/>
                <a:moveTo>
                  <a:pt x="0" y="797335"/>
                </a:moveTo>
                <a:lnTo>
                  <a:pt x="29602" y="797335"/>
                </a:lnTo>
                <a:lnTo>
                  <a:pt x="29602" y="826841"/>
                </a:lnTo>
                <a:lnTo>
                  <a:pt x="0" y="826841"/>
                </a:lnTo>
                <a:close/>
                <a:moveTo>
                  <a:pt x="5580759" y="797333"/>
                </a:moveTo>
                <a:lnTo>
                  <a:pt x="5610361" y="797333"/>
                </a:lnTo>
                <a:lnTo>
                  <a:pt x="5610361" y="826839"/>
                </a:lnTo>
                <a:lnTo>
                  <a:pt x="5580759" y="826839"/>
                </a:lnTo>
                <a:close/>
                <a:moveTo>
                  <a:pt x="5314562" y="797331"/>
                </a:moveTo>
                <a:lnTo>
                  <a:pt x="5344164" y="797331"/>
                </a:lnTo>
                <a:lnTo>
                  <a:pt x="5344164" y="826836"/>
                </a:lnTo>
                <a:lnTo>
                  <a:pt x="5314562" y="826836"/>
                </a:lnTo>
                <a:close/>
                <a:moveTo>
                  <a:pt x="5048365" y="797329"/>
                </a:moveTo>
                <a:lnTo>
                  <a:pt x="5078075" y="797329"/>
                </a:lnTo>
                <a:lnTo>
                  <a:pt x="5078075" y="826833"/>
                </a:lnTo>
                <a:lnTo>
                  <a:pt x="5048365" y="826833"/>
                </a:lnTo>
                <a:close/>
                <a:moveTo>
                  <a:pt x="4782276" y="797327"/>
                </a:moveTo>
                <a:lnTo>
                  <a:pt x="4811879" y="797327"/>
                </a:lnTo>
                <a:lnTo>
                  <a:pt x="4811879" y="826831"/>
                </a:lnTo>
                <a:lnTo>
                  <a:pt x="4782276" y="826831"/>
                </a:lnTo>
                <a:close/>
                <a:moveTo>
                  <a:pt x="4516079" y="797325"/>
                </a:moveTo>
                <a:lnTo>
                  <a:pt x="4545681" y="797325"/>
                </a:lnTo>
                <a:lnTo>
                  <a:pt x="4545681" y="826828"/>
                </a:lnTo>
                <a:lnTo>
                  <a:pt x="4516079" y="826828"/>
                </a:lnTo>
                <a:close/>
                <a:moveTo>
                  <a:pt x="4249990" y="797323"/>
                </a:moveTo>
                <a:lnTo>
                  <a:pt x="4279592" y="797323"/>
                </a:lnTo>
                <a:lnTo>
                  <a:pt x="4279592" y="826826"/>
                </a:lnTo>
                <a:lnTo>
                  <a:pt x="4249990" y="826826"/>
                </a:lnTo>
                <a:close/>
                <a:moveTo>
                  <a:pt x="3983793" y="797321"/>
                </a:moveTo>
                <a:lnTo>
                  <a:pt x="4013396" y="797321"/>
                </a:lnTo>
                <a:lnTo>
                  <a:pt x="4013396" y="826823"/>
                </a:lnTo>
                <a:lnTo>
                  <a:pt x="3983793" y="826823"/>
                </a:lnTo>
                <a:close/>
                <a:moveTo>
                  <a:pt x="3717704" y="797319"/>
                </a:moveTo>
                <a:lnTo>
                  <a:pt x="3747307" y="797319"/>
                </a:lnTo>
                <a:lnTo>
                  <a:pt x="3747307" y="826820"/>
                </a:lnTo>
                <a:lnTo>
                  <a:pt x="3717704" y="826820"/>
                </a:lnTo>
                <a:close/>
                <a:moveTo>
                  <a:pt x="3451507" y="797317"/>
                </a:moveTo>
                <a:lnTo>
                  <a:pt x="3481109" y="797317"/>
                </a:lnTo>
                <a:lnTo>
                  <a:pt x="3481109" y="826818"/>
                </a:lnTo>
                <a:lnTo>
                  <a:pt x="3451507" y="826818"/>
                </a:lnTo>
                <a:close/>
                <a:moveTo>
                  <a:pt x="3185310" y="797315"/>
                </a:moveTo>
                <a:lnTo>
                  <a:pt x="3214913" y="797315"/>
                </a:lnTo>
                <a:lnTo>
                  <a:pt x="3214913" y="826815"/>
                </a:lnTo>
                <a:lnTo>
                  <a:pt x="3185310" y="826815"/>
                </a:lnTo>
                <a:close/>
                <a:moveTo>
                  <a:pt x="2919113" y="797312"/>
                </a:moveTo>
                <a:lnTo>
                  <a:pt x="2948715" y="797312"/>
                </a:lnTo>
                <a:lnTo>
                  <a:pt x="2948715" y="826812"/>
                </a:lnTo>
                <a:lnTo>
                  <a:pt x="2919113" y="826812"/>
                </a:lnTo>
                <a:close/>
                <a:moveTo>
                  <a:pt x="2653024" y="797310"/>
                </a:moveTo>
                <a:lnTo>
                  <a:pt x="2682627" y="797310"/>
                </a:lnTo>
                <a:lnTo>
                  <a:pt x="2682627" y="826810"/>
                </a:lnTo>
                <a:lnTo>
                  <a:pt x="2653024" y="826810"/>
                </a:lnTo>
                <a:close/>
                <a:moveTo>
                  <a:pt x="2386827" y="797308"/>
                </a:moveTo>
                <a:lnTo>
                  <a:pt x="2416430" y="797308"/>
                </a:lnTo>
                <a:lnTo>
                  <a:pt x="2416430" y="826807"/>
                </a:lnTo>
                <a:lnTo>
                  <a:pt x="2386827" y="826807"/>
                </a:lnTo>
                <a:close/>
                <a:moveTo>
                  <a:pt x="2120630" y="797306"/>
                </a:moveTo>
                <a:lnTo>
                  <a:pt x="2150233" y="797306"/>
                </a:lnTo>
                <a:lnTo>
                  <a:pt x="2150233" y="826805"/>
                </a:lnTo>
                <a:lnTo>
                  <a:pt x="2120630" y="826805"/>
                </a:lnTo>
                <a:close/>
                <a:moveTo>
                  <a:pt x="1854540" y="797304"/>
                </a:moveTo>
                <a:lnTo>
                  <a:pt x="1884143" y="797304"/>
                </a:lnTo>
                <a:lnTo>
                  <a:pt x="1884143" y="826802"/>
                </a:lnTo>
                <a:lnTo>
                  <a:pt x="1854540" y="826802"/>
                </a:lnTo>
                <a:close/>
                <a:moveTo>
                  <a:pt x="1588343" y="797302"/>
                </a:moveTo>
                <a:lnTo>
                  <a:pt x="1617945" y="797302"/>
                </a:lnTo>
                <a:lnTo>
                  <a:pt x="1617945" y="826799"/>
                </a:lnTo>
                <a:lnTo>
                  <a:pt x="1588343" y="826799"/>
                </a:lnTo>
                <a:close/>
                <a:moveTo>
                  <a:pt x="1322254" y="797300"/>
                </a:moveTo>
                <a:lnTo>
                  <a:pt x="1351857" y="797300"/>
                </a:lnTo>
                <a:lnTo>
                  <a:pt x="1351857" y="826797"/>
                </a:lnTo>
                <a:lnTo>
                  <a:pt x="1322254" y="826797"/>
                </a:lnTo>
                <a:close/>
                <a:moveTo>
                  <a:pt x="1056057" y="797298"/>
                </a:moveTo>
                <a:lnTo>
                  <a:pt x="1085660" y="797298"/>
                </a:lnTo>
                <a:lnTo>
                  <a:pt x="1085660" y="826794"/>
                </a:lnTo>
                <a:lnTo>
                  <a:pt x="1056057" y="826794"/>
                </a:lnTo>
                <a:close/>
                <a:moveTo>
                  <a:pt x="789968" y="797296"/>
                </a:moveTo>
                <a:lnTo>
                  <a:pt x="819570" y="797296"/>
                </a:lnTo>
                <a:lnTo>
                  <a:pt x="819570" y="826792"/>
                </a:lnTo>
                <a:lnTo>
                  <a:pt x="789968" y="826792"/>
                </a:lnTo>
                <a:close/>
                <a:moveTo>
                  <a:pt x="523771" y="797294"/>
                </a:moveTo>
                <a:lnTo>
                  <a:pt x="553373" y="797294"/>
                </a:lnTo>
                <a:lnTo>
                  <a:pt x="553373" y="826789"/>
                </a:lnTo>
                <a:lnTo>
                  <a:pt x="523771" y="826789"/>
                </a:lnTo>
                <a:close/>
                <a:moveTo>
                  <a:pt x="6113045" y="531575"/>
                </a:moveTo>
                <a:lnTo>
                  <a:pt x="6142647" y="531575"/>
                </a:lnTo>
                <a:lnTo>
                  <a:pt x="6142647" y="561177"/>
                </a:lnTo>
                <a:lnTo>
                  <a:pt x="6113045" y="561177"/>
                </a:lnTo>
                <a:close/>
                <a:moveTo>
                  <a:pt x="266197" y="531575"/>
                </a:moveTo>
                <a:lnTo>
                  <a:pt x="295800" y="531575"/>
                </a:lnTo>
                <a:lnTo>
                  <a:pt x="295800" y="561177"/>
                </a:lnTo>
                <a:lnTo>
                  <a:pt x="266197" y="561177"/>
                </a:lnTo>
                <a:close/>
                <a:moveTo>
                  <a:pt x="5846848" y="531573"/>
                </a:moveTo>
                <a:lnTo>
                  <a:pt x="5876450" y="531573"/>
                </a:lnTo>
                <a:lnTo>
                  <a:pt x="5876450" y="561175"/>
                </a:lnTo>
                <a:lnTo>
                  <a:pt x="5846848" y="561175"/>
                </a:lnTo>
                <a:close/>
                <a:moveTo>
                  <a:pt x="0" y="531573"/>
                </a:moveTo>
                <a:lnTo>
                  <a:pt x="29602" y="531573"/>
                </a:lnTo>
                <a:lnTo>
                  <a:pt x="29602" y="561175"/>
                </a:lnTo>
                <a:lnTo>
                  <a:pt x="0" y="561175"/>
                </a:lnTo>
                <a:close/>
                <a:moveTo>
                  <a:pt x="5580759" y="531571"/>
                </a:moveTo>
                <a:lnTo>
                  <a:pt x="5610361" y="531571"/>
                </a:lnTo>
                <a:lnTo>
                  <a:pt x="5610361" y="561173"/>
                </a:lnTo>
                <a:lnTo>
                  <a:pt x="5580759" y="561173"/>
                </a:lnTo>
                <a:close/>
                <a:moveTo>
                  <a:pt x="5314562" y="531568"/>
                </a:moveTo>
                <a:lnTo>
                  <a:pt x="5344164" y="531568"/>
                </a:lnTo>
                <a:lnTo>
                  <a:pt x="5344164" y="561170"/>
                </a:lnTo>
                <a:lnTo>
                  <a:pt x="5314562" y="561170"/>
                </a:lnTo>
                <a:close/>
                <a:moveTo>
                  <a:pt x="5048365" y="531566"/>
                </a:moveTo>
                <a:lnTo>
                  <a:pt x="5078075" y="531566"/>
                </a:lnTo>
                <a:lnTo>
                  <a:pt x="5078075" y="561168"/>
                </a:lnTo>
                <a:lnTo>
                  <a:pt x="5048365" y="561168"/>
                </a:lnTo>
                <a:close/>
                <a:moveTo>
                  <a:pt x="4782276" y="531564"/>
                </a:moveTo>
                <a:lnTo>
                  <a:pt x="4811879" y="531564"/>
                </a:lnTo>
                <a:lnTo>
                  <a:pt x="4811879" y="561166"/>
                </a:lnTo>
                <a:lnTo>
                  <a:pt x="4782276" y="561166"/>
                </a:lnTo>
                <a:close/>
                <a:moveTo>
                  <a:pt x="4516079" y="531562"/>
                </a:moveTo>
                <a:lnTo>
                  <a:pt x="4545681" y="531562"/>
                </a:lnTo>
                <a:lnTo>
                  <a:pt x="4545681" y="561164"/>
                </a:lnTo>
                <a:lnTo>
                  <a:pt x="4516079" y="561164"/>
                </a:lnTo>
                <a:close/>
                <a:moveTo>
                  <a:pt x="4249990" y="531560"/>
                </a:moveTo>
                <a:lnTo>
                  <a:pt x="4279592" y="531560"/>
                </a:lnTo>
                <a:lnTo>
                  <a:pt x="4279592" y="561162"/>
                </a:lnTo>
                <a:lnTo>
                  <a:pt x="4249990" y="561162"/>
                </a:lnTo>
                <a:close/>
                <a:moveTo>
                  <a:pt x="3983793" y="531558"/>
                </a:moveTo>
                <a:lnTo>
                  <a:pt x="4013396" y="531558"/>
                </a:lnTo>
                <a:lnTo>
                  <a:pt x="4013396" y="561160"/>
                </a:lnTo>
                <a:lnTo>
                  <a:pt x="3983793" y="561160"/>
                </a:lnTo>
                <a:close/>
                <a:moveTo>
                  <a:pt x="3717704" y="531556"/>
                </a:moveTo>
                <a:lnTo>
                  <a:pt x="3747307" y="531556"/>
                </a:lnTo>
                <a:lnTo>
                  <a:pt x="3747307" y="561158"/>
                </a:lnTo>
                <a:lnTo>
                  <a:pt x="3717704" y="561158"/>
                </a:lnTo>
                <a:close/>
                <a:moveTo>
                  <a:pt x="3451507" y="531554"/>
                </a:moveTo>
                <a:lnTo>
                  <a:pt x="3481109" y="531554"/>
                </a:lnTo>
                <a:lnTo>
                  <a:pt x="3481109" y="561156"/>
                </a:lnTo>
                <a:lnTo>
                  <a:pt x="3451507" y="561156"/>
                </a:lnTo>
                <a:close/>
                <a:moveTo>
                  <a:pt x="3185310" y="531551"/>
                </a:moveTo>
                <a:lnTo>
                  <a:pt x="3214913" y="531551"/>
                </a:lnTo>
                <a:lnTo>
                  <a:pt x="3214913" y="561154"/>
                </a:lnTo>
                <a:lnTo>
                  <a:pt x="3185310" y="561154"/>
                </a:lnTo>
                <a:close/>
                <a:moveTo>
                  <a:pt x="2919113" y="531549"/>
                </a:moveTo>
                <a:lnTo>
                  <a:pt x="2948715" y="531549"/>
                </a:lnTo>
                <a:lnTo>
                  <a:pt x="2948715" y="561152"/>
                </a:lnTo>
                <a:lnTo>
                  <a:pt x="2919113" y="561152"/>
                </a:lnTo>
                <a:close/>
                <a:moveTo>
                  <a:pt x="2653024" y="531547"/>
                </a:moveTo>
                <a:lnTo>
                  <a:pt x="2682627" y="531547"/>
                </a:lnTo>
                <a:lnTo>
                  <a:pt x="2682627" y="561149"/>
                </a:lnTo>
                <a:lnTo>
                  <a:pt x="2653024" y="561149"/>
                </a:lnTo>
                <a:close/>
                <a:moveTo>
                  <a:pt x="2386827" y="531545"/>
                </a:moveTo>
                <a:lnTo>
                  <a:pt x="2416430" y="531545"/>
                </a:lnTo>
                <a:lnTo>
                  <a:pt x="2416430" y="561147"/>
                </a:lnTo>
                <a:lnTo>
                  <a:pt x="2386827" y="561147"/>
                </a:lnTo>
                <a:close/>
                <a:moveTo>
                  <a:pt x="2120630" y="531543"/>
                </a:moveTo>
                <a:lnTo>
                  <a:pt x="2150233" y="531543"/>
                </a:lnTo>
                <a:lnTo>
                  <a:pt x="2150233" y="561145"/>
                </a:lnTo>
                <a:lnTo>
                  <a:pt x="2120630" y="561145"/>
                </a:lnTo>
                <a:close/>
                <a:moveTo>
                  <a:pt x="1854540" y="531541"/>
                </a:moveTo>
                <a:lnTo>
                  <a:pt x="1884143" y="531541"/>
                </a:lnTo>
                <a:lnTo>
                  <a:pt x="1884143" y="561143"/>
                </a:lnTo>
                <a:lnTo>
                  <a:pt x="1854540" y="561143"/>
                </a:lnTo>
                <a:close/>
                <a:moveTo>
                  <a:pt x="1588343" y="531539"/>
                </a:moveTo>
                <a:lnTo>
                  <a:pt x="1617945" y="531539"/>
                </a:lnTo>
                <a:lnTo>
                  <a:pt x="1617945" y="561141"/>
                </a:lnTo>
                <a:lnTo>
                  <a:pt x="1588343" y="561141"/>
                </a:lnTo>
                <a:close/>
                <a:moveTo>
                  <a:pt x="1322254" y="531537"/>
                </a:moveTo>
                <a:lnTo>
                  <a:pt x="1351857" y="531537"/>
                </a:lnTo>
                <a:lnTo>
                  <a:pt x="1351857" y="561139"/>
                </a:lnTo>
                <a:lnTo>
                  <a:pt x="1322254" y="561139"/>
                </a:lnTo>
                <a:close/>
                <a:moveTo>
                  <a:pt x="1056057" y="531534"/>
                </a:moveTo>
                <a:lnTo>
                  <a:pt x="1085660" y="531534"/>
                </a:lnTo>
                <a:lnTo>
                  <a:pt x="1085660" y="561137"/>
                </a:lnTo>
                <a:lnTo>
                  <a:pt x="1056057" y="561137"/>
                </a:lnTo>
                <a:close/>
                <a:moveTo>
                  <a:pt x="789968" y="531532"/>
                </a:moveTo>
                <a:lnTo>
                  <a:pt x="819570" y="531532"/>
                </a:lnTo>
                <a:lnTo>
                  <a:pt x="819570" y="561135"/>
                </a:lnTo>
                <a:lnTo>
                  <a:pt x="789968" y="561135"/>
                </a:lnTo>
                <a:close/>
                <a:moveTo>
                  <a:pt x="523771" y="531530"/>
                </a:moveTo>
                <a:lnTo>
                  <a:pt x="553373" y="531530"/>
                </a:lnTo>
                <a:lnTo>
                  <a:pt x="553373" y="561133"/>
                </a:lnTo>
                <a:lnTo>
                  <a:pt x="523771" y="561133"/>
                </a:lnTo>
                <a:close/>
                <a:moveTo>
                  <a:pt x="6113045" y="265811"/>
                </a:moveTo>
                <a:lnTo>
                  <a:pt x="6142647" y="265811"/>
                </a:lnTo>
                <a:lnTo>
                  <a:pt x="6142647" y="295414"/>
                </a:lnTo>
                <a:lnTo>
                  <a:pt x="6113045" y="295414"/>
                </a:lnTo>
                <a:close/>
                <a:moveTo>
                  <a:pt x="266197" y="265811"/>
                </a:moveTo>
                <a:lnTo>
                  <a:pt x="295800" y="265811"/>
                </a:lnTo>
                <a:lnTo>
                  <a:pt x="295800" y="295414"/>
                </a:lnTo>
                <a:lnTo>
                  <a:pt x="266197" y="295414"/>
                </a:lnTo>
                <a:close/>
                <a:moveTo>
                  <a:pt x="5846848" y="265809"/>
                </a:moveTo>
                <a:lnTo>
                  <a:pt x="5876450" y="265809"/>
                </a:lnTo>
                <a:lnTo>
                  <a:pt x="5876450" y="295412"/>
                </a:lnTo>
                <a:lnTo>
                  <a:pt x="5846848" y="295412"/>
                </a:lnTo>
                <a:close/>
                <a:moveTo>
                  <a:pt x="0" y="265809"/>
                </a:moveTo>
                <a:lnTo>
                  <a:pt x="29602" y="265809"/>
                </a:lnTo>
                <a:lnTo>
                  <a:pt x="29602" y="295412"/>
                </a:lnTo>
                <a:lnTo>
                  <a:pt x="0" y="295412"/>
                </a:lnTo>
                <a:close/>
                <a:moveTo>
                  <a:pt x="5580759" y="265807"/>
                </a:moveTo>
                <a:lnTo>
                  <a:pt x="5610361" y="265807"/>
                </a:lnTo>
                <a:lnTo>
                  <a:pt x="5610361" y="295409"/>
                </a:lnTo>
                <a:lnTo>
                  <a:pt x="5580759" y="295409"/>
                </a:lnTo>
                <a:close/>
                <a:moveTo>
                  <a:pt x="5314562" y="265805"/>
                </a:moveTo>
                <a:lnTo>
                  <a:pt x="5344164" y="265805"/>
                </a:lnTo>
                <a:lnTo>
                  <a:pt x="5344164" y="295407"/>
                </a:lnTo>
                <a:lnTo>
                  <a:pt x="5314562" y="295407"/>
                </a:lnTo>
                <a:close/>
                <a:moveTo>
                  <a:pt x="5048365" y="265803"/>
                </a:moveTo>
                <a:lnTo>
                  <a:pt x="5078075" y="265803"/>
                </a:lnTo>
                <a:lnTo>
                  <a:pt x="5078075" y="295405"/>
                </a:lnTo>
                <a:lnTo>
                  <a:pt x="5048365" y="295405"/>
                </a:lnTo>
                <a:close/>
                <a:moveTo>
                  <a:pt x="4782276" y="265800"/>
                </a:moveTo>
                <a:lnTo>
                  <a:pt x="4811879" y="265800"/>
                </a:lnTo>
                <a:lnTo>
                  <a:pt x="4811879" y="295403"/>
                </a:lnTo>
                <a:lnTo>
                  <a:pt x="4782276" y="295403"/>
                </a:lnTo>
                <a:close/>
                <a:moveTo>
                  <a:pt x="4516079" y="265798"/>
                </a:moveTo>
                <a:lnTo>
                  <a:pt x="4545681" y="265798"/>
                </a:lnTo>
                <a:lnTo>
                  <a:pt x="4545681" y="295401"/>
                </a:lnTo>
                <a:lnTo>
                  <a:pt x="4516079" y="295401"/>
                </a:lnTo>
                <a:close/>
                <a:moveTo>
                  <a:pt x="4249990" y="265796"/>
                </a:moveTo>
                <a:lnTo>
                  <a:pt x="4279592" y="265796"/>
                </a:lnTo>
                <a:lnTo>
                  <a:pt x="4279592" y="295398"/>
                </a:lnTo>
                <a:lnTo>
                  <a:pt x="4249990" y="295398"/>
                </a:lnTo>
                <a:close/>
                <a:moveTo>
                  <a:pt x="3983793" y="265794"/>
                </a:moveTo>
                <a:lnTo>
                  <a:pt x="4013396" y="265794"/>
                </a:lnTo>
                <a:lnTo>
                  <a:pt x="4013396" y="295396"/>
                </a:lnTo>
                <a:lnTo>
                  <a:pt x="3983793" y="295396"/>
                </a:lnTo>
                <a:close/>
                <a:moveTo>
                  <a:pt x="3717704" y="265792"/>
                </a:moveTo>
                <a:lnTo>
                  <a:pt x="3747307" y="265792"/>
                </a:lnTo>
                <a:lnTo>
                  <a:pt x="3747307" y="295394"/>
                </a:lnTo>
                <a:lnTo>
                  <a:pt x="3717704" y="295394"/>
                </a:lnTo>
                <a:close/>
                <a:moveTo>
                  <a:pt x="3451507" y="265789"/>
                </a:moveTo>
                <a:lnTo>
                  <a:pt x="3481109" y="265789"/>
                </a:lnTo>
                <a:lnTo>
                  <a:pt x="3481109" y="295392"/>
                </a:lnTo>
                <a:lnTo>
                  <a:pt x="3451507" y="295392"/>
                </a:lnTo>
                <a:close/>
                <a:moveTo>
                  <a:pt x="3185310" y="265787"/>
                </a:moveTo>
                <a:lnTo>
                  <a:pt x="3214913" y="265787"/>
                </a:lnTo>
                <a:lnTo>
                  <a:pt x="3214913" y="295390"/>
                </a:lnTo>
                <a:lnTo>
                  <a:pt x="3185310" y="295390"/>
                </a:lnTo>
                <a:close/>
                <a:moveTo>
                  <a:pt x="2919113" y="265785"/>
                </a:moveTo>
                <a:lnTo>
                  <a:pt x="2948715" y="265785"/>
                </a:lnTo>
                <a:lnTo>
                  <a:pt x="2948715" y="295387"/>
                </a:lnTo>
                <a:lnTo>
                  <a:pt x="2919113" y="295387"/>
                </a:lnTo>
                <a:close/>
                <a:moveTo>
                  <a:pt x="2653024" y="265783"/>
                </a:moveTo>
                <a:lnTo>
                  <a:pt x="2682627" y="265783"/>
                </a:lnTo>
                <a:lnTo>
                  <a:pt x="2682627" y="295385"/>
                </a:lnTo>
                <a:lnTo>
                  <a:pt x="2653024" y="295385"/>
                </a:lnTo>
                <a:close/>
                <a:moveTo>
                  <a:pt x="2386827" y="265781"/>
                </a:moveTo>
                <a:lnTo>
                  <a:pt x="2416430" y="265781"/>
                </a:lnTo>
                <a:lnTo>
                  <a:pt x="2416430" y="295383"/>
                </a:lnTo>
                <a:lnTo>
                  <a:pt x="2386827" y="295383"/>
                </a:lnTo>
                <a:close/>
                <a:moveTo>
                  <a:pt x="2120630" y="265778"/>
                </a:moveTo>
                <a:lnTo>
                  <a:pt x="2150233" y="265778"/>
                </a:lnTo>
                <a:lnTo>
                  <a:pt x="2150233" y="295381"/>
                </a:lnTo>
                <a:lnTo>
                  <a:pt x="2120630" y="295381"/>
                </a:lnTo>
                <a:close/>
                <a:moveTo>
                  <a:pt x="1854540" y="265776"/>
                </a:moveTo>
                <a:lnTo>
                  <a:pt x="1884143" y="265776"/>
                </a:lnTo>
                <a:lnTo>
                  <a:pt x="1884143" y="295379"/>
                </a:lnTo>
                <a:lnTo>
                  <a:pt x="1854540" y="295379"/>
                </a:lnTo>
                <a:close/>
                <a:moveTo>
                  <a:pt x="1588343" y="265774"/>
                </a:moveTo>
                <a:lnTo>
                  <a:pt x="1617945" y="265774"/>
                </a:lnTo>
                <a:lnTo>
                  <a:pt x="1617945" y="295376"/>
                </a:lnTo>
                <a:lnTo>
                  <a:pt x="1588343" y="295376"/>
                </a:lnTo>
                <a:close/>
                <a:moveTo>
                  <a:pt x="1322254" y="265772"/>
                </a:moveTo>
                <a:lnTo>
                  <a:pt x="1351857" y="265772"/>
                </a:lnTo>
                <a:lnTo>
                  <a:pt x="1351857" y="295374"/>
                </a:lnTo>
                <a:lnTo>
                  <a:pt x="1322254" y="295374"/>
                </a:lnTo>
                <a:close/>
                <a:moveTo>
                  <a:pt x="1056057" y="265770"/>
                </a:moveTo>
                <a:lnTo>
                  <a:pt x="1085660" y="265770"/>
                </a:lnTo>
                <a:lnTo>
                  <a:pt x="1085660" y="295372"/>
                </a:lnTo>
                <a:lnTo>
                  <a:pt x="1056057" y="295372"/>
                </a:lnTo>
                <a:close/>
                <a:moveTo>
                  <a:pt x="789968" y="265767"/>
                </a:moveTo>
                <a:lnTo>
                  <a:pt x="819570" y="265767"/>
                </a:lnTo>
                <a:lnTo>
                  <a:pt x="819570" y="295370"/>
                </a:lnTo>
                <a:lnTo>
                  <a:pt x="789968" y="295370"/>
                </a:lnTo>
                <a:close/>
                <a:moveTo>
                  <a:pt x="523771" y="265765"/>
                </a:moveTo>
                <a:lnTo>
                  <a:pt x="553373" y="265765"/>
                </a:lnTo>
                <a:lnTo>
                  <a:pt x="553373" y="295368"/>
                </a:lnTo>
                <a:lnTo>
                  <a:pt x="523771" y="295368"/>
                </a:lnTo>
                <a:close/>
                <a:moveTo>
                  <a:pt x="6113045" y="48"/>
                </a:moveTo>
                <a:lnTo>
                  <a:pt x="6142647" y="48"/>
                </a:lnTo>
                <a:lnTo>
                  <a:pt x="6142647" y="29651"/>
                </a:lnTo>
                <a:lnTo>
                  <a:pt x="6113045" y="29651"/>
                </a:lnTo>
                <a:close/>
                <a:moveTo>
                  <a:pt x="266197" y="48"/>
                </a:moveTo>
                <a:lnTo>
                  <a:pt x="295800" y="48"/>
                </a:lnTo>
                <a:lnTo>
                  <a:pt x="295800" y="29651"/>
                </a:lnTo>
                <a:lnTo>
                  <a:pt x="266197" y="29651"/>
                </a:lnTo>
                <a:close/>
                <a:moveTo>
                  <a:pt x="5846848" y="46"/>
                </a:moveTo>
                <a:lnTo>
                  <a:pt x="5876450" y="46"/>
                </a:lnTo>
                <a:lnTo>
                  <a:pt x="5876450" y="29648"/>
                </a:lnTo>
                <a:lnTo>
                  <a:pt x="5846848" y="29648"/>
                </a:lnTo>
                <a:close/>
                <a:moveTo>
                  <a:pt x="0" y="46"/>
                </a:moveTo>
                <a:lnTo>
                  <a:pt x="29602" y="46"/>
                </a:lnTo>
                <a:lnTo>
                  <a:pt x="29602" y="29648"/>
                </a:lnTo>
                <a:lnTo>
                  <a:pt x="0" y="29648"/>
                </a:lnTo>
                <a:close/>
                <a:moveTo>
                  <a:pt x="5580759" y="44"/>
                </a:moveTo>
                <a:lnTo>
                  <a:pt x="5610361" y="44"/>
                </a:lnTo>
                <a:lnTo>
                  <a:pt x="5610361" y="29646"/>
                </a:lnTo>
                <a:lnTo>
                  <a:pt x="5580759" y="29646"/>
                </a:lnTo>
                <a:close/>
                <a:moveTo>
                  <a:pt x="5314562" y="41"/>
                </a:moveTo>
                <a:lnTo>
                  <a:pt x="5344164" y="41"/>
                </a:lnTo>
                <a:lnTo>
                  <a:pt x="5344164" y="29644"/>
                </a:lnTo>
                <a:lnTo>
                  <a:pt x="5314562" y="29644"/>
                </a:lnTo>
                <a:close/>
                <a:moveTo>
                  <a:pt x="5048365" y="39"/>
                </a:moveTo>
                <a:lnTo>
                  <a:pt x="5078075" y="39"/>
                </a:lnTo>
                <a:lnTo>
                  <a:pt x="5078075" y="29641"/>
                </a:lnTo>
                <a:lnTo>
                  <a:pt x="5048365" y="29641"/>
                </a:lnTo>
                <a:close/>
                <a:moveTo>
                  <a:pt x="4782276" y="37"/>
                </a:moveTo>
                <a:lnTo>
                  <a:pt x="4811879" y="37"/>
                </a:lnTo>
                <a:lnTo>
                  <a:pt x="4811879" y="29639"/>
                </a:lnTo>
                <a:lnTo>
                  <a:pt x="4782276" y="29639"/>
                </a:lnTo>
                <a:close/>
                <a:moveTo>
                  <a:pt x="4516079" y="34"/>
                </a:moveTo>
                <a:lnTo>
                  <a:pt x="4545681" y="34"/>
                </a:lnTo>
                <a:lnTo>
                  <a:pt x="4545681" y="29637"/>
                </a:lnTo>
                <a:lnTo>
                  <a:pt x="4516079" y="29637"/>
                </a:lnTo>
                <a:close/>
                <a:moveTo>
                  <a:pt x="4249990" y="32"/>
                </a:moveTo>
                <a:lnTo>
                  <a:pt x="4279592" y="32"/>
                </a:lnTo>
                <a:lnTo>
                  <a:pt x="4279592" y="29635"/>
                </a:lnTo>
                <a:lnTo>
                  <a:pt x="4249990" y="29635"/>
                </a:lnTo>
                <a:close/>
                <a:moveTo>
                  <a:pt x="3983793" y="30"/>
                </a:moveTo>
                <a:lnTo>
                  <a:pt x="4013396" y="30"/>
                </a:lnTo>
                <a:lnTo>
                  <a:pt x="4013396" y="29632"/>
                </a:lnTo>
                <a:lnTo>
                  <a:pt x="3983793" y="29632"/>
                </a:lnTo>
                <a:close/>
                <a:moveTo>
                  <a:pt x="3717704" y="28"/>
                </a:moveTo>
                <a:lnTo>
                  <a:pt x="3747307" y="28"/>
                </a:lnTo>
                <a:lnTo>
                  <a:pt x="3747307" y="29630"/>
                </a:lnTo>
                <a:lnTo>
                  <a:pt x="3717704" y="29630"/>
                </a:lnTo>
                <a:close/>
                <a:moveTo>
                  <a:pt x="3451507" y="25"/>
                </a:moveTo>
                <a:lnTo>
                  <a:pt x="3481109" y="25"/>
                </a:lnTo>
                <a:lnTo>
                  <a:pt x="3481109" y="29628"/>
                </a:lnTo>
                <a:lnTo>
                  <a:pt x="3451507" y="29628"/>
                </a:lnTo>
                <a:close/>
                <a:moveTo>
                  <a:pt x="3185310" y="23"/>
                </a:moveTo>
                <a:lnTo>
                  <a:pt x="3214913" y="23"/>
                </a:lnTo>
                <a:lnTo>
                  <a:pt x="3214913" y="29625"/>
                </a:lnTo>
                <a:lnTo>
                  <a:pt x="3185310" y="29625"/>
                </a:lnTo>
                <a:close/>
                <a:moveTo>
                  <a:pt x="2919113" y="21"/>
                </a:moveTo>
                <a:lnTo>
                  <a:pt x="2948715" y="21"/>
                </a:lnTo>
                <a:lnTo>
                  <a:pt x="2948715" y="29623"/>
                </a:lnTo>
                <a:lnTo>
                  <a:pt x="2919113" y="29623"/>
                </a:lnTo>
                <a:close/>
                <a:moveTo>
                  <a:pt x="2653024" y="18"/>
                </a:moveTo>
                <a:lnTo>
                  <a:pt x="2682627" y="18"/>
                </a:lnTo>
                <a:lnTo>
                  <a:pt x="2682627" y="29621"/>
                </a:lnTo>
                <a:lnTo>
                  <a:pt x="2653024" y="29621"/>
                </a:lnTo>
                <a:close/>
                <a:moveTo>
                  <a:pt x="2386827" y="16"/>
                </a:moveTo>
                <a:lnTo>
                  <a:pt x="2416430" y="16"/>
                </a:lnTo>
                <a:lnTo>
                  <a:pt x="2416430" y="29618"/>
                </a:lnTo>
                <a:lnTo>
                  <a:pt x="2386827" y="29618"/>
                </a:lnTo>
                <a:close/>
                <a:moveTo>
                  <a:pt x="2120630" y="14"/>
                </a:moveTo>
                <a:lnTo>
                  <a:pt x="2150233" y="14"/>
                </a:lnTo>
                <a:lnTo>
                  <a:pt x="2150233" y="29616"/>
                </a:lnTo>
                <a:lnTo>
                  <a:pt x="2120630" y="29616"/>
                </a:lnTo>
                <a:close/>
                <a:moveTo>
                  <a:pt x="1854540" y="12"/>
                </a:moveTo>
                <a:lnTo>
                  <a:pt x="1884143" y="12"/>
                </a:lnTo>
                <a:lnTo>
                  <a:pt x="1884143" y="29614"/>
                </a:lnTo>
                <a:lnTo>
                  <a:pt x="1854540" y="29614"/>
                </a:lnTo>
                <a:close/>
                <a:moveTo>
                  <a:pt x="1588343" y="9"/>
                </a:moveTo>
                <a:lnTo>
                  <a:pt x="1617945" y="9"/>
                </a:lnTo>
                <a:lnTo>
                  <a:pt x="1617945" y="29612"/>
                </a:lnTo>
                <a:lnTo>
                  <a:pt x="1588343" y="29612"/>
                </a:lnTo>
                <a:close/>
                <a:moveTo>
                  <a:pt x="1322254" y="7"/>
                </a:moveTo>
                <a:lnTo>
                  <a:pt x="1351857" y="7"/>
                </a:lnTo>
                <a:lnTo>
                  <a:pt x="1351857" y="29609"/>
                </a:lnTo>
                <a:lnTo>
                  <a:pt x="1322254" y="29609"/>
                </a:lnTo>
                <a:close/>
                <a:moveTo>
                  <a:pt x="1056057" y="5"/>
                </a:moveTo>
                <a:lnTo>
                  <a:pt x="1085660" y="5"/>
                </a:lnTo>
                <a:lnTo>
                  <a:pt x="1085660" y="29607"/>
                </a:lnTo>
                <a:lnTo>
                  <a:pt x="1056057" y="29607"/>
                </a:lnTo>
                <a:close/>
                <a:moveTo>
                  <a:pt x="789968" y="2"/>
                </a:moveTo>
                <a:lnTo>
                  <a:pt x="819570" y="2"/>
                </a:lnTo>
                <a:lnTo>
                  <a:pt x="819570" y="29605"/>
                </a:lnTo>
                <a:lnTo>
                  <a:pt x="789968" y="29605"/>
                </a:lnTo>
                <a:close/>
                <a:moveTo>
                  <a:pt x="523771" y="0"/>
                </a:moveTo>
                <a:lnTo>
                  <a:pt x="553373" y="0"/>
                </a:lnTo>
                <a:lnTo>
                  <a:pt x="553373" y="29602"/>
                </a:lnTo>
                <a:lnTo>
                  <a:pt x="523771" y="29602"/>
                </a:lnTo>
                <a:close/>
              </a:path>
            </a:pathLst>
          </a:custGeom>
          <a:solidFill>
            <a:schemeClr val="tx1">
              <a:alpha val="20000"/>
            </a:schemeClr>
          </a:solidFill>
          <a:ln w="10797" cap="flat">
            <a:noFill/>
            <a:prstDash val="solid"/>
            <a:miter/>
          </a:ln>
        </p:spPr>
        <p:txBody>
          <a:bodyPr wrap="square" rtlCol="0" anchor="ctr">
            <a:noAutofit/>
          </a:bodyPr>
          <a:lstStyle/>
          <a:p>
            <a:endParaRPr lang="en-US"/>
          </a:p>
        </p:txBody>
      </p:sp>
      <p:sp>
        <p:nvSpPr>
          <p:cNvPr id="24" name="Text Placeholder 7">
            <a:extLst>
              <a:ext uri="{FF2B5EF4-FFF2-40B4-BE49-F238E27FC236}">
                <a16:creationId xmlns:a16="http://schemas.microsoft.com/office/drawing/2014/main" id="{2E77F839-1906-4B62-993E-E3534B67AD9B}"/>
              </a:ext>
            </a:extLst>
          </p:cNvPr>
          <p:cNvSpPr>
            <a:spLocks noGrp="1"/>
          </p:cNvSpPr>
          <p:nvPr>
            <p:ph type="body" sz="quarter" idx="13" hasCustomPrompt="1"/>
          </p:nvPr>
        </p:nvSpPr>
        <p:spPr>
          <a:xfrm>
            <a:off x="382972" y="330897"/>
            <a:ext cx="3712777" cy="557212"/>
          </a:xfrm>
        </p:spPr>
        <p:txBody>
          <a:bodyPr/>
          <a:lstStyle>
            <a:lvl1pPr>
              <a:spcBef>
                <a:spcPts val="0"/>
              </a:spcBef>
              <a:defRPr sz="900">
                <a:solidFill>
                  <a:schemeClr val="tx2"/>
                </a:solidFill>
              </a:defRPr>
            </a:lvl1pPr>
            <a:lvl2pPr marL="112713" indent="-112713">
              <a:spcBef>
                <a:spcPts val="0"/>
              </a:spcBef>
              <a:buClr>
                <a:schemeClr val="tx2"/>
              </a:buClr>
              <a:defRPr sz="900">
                <a:solidFill>
                  <a:schemeClr val="tx1"/>
                </a:solidFill>
              </a:defRPr>
            </a:lvl2pPr>
            <a:lvl3pPr marL="225425" indent="-112713">
              <a:spcBef>
                <a:spcPts val="0"/>
              </a:spcBef>
              <a:buClr>
                <a:schemeClr val="tx2"/>
              </a:buClr>
              <a:defRPr sz="900">
                <a:solidFill>
                  <a:schemeClr val="tx1"/>
                </a:solidFill>
              </a:defRPr>
            </a:lvl3pPr>
            <a:lvl4pPr marL="339725" indent="-114300">
              <a:spcBef>
                <a:spcPts val="0"/>
              </a:spcBef>
              <a:buClr>
                <a:schemeClr val="tx2"/>
              </a:buClr>
              <a:defRPr sz="900"/>
            </a:lvl4pPr>
            <a:lvl5pPr marL="460375" indent="-120650">
              <a:spcBef>
                <a:spcPts val="0"/>
              </a:spcBef>
              <a:buClr>
                <a:schemeClr val="tx2"/>
              </a:buClr>
              <a:tabLst/>
              <a:defRPr sz="900"/>
            </a:lvl5pPr>
          </a:lstStyle>
          <a:p>
            <a:pPr lvl="0"/>
            <a:r>
              <a:rPr lang="en-US"/>
              <a:t>Insert Date Here</a:t>
            </a:r>
          </a:p>
          <a:p>
            <a:pPr lvl="0"/>
            <a:endParaRPr lang="en-US"/>
          </a:p>
        </p:txBody>
      </p:sp>
      <p:sp>
        <p:nvSpPr>
          <p:cNvPr id="22" name="Title 1">
            <a:extLst>
              <a:ext uri="{FF2B5EF4-FFF2-40B4-BE49-F238E27FC236}">
                <a16:creationId xmlns:a16="http://schemas.microsoft.com/office/drawing/2014/main" id="{E2C5D4DA-7E8C-43ED-A21C-F053340146E4}"/>
              </a:ext>
            </a:extLst>
          </p:cNvPr>
          <p:cNvSpPr>
            <a:spLocks noGrp="1"/>
          </p:cNvSpPr>
          <p:nvPr>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26" name="Picture 25" descr="A close up of a sign&#10;&#10;Description automatically generated">
            <a:extLst>
              <a:ext uri="{FF2B5EF4-FFF2-40B4-BE49-F238E27FC236}">
                <a16:creationId xmlns:a16="http://schemas.microsoft.com/office/drawing/2014/main" id="{683CD6C5-714F-4AD2-90CA-BD5210E11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212" y="6081015"/>
            <a:ext cx="2448162" cy="560909"/>
          </a:xfrm>
          <a:prstGeom prst="rect">
            <a:avLst/>
          </a:prstGeom>
        </p:spPr>
      </p:pic>
      <p:sp>
        <p:nvSpPr>
          <p:cNvPr id="58" name="Text Placeholder 46">
            <a:extLst>
              <a:ext uri="{FF2B5EF4-FFF2-40B4-BE49-F238E27FC236}">
                <a16:creationId xmlns:a16="http://schemas.microsoft.com/office/drawing/2014/main" id="{5B520CC2-6460-4C8A-95B1-C5C840CCB540}"/>
              </a:ext>
            </a:extLst>
          </p:cNvPr>
          <p:cNvSpPr>
            <a:spLocks noGrp="1"/>
          </p:cNvSpPr>
          <p:nvPr>
            <p:ph type="body" sz="quarter" idx="16" hasCustomPrompt="1"/>
          </p:nvPr>
        </p:nvSpPr>
        <p:spPr>
          <a:xfrm>
            <a:off x="7417167" y="3"/>
            <a:ext cx="1059710" cy="1030447"/>
          </a:xfrm>
          <a:custGeom>
            <a:avLst/>
            <a:gdLst>
              <a:gd name="connsiteX0" fmla="*/ 0 w 1059710"/>
              <a:gd name="connsiteY0" fmla="*/ 0 h 1030447"/>
              <a:gd name="connsiteX1" fmla="*/ 530730 w 1059710"/>
              <a:gd name="connsiteY1" fmla="*/ 0 h 1030447"/>
              <a:gd name="connsiteX2" fmla="*/ 538263 w 1059710"/>
              <a:gd name="connsiteY2" fmla="*/ 74726 h 1030447"/>
              <a:gd name="connsiteX3" fmla="*/ 1059710 w 1059710"/>
              <a:gd name="connsiteY3" fmla="*/ 499718 h 1030447"/>
              <a:gd name="connsiteX4" fmla="*/ 1059710 w 1059710"/>
              <a:gd name="connsiteY4" fmla="*/ 1030447 h 1030447"/>
              <a:gd name="connsiteX5" fmla="*/ 18316 w 1059710"/>
              <a:gd name="connsiteY5" fmla="*/ 181687 h 103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9710" h="1030447">
                <a:moveTo>
                  <a:pt x="0" y="0"/>
                </a:moveTo>
                <a:lnTo>
                  <a:pt x="530730" y="0"/>
                </a:lnTo>
                <a:lnTo>
                  <a:pt x="538263" y="74726"/>
                </a:lnTo>
                <a:cubicBezTo>
                  <a:pt x="587894" y="317268"/>
                  <a:pt x="802496" y="499718"/>
                  <a:pt x="1059710" y="499718"/>
                </a:cubicBezTo>
                <a:lnTo>
                  <a:pt x="1059710" y="1030447"/>
                </a:lnTo>
                <a:cubicBezTo>
                  <a:pt x="546021" y="1030447"/>
                  <a:pt x="117435" y="666073"/>
                  <a:pt x="18316" y="181687"/>
                </a:cubicBez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65" name="Text Placeholder 49">
            <a:extLst>
              <a:ext uri="{FF2B5EF4-FFF2-40B4-BE49-F238E27FC236}">
                <a16:creationId xmlns:a16="http://schemas.microsoft.com/office/drawing/2014/main" id="{18A4A4F2-9AB2-4B24-87E6-2B75F59E8506}"/>
              </a:ext>
            </a:extLst>
          </p:cNvPr>
          <p:cNvSpPr>
            <a:spLocks noGrp="1"/>
          </p:cNvSpPr>
          <p:nvPr>
            <p:ph type="body" sz="quarter" idx="17" hasCustomPrompt="1"/>
          </p:nvPr>
        </p:nvSpPr>
        <p:spPr>
          <a:xfrm>
            <a:off x="6094412" y="1551001"/>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66" name="Text Placeholder 65">
            <a:extLst>
              <a:ext uri="{FF2B5EF4-FFF2-40B4-BE49-F238E27FC236}">
                <a16:creationId xmlns:a16="http://schemas.microsoft.com/office/drawing/2014/main" id="{153E22C6-525F-48C3-ACB4-BD69B0068016}"/>
              </a:ext>
            </a:extLst>
          </p:cNvPr>
          <p:cNvSpPr>
            <a:spLocks noGrp="1"/>
          </p:cNvSpPr>
          <p:nvPr>
            <p:ph type="body" sz="quarter" idx="18" hasCustomPrompt="1"/>
          </p:nvPr>
        </p:nvSpPr>
        <p:spPr>
          <a:xfrm>
            <a:off x="9277475" y="1"/>
            <a:ext cx="530877" cy="1010939"/>
          </a:xfrm>
          <a:custGeom>
            <a:avLst/>
            <a:gdLst>
              <a:gd name="connsiteX0" fmla="*/ 0 w 530877"/>
              <a:gd name="connsiteY0" fmla="*/ 0 h 1010939"/>
              <a:gd name="connsiteX1" fmla="*/ 530877 w 530877"/>
              <a:gd name="connsiteY1" fmla="*/ 0 h 1010939"/>
              <a:gd name="connsiteX2" fmla="*/ 530877 w 530877"/>
              <a:gd name="connsiteY2" fmla="*/ 1010939 h 1010939"/>
              <a:gd name="connsiteX3" fmla="*/ 0 w 530877"/>
              <a:gd name="connsiteY3" fmla="*/ 1010939 h 1010939"/>
            </a:gdLst>
            <a:ahLst/>
            <a:cxnLst>
              <a:cxn ang="0">
                <a:pos x="connsiteX0" y="connsiteY0"/>
              </a:cxn>
              <a:cxn ang="0">
                <a:pos x="connsiteX1" y="connsiteY1"/>
              </a:cxn>
              <a:cxn ang="0">
                <a:pos x="connsiteX2" y="connsiteY2"/>
              </a:cxn>
              <a:cxn ang="0">
                <a:pos x="connsiteX3" y="connsiteY3"/>
              </a:cxn>
            </a:cxnLst>
            <a:rect l="l" t="t" r="r" b="b"/>
            <a:pathLst>
              <a:path w="530877" h="1010939">
                <a:moveTo>
                  <a:pt x="0" y="0"/>
                </a:moveTo>
                <a:lnTo>
                  <a:pt x="530877" y="0"/>
                </a:lnTo>
                <a:lnTo>
                  <a:pt x="530877" y="1010939"/>
                </a:lnTo>
                <a:lnTo>
                  <a:pt x="0" y="1010939"/>
                </a:lnTo>
                <a:close/>
              </a:path>
            </a:pathLst>
          </a:custGeom>
          <a:solidFill>
            <a:schemeClr val="accent1"/>
          </a:solidFill>
        </p:spPr>
        <p:txBody>
          <a:bodyPr wrap="square">
            <a:noAutofit/>
          </a:bodyPr>
          <a:lstStyle>
            <a:lvl1pPr>
              <a:defRPr>
                <a:solidFill>
                  <a:schemeClr val="bg1">
                    <a:alpha val="0"/>
                  </a:schemeClr>
                </a:solidFill>
              </a:defRPr>
            </a:lvl1pPr>
          </a:lstStyle>
          <a:p>
            <a:pPr lvl="0"/>
            <a:r>
              <a:rPr lang="en-US"/>
              <a:t> </a:t>
            </a:r>
          </a:p>
        </p:txBody>
      </p:sp>
      <p:sp>
        <p:nvSpPr>
          <p:cNvPr id="67" name="Text Placeholder 66">
            <a:extLst>
              <a:ext uri="{FF2B5EF4-FFF2-40B4-BE49-F238E27FC236}">
                <a16:creationId xmlns:a16="http://schemas.microsoft.com/office/drawing/2014/main" id="{3F401092-D1B1-4CFB-BAD9-1234F07E61D8}"/>
              </a:ext>
            </a:extLst>
          </p:cNvPr>
          <p:cNvSpPr>
            <a:spLocks noGrp="1"/>
          </p:cNvSpPr>
          <p:nvPr>
            <p:ph type="body" sz="quarter" idx="19" hasCustomPrompt="1"/>
          </p:nvPr>
        </p:nvSpPr>
        <p:spPr>
          <a:xfrm>
            <a:off x="10592201" y="0"/>
            <a:ext cx="1596624" cy="1030511"/>
          </a:xfrm>
          <a:custGeom>
            <a:avLst/>
            <a:gdLst>
              <a:gd name="connsiteX0" fmla="*/ 0 w 1596624"/>
              <a:gd name="connsiteY0" fmla="*/ 0 h 1030511"/>
              <a:gd name="connsiteX1" fmla="*/ 530728 w 1596624"/>
              <a:gd name="connsiteY1" fmla="*/ 0 h 1030511"/>
              <a:gd name="connsiteX2" fmla="*/ 538268 w 1596624"/>
              <a:gd name="connsiteY2" fmla="*/ 74789 h 1030511"/>
              <a:gd name="connsiteX3" fmla="*/ 1059716 w 1596624"/>
              <a:gd name="connsiteY3" fmla="*/ 499781 h 1030511"/>
              <a:gd name="connsiteX4" fmla="*/ 1581162 w 1596624"/>
              <a:gd name="connsiteY4" fmla="*/ 74789 h 1030511"/>
              <a:gd name="connsiteX5" fmla="*/ 1588702 w 1596624"/>
              <a:gd name="connsiteY5" fmla="*/ 0 h 1030511"/>
              <a:gd name="connsiteX6" fmla="*/ 1596624 w 1596624"/>
              <a:gd name="connsiteY6" fmla="*/ 0 h 1030511"/>
              <a:gd name="connsiteX7" fmla="*/ 1596624 w 1596624"/>
              <a:gd name="connsiteY7" fmla="*/ 880135 h 1030511"/>
              <a:gd name="connsiteX8" fmla="*/ 1473479 w 1596624"/>
              <a:gd name="connsiteY8" fmla="*/ 946976 h 1030511"/>
              <a:gd name="connsiteX9" fmla="*/ 1059716 w 1596624"/>
              <a:gd name="connsiteY9" fmla="*/ 1030511 h 1030511"/>
              <a:gd name="connsiteX10" fmla="*/ 18322 w 1596624"/>
              <a:gd name="connsiteY10" fmla="*/ 181750 h 103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6624" h="1030511">
                <a:moveTo>
                  <a:pt x="0" y="0"/>
                </a:moveTo>
                <a:lnTo>
                  <a:pt x="530728" y="0"/>
                </a:lnTo>
                <a:lnTo>
                  <a:pt x="538268" y="74789"/>
                </a:lnTo>
                <a:cubicBezTo>
                  <a:pt x="587899" y="317331"/>
                  <a:pt x="802501" y="499781"/>
                  <a:pt x="1059716" y="499781"/>
                </a:cubicBezTo>
                <a:cubicBezTo>
                  <a:pt x="1316929" y="499781"/>
                  <a:pt x="1531531" y="317331"/>
                  <a:pt x="1581162" y="74789"/>
                </a:cubicBezTo>
                <a:lnTo>
                  <a:pt x="1588702" y="0"/>
                </a:lnTo>
                <a:lnTo>
                  <a:pt x="1596624" y="0"/>
                </a:lnTo>
                <a:lnTo>
                  <a:pt x="1596624" y="880135"/>
                </a:lnTo>
                <a:lnTo>
                  <a:pt x="1473479" y="946976"/>
                </a:lnTo>
                <a:cubicBezTo>
                  <a:pt x="1346305" y="1000766"/>
                  <a:pt x="1206484" y="1030511"/>
                  <a:pt x="1059716" y="1030511"/>
                </a:cubicBezTo>
                <a:cubicBezTo>
                  <a:pt x="546026" y="1030511"/>
                  <a:pt x="117442" y="666137"/>
                  <a:pt x="18322" y="181750"/>
                </a:cubicBez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68" name="Text Placeholder 64">
            <a:extLst>
              <a:ext uri="{FF2B5EF4-FFF2-40B4-BE49-F238E27FC236}">
                <a16:creationId xmlns:a16="http://schemas.microsoft.com/office/drawing/2014/main" id="{59ED8ACD-8533-448B-B246-0F6A58967FE6}"/>
              </a:ext>
            </a:extLst>
          </p:cNvPr>
          <p:cNvSpPr>
            <a:spLocks noGrp="1"/>
          </p:cNvSpPr>
          <p:nvPr>
            <p:ph type="body" sz="quarter" idx="22" hasCustomPrompt="1"/>
          </p:nvPr>
        </p:nvSpPr>
        <p:spPr>
          <a:xfrm>
            <a:off x="7678636" y="1545516"/>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69" name="Text Placeholder 70">
            <a:extLst>
              <a:ext uri="{FF2B5EF4-FFF2-40B4-BE49-F238E27FC236}">
                <a16:creationId xmlns:a16="http://schemas.microsoft.com/office/drawing/2014/main" id="{BAB10714-F92D-4CE4-BB84-8506611E1245}"/>
              </a:ext>
            </a:extLst>
          </p:cNvPr>
          <p:cNvSpPr>
            <a:spLocks noGrp="1"/>
          </p:cNvSpPr>
          <p:nvPr>
            <p:ph type="body" sz="quarter" idx="24" hasCustomPrompt="1"/>
          </p:nvPr>
        </p:nvSpPr>
        <p:spPr>
          <a:xfrm>
            <a:off x="11657948" y="1564235"/>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70" name="Text Placeholder 73">
            <a:extLst>
              <a:ext uri="{FF2B5EF4-FFF2-40B4-BE49-F238E27FC236}">
                <a16:creationId xmlns:a16="http://schemas.microsoft.com/office/drawing/2014/main" id="{D12020BB-0003-49B8-9C22-8096654708C0}"/>
              </a:ext>
            </a:extLst>
          </p:cNvPr>
          <p:cNvSpPr>
            <a:spLocks noGrp="1"/>
          </p:cNvSpPr>
          <p:nvPr>
            <p:ph type="body" sz="quarter" idx="25" hasCustomPrompt="1"/>
          </p:nvPr>
        </p:nvSpPr>
        <p:spPr>
          <a:xfrm>
            <a:off x="11657949" y="4225925"/>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71" name="Text Placeholder 76">
            <a:extLst>
              <a:ext uri="{FF2B5EF4-FFF2-40B4-BE49-F238E27FC236}">
                <a16:creationId xmlns:a16="http://schemas.microsoft.com/office/drawing/2014/main" id="{5BEBB785-31E6-4440-A534-AEC645C037DB}"/>
              </a:ext>
            </a:extLst>
          </p:cNvPr>
          <p:cNvSpPr>
            <a:spLocks noGrp="1"/>
          </p:cNvSpPr>
          <p:nvPr>
            <p:ph type="body" sz="quarter" idx="26" hasCustomPrompt="1"/>
          </p:nvPr>
        </p:nvSpPr>
        <p:spPr>
          <a:xfrm>
            <a:off x="9544222" y="6330122"/>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72" name="Text Placeholder 79">
            <a:extLst>
              <a:ext uri="{FF2B5EF4-FFF2-40B4-BE49-F238E27FC236}">
                <a16:creationId xmlns:a16="http://schemas.microsoft.com/office/drawing/2014/main" id="{1A1D1E58-0DE9-4EE5-B5EC-6C82636F4FAF}"/>
              </a:ext>
            </a:extLst>
          </p:cNvPr>
          <p:cNvSpPr>
            <a:spLocks noGrp="1"/>
          </p:cNvSpPr>
          <p:nvPr>
            <p:ph type="body" sz="quarter" idx="27" hasCustomPrompt="1"/>
          </p:nvPr>
        </p:nvSpPr>
        <p:spPr>
          <a:xfrm>
            <a:off x="10328449" y="5160862"/>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73" name="Text Placeholder 81">
            <a:extLst>
              <a:ext uri="{FF2B5EF4-FFF2-40B4-BE49-F238E27FC236}">
                <a16:creationId xmlns:a16="http://schemas.microsoft.com/office/drawing/2014/main" id="{8352BB4E-72B9-4533-AC84-F0F0A13FD9CA}"/>
              </a:ext>
            </a:extLst>
          </p:cNvPr>
          <p:cNvSpPr>
            <a:spLocks noGrp="1"/>
          </p:cNvSpPr>
          <p:nvPr>
            <p:ph type="body" sz="quarter" idx="29" hasCustomPrompt="1"/>
          </p:nvPr>
        </p:nvSpPr>
        <p:spPr>
          <a:xfrm>
            <a:off x="7960512" y="2890470"/>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74" name="Text Placeholder 83">
            <a:extLst>
              <a:ext uri="{FF2B5EF4-FFF2-40B4-BE49-F238E27FC236}">
                <a16:creationId xmlns:a16="http://schemas.microsoft.com/office/drawing/2014/main" id="{FE8E9B26-27FE-4528-8BC8-FB193CDF02B7}"/>
              </a:ext>
            </a:extLst>
          </p:cNvPr>
          <p:cNvSpPr>
            <a:spLocks noGrp="1"/>
          </p:cNvSpPr>
          <p:nvPr>
            <p:ph type="body" sz="quarter" idx="31" hasCustomPrompt="1"/>
          </p:nvPr>
        </p:nvSpPr>
        <p:spPr>
          <a:xfrm flipV="1">
            <a:off x="9015845" y="3160396"/>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75" name="Text Placeholder 84">
            <a:extLst>
              <a:ext uri="{FF2B5EF4-FFF2-40B4-BE49-F238E27FC236}">
                <a16:creationId xmlns:a16="http://schemas.microsoft.com/office/drawing/2014/main" id="{2B3C2FEF-BDEE-4109-A0B5-416B3FF9AD5F}"/>
              </a:ext>
            </a:extLst>
          </p:cNvPr>
          <p:cNvSpPr>
            <a:spLocks noGrp="1"/>
          </p:cNvSpPr>
          <p:nvPr>
            <p:ph type="body" sz="quarter" idx="32" hasCustomPrompt="1"/>
          </p:nvPr>
        </p:nvSpPr>
        <p:spPr>
          <a:xfrm rot="5400000" flipV="1">
            <a:off x="5572212" y="3427722"/>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76" name="Text Placeholder 75">
            <a:extLst>
              <a:ext uri="{FF2B5EF4-FFF2-40B4-BE49-F238E27FC236}">
                <a16:creationId xmlns:a16="http://schemas.microsoft.com/office/drawing/2014/main" id="{E857D3EC-EAC5-4C05-A4E0-B9096C43A21D}"/>
              </a:ext>
            </a:extLst>
          </p:cNvPr>
          <p:cNvSpPr>
            <a:spLocks noGrp="1"/>
          </p:cNvSpPr>
          <p:nvPr>
            <p:ph type="body" sz="quarter" idx="37" hasCustomPrompt="1"/>
          </p:nvPr>
        </p:nvSpPr>
        <p:spPr>
          <a:xfrm>
            <a:off x="6085992" y="5822950"/>
            <a:ext cx="530877" cy="1035050"/>
          </a:xfrm>
          <a:custGeom>
            <a:avLst/>
            <a:gdLst>
              <a:gd name="connsiteX0" fmla="*/ 0 w 530877"/>
              <a:gd name="connsiteY0" fmla="*/ 0 h 1035050"/>
              <a:gd name="connsiteX1" fmla="*/ 530877 w 530877"/>
              <a:gd name="connsiteY1" fmla="*/ 0 h 1035050"/>
              <a:gd name="connsiteX2" fmla="*/ 530877 w 530877"/>
              <a:gd name="connsiteY2" fmla="*/ 1035050 h 1035050"/>
              <a:gd name="connsiteX3" fmla="*/ 0 w 530877"/>
              <a:gd name="connsiteY3" fmla="*/ 1035050 h 1035050"/>
            </a:gdLst>
            <a:ahLst/>
            <a:cxnLst>
              <a:cxn ang="0">
                <a:pos x="connsiteX0" y="connsiteY0"/>
              </a:cxn>
              <a:cxn ang="0">
                <a:pos x="connsiteX1" y="connsiteY1"/>
              </a:cxn>
              <a:cxn ang="0">
                <a:pos x="connsiteX2" y="connsiteY2"/>
              </a:cxn>
              <a:cxn ang="0">
                <a:pos x="connsiteX3" y="connsiteY3"/>
              </a:cxn>
            </a:cxnLst>
            <a:rect l="l" t="t" r="r" b="b"/>
            <a:pathLst>
              <a:path w="530877" h="1035050">
                <a:moveTo>
                  <a:pt x="0" y="0"/>
                </a:moveTo>
                <a:lnTo>
                  <a:pt x="530877" y="0"/>
                </a:lnTo>
                <a:lnTo>
                  <a:pt x="530877" y="1035050"/>
                </a:lnTo>
                <a:lnTo>
                  <a:pt x="0" y="1035050"/>
                </a:ln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77" name="Text Placeholder 83">
            <a:extLst>
              <a:ext uri="{FF2B5EF4-FFF2-40B4-BE49-F238E27FC236}">
                <a16:creationId xmlns:a16="http://schemas.microsoft.com/office/drawing/2014/main" id="{FBF1EEBF-F0AD-4018-BBC5-7901E07D4F0F}"/>
              </a:ext>
            </a:extLst>
          </p:cNvPr>
          <p:cNvSpPr>
            <a:spLocks noGrp="1"/>
          </p:cNvSpPr>
          <p:nvPr>
            <p:ph type="body" sz="quarter" idx="38" hasCustomPrompt="1"/>
          </p:nvPr>
        </p:nvSpPr>
        <p:spPr>
          <a:xfrm rot="10800000" flipV="1">
            <a:off x="7166570" y="5277700"/>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accent1"/>
          </a:solidFill>
        </p:spPr>
        <p:txBody>
          <a:bodyPr wrap="square">
            <a:noAutofit/>
          </a:bodyPr>
          <a:lstStyle>
            <a:lvl1pPr>
              <a:defRPr>
                <a:solidFill>
                  <a:schemeClr val="bg1">
                    <a:alpha val="0"/>
                  </a:schemeClr>
                </a:solidFill>
              </a:defRPr>
            </a:lvl1pPr>
          </a:lstStyle>
          <a:p>
            <a:pPr lvl="0"/>
            <a:r>
              <a:rPr lang="en-US"/>
              <a:t> </a:t>
            </a:r>
          </a:p>
        </p:txBody>
      </p:sp>
      <p:sp>
        <p:nvSpPr>
          <p:cNvPr id="78" name="Text Placeholder 77">
            <a:extLst>
              <a:ext uri="{FF2B5EF4-FFF2-40B4-BE49-F238E27FC236}">
                <a16:creationId xmlns:a16="http://schemas.microsoft.com/office/drawing/2014/main" id="{D13EE43E-5E67-4595-9EC2-CFCC9E1011B6}"/>
              </a:ext>
            </a:extLst>
          </p:cNvPr>
          <p:cNvSpPr>
            <a:spLocks noGrp="1"/>
          </p:cNvSpPr>
          <p:nvPr>
            <p:ph type="body" sz="quarter" idx="39" hasCustomPrompt="1"/>
          </p:nvPr>
        </p:nvSpPr>
        <p:spPr>
          <a:xfrm>
            <a:off x="6089766" y="0"/>
            <a:ext cx="530877" cy="1012276"/>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solidFill>
        </p:spPr>
        <p:txBody>
          <a:bodyPr wrap="square">
            <a:noAutofit/>
          </a:bodyPr>
          <a:lstStyle>
            <a:lvl1pPr>
              <a:defRPr>
                <a:solidFill>
                  <a:schemeClr val="bg1">
                    <a:alpha val="0"/>
                  </a:schemeClr>
                </a:solidFill>
              </a:defRPr>
            </a:lvl1pPr>
          </a:lstStyle>
          <a:p>
            <a:pPr lvl="0"/>
            <a:r>
              <a:rPr lang="en-US"/>
              <a:t> </a:t>
            </a:r>
          </a:p>
        </p:txBody>
      </p:sp>
      <p:sp>
        <p:nvSpPr>
          <p:cNvPr id="79" name="Text Placeholder 89">
            <a:extLst>
              <a:ext uri="{FF2B5EF4-FFF2-40B4-BE49-F238E27FC236}">
                <a16:creationId xmlns:a16="http://schemas.microsoft.com/office/drawing/2014/main" id="{F24BB985-EF5E-4873-BD53-45E89A284370}"/>
              </a:ext>
            </a:extLst>
          </p:cNvPr>
          <p:cNvSpPr>
            <a:spLocks noGrp="1"/>
          </p:cNvSpPr>
          <p:nvPr>
            <p:ph type="body" sz="quarter" idx="36" hasCustomPrompt="1"/>
          </p:nvPr>
        </p:nvSpPr>
        <p:spPr>
          <a:xfrm>
            <a:off x="10328449" y="1828841"/>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solidFill>
        </p:spPr>
        <p:txBody>
          <a:bodyPr wrap="square">
            <a:noAutofit/>
          </a:bodyPr>
          <a:lstStyle>
            <a:lvl1pPr>
              <a:defRPr>
                <a:solidFill>
                  <a:schemeClr val="bg1">
                    <a:alpha val="0"/>
                  </a:schemeClr>
                </a:solidFill>
              </a:defRPr>
            </a:lvl1pPr>
          </a:lstStyle>
          <a:p>
            <a:pPr lvl="0"/>
            <a:r>
              <a:rPr lang="en-US"/>
              <a:t> </a:t>
            </a:r>
          </a:p>
        </p:txBody>
      </p:sp>
    </p:spTree>
    <p:extLst>
      <p:ext uri="{BB962C8B-B14F-4D97-AF65-F5344CB8AC3E}">
        <p14:creationId xmlns:p14="http://schemas.microsoft.com/office/powerpoint/2010/main" val="29788797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orld Map">
    <p:bg>
      <p:bgPr>
        <a:solidFill>
          <a:schemeClr val="bg1"/>
        </a:solidFill>
        <a:effectLst/>
      </p:bgPr>
    </p:bg>
    <p:spTree>
      <p:nvGrpSpPr>
        <p:cNvPr id="1" name=""/>
        <p:cNvGrpSpPr/>
        <p:nvPr/>
      </p:nvGrpSpPr>
      <p:grpSpPr>
        <a:xfrm>
          <a:off x="0" y="0"/>
          <a:ext cx="0" cy="0"/>
          <a:chOff x="0" y="0"/>
          <a:chExt cx="0" cy="0"/>
        </a:xfrm>
      </p:grpSpPr>
      <p:grpSp>
        <p:nvGrpSpPr>
          <p:cNvPr id="376" name="Group 375">
            <a:extLst>
              <a:ext uri="{FF2B5EF4-FFF2-40B4-BE49-F238E27FC236}">
                <a16:creationId xmlns:a16="http://schemas.microsoft.com/office/drawing/2014/main" id="{3C1813E0-C3DF-4E16-8A08-72BA4DB066C0}"/>
              </a:ext>
            </a:extLst>
          </p:cNvPr>
          <p:cNvGrpSpPr>
            <a:grpSpLocks noChangeAspect="1"/>
          </p:cNvGrpSpPr>
          <p:nvPr userDrawn="1"/>
        </p:nvGrpSpPr>
        <p:grpSpPr>
          <a:xfrm>
            <a:off x="2572007" y="1811526"/>
            <a:ext cx="8857920" cy="4369060"/>
            <a:chOff x="2235200" y="1676289"/>
            <a:chExt cx="8248805" cy="4068623"/>
          </a:xfrm>
          <a:solidFill>
            <a:schemeClr val="bg2"/>
          </a:solidFill>
        </p:grpSpPr>
        <p:sp>
          <p:nvSpPr>
            <p:cNvPr id="377" name="Freeform 107">
              <a:extLst>
                <a:ext uri="{FF2B5EF4-FFF2-40B4-BE49-F238E27FC236}">
                  <a16:creationId xmlns:a16="http://schemas.microsoft.com/office/drawing/2014/main" id="{ECC6CC15-C9C4-456B-91EF-1E977C7AF660}"/>
                </a:ext>
              </a:extLst>
            </p:cNvPr>
            <p:cNvSpPr>
              <a:spLocks/>
            </p:cNvSpPr>
            <p:nvPr userDrawn="1"/>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126">
              <a:extLst>
                <a:ext uri="{FF2B5EF4-FFF2-40B4-BE49-F238E27FC236}">
                  <a16:creationId xmlns:a16="http://schemas.microsoft.com/office/drawing/2014/main" id="{80A8E6DB-3627-40BD-89B2-38DED4FD6F35}"/>
                </a:ext>
              </a:extLst>
            </p:cNvPr>
            <p:cNvSpPr>
              <a:spLocks noEditPoints="1"/>
            </p:cNvSpPr>
            <p:nvPr userDrawn="1"/>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9" name="Freeform 158">
              <a:extLst>
                <a:ext uri="{FF2B5EF4-FFF2-40B4-BE49-F238E27FC236}">
                  <a16:creationId xmlns:a16="http://schemas.microsoft.com/office/drawing/2014/main" id="{7C4B7C39-D759-4BDC-B585-9D7388FD6129}"/>
                </a:ext>
              </a:extLst>
            </p:cNvPr>
            <p:cNvSpPr>
              <a:spLocks noEditPoints="1"/>
            </p:cNvSpPr>
            <p:nvPr userDrawn="1"/>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164">
              <a:extLst>
                <a:ext uri="{FF2B5EF4-FFF2-40B4-BE49-F238E27FC236}">
                  <a16:creationId xmlns:a16="http://schemas.microsoft.com/office/drawing/2014/main" id="{D7482F7E-F0FB-4C03-A5D9-C1C98AE9F926}"/>
                </a:ext>
              </a:extLst>
            </p:cNvPr>
            <p:cNvSpPr>
              <a:spLocks noEditPoints="1"/>
            </p:cNvSpPr>
            <p:nvPr userDrawn="1"/>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81" name="Group 380">
              <a:extLst>
                <a:ext uri="{FF2B5EF4-FFF2-40B4-BE49-F238E27FC236}">
                  <a16:creationId xmlns:a16="http://schemas.microsoft.com/office/drawing/2014/main" id="{B2028B9D-2F1A-4DD9-8F04-161991FD8CC1}"/>
                </a:ext>
              </a:extLst>
            </p:cNvPr>
            <p:cNvGrpSpPr/>
            <p:nvPr userDrawn="1"/>
          </p:nvGrpSpPr>
          <p:grpSpPr>
            <a:xfrm>
              <a:off x="2235200" y="1676289"/>
              <a:ext cx="8248805" cy="4068623"/>
              <a:chOff x="1785409" y="1960529"/>
              <a:chExt cx="6680161" cy="3294909"/>
            </a:xfrm>
            <a:grpFill/>
          </p:grpSpPr>
          <p:sp>
            <p:nvSpPr>
              <p:cNvPr id="382" name="Freeform 5">
                <a:extLst>
                  <a:ext uri="{FF2B5EF4-FFF2-40B4-BE49-F238E27FC236}">
                    <a16:creationId xmlns:a16="http://schemas.microsoft.com/office/drawing/2014/main" id="{F239AAEA-AB39-4319-ABFC-CCC0BCADB74D}"/>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6">
                <a:extLst>
                  <a:ext uri="{FF2B5EF4-FFF2-40B4-BE49-F238E27FC236}">
                    <a16:creationId xmlns:a16="http://schemas.microsoft.com/office/drawing/2014/main" id="{E0375934-23F9-41D6-B327-D4F880453B8B}"/>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4" name="Freeform 7">
                <a:extLst>
                  <a:ext uri="{FF2B5EF4-FFF2-40B4-BE49-F238E27FC236}">
                    <a16:creationId xmlns:a16="http://schemas.microsoft.com/office/drawing/2014/main" id="{74C41EF3-A5E4-4526-83E8-BF477333F689}"/>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8">
                <a:extLst>
                  <a:ext uri="{FF2B5EF4-FFF2-40B4-BE49-F238E27FC236}">
                    <a16:creationId xmlns:a16="http://schemas.microsoft.com/office/drawing/2014/main" id="{1980BEE7-CAA4-44BA-BE9C-6592CC468F3A}"/>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6" name="Freeform 9">
                <a:extLst>
                  <a:ext uri="{FF2B5EF4-FFF2-40B4-BE49-F238E27FC236}">
                    <a16:creationId xmlns:a16="http://schemas.microsoft.com/office/drawing/2014/main" id="{9218CC2D-82E7-46C2-BE63-9A3878D393A7}"/>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10">
                <a:extLst>
                  <a:ext uri="{FF2B5EF4-FFF2-40B4-BE49-F238E27FC236}">
                    <a16:creationId xmlns:a16="http://schemas.microsoft.com/office/drawing/2014/main" id="{7950C59B-7BD5-43C6-ACB1-AF87DF81503F}"/>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11">
                <a:extLst>
                  <a:ext uri="{FF2B5EF4-FFF2-40B4-BE49-F238E27FC236}">
                    <a16:creationId xmlns:a16="http://schemas.microsoft.com/office/drawing/2014/main" id="{294E618B-6F21-4CC9-AB19-AD0130DDC51E}"/>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12">
                <a:extLst>
                  <a:ext uri="{FF2B5EF4-FFF2-40B4-BE49-F238E27FC236}">
                    <a16:creationId xmlns:a16="http://schemas.microsoft.com/office/drawing/2014/main" id="{FBC3EA44-D52F-4914-886C-CCD918FDAA6A}"/>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13">
                <a:extLst>
                  <a:ext uri="{FF2B5EF4-FFF2-40B4-BE49-F238E27FC236}">
                    <a16:creationId xmlns:a16="http://schemas.microsoft.com/office/drawing/2014/main" id="{5A2FBF15-4FA8-4C27-9041-B1317E1A6894}"/>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1" name="Freeform 14">
                <a:extLst>
                  <a:ext uri="{FF2B5EF4-FFF2-40B4-BE49-F238E27FC236}">
                    <a16:creationId xmlns:a16="http://schemas.microsoft.com/office/drawing/2014/main" id="{CC1A8FC0-0F2A-49E4-A6BF-5820F7390F65}"/>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15">
                <a:extLst>
                  <a:ext uri="{FF2B5EF4-FFF2-40B4-BE49-F238E27FC236}">
                    <a16:creationId xmlns:a16="http://schemas.microsoft.com/office/drawing/2014/main" id="{E09DCBA2-AA64-4179-9F31-538128497A74}"/>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16">
                <a:extLst>
                  <a:ext uri="{FF2B5EF4-FFF2-40B4-BE49-F238E27FC236}">
                    <a16:creationId xmlns:a16="http://schemas.microsoft.com/office/drawing/2014/main" id="{A66F132C-B60B-412A-B86D-5C28B47993BE}"/>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17">
                <a:extLst>
                  <a:ext uri="{FF2B5EF4-FFF2-40B4-BE49-F238E27FC236}">
                    <a16:creationId xmlns:a16="http://schemas.microsoft.com/office/drawing/2014/main" id="{1D558BD2-5571-425D-813F-03FA465E3A32}"/>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18">
                <a:extLst>
                  <a:ext uri="{FF2B5EF4-FFF2-40B4-BE49-F238E27FC236}">
                    <a16:creationId xmlns:a16="http://schemas.microsoft.com/office/drawing/2014/main" id="{D6F09C87-94D9-4F8C-8190-F0393B92AB3A}"/>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19">
                <a:extLst>
                  <a:ext uri="{FF2B5EF4-FFF2-40B4-BE49-F238E27FC236}">
                    <a16:creationId xmlns:a16="http://schemas.microsoft.com/office/drawing/2014/main" id="{AF872C09-DC0C-491D-8281-84EF91E638E6}"/>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20">
                <a:extLst>
                  <a:ext uri="{FF2B5EF4-FFF2-40B4-BE49-F238E27FC236}">
                    <a16:creationId xmlns:a16="http://schemas.microsoft.com/office/drawing/2014/main" id="{D3F16D57-23A6-4EEF-B74C-D2EA66D3E780}"/>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8" name="Freeform 21">
                <a:extLst>
                  <a:ext uri="{FF2B5EF4-FFF2-40B4-BE49-F238E27FC236}">
                    <a16:creationId xmlns:a16="http://schemas.microsoft.com/office/drawing/2014/main" id="{C397EA24-6879-4CF5-925D-BD6BBA3AFB34}"/>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22">
                <a:extLst>
                  <a:ext uri="{FF2B5EF4-FFF2-40B4-BE49-F238E27FC236}">
                    <a16:creationId xmlns:a16="http://schemas.microsoft.com/office/drawing/2014/main" id="{DE782E4C-AB27-44B3-982A-DA0633ADCC11}"/>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23">
                <a:extLst>
                  <a:ext uri="{FF2B5EF4-FFF2-40B4-BE49-F238E27FC236}">
                    <a16:creationId xmlns:a16="http://schemas.microsoft.com/office/drawing/2014/main" id="{240BDA7B-D9AC-422C-9F6C-FAE3A5D6EE9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24">
                <a:extLst>
                  <a:ext uri="{FF2B5EF4-FFF2-40B4-BE49-F238E27FC236}">
                    <a16:creationId xmlns:a16="http://schemas.microsoft.com/office/drawing/2014/main" id="{A5A0FEA1-BBB5-4FF4-9E32-0E705A63A36D}"/>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25">
                <a:extLst>
                  <a:ext uri="{FF2B5EF4-FFF2-40B4-BE49-F238E27FC236}">
                    <a16:creationId xmlns:a16="http://schemas.microsoft.com/office/drawing/2014/main" id="{45EC8509-16EC-4590-987F-DD9EDDA39022}"/>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3" name="Freeform 26">
                <a:extLst>
                  <a:ext uri="{FF2B5EF4-FFF2-40B4-BE49-F238E27FC236}">
                    <a16:creationId xmlns:a16="http://schemas.microsoft.com/office/drawing/2014/main" id="{AAF89E55-7232-436A-A31E-29A73AD2102D}"/>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27">
                <a:extLst>
                  <a:ext uri="{FF2B5EF4-FFF2-40B4-BE49-F238E27FC236}">
                    <a16:creationId xmlns:a16="http://schemas.microsoft.com/office/drawing/2014/main" id="{40AE91B4-F36E-404A-83F5-7017321A4D70}"/>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5" name="Freeform 28">
                <a:extLst>
                  <a:ext uri="{FF2B5EF4-FFF2-40B4-BE49-F238E27FC236}">
                    <a16:creationId xmlns:a16="http://schemas.microsoft.com/office/drawing/2014/main" id="{0B050F08-49F7-4862-890C-12D9951F17B2}"/>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29">
                <a:extLst>
                  <a:ext uri="{FF2B5EF4-FFF2-40B4-BE49-F238E27FC236}">
                    <a16:creationId xmlns:a16="http://schemas.microsoft.com/office/drawing/2014/main" id="{3C059288-E2C7-49D9-B83B-207D793E5609}"/>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7" name="Freeform 30">
                <a:extLst>
                  <a:ext uri="{FF2B5EF4-FFF2-40B4-BE49-F238E27FC236}">
                    <a16:creationId xmlns:a16="http://schemas.microsoft.com/office/drawing/2014/main" id="{149444A0-CE4E-490A-B29A-A0C0B88F3873}"/>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31">
                <a:extLst>
                  <a:ext uri="{FF2B5EF4-FFF2-40B4-BE49-F238E27FC236}">
                    <a16:creationId xmlns:a16="http://schemas.microsoft.com/office/drawing/2014/main" id="{78CFA99B-E94F-4043-AE68-59D1BA056E08}"/>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9" name="Freeform 32">
                <a:extLst>
                  <a:ext uri="{FF2B5EF4-FFF2-40B4-BE49-F238E27FC236}">
                    <a16:creationId xmlns:a16="http://schemas.microsoft.com/office/drawing/2014/main" id="{4811BD5E-BD65-4C3F-94C9-CE54BDEEED6B}"/>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33">
                <a:extLst>
                  <a:ext uri="{FF2B5EF4-FFF2-40B4-BE49-F238E27FC236}">
                    <a16:creationId xmlns:a16="http://schemas.microsoft.com/office/drawing/2014/main" id="{E131F1EB-6C74-4BCF-8EB2-BCC897873C19}"/>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34">
                <a:extLst>
                  <a:ext uri="{FF2B5EF4-FFF2-40B4-BE49-F238E27FC236}">
                    <a16:creationId xmlns:a16="http://schemas.microsoft.com/office/drawing/2014/main" id="{C2491BC2-4204-4CAE-9B1A-BDEB32BFF0A9}"/>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35">
                <a:extLst>
                  <a:ext uri="{FF2B5EF4-FFF2-40B4-BE49-F238E27FC236}">
                    <a16:creationId xmlns:a16="http://schemas.microsoft.com/office/drawing/2014/main" id="{71CCD0AE-31F0-4C5E-9CA9-C1853A21B00B}"/>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36">
                <a:extLst>
                  <a:ext uri="{FF2B5EF4-FFF2-40B4-BE49-F238E27FC236}">
                    <a16:creationId xmlns:a16="http://schemas.microsoft.com/office/drawing/2014/main" id="{F1BA516F-86B8-469C-B54A-B99EE134F218}"/>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37">
                <a:extLst>
                  <a:ext uri="{FF2B5EF4-FFF2-40B4-BE49-F238E27FC236}">
                    <a16:creationId xmlns:a16="http://schemas.microsoft.com/office/drawing/2014/main" id="{0C0C75E3-6554-4853-A60A-9DE34A2B28B3}"/>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5" name="Freeform 38">
                <a:extLst>
                  <a:ext uri="{FF2B5EF4-FFF2-40B4-BE49-F238E27FC236}">
                    <a16:creationId xmlns:a16="http://schemas.microsoft.com/office/drawing/2014/main" id="{E2CBFD1A-0310-4663-8D09-181598A80BBB}"/>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39">
                <a:extLst>
                  <a:ext uri="{FF2B5EF4-FFF2-40B4-BE49-F238E27FC236}">
                    <a16:creationId xmlns:a16="http://schemas.microsoft.com/office/drawing/2014/main" id="{1940B90D-8D4C-4592-8F9F-1C6636B3189E}"/>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7" name="Freeform 40">
                <a:extLst>
                  <a:ext uri="{FF2B5EF4-FFF2-40B4-BE49-F238E27FC236}">
                    <a16:creationId xmlns:a16="http://schemas.microsoft.com/office/drawing/2014/main" id="{1E017C19-BEFE-47C0-9E38-36B059A03E01}"/>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41">
                <a:extLst>
                  <a:ext uri="{FF2B5EF4-FFF2-40B4-BE49-F238E27FC236}">
                    <a16:creationId xmlns:a16="http://schemas.microsoft.com/office/drawing/2014/main" id="{868EC439-4C77-432B-81FB-C323EAA37677}"/>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42">
                <a:extLst>
                  <a:ext uri="{FF2B5EF4-FFF2-40B4-BE49-F238E27FC236}">
                    <a16:creationId xmlns:a16="http://schemas.microsoft.com/office/drawing/2014/main" id="{E324632C-AC41-4CDB-8265-D30ABAB87FD0}"/>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43">
                <a:extLst>
                  <a:ext uri="{FF2B5EF4-FFF2-40B4-BE49-F238E27FC236}">
                    <a16:creationId xmlns:a16="http://schemas.microsoft.com/office/drawing/2014/main" id="{F54868A2-9312-4DD8-B8AF-4261C1D24DB8}"/>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44">
                <a:extLst>
                  <a:ext uri="{FF2B5EF4-FFF2-40B4-BE49-F238E27FC236}">
                    <a16:creationId xmlns:a16="http://schemas.microsoft.com/office/drawing/2014/main" id="{0F7A334A-C9B6-42BC-AF6A-A8A365370D32}"/>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45">
                <a:extLst>
                  <a:ext uri="{FF2B5EF4-FFF2-40B4-BE49-F238E27FC236}">
                    <a16:creationId xmlns:a16="http://schemas.microsoft.com/office/drawing/2014/main" id="{C5551098-BE7F-4B68-AB72-10D1C729A16F}"/>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3" name="Freeform 46">
                <a:extLst>
                  <a:ext uri="{FF2B5EF4-FFF2-40B4-BE49-F238E27FC236}">
                    <a16:creationId xmlns:a16="http://schemas.microsoft.com/office/drawing/2014/main" id="{FD89D17A-D91B-4C51-9AB7-7DB4A68A63BB}"/>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47">
                <a:extLst>
                  <a:ext uri="{FF2B5EF4-FFF2-40B4-BE49-F238E27FC236}">
                    <a16:creationId xmlns:a16="http://schemas.microsoft.com/office/drawing/2014/main" id="{DDAF589B-A52B-4D1A-8EFE-D7924A3575A5}"/>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5" name="Freeform 48">
                <a:extLst>
                  <a:ext uri="{FF2B5EF4-FFF2-40B4-BE49-F238E27FC236}">
                    <a16:creationId xmlns:a16="http://schemas.microsoft.com/office/drawing/2014/main" id="{E00FD0E7-FAB5-4B0B-BE22-6C18A4C1D5F7}"/>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49">
                <a:extLst>
                  <a:ext uri="{FF2B5EF4-FFF2-40B4-BE49-F238E27FC236}">
                    <a16:creationId xmlns:a16="http://schemas.microsoft.com/office/drawing/2014/main" id="{AFB9205C-4C1D-44B7-B103-6FC891790738}"/>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50">
                <a:extLst>
                  <a:ext uri="{FF2B5EF4-FFF2-40B4-BE49-F238E27FC236}">
                    <a16:creationId xmlns:a16="http://schemas.microsoft.com/office/drawing/2014/main" id="{F22C0583-EBFE-49F1-AF1C-6A2FE41A2E26}"/>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51">
                <a:extLst>
                  <a:ext uri="{FF2B5EF4-FFF2-40B4-BE49-F238E27FC236}">
                    <a16:creationId xmlns:a16="http://schemas.microsoft.com/office/drawing/2014/main" id="{8ABEC045-6D99-46D7-BEBC-0B663627A6D1}"/>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52">
                <a:extLst>
                  <a:ext uri="{FF2B5EF4-FFF2-40B4-BE49-F238E27FC236}">
                    <a16:creationId xmlns:a16="http://schemas.microsoft.com/office/drawing/2014/main" id="{4C6E17BF-8549-46E8-ABA3-3461E9163E62}"/>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53">
                <a:extLst>
                  <a:ext uri="{FF2B5EF4-FFF2-40B4-BE49-F238E27FC236}">
                    <a16:creationId xmlns:a16="http://schemas.microsoft.com/office/drawing/2014/main" id="{C453B886-5201-4F7A-8B31-E04A504E4180}"/>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54">
                <a:extLst>
                  <a:ext uri="{FF2B5EF4-FFF2-40B4-BE49-F238E27FC236}">
                    <a16:creationId xmlns:a16="http://schemas.microsoft.com/office/drawing/2014/main" id="{F1041B2D-EB3A-4E41-A763-425F26E812DC}"/>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55">
                <a:extLst>
                  <a:ext uri="{FF2B5EF4-FFF2-40B4-BE49-F238E27FC236}">
                    <a16:creationId xmlns:a16="http://schemas.microsoft.com/office/drawing/2014/main" id="{237F28F5-D49A-4C12-932C-292E3330C7E8}"/>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56">
                <a:extLst>
                  <a:ext uri="{FF2B5EF4-FFF2-40B4-BE49-F238E27FC236}">
                    <a16:creationId xmlns:a16="http://schemas.microsoft.com/office/drawing/2014/main" id="{6335F1BD-2344-4D7D-BB30-F753CF63E741}"/>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57">
                <a:extLst>
                  <a:ext uri="{FF2B5EF4-FFF2-40B4-BE49-F238E27FC236}">
                    <a16:creationId xmlns:a16="http://schemas.microsoft.com/office/drawing/2014/main" id="{21424409-E7A1-40CC-B830-EE76889C967F}"/>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58">
                <a:extLst>
                  <a:ext uri="{FF2B5EF4-FFF2-40B4-BE49-F238E27FC236}">
                    <a16:creationId xmlns:a16="http://schemas.microsoft.com/office/drawing/2014/main" id="{18327372-7DF9-4CAA-927E-1002C3E1050C}"/>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59">
                <a:extLst>
                  <a:ext uri="{FF2B5EF4-FFF2-40B4-BE49-F238E27FC236}">
                    <a16:creationId xmlns:a16="http://schemas.microsoft.com/office/drawing/2014/main" id="{8E320C88-8D0D-4DF1-9F73-913D44A76A56}"/>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60">
                <a:extLst>
                  <a:ext uri="{FF2B5EF4-FFF2-40B4-BE49-F238E27FC236}">
                    <a16:creationId xmlns:a16="http://schemas.microsoft.com/office/drawing/2014/main" id="{B21510CB-E110-488B-900C-BA72743F7738}"/>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61">
                <a:extLst>
                  <a:ext uri="{FF2B5EF4-FFF2-40B4-BE49-F238E27FC236}">
                    <a16:creationId xmlns:a16="http://schemas.microsoft.com/office/drawing/2014/main" id="{A86675C8-F5A4-4D52-B853-2441A6B45895}"/>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62">
                <a:extLst>
                  <a:ext uri="{FF2B5EF4-FFF2-40B4-BE49-F238E27FC236}">
                    <a16:creationId xmlns:a16="http://schemas.microsoft.com/office/drawing/2014/main" id="{340578EA-76B8-4582-A75E-7B56FA6DA532}"/>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63">
                <a:extLst>
                  <a:ext uri="{FF2B5EF4-FFF2-40B4-BE49-F238E27FC236}">
                    <a16:creationId xmlns:a16="http://schemas.microsoft.com/office/drawing/2014/main" id="{55A1EDDE-7A9C-4D59-BEEC-C607011C35C9}"/>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64">
                <a:extLst>
                  <a:ext uri="{FF2B5EF4-FFF2-40B4-BE49-F238E27FC236}">
                    <a16:creationId xmlns:a16="http://schemas.microsoft.com/office/drawing/2014/main" id="{AF6A6209-8AA6-46A9-99BC-C8EF6CCDF8C7}"/>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65">
                <a:extLst>
                  <a:ext uri="{FF2B5EF4-FFF2-40B4-BE49-F238E27FC236}">
                    <a16:creationId xmlns:a16="http://schemas.microsoft.com/office/drawing/2014/main" id="{53C1C0B6-9C9D-47ED-8AEC-BEEBDFCA9F5A}"/>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66">
                <a:extLst>
                  <a:ext uri="{FF2B5EF4-FFF2-40B4-BE49-F238E27FC236}">
                    <a16:creationId xmlns:a16="http://schemas.microsoft.com/office/drawing/2014/main" id="{9859E915-D1A1-4ACF-88C6-7AFD3BE0243D}"/>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67">
                <a:extLst>
                  <a:ext uri="{FF2B5EF4-FFF2-40B4-BE49-F238E27FC236}">
                    <a16:creationId xmlns:a16="http://schemas.microsoft.com/office/drawing/2014/main" id="{A8D435D2-D236-4A2C-8F21-8439AFD84BE2}"/>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68">
                <a:extLst>
                  <a:ext uri="{FF2B5EF4-FFF2-40B4-BE49-F238E27FC236}">
                    <a16:creationId xmlns:a16="http://schemas.microsoft.com/office/drawing/2014/main" id="{D0D9C13B-CD68-408B-8FCA-864962981047}"/>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69">
                <a:extLst>
                  <a:ext uri="{FF2B5EF4-FFF2-40B4-BE49-F238E27FC236}">
                    <a16:creationId xmlns:a16="http://schemas.microsoft.com/office/drawing/2014/main" id="{4B08F23B-CE6C-4404-AE85-2DFA97EC7AFF}"/>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70">
                <a:extLst>
                  <a:ext uri="{FF2B5EF4-FFF2-40B4-BE49-F238E27FC236}">
                    <a16:creationId xmlns:a16="http://schemas.microsoft.com/office/drawing/2014/main" id="{92126944-BAF8-4B78-994A-5897D431E1E1}"/>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71">
                <a:extLst>
                  <a:ext uri="{FF2B5EF4-FFF2-40B4-BE49-F238E27FC236}">
                    <a16:creationId xmlns:a16="http://schemas.microsoft.com/office/drawing/2014/main" id="{71B24195-BA59-4F26-893A-FE93CC8B7594}"/>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72">
                <a:extLst>
                  <a:ext uri="{FF2B5EF4-FFF2-40B4-BE49-F238E27FC236}">
                    <a16:creationId xmlns:a16="http://schemas.microsoft.com/office/drawing/2014/main" id="{69EAFDD8-7154-4826-B874-A4FCA5A03641}"/>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73">
                <a:extLst>
                  <a:ext uri="{FF2B5EF4-FFF2-40B4-BE49-F238E27FC236}">
                    <a16:creationId xmlns:a16="http://schemas.microsoft.com/office/drawing/2014/main" id="{248BCDD7-2117-4A62-BCD3-841BFEA3D94D}"/>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74">
                <a:extLst>
                  <a:ext uri="{FF2B5EF4-FFF2-40B4-BE49-F238E27FC236}">
                    <a16:creationId xmlns:a16="http://schemas.microsoft.com/office/drawing/2014/main" id="{2B2597F1-69A5-44A6-AC43-E8A32E4385EC}"/>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75">
                <a:extLst>
                  <a:ext uri="{FF2B5EF4-FFF2-40B4-BE49-F238E27FC236}">
                    <a16:creationId xmlns:a16="http://schemas.microsoft.com/office/drawing/2014/main" id="{A6A986E7-CAFA-4759-B9F2-A50502ADF81C}"/>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76">
                <a:extLst>
                  <a:ext uri="{FF2B5EF4-FFF2-40B4-BE49-F238E27FC236}">
                    <a16:creationId xmlns:a16="http://schemas.microsoft.com/office/drawing/2014/main" id="{0FDF2EAA-4AF5-4F7F-A0A9-1EAA33E35700}"/>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77">
                <a:extLst>
                  <a:ext uri="{FF2B5EF4-FFF2-40B4-BE49-F238E27FC236}">
                    <a16:creationId xmlns:a16="http://schemas.microsoft.com/office/drawing/2014/main" id="{50B23541-2AAC-49E3-AB53-7411D0C5AFF9}"/>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78">
                <a:extLst>
                  <a:ext uri="{FF2B5EF4-FFF2-40B4-BE49-F238E27FC236}">
                    <a16:creationId xmlns:a16="http://schemas.microsoft.com/office/drawing/2014/main" id="{400259BA-849D-43C9-958B-C6A524030AD7}"/>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79">
                <a:extLst>
                  <a:ext uri="{FF2B5EF4-FFF2-40B4-BE49-F238E27FC236}">
                    <a16:creationId xmlns:a16="http://schemas.microsoft.com/office/drawing/2014/main" id="{0A09B8F9-EA53-441C-99E2-79146C84BD60}"/>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80">
                <a:extLst>
                  <a:ext uri="{FF2B5EF4-FFF2-40B4-BE49-F238E27FC236}">
                    <a16:creationId xmlns:a16="http://schemas.microsoft.com/office/drawing/2014/main" id="{E571E2B8-668C-4411-AEE8-531497818EDF}"/>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81">
                <a:extLst>
                  <a:ext uri="{FF2B5EF4-FFF2-40B4-BE49-F238E27FC236}">
                    <a16:creationId xmlns:a16="http://schemas.microsoft.com/office/drawing/2014/main" id="{4E75D8C8-767D-4C4A-A786-17CF9DF4C5E9}"/>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82">
                <a:extLst>
                  <a:ext uri="{FF2B5EF4-FFF2-40B4-BE49-F238E27FC236}">
                    <a16:creationId xmlns:a16="http://schemas.microsoft.com/office/drawing/2014/main" id="{D4078342-5F9B-4126-9645-3BF42CAC2E8C}"/>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83">
                <a:extLst>
                  <a:ext uri="{FF2B5EF4-FFF2-40B4-BE49-F238E27FC236}">
                    <a16:creationId xmlns:a16="http://schemas.microsoft.com/office/drawing/2014/main" id="{50397EE4-C06E-41E4-9D35-DFD7125CBC96}"/>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84">
                <a:extLst>
                  <a:ext uri="{FF2B5EF4-FFF2-40B4-BE49-F238E27FC236}">
                    <a16:creationId xmlns:a16="http://schemas.microsoft.com/office/drawing/2014/main" id="{C48900EE-A201-40E1-9C6E-2C90C068D651}"/>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85">
                <a:extLst>
                  <a:ext uri="{FF2B5EF4-FFF2-40B4-BE49-F238E27FC236}">
                    <a16:creationId xmlns:a16="http://schemas.microsoft.com/office/drawing/2014/main" id="{FE65D09D-0D2E-4AFE-B4B7-0D80201E96EF}"/>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86">
                <a:extLst>
                  <a:ext uri="{FF2B5EF4-FFF2-40B4-BE49-F238E27FC236}">
                    <a16:creationId xmlns:a16="http://schemas.microsoft.com/office/drawing/2014/main" id="{721EAA8B-68EA-4FF6-9CDA-7E2AA1E03387}"/>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87">
                <a:extLst>
                  <a:ext uri="{FF2B5EF4-FFF2-40B4-BE49-F238E27FC236}">
                    <a16:creationId xmlns:a16="http://schemas.microsoft.com/office/drawing/2014/main" id="{96113F4B-9DBA-4365-A7E2-70ECFC510DFC}"/>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88">
                <a:extLst>
                  <a:ext uri="{FF2B5EF4-FFF2-40B4-BE49-F238E27FC236}">
                    <a16:creationId xmlns:a16="http://schemas.microsoft.com/office/drawing/2014/main" id="{7083D917-B696-4DFC-98F0-598094192F92}"/>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89">
                <a:extLst>
                  <a:ext uri="{FF2B5EF4-FFF2-40B4-BE49-F238E27FC236}">
                    <a16:creationId xmlns:a16="http://schemas.microsoft.com/office/drawing/2014/main" id="{4DFF9FF0-4B80-422A-941F-71ABF2287E7F}"/>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90">
                <a:extLst>
                  <a:ext uri="{FF2B5EF4-FFF2-40B4-BE49-F238E27FC236}">
                    <a16:creationId xmlns:a16="http://schemas.microsoft.com/office/drawing/2014/main" id="{A4ADB565-C757-445D-9863-2FE7251CFA3A}"/>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91">
                <a:extLst>
                  <a:ext uri="{FF2B5EF4-FFF2-40B4-BE49-F238E27FC236}">
                    <a16:creationId xmlns:a16="http://schemas.microsoft.com/office/drawing/2014/main" id="{D3BB68B9-DF29-40C1-A429-6525230341B1}"/>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92">
                <a:extLst>
                  <a:ext uri="{FF2B5EF4-FFF2-40B4-BE49-F238E27FC236}">
                    <a16:creationId xmlns:a16="http://schemas.microsoft.com/office/drawing/2014/main" id="{4A81A5B1-CF91-4524-A1EE-8629A3E7F5C5}"/>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93">
                <a:extLst>
                  <a:ext uri="{FF2B5EF4-FFF2-40B4-BE49-F238E27FC236}">
                    <a16:creationId xmlns:a16="http://schemas.microsoft.com/office/drawing/2014/main" id="{5E306E0C-1FBE-41C7-AE7E-82D856329DB7}"/>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94">
                <a:extLst>
                  <a:ext uri="{FF2B5EF4-FFF2-40B4-BE49-F238E27FC236}">
                    <a16:creationId xmlns:a16="http://schemas.microsoft.com/office/drawing/2014/main" id="{BC6AFC1B-AD00-49F1-B15D-C560290058EE}"/>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95">
                <a:extLst>
                  <a:ext uri="{FF2B5EF4-FFF2-40B4-BE49-F238E27FC236}">
                    <a16:creationId xmlns:a16="http://schemas.microsoft.com/office/drawing/2014/main" id="{420880B7-4782-4ADF-9A0B-56D564728B0D}"/>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96">
                <a:extLst>
                  <a:ext uri="{FF2B5EF4-FFF2-40B4-BE49-F238E27FC236}">
                    <a16:creationId xmlns:a16="http://schemas.microsoft.com/office/drawing/2014/main" id="{8196D3F1-E8E8-4EB6-A0EA-4CA666E6F7C3}"/>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97">
                <a:extLst>
                  <a:ext uri="{FF2B5EF4-FFF2-40B4-BE49-F238E27FC236}">
                    <a16:creationId xmlns:a16="http://schemas.microsoft.com/office/drawing/2014/main" id="{055F75DF-4510-4006-AC80-2AD0EA2AE60A}"/>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98">
                <a:extLst>
                  <a:ext uri="{FF2B5EF4-FFF2-40B4-BE49-F238E27FC236}">
                    <a16:creationId xmlns:a16="http://schemas.microsoft.com/office/drawing/2014/main" id="{F026B57F-92E5-45BF-94BF-39CD18427AE6}"/>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99">
                <a:extLst>
                  <a:ext uri="{FF2B5EF4-FFF2-40B4-BE49-F238E27FC236}">
                    <a16:creationId xmlns:a16="http://schemas.microsoft.com/office/drawing/2014/main" id="{0E4191A0-058D-4E92-9B11-2CA4C5A97F7D}"/>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100">
                <a:extLst>
                  <a:ext uri="{FF2B5EF4-FFF2-40B4-BE49-F238E27FC236}">
                    <a16:creationId xmlns:a16="http://schemas.microsoft.com/office/drawing/2014/main" id="{FEFD11F1-8BD9-402B-8E39-CAF269C8591B}"/>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101">
                <a:extLst>
                  <a:ext uri="{FF2B5EF4-FFF2-40B4-BE49-F238E27FC236}">
                    <a16:creationId xmlns:a16="http://schemas.microsoft.com/office/drawing/2014/main" id="{D8F310A6-BDA5-4165-B939-781AD098398E}"/>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102">
                <a:extLst>
                  <a:ext uri="{FF2B5EF4-FFF2-40B4-BE49-F238E27FC236}">
                    <a16:creationId xmlns:a16="http://schemas.microsoft.com/office/drawing/2014/main" id="{488A709B-7436-4EC4-84ED-41E4A5A7ACAE}"/>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103">
                <a:extLst>
                  <a:ext uri="{FF2B5EF4-FFF2-40B4-BE49-F238E27FC236}">
                    <a16:creationId xmlns:a16="http://schemas.microsoft.com/office/drawing/2014/main" id="{9E9ECD08-6059-4064-8C34-874CAAB0CA97}"/>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104">
                <a:extLst>
                  <a:ext uri="{FF2B5EF4-FFF2-40B4-BE49-F238E27FC236}">
                    <a16:creationId xmlns:a16="http://schemas.microsoft.com/office/drawing/2014/main" id="{152044DE-A118-4FB8-BD27-40EE34A5BC79}"/>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105">
                <a:extLst>
                  <a:ext uri="{FF2B5EF4-FFF2-40B4-BE49-F238E27FC236}">
                    <a16:creationId xmlns:a16="http://schemas.microsoft.com/office/drawing/2014/main" id="{5942A75B-466A-438A-B012-96BC48373B7A}"/>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106">
                <a:extLst>
                  <a:ext uri="{FF2B5EF4-FFF2-40B4-BE49-F238E27FC236}">
                    <a16:creationId xmlns:a16="http://schemas.microsoft.com/office/drawing/2014/main" id="{264A03FB-E301-4E7C-A02C-9903F617F41B}"/>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108">
                <a:extLst>
                  <a:ext uri="{FF2B5EF4-FFF2-40B4-BE49-F238E27FC236}">
                    <a16:creationId xmlns:a16="http://schemas.microsoft.com/office/drawing/2014/main" id="{732AA408-C8C5-45E3-A16F-4819BCEE2689}"/>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109">
                <a:extLst>
                  <a:ext uri="{FF2B5EF4-FFF2-40B4-BE49-F238E27FC236}">
                    <a16:creationId xmlns:a16="http://schemas.microsoft.com/office/drawing/2014/main" id="{589BF098-E3C9-4518-9CD5-ABC3C81229E0}"/>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110">
                <a:extLst>
                  <a:ext uri="{FF2B5EF4-FFF2-40B4-BE49-F238E27FC236}">
                    <a16:creationId xmlns:a16="http://schemas.microsoft.com/office/drawing/2014/main" id="{16E26DAB-F62E-43B1-A420-54A042A6C28F}"/>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111">
                <a:extLst>
                  <a:ext uri="{FF2B5EF4-FFF2-40B4-BE49-F238E27FC236}">
                    <a16:creationId xmlns:a16="http://schemas.microsoft.com/office/drawing/2014/main" id="{A7EE6722-76BE-40EB-95DD-A569BE390FA1}"/>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112">
                <a:extLst>
                  <a:ext uri="{FF2B5EF4-FFF2-40B4-BE49-F238E27FC236}">
                    <a16:creationId xmlns:a16="http://schemas.microsoft.com/office/drawing/2014/main" id="{36DE37ED-F73F-411A-951B-8E3B4A7025D4}"/>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113">
                <a:extLst>
                  <a:ext uri="{FF2B5EF4-FFF2-40B4-BE49-F238E27FC236}">
                    <a16:creationId xmlns:a16="http://schemas.microsoft.com/office/drawing/2014/main" id="{1F999971-649E-43F4-80AD-9E4ACA763714}"/>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114">
                <a:extLst>
                  <a:ext uri="{FF2B5EF4-FFF2-40B4-BE49-F238E27FC236}">
                    <a16:creationId xmlns:a16="http://schemas.microsoft.com/office/drawing/2014/main" id="{CAB7727B-6D94-4867-A76F-05C5C721C34E}"/>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115">
                <a:extLst>
                  <a:ext uri="{FF2B5EF4-FFF2-40B4-BE49-F238E27FC236}">
                    <a16:creationId xmlns:a16="http://schemas.microsoft.com/office/drawing/2014/main" id="{5CDBF866-C997-48C9-83FF-220017E55054}"/>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116">
                <a:extLst>
                  <a:ext uri="{FF2B5EF4-FFF2-40B4-BE49-F238E27FC236}">
                    <a16:creationId xmlns:a16="http://schemas.microsoft.com/office/drawing/2014/main" id="{726A35A3-2B2B-447D-959A-BDA13EEBAA5E}"/>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117">
                <a:extLst>
                  <a:ext uri="{FF2B5EF4-FFF2-40B4-BE49-F238E27FC236}">
                    <a16:creationId xmlns:a16="http://schemas.microsoft.com/office/drawing/2014/main" id="{7600CE04-9AF8-460D-8707-17B3F6AE1137}"/>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118">
                <a:extLst>
                  <a:ext uri="{FF2B5EF4-FFF2-40B4-BE49-F238E27FC236}">
                    <a16:creationId xmlns:a16="http://schemas.microsoft.com/office/drawing/2014/main" id="{01D81DC2-1528-47B5-A22E-7E9C02C452D8}"/>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119">
                <a:extLst>
                  <a:ext uri="{FF2B5EF4-FFF2-40B4-BE49-F238E27FC236}">
                    <a16:creationId xmlns:a16="http://schemas.microsoft.com/office/drawing/2014/main" id="{A30EEEED-6710-42C8-9C90-BBF2FE0AE833}"/>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120">
                <a:extLst>
                  <a:ext uri="{FF2B5EF4-FFF2-40B4-BE49-F238E27FC236}">
                    <a16:creationId xmlns:a16="http://schemas.microsoft.com/office/drawing/2014/main" id="{0F7D3686-C6B0-4838-BDCE-8C41485D6506}"/>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121">
                <a:extLst>
                  <a:ext uri="{FF2B5EF4-FFF2-40B4-BE49-F238E27FC236}">
                    <a16:creationId xmlns:a16="http://schemas.microsoft.com/office/drawing/2014/main" id="{382C31FB-8C44-46F1-AD63-0A89BE611103}"/>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122">
                <a:extLst>
                  <a:ext uri="{FF2B5EF4-FFF2-40B4-BE49-F238E27FC236}">
                    <a16:creationId xmlns:a16="http://schemas.microsoft.com/office/drawing/2014/main" id="{A077E060-466C-4D96-B840-A0443D7A4702}"/>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123">
                <a:extLst>
                  <a:ext uri="{FF2B5EF4-FFF2-40B4-BE49-F238E27FC236}">
                    <a16:creationId xmlns:a16="http://schemas.microsoft.com/office/drawing/2014/main" id="{C738CECD-793F-4B5E-8A71-6F514C6A8B58}"/>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124">
                <a:extLst>
                  <a:ext uri="{FF2B5EF4-FFF2-40B4-BE49-F238E27FC236}">
                    <a16:creationId xmlns:a16="http://schemas.microsoft.com/office/drawing/2014/main" id="{32163B25-8B73-4810-BC67-F2E476354555}"/>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125">
                <a:extLst>
                  <a:ext uri="{FF2B5EF4-FFF2-40B4-BE49-F238E27FC236}">
                    <a16:creationId xmlns:a16="http://schemas.microsoft.com/office/drawing/2014/main" id="{4D08AC84-EC57-484F-B559-9A3EFFAF922E}"/>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127">
                <a:extLst>
                  <a:ext uri="{FF2B5EF4-FFF2-40B4-BE49-F238E27FC236}">
                    <a16:creationId xmlns:a16="http://schemas.microsoft.com/office/drawing/2014/main" id="{73F5609B-470D-48E4-9062-B8DD90BE8D13}"/>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128">
                <a:extLst>
                  <a:ext uri="{FF2B5EF4-FFF2-40B4-BE49-F238E27FC236}">
                    <a16:creationId xmlns:a16="http://schemas.microsoft.com/office/drawing/2014/main" id="{EB2261DC-F93F-484E-931D-A8077E0CF77A}"/>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129">
                <a:extLst>
                  <a:ext uri="{FF2B5EF4-FFF2-40B4-BE49-F238E27FC236}">
                    <a16:creationId xmlns:a16="http://schemas.microsoft.com/office/drawing/2014/main" id="{08143082-C407-4CC6-8E15-EBA6A52120A7}"/>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130">
                <a:extLst>
                  <a:ext uri="{FF2B5EF4-FFF2-40B4-BE49-F238E27FC236}">
                    <a16:creationId xmlns:a16="http://schemas.microsoft.com/office/drawing/2014/main" id="{E345FDD8-5132-44DF-BA17-2ED611C3EA0D}"/>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131">
                <a:extLst>
                  <a:ext uri="{FF2B5EF4-FFF2-40B4-BE49-F238E27FC236}">
                    <a16:creationId xmlns:a16="http://schemas.microsoft.com/office/drawing/2014/main" id="{B6B7F8FF-406D-4E6C-80F9-B519A3AEC100}"/>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132">
                <a:extLst>
                  <a:ext uri="{FF2B5EF4-FFF2-40B4-BE49-F238E27FC236}">
                    <a16:creationId xmlns:a16="http://schemas.microsoft.com/office/drawing/2014/main" id="{BCF57A9A-A36A-4795-BF8B-93C22AA621C3}"/>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133">
                <a:extLst>
                  <a:ext uri="{FF2B5EF4-FFF2-40B4-BE49-F238E27FC236}">
                    <a16:creationId xmlns:a16="http://schemas.microsoft.com/office/drawing/2014/main" id="{FB5F7FD9-34BE-47F1-B479-8B503940BCC8}"/>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134">
                <a:extLst>
                  <a:ext uri="{FF2B5EF4-FFF2-40B4-BE49-F238E27FC236}">
                    <a16:creationId xmlns:a16="http://schemas.microsoft.com/office/drawing/2014/main" id="{33FD2D54-93BC-4398-8060-C1A86CD2A0D1}"/>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135">
                <a:extLst>
                  <a:ext uri="{FF2B5EF4-FFF2-40B4-BE49-F238E27FC236}">
                    <a16:creationId xmlns:a16="http://schemas.microsoft.com/office/drawing/2014/main" id="{E6E52DA4-1FDA-4A71-8988-7FEB7E7D0938}"/>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136">
                <a:extLst>
                  <a:ext uri="{FF2B5EF4-FFF2-40B4-BE49-F238E27FC236}">
                    <a16:creationId xmlns:a16="http://schemas.microsoft.com/office/drawing/2014/main" id="{8142026D-474F-404E-8874-6CE9202E7CA6}"/>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137">
                <a:extLst>
                  <a:ext uri="{FF2B5EF4-FFF2-40B4-BE49-F238E27FC236}">
                    <a16:creationId xmlns:a16="http://schemas.microsoft.com/office/drawing/2014/main" id="{3DFEF067-F3B0-4CE3-B118-B02C0FC383C2}"/>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138">
                <a:extLst>
                  <a:ext uri="{FF2B5EF4-FFF2-40B4-BE49-F238E27FC236}">
                    <a16:creationId xmlns:a16="http://schemas.microsoft.com/office/drawing/2014/main" id="{2A6C0521-8C00-4DFC-A900-5DED75226172}"/>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139">
                <a:extLst>
                  <a:ext uri="{FF2B5EF4-FFF2-40B4-BE49-F238E27FC236}">
                    <a16:creationId xmlns:a16="http://schemas.microsoft.com/office/drawing/2014/main" id="{D8C5B048-7B88-4E38-BD43-A9C907522AC6}"/>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140">
                <a:extLst>
                  <a:ext uri="{FF2B5EF4-FFF2-40B4-BE49-F238E27FC236}">
                    <a16:creationId xmlns:a16="http://schemas.microsoft.com/office/drawing/2014/main" id="{897AFA47-18DB-46A7-B6A0-A3FE9945EABC}"/>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141">
                <a:extLst>
                  <a:ext uri="{FF2B5EF4-FFF2-40B4-BE49-F238E27FC236}">
                    <a16:creationId xmlns:a16="http://schemas.microsoft.com/office/drawing/2014/main" id="{B93B729A-E696-4F4A-8E2D-20F69C5DE340}"/>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142">
                <a:extLst>
                  <a:ext uri="{FF2B5EF4-FFF2-40B4-BE49-F238E27FC236}">
                    <a16:creationId xmlns:a16="http://schemas.microsoft.com/office/drawing/2014/main" id="{0A405C1B-A40D-4C5E-9BDB-2494B50B6091}"/>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143">
                <a:extLst>
                  <a:ext uri="{FF2B5EF4-FFF2-40B4-BE49-F238E27FC236}">
                    <a16:creationId xmlns:a16="http://schemas.microsoft.com/office/drawing/2014/main" id="{B13BD0D9-10F7-400F-9871-2ABAE1575165}"/>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144">
                <a:extLst>
                  <a:ext uri="{FF2B5EF4-FFF2-40B4-BE49-F238E27FC236}">
                    <a16:creationId xmlns:a16="http://schemas.microsoft.com/office/drawing/2014/main" id="{011E64AB-7E8B-4A2E-9F0A-4247846D9E61}"/>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145">
                <a:extLst>
                  <a:ext uri="{FF2B5EF4-FFF2-40B4-BE49-F238E27FC236}">
                    <a16:creationId xmlns:a16="http://schemas.microsoft.com/office/drawing/2014/main" id="{DCBEC40D-B9E1-4A30-A437-CB5ECB1BC22E}"/>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146">
                <a:extLst>
                  <a:ext uri="{FF2B5EF4-FFF2-40B4-BE49-F238E27FC236}">
                    <a16:creationId xmlns:a16="http://schemas.microsoft.com/office/drawing/2014/main" id="{3B07DD0F-D540-4074-ACDA-37E4405D545A}"/>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147">
                <a:extLst>
                  <a:ext uri="{FF2B5EF4-FFF2-40B4-BE49-F238E27FC236}">
                    <a16:creationId xmlns:a16="http://schemas.microsoft.com/office/drawing/2014/main" id="{9CAA8FA0-9828-4CD4-8316-068AD1F4B90E}"/>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148">
                <a:extLst>
                  <a:ext uri="{FF2B5EF4-FFF2-40B4-BE49-F238E27FC236}">
                    <a16:creationId xmlns:a16="http://schemas.microsoft.com/office/drawing/2014/main" id="{D4E3D30F-77F0-4705-875B-D56CCC328CBB}"/>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149">
                <a:extLst>
                  <a:ext uri="{FF2B5EF4-FFF2-40B4-BE49-F238E27FC236}">
                    <a16:creationId xmlns:a16="http://schemas.microsoft.com/office/drawing/2014/main" id="{5B0923CE-DF90-42E2-9D08-0B344C4CBCD0}"/>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150">
                <a:extLst>
                  <a:ext uri="{FF2B5EF4-FFF2-40B4-BE49-F238E27FC236}">
                    <a16:creationId xmlns:a16="http://schemas.microsoft.com/office/drawing/2014/main" id="{7F95A7AE-37A9-40E4-AF5B-60A72385A3A4}"/>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151">
                <a:extLst>
                  <a:ext uri="{FF2B5EF4-FFF2-40B4-BE49-F238E27FC236}">
                    <a16:creationId xmlns:a16="http://schemas.microsoft.com/office/drawing/2014/main" id="{874FDE24-9A76-4EDD-8FB8-ADAE7E943453}"/>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152">
                <a:extLst>
                  <a:ext uri="{FF2B5EF4-FFF2-40B4-BE49-F238E27FC236}">
                    <a16:creationId xmlns:a16="http://schemas.microsoft.com/office/drawing/2014/main" id="{A3D2FED7-37BF-4CC9-A401-082DFCAA1CEF}"/>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153">
                <a:extLst>
                  <a:ext uri="{FF2B5EF4-FFF2-40B4-BE49-F238E27FC236}">
                    <a16:creationId xmlns:a16="http://schemas.microsoft.com/office/drawing/2014/main" id="{D1AC6BE5-7CE3-4381-9D46-2A02E33A78FD}"/>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154">
                <a:extLst>
                  <a:ext uri="{FF2B5EF4-FFF2-40B4-BE49-F238E27FC236}">
                    <a16:creationId xmlns:a16="http://schemas.microsoft.com/office/drawing/2014/main" id="{6E58A02D-A45B-495F-A351-EC4812D21DF6}"/>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155">
                <a:extLst>
                  <a:ext uri="{FF2B5EF4-FFF2-40B4-BE49-F238E27FC236}">
                    <a16:creationId xmlns:a16="http://schemas.microsoft.com/office/drawing/2014/main" id="{D690C938-9EED-4175-AC93-193D7A0CDA7A}"/>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156">
                <a:extLst>
                  <a:ext uri="{FF2B5EF4-FFF2-40B4-BE49-F238E27FC236}">
                    <a16:creationId xmlns:a16="http://schemas.microsoft.com/office/drawing/2014/main" id="{C0EC4DF2-1FD8-44ED-9A2C-5465F067D4A5}"/>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157">
                <a:extLst>
                  <a:ext uri="{FF2B5EF4-FFF2-40B4-BE49-F238E27FC236}">
                    <a16:creationId xmlns:a16="http://schemas.microsoft.com/office/drawing/2014/main" id="{1D49F763-ABA5-49BF-8A69-C142D4C404D4}"/>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159">
                <a:extLst>
                  <a:ext uri="{FF2B5EF4-FFF2-40B4-BE49-F238E27FC236}">
                    <a16:creationId xmlns:a16="http://schemas.microsoft.com/office/drawing/2014/main" id="{78A22E5E-B55A-437C-B6A5-35EB30C1F0BD}"/>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160">
                <a:extLst>
                  <a:ext uri="{FF2B5EF4-FFF2-40B4-BE49-F238E27FC236}">
                    <a16:creationId xmlns:a16="http://schemas.microsoft.com/office/drawing/2014/main" id="{B3FDE063-B562-4A8D-9AC2-F244D4C37DCF}"/>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161">
                <a:extLst>
                  <a:ext uri="{FF2B5EF4-FFF2-40B4-BE49-F238E27FC236}">
                    <a16:creationId xmlns:a16="http://schemas.microsoft.com/office/drawing/2014/main" id="{E530CC17-7D86-4984-B168-A68304EF87A4}"/>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162">
                <a:extLst>
                  <a:ext uri="{FF2B5EF4-FFF2-40B4-BE49-F238E27FC236}">
                    <a16:creationId xmlns:a16="http://schemas.microsoft.com/office/drawing/2014/main" id="{44D4AE0C-85E3-4771-A58E-6DA10AC3AD06}"/>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165">
                <a:extLst>
                  <a:ext uri="{FF2B5EF4-FFF2-40B4-BE49-F238E27FC236}">
                    <a16:creationId xmlns:a16="http://schemas.microsoft.com/office/drawing/2014/main" id="{F1E6A9CA-0DE2-4CA8-9D75-0CE9355B6215}"/>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166">
                <a:extLst>
                  <a:ext uri="{FF2B5EF4-FFF2-40B4-BE49-F238E27FC236}">
                    <a16:creationId xmlns:a16="http://schemas.microsoft.com/office/drawing/2014/main" id="{12E4732A-2001-455E-BE7D-4633BBFA93AB}"/>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167">
                <a:extLst>
                  <a:ext uri="{FF2B5EF4-FFF2-40B4-BE49-F238E27FC236}">
                    <a16:creationId xmlns:a16="http://schemas.microsoft.com/office/drawing/2014/main" id="{EE792D4E-C1F3-4D8A-9CB7-E7CB43DC0FF3}"/>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168">
                <a:extLst>
                  <a:ext uri="{FF2B5EF4-FFF2-40B4-BE49-F238E27FC236}">
                    <a16:creationId xmlns:a16="http://schemas.microsoft.com/office/drawing/2014/main" id="{130E6E25-E49F-4545-99B9-2EB97EA76957}"/>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169">
                <a:extLst>
                  <a:ext uri="{FF2B5EF4-FFF2-40B4-BE49-F238E27FC236}">
                    <a16:creationId xmlns:a16="http://schemas.microsoft.com/office/drawing/2014/main" id="{20168B6D-23FF-4DDB-835C-3FA129E413D4}"/>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170">
                <a:extLst>
                  <a:ext uri="{FF2B5EF4-FFF2-40B4-BE49-F238E27FC236}">
                    <a16:creationId xmlns:a16="http://schemas.microsoft.com/office/drawing/2014/main" id="{E6F7B78D-6635-4878-B211-217597B31819}"/>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171">
                <a:extLst>
                  <a:ext uri="{FF2B5EF4-FFF2-40B4-BE49-F238E27FC236}">
                    <a16:creationId xmlns:a16="http://schemas.microsoft.com/office/drawing/2014/main" id="{A907A4B2-B1E4-48DC-A9F6-F18DAF53D4E2}"/>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172">
                <a:extLst>
                  <a:ext uri="{FF2B5EF4-FFF2-40B4-BE49-F238E27FC236}">
                    <a16:creationId xmlns:a16="http://schemas.microsoft.com/office/drawing/2014/main" id="{9ABA51A6-3CB3-45BC-953E-247EF9C02724}"/>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173">
                <a:extLst>
                  <a:ext uri="{FF2B5EF4-FFF2-40B4-BE49-F238E27FC236}">
                    <a16:creationId xmlns:a16="http://schemas.microsoft.com/office/drawing/2014/main" id="{B70C6705-F3CA-4723-B523-AD417BBB0512}"/>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174">
                <a:extLst>
                  <a:ext uri="{FF2B5EF4-FFF2-40B4-BE49-F238E27FC236}">
                    <a16:creationId xmlns:a16="http://schemas.microsoft.com/office/drawing/2014/main" id="{E702EE19-D644-47FD-B18C-BF9BF1438450}"/>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175">
                <a:extLst>
                  <a:ext uri="{FF2B5EF4-FFF2-40B4-BE49-F238E27FC236}">
                    <a16:creationId xmlns:a16="http://schemas.microsoft.com/office/drawing/2014/main" id="{ADF49DDB-5DC7-40D3-BB82-98D5F37894CC}"/>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176">
                <a:extLst>
                  <a:ext uri="{FF2B5EF4-FFF2-40B4-BE49-F238E27FC236}">
                    <a16:creationId xmlns:a16="http://schemas.microsoft.com/office/drawing/2014/main" id="{82D65AED-D74F-4C2C-AF21-EAB10F15B6CB}"/>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177">
                <a:extLst>
                  <a:ext uri="{FF2B5EF4-FFF2-40B4-BE49-F238E27FC236}">
                    <a16:creationId xmlns:a16="http://schemas.microsoft.com/office/drawing/2014/main" id="{6D5606AF-8FA7-4B90-8B88-1A4BA5D0D8F8}"/>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178">
                <a:extLst>
                  <a:ext uri="{FF2B5EF4-FFF2-40B4-BE49-F238E27FC236}">
                    <a16:creationId xmlns:a16="http://schemas.microsoft.com/office/drawing/2014/main" id="{A56DF3C5-E0A6-4416-83FD-9ADCF71EF508}"/>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179">
                <a:extLst>
                  <a:ext uri="{FF2B5EF4-FFF2-40B4-BE49-F238E27FC236}">
                    <a16:creationId xmlns:a16="http://schemas.microsoft.com/office/drawing/2014/main" id="{F8BD9548-D375-4F70-89F0-970DAC688951}"/>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180">
                <a:extLst>
                  <a:ext uri="{FF2B5EF4-FFF2-40B4-BE49-F238E27FC236}">
                    <a16:creationId xmlns:a16="http://schemas.microsoft.com/office/drawing/2014/main" id="{0662A772-E77E-4CDD-A885-FC3BA5B817E2}"/>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181">
                <a:extLst>
                  <a:ext uri="{FF2B5EF4-FFF2-40B4-BE49-F238E27FC236}">
                    <a16:creationId xmlns:a16="http://schemas.microsoft.com/office/drawing/2014/main" id="{9FE2EFE4-65E3-47E2-947A-6DBBD8024F35}"/>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 name="Title 1">
            <a:extLst>
              <a:ext uri="{FF2B5EF4-FFF2-40B4-BE49-F238E27FC236}">
                <a16:creationId xmlns:a16="http://schemas.microsoft.com/office/drawing/2014/main" id="{4B31608B-6C61-4FCE-8E47-19B88988D236}"/>
              </a:ext>
            </a:extLst>
          </p:cNvPr>
          <p:cNvSpPr>
            <a:spLocks noGrp="1"/>
          </p:cNvSpPr>
          <p:nvPr>
            <p:ph type="title"/>
          </p:nvPr>
        </p:nvSpPr>
        <p:spPr/>
        <p:txBody>
          <a:bodyPr/>
          <a:lstStyle/>
          <a:p>
            <a:r>
              <a:rPr lang="en-US"/>
              <a:t>Click to edit Master title style</a:t>
            </a:r>
          </a:p>
        </p:txBody>
      </p:sp>
      <p:sp>
        <p:nvSpPr>
          <p:cNvPr id="554" name="Text Placeholder 553">
            <a:extLst>
              <a:ext uri="{FF2B5EF4-FFF2-40B4-BE49-F238E27FC236}">
                <a16:creationId xmlns:a16="http://schemas.microsoft.com/office/drawing/2014/main" id="{837B16FC-1A13-4F19-B156-BBBF820F80FF}"/>
              </a:ext>
            </a:extLst>
          </p:cNvPr>
          <p:cNvSpPr>
            <a:spLocks noGrp="1"/>
          </p:cNvSpPr>
          <p:nvPr>
            <p:ph type="body" sz="quarter" idx="14" hasCustomPrompt="1"/>
          </p:nvPr>
        </p:nvSpPr>
        <p:spPr>
          <a:xfrm>
            <a:off x="7167169" y="2920945"/>
            <a:ext cx="446239" cy="538660"/>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640080" anchor="ctr" anchorCtr="0">
            <a:noAutofit/>
          </a:bodyPr>
          <a:lstStyle>
            <a:lvl1pPr>
              <a:defRPr sz="2400" b="1"/>
            </a:lvl1pPr>
          </a:lstStyle>
          <a:p>
            <a:pPr lvl="0"/>
            <a:r>
              <a:rPr lang="en-US"/>
              <a:t>Bucharest, Romania</a:t>
            </a:r>
          </a:p>
        </p:txBody>
      </p:sp>
      <p:sp>
        <p:nvSpPr>
          <p:cNvPr id="183" name="Text Placeholder 12">
            <a:extLst>
              <a:ext uri="{FF2B5EF4-FFF2-40B4-BE49-F238E27FC236}">
                <a16:creationId xmlns:a16="http://schemas.microsoft.com/office/drawing/2014/main" id="{1F20FC42-6317-47E1-B5C1-1858D0EEA01B}"/>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
        <p:nvSpPr>
          <p:cNvPr id="193" name="Rectangle 192">
            <a:extLst>
              <a:ext uri="{FF2B5EF4-FFF2-40B4-BE49-F238E27FC236}">
                <a16:creationId xmlns:a16="http://schemas.microsoft.com/office/drawing/2014/main" id="{641249BC-643B-4CA9-8363-6912FC21535C}"/>
              </a:ext>
            </a:extLst>
          </p:cNvPr>
          <p:cNvSpPr/>
          <p:nvPr userDrawn="1"/>
        </p:nvSpPr>
        <p:spPr>
          <a:xfrm>
            <a:off x="-1" y="1"/>
            <a:ext cx="156625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Freeform: Shape 203">
            <a:extLst>
              <a:ext uri="{FF2B5EF4-FFF2-40B4-BE49-F238E27FC236}">
                <a16:creationId xmlns:a16="http://schemas.microsoft.com/office/drawing/2014/main" id="{EF6EE341-3223-4472-A1E2-F21D844EB5C7}"/>
              </a:ext>
            </a:extLst>
          </p:cNvPr>
          <p:cNvSpPr/>
          <p:nvPr userDrawn="1"/>
        </p:nvSpPr>
        <p:spPr>
          <a:xfrm>
            <a:off x="252827" y="222349"/>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2657443 h 6407421"/>
              <a:gd name="connsiteX221" fmla="*/ 1064123 w 1064123"/>
              <a:gd name="connsiteY221" fmla="*/ 2657443 h 6407421"/>
              <a:gd name="connsiteX222" fmla="*/ 1064123 w 1064123"/>
              <a:gd name="connsiteY222" fmla="*/ 2687045 h 6407421"/>
              <a:gd name="connsiteX223" fmla="*/ 1034520 w 1064123"/>
              <a:gd name="connsiteY223" fmla="*/ 2687045 h 6407421"/>
              <a:gd name="connsiteX224" fmla="*/ 768327 w 1064123"/>
              <a:gd name="connsiteY224" fmla="*/ 2657440 h 6407421"/>
              <a:gd name="connsiteX225" fmla="*/ 797926 w 1064123"/>
              <a:gd name="connsiteY225" fmla="*/ 2657440 h 6407421"/>
              <a:gd name="connsiteX226" fmla="*/ 797926 w 1064123"/>
              <a:gd name="connsiteY226" fmla="*/ 2687042 h 6407421"/>
              <a:gd name="connsiteX227" fmla="*/ 768327 w 1064123"/>
              <a:gd name="connsiteY227" fmla="*/ 2687042 h 6407421"/>
              <a:gd name="connsiteX228" fmla="*/ 502236 w 1064123"/>
              <a:gd name="connsiteY228" fmla="*/ 2657437 h 6407421"/>
              <a:gd name="connsiteX229" fmla="*/ 531838 w 1064123"/>
              <a:gd name="connsiteY229" fmla="*/ 2657437 h 6407421"/>
              <a:gd name="connsiteX230" fmla="*/ 531838 w 1064123"/>
              <a:gd name="connsiteY230" fmla="*/ 2687039 h 6407421"/>
              <a:gd name="connsiteX231" fmla="*/ 502236 w 1064123"/>
              <a:gd name="connsiteY231" fmla="*/ 2687039 h 6407421"/>
              <a:gd name="connsiteX232" fmla="*/ 236037 w 1064123"/>
              <a:gd name="connsiteY232" fmla="*/ 2657434 h 6407421"/>
              <a:gd name="connsiteX233" fmla="*/ 265639 w 1064123"/>
              <a:gd name="connsiteY233" fmla="*/ 2657434 h 6407421"/>
              <a:gd name="connsiteX234" fmla="*/ 265639 w 1064123"/>
              <a:gd name="connsiteY234" fmla="*/ 2687036 h 6407421"/>
              <a:gd name="connsiteX235" fmla="*/ 236037 w 1064123"/>
              <a:gd name="connsiteY235" fmla="*/ 2687036 h 6407421"/>
              <a:gd name="connsiteX236" fmla="*/ 1 w 1064123"/>
              <a:gd name="connsiteY236" fmla="*/ 2657434 h 6407421"/>
              <a:gd name="connsiteX237" fmla="*/ 29603 w 1064123"/>
              <a:gd name="connsiteY237" fmla="*/ 2657434 h 6407421"/>
              <a:gd name="connsiteX238" fmla="*/ 29603 w 1064123"/>
              <a:gd name="connsiteY238" fmla="*/ 2687036 h 6407421"/>
              <a:gd name="connsiteX239" fmla="*/ 1 w 1064123"/>
              <a:gd name="connsiteY239" fmla="*/ 2687036 h 6407421"/>
              <a:gd name="connsiteX240" fmla="*/ 1034520 w 1064123"/>
              <a:gd name="connsiteY240" fmla="*/ 2391678 h 6407421"/>
              <a:gd name="connsiteX241" fmla="*/ 1064123 w 1064123"/>
              <a:gd name="connsiteY241" fmla="*/ 2391678 h 6407421"/>
              <a:gd name="connsiteX242" fmla="*/ 1064123 w 1064123"/>
              <a:gd name="connsiteY242" fmla="*/ 2421288 h 6407421"/>
              <a:gd name="connsiteX243" fmla="*/ 1034520 w 1064123"/>
              <a:gd name="connsiteY243" fmla="*/ 2421288 h 6407421"/>
              <a:gd name="connsiteX244" fmla="*/ 768327 w 1064123"/>
              <a:gd name="connsiteY244" fmla="*/ 2391675 h 6407421"/>
              <a:gd name="connsiteX245" fmla="*/ 797926 w 1064123"/>
              <a:gd name="connsiteY245" fmla="*/ 2391675 h 6407421"/>
              <a:gd name="connsiteX246" fmla="*/ 797926 w 1064123"/>
              <a:gd name="connsiteY246" fmla="*/ 2421283 h 6407421"/>
              <a:gd name="connsiteX247" fmla="*/ 768327 w 1064123"/>
              <a:gd name="connsiteY247" fmla="*/ 2421283 h 6407421"/>
              <a:gd name="connsiteX248" fmla="*/ 502236 w 1064123"/>
              <a:gd name="connsiteY248" fmla="*/ 2391672 h 6407421"/>
              <a:gd name="connsiteX249" fmla="*/ 531838 w 1064123"/>
              <a:gd name="connsiteY249" fmla="*/ 2391672 h 6407421"/>
              <a:gd name="connsiteX250" fmla="*/ 531838 w 1064123"/>
              <a:gd name="connsiteY250" fmla="*/ 2421278 h 6407421"/>
              <a:gd name="connsiteX251" fmla="*/ 502236 w 1064123"/>
              <a:gd name="connsiteY251" fmla="*/ 2421278 h 6407421"/>
              <a:gd name="connsiteX252" fmla="*/ 236037 w 1064123"/>
              <a:gd name="connsiteY252" fmla="*/ 2391669 h 6407421"/>
              <a:gd name="connsiteX253" fmla="*/ 265639 w 1064123"/>
              <a:gd name="connsiteY253" fmla="*/ 2391669 h 6407421"/>
              <a:gd name="connsiteX254" fmla="*/ 265639 w 1064123"/>
              <a:gd name="connsiteY254" fmla="*/ 2421272 h 6407421"/>
              <a:gd name="connsiteX255" fmla="*/ 236037 w 1064123"/>
              <a:gd name="connsiteY255" fmla="*/ 2421272 h 6407421"/>
              <a:gd name="connsiteX256" fmla="*/ 1 w 1064123"/>
              <a:gd name="connsiteY256" fmla="*/ 2391669 h 6407421"/>
              <a:gd name="connsiteX257" fmla="*/ 29603 w 1064123"/>
              <a:gd name="connsiteY257" fmla="*/ 2391669 h 6407421"/>
              <a:gd name="connsiteX258" fmla="*/ 29603 w 1064123"/>
              <a:gd name="connsiteY258" fmla="*/ 2421272 h 6407421"/>
              <a:gd name="connsiteX259" fmla="*/ 1 w 1064123"/>
              <a:gd name="connsiteY259" fmla="*/ 2421272 h 6407421"/>
              <a:gd name="connsiteX260" fmla="*/ 1034520 w 1064123"/>
              <a:gd name="connsiteY260" fmla="*/ 2126020 h 6407421"/>
              <a:gd name="connsiteX261" fmla="*/ 1064123 w 1064123"/>
              <a:gd name="connsiteY261" fmla="*/ 2126020 h 6407421"/>
              <a:gd name="connsiteX262" fmla="*/ 1064123 w 1064123"/>
              <a:gd name="connsiteY262" fmla="*/ 2155517 h 6407421"/>
              <a:gd name="connsiteX263" fmla="*/ 1034520 w 1064123"/>
              <a:gd name="connsiteY263" fmla="*/ 2155517 h 6407421"/>
              <a:gd name="connsiteX264" fmla="*/ 768327 w 1064123"/>
              <a:gd name="connsiteY264" fmla="*/ 2126017 h 6407421"/>
              <a:gd name="connsiteX265" fmla="*/ 797926 w 1064123"/>
              <a:gd name="connsiteY265" fmla="*/ 2126017 h 6407421"/>
              <a:gd name="connsiteX266" fmla="*/ 797926 w 1064123"/>
              <a:gd name="connsiteY266" fmla="*/ 2155513 h 6407421"/>
              <a:gd name="connsiteX267" fmla="*/ 768327 w 1064123"/>
              <a:gd name="connsiteY267" fmla="*/ 2155513 h 6407421"/>
              <a:gd name="connsiteX268" fmla="*/ 502236 w 1064123"/>
              <a:gd name="connsiteY268" fmla="*/ 2126014 h 6407421"/>
              <a:gd name="connsiteX269" fmla="*/ 531838 w 1064123"/>
              <a:gd name="connsiteY269" fmla="*/ 2126014 h 6407421"/>
              <a:gd name="connsiteX270" fmla="*/ 531838 w 1064123"/>
              <a:gd name="connsiteY270" fmla="*/ 2155510 h 6407421"/>
              <a:gd name="connsiteX271" fmla="*/ 502236 w 1064123"/>
              <a:gd name="connsiteY271" fmla="*/ 2155510 h 6407421"/>
              <a:gd name="connsiteX272" fmla="*/ 236037 w 1064123"/>
              <a:gd name="connsiteY272" fmla="*/ 2126012 h 6407421"/>
              <a:gd name="connsiteX273" fmla="*/ 265639 w 1064123"/>
              <a:gd name="connsiteY273" fmla="*/ 2126012 h 6407421"/>
              <a:gd name="connsiteX274" fmla="*/ 265639 w 1064123"/>
              <a:gd name="connsiteY274" fmla="*/ 2155506 h 6407421"/>
              <a:gd name="connsiteX275" fmla="*/ 236037 w 1064123"/>
              <a:gd name="connsiteY275" fmla="*/ 2155506 h 6407421"/>
              <a:gd name="connsiteX276" fmla="*/ 1 w 1064123"/>
              <a:gd name="connsiteY276" fmla="*/ 2126012 h 6407421"/>
              <a:gd name="connsiteX277" fmla="*/ 29603 w 1064123"/>
              <a:gd name="connsiteY277" fmla="*/ 2126012 h 6407421"/>
              <a:gd name="connsiteX278" fmla="*/ 29603 w 1064123"/>
              <a:gd name="connsiteY278" fmla="*/ 2155506 h 6407421"/>
              <a:gd name="connsiteX279" fmla="*/ 1 w 1064123"/>
              <a:gd name="connsiteY279" fmla="*/ 2155506 h 6407421"/>
              <a:gd name="connsiteX280" fmla="*/ 1034520 w 1064123"/>
              <a:gd name="connsiteY280" fmla="*/ 1860254 h 6407421"/>
              <a:gd name="connsiteX281" fmla="*/ 1064123 w 1064123"/>
              <a:gd name="connsiteY281" fmla="*/ 1860254 h 6407421"/>
              <a:gd name="connsiteX282" fmla="*/ 1064123 w 1064123"/>
              <a:gd name="connsiteY282" fmla="*/ 1889747 h 6407421"/>
              <a:gd name="connsiteX283" fmla="*/ 1034520 w 1064123"/>
              <a:gd name="connsiteY283" fmla="*/ 1889747 h 6407421"/>
              <a:gd name="connsiteX284" fmla="*/ 768327 w 1064123"/>
              <a:gd name="connsiteY284" fmla="*/ 1860252 h 6407421"/>
              <a:gd name="connsiteX285" fmla="*/ 797926 w 1064123"/>
              <a:gd name="connsiteY285" fmla="*/ 1860252 h 6407421"/>
              <a:gd name="connsiteX286" fmla="*/ 797926 w 1064123"/>
              <a:gd name="connsiteY286" fmla="*/ 1889745 h 6407421"/>
              <a:gd name="connsiteX287" fmla="*/ 768327 w 1064123"/>
              <a:gd name="connsiteY287" fmla="*/ 1889745 h 6407421"/>
              <a:gd name="connsiteX288" fmla="*/ 502236 w 1064123"/>
              <a:gd name="connsiteY288" fmla="*/ 1860249 h 6407421"/>
              <a:gd name="connsiteX289" fmla="*/ 531838 w 1064123"/>
              <a:gd name="connsiteY289" fmla="*/ 1860249 h 6407421"/>
              <a:gd name="connsiteX290" fmla="*/ 531838 w 1064123"/>
              <a:gd name="connsiteY290" fmla="*/ 1889744 h 6407421"/>
              <a:gd name="connsiteX291" fmla="*/ 502236 w 1064123"/>
              <a:gd name="connsiteY291" fmla="*/ 1889744 h 6407421"/>
              <a:gd name="connsiteX292" fmla="*/ 236037 w 1064123"/>
              <a:gd name="connsiteY292" fmla="*/ 1860247 h 6407421"/>
              <a:gd name="connsiteX293" fmla="*/ 265639 w 1064123"/>
              <a:gd name="connsiteY293" fmla="*/ 1860247 h 6407421"/>
              <a:gd name="connsiteX294" fmla="*/ 265639 w 1064123"/>
              <a:gd name="connsiteY294" fmla="*/ 1889742 h 6407421"/>
              <a:gd name="connsiteX295" fmla="*/ 236037 w 1064123"/>
              <a:gd name="connsiteY295" fmla="*/ 1889742 h 6407421"/>
              <a:gd name="connsiteX296" fmla="*/ 1 w 1064123"/>
              <a:gd name="connsiteY296" fmla="*/ 1860247 h 6407421"/>
              <a:gd name="connsiteX297" fmla="*/ 29603 w 1064123"/>
              <a:gd name="connsiteY297" fmla="*/ 1860247 h 6407421"/>
              <a:gd name="connsiteX298" fmla="*/ 29603 w 1064123"/>
              <a:gd name="connsiteY298" fmla="*/ 1889742 h 6407421"/>
              <a:gd name="connsiteX299" fmla="*/ 1 w 1064123"/>
              <a:gd name="connsiteY299" fmla="*/ 1889742 h 6407421"/>
              <a:gd name="connsiteX300" fmla="*/ 1034520 w 1064123"/>
              <a:gd name="connsiteY300" fmla="*/ 1594489 h 6407421"/>
              <a:gd name="connsiteX301" fmla="*/ 1064123 w 1064123"/>
              <a:gd name="connsiteY301" fmla="*/ 1594489 h 6407421"/>
              <a:gd name="connsiteX302" fmla="*/ 1064123 w 1064123"/>
              <a:gd name="connsiteY302" fmla="*/ 1624092 h 6407421"/>
              <a:gd name="connsiteX303" fmla="*/ 1034520 w 1064123"/>
              <a:gd name="connsiteY303" fmla="*/ 1624092 h 6407421"/>
              <a:gd name="connsiteX304" fmla="*/ 768327 w 1064123"/>
              <a:gd name="connsiteY304" fmla="*/ 1594486 h 6407421"/>
              <a:gd name="connsiteX305" fmla="*/ 797926 w 1064123"/>
              <a:gd name="connsiteY305" fmla="*/ 1594486 h 6407421"/>
              <a:gd name="connsiteX306" fmla="*/ 797926 w 1064123"/>
              <a:gd name="connsiteY306" fmla="*/ 1624090 h 6407421"/>
              <a:gd name="connsiteX307" fmla="*/ 768327 w 1064123"/>
              <a:gd name="connsiteY307" fmla="*/ 1624090 h 6407421"/>
              <a:gd name="connsiteX308" fmla="*/ 502236 w 1064123"/>
              <a:gd name="connsiteY308" fmla="*/ 1594484 h 6407421"/>
              <a:gd name="connsiteX309" fmla="*/ 531838 w 1064123"/>
              <a:gd name="connsiteY309" fmla="*/ 1594484 h 6407421"/>
              <a:gd name="connsiteX310" fmla="*/ 531838 w 1064123"/>
              <a:gd name="connsiteY310" fmla="*/ 1624087 h 6407421"/>
              <a:gd name="connsiteX311" fmla="*/ 502236 w 1064123"/>
              <a:gd name="connsiteY311" fmla="*/ 1624087 h 6407421"/>
              <a:gd name="connsiteX312" fmla="*/ 236037 w 1064123"/>
              <a:gd name="connsiteY312" fmla="*/ 1594482 h 6407421"/>
              <a:gd name="connsiteX313" fmla="*/ 265639 w 1064123"/>
              <a:gd name="connsiteY313" fmla="*/ 1594482 h 6407421"/>
              <a:gd name="connsiteX314" fmla="*/ 265639 w 1064123"/>
              <a:gd name="connsiteY314" fmla="*/ 1624085 h 6407421"/>
              <a:gd name="connsiteX315" fmla="*/ 236037 w 1064123"/>
              <a:gd name="connsiteY315" fmla="*/ 1624085 h 6407421"/>
              <a:gd name="connsiteX316" fmla="*/ 1 w 1064123"/>
              <a:gd name="connsiteY316" fmla="*/ 1594482 h 6407421"/>
              <a:gd name="connsiteX317" fmla="*/ 29603 w 1064123"/>
              <a:gd name="connsiteY317" fmla="*/ 1594482 h 6407421"/>
              <a:gd name="connsiteX318" fmla="*/ 29603 w 1064123"/>
              <a:gd name="connsiteY318" fmla="*/ 1624085 h 6407421"/>
              <a:gd name="connsiteX319" fmla="*/ 1 w 1064123"/>
              <a:gd name="connsiteY319" fmla="*/ 1624085 h 6407421"/>
              <a:gd name="connsiteX320" fmla="*/ 1034520 w 1064123"/>
              <a:gd name="connsiteY320" fmla="*/ 1328724 h 6407421"/>
              <a:gd name="connsiteX321" fmla="*/ 1064123 w 1064123"/>
              <a:gd name="connsiteY321" fmla="*/ 1328724 h 6407421"/>
              <a:gd name="connsiteX322" fmla="*/ 1064123 w 1064123"/>
              <a:gd name="connsiteY322" fmla="*/ 1358328 h 6407421"/>
              <a:gd name="connsiteX323" fmla="*/ 1034520 w 1064123"/>
              <a:gd name="connsiteY323" fmla="*/ 1358328 h 6407421"/>
              <a:gd name="connsiteX324" fmla="*/ 768327 w 1064123"/>
              <a:gd name="connsiteY324" fmla="*/ 1328722 h 6407421"/>
              <a:gd name="connsiteX325" fmla="*/ 797926 w 1064123"/>
              <a:gd name="connsiteY325" fmla="*/ 1328722 h 6407421"/>
              <a:gd name="connsiteX326" fmla="*/ 797926 w 1064123"/>
              <a:gd name="connsiteY326" fmla="*/ 1358325 h 6407421"/>
              <a:gd name="connsiteX327" fmla="*/ 768327 w 1064123"/>
              <a:gd name="connsiteY327" fmla="*/ 1358325 h 6407421"/>
              <a:gd name="connsiteX328" fmla="*/ 502236 w 1064123"/>
              <a:gd name="connsiteY328" fmla="*/ 1328719 h 6407421"/>
              <a:gd name="connsiteX329" fmla="*/ 531838 w 1064123"/>
              <a:gd name="connsiteY329" fmla="*/ 1328719 h 6407421"/>
              <a:gd name="connsiteX330" fmla="*/ 531838 w 1064123"/>
              <a:gd name="connsiteY330" fmla="*/ 1358323 h 6407421"/>
              <a:gd name="connsiteX331" fmla="*/ 502236 w 1064123"/>
              <a:gd name="connsiteY331" fmla="*/ 1358323 h 6407421"/>
              <a:gd name="connsiteX332" fmla="*/ 236036 w 1064123"/>
              <a:gd name="connsiteY332" fmla="*/ 1328717 h 6407421"/>
              <a:gd name="connsiteX333" fmla="*/ 265639 w 1064123"/>
              <a:gd name="connsiteY333" fmla="*/ 1328717 h 6407421"/>
              <a:gd name="connsiteX334" fmla="*/ 265639 w 1064123"/>
              <a:gd name="connsiteY334" fmla="*/ 1358320 h 6407421"/>
              <a:gd name="connsiteX335" fmla="*/ 236036 w 1064123"/>
              <a:gd name="connsiteY335" fmla="*/ 1358320 h 6407421"/>
              <a:gd name="connsiteX336" fmla="*/ 1 w 1064123"/>
              <a:gd name="connsiteY336" fmla="*/ 1328717 h 6407421"/>
              <a:gd name="connsiteX337" fmla="*/ 29602 w 1064123"/>
              <a:gd name="connsiteY337" fmla="*/ 1328717 h 6407421"/>
              <a:gd name="connsiteX338" fmla="*/ 29602 w 1064123"/>
              <a:gd name="connsiteY338" fmla="*/ 1358320 h 6407421"/>
              <a:gd name="connsiteX339" fmla="*/ 1 w 1064123"/>
              <a:gd name="connsiteY339" fmla="*/ 1358320 h 6407421"/>
              <a:gd name="connsiteX340" fmla="*/ 1034520 w 1064123"/>
              <a:gd name="connsiteY340" fmla="*/ 1063069 h 6407421"/>
              <a:gd name="connsiteX341" fmla="*/ 1064123 w 1064123"/>
              <a:gd name="connsiteY341" fmla="*/ 1063069 h 6407421"/>
              <a:gd name="connsiteX342" fmla="*/ 1064123 w 1064123"/>
              <a:gd name="connsiteY342" fmla="*/ 1092563 h 6407421"/>
              <a:gd name="connsiteX343" fmla="*/ 1034520 w 1064123"/>
              <a:gd name="connsiteY343" fmla="*/ 1092563 h 6407421"/>
              <a:gd name="connsiteX344" fmla="*/ 768326 w 1064123"/>
              <a:gd name="connsiteY344" fmla="*/ 1063066 h 6407421"/>
              <a:gd name="connsiteX345" fmla="*/ 797926 w 1064123"/>
              <a:gd name="connsiteY345" fmla="*/ 1063066 h 6407421"/>
              <a:gd name="connsiteX346" fmla="*/ 797926 w 1064123"/>
              <a:gd name="connsiteY346" fmla="*/ 1092560 h 6407421"/>
              <a:gd name="connsiteX347" fmla="*/ 768326 w 1064123"/>
              <a:gd name="connsiteY347" fmla="*/ 1092560 h 6407421"/>
              <a:gd name="connsiteX348" fmla="*/ 502235 w 1064123"/>
              <a:gd name="connsiteY348" fmla="*/ 1063063 h 6407421"/>
              <a:gd name="connsiteX349" fmla="*/ 531838 w 1064123"/>
              <a:gd name="connsiteY349" fmla="*/ 1063063 h 6407421"/>
              <a:gd name="connsiteX350" fmla="*/ 531838 w 1064123"/>
              <a:gd name="connsiteY350" fmla="*/ 1092557 h 6407421"/>
              <a:gd name="connsiteX351" fmla="*/ 502235 w 1064123"/>
              <a:gd name="connsiteY351" fmla="*/ 1092557 h 6407421"/>
              <a:gd name="connsiteX352" fmla="*/ 236036 w 1064123"/>
              <a:gd name="connsiteY352" fmla="*/ 1063059 h 6407421"/>
              <a:gd name="connsiteX353" fmla="*/ 265639 w 1064123"/>
              <a:gd name="connsiteY353" fmla="*/ 1063059 h 6407421"/>
              <a:gd name="connsiteX354" fmla="*/ 265639 w 1064123"/>
              <a:gd name="connsiteY354" fmla="*/ 1092554 h 6407421"/>
              <a:gd name="connsiteX355" fmla="*/ 236036 w 1064123"/>
              <a:gd name="connsiteY355" fmla="*/ 1092554 h 6407421"/>
              <a:gd name="connsiteX356" fmla="*/ 0 w 1064123"/>
              <a:gd name="connsiteY356" fmla="*/ 1063059 h 6407421"/>
              <a:gd name="connsiteX357" fmla="*/ 29602 w 1064123"/>
              <a:gd name="connsiteY357" fmla="*/ 1063059 h 6407421"/>
              <a:gd name="connsiteX358" fmla="*/ 29602 w 1064123"/>
              <a:gd name="connsiteY358" fmla="*/ 1092554 h 6407421"/>
              <a:gd name="connsiteX359" fmla="*/ 0 w 1064123"/>
              <a:gd name="connsiteY359" fmla="*/ 1092554 h 6407421"/>
              <a:gd name="connsiteX360" fmla="*/ 1034520 w 1064123"/>
              <a:gd name="connsiteY360" fmla="*/ 797300 h 6407421"/>
              <a:gd name="connsiteX361" fmla="*/ 1064123 w 1064123"/>
              <a:gd name="connsiteY361" fmla="*/ 797300 h 6407421"/>
              <a:gd name="connsiteX362" fmla="*/ 1064123 w 1064123"/>
              <a:gd name="connsiteY362" fmla="*/ 826797 h 6407421"/>
              <a:gd name="connsiteX363" fmla="*/ 1034520 w 1064123"/>
              <a:gd name="connsiteY363" fmla="*/ 826797 h 6407421"/>
              <a:gd name="connsiteX364" fmla="*/ 768326 w 1064123"/>
              <a:gd name="connsiteY364" fmla="*/ 797298 h 6407421"/>
              <a:gd name="connsiteX365" fmla="*/ 797926 w 1064123"/>
              <a:gd name="connsiteY365" fmla="*/ 797298 h 6407421"/>
              <a:gd name="connsiteX366" fmla="*/ 797926 w 1064123"/>
              <a:gd name="connsiteY366" fmla="*/ 826794 h 6407421"/>
              <a:gd name="connsiteX367" fmla="*/ 768326 w 1064123"/>
              <a:gd name="connsiteY367" fmla="*/ 826794 h 6407421"/>
              <a:gd name="connsiteX368" fmla="*/ 502235 w 1064123"/>
              <a:gd name="connsiteY368" fmla="*/ 797296 h 6407421"/>
              <a:gd name="connsiteX369" fmla="*/ 531838 w 1064123"/>
              <a:gd name="connsiteY369" fmla="*/ 797296 h 6407421"/>
              <a:gd name="connsiteX370" fmla="*/ 531838 w 1064123"/>
              <a:gd name="connsiteY370" fmla="*/ 826792 h 6407421"/>
              <a:gd name="connsiteX371" fmla="*/ 502235 w 1064123"/>
              <a:gd name="connsiteY371" fmla="*/ 826792 h 6407421"/>
              <a:gd name="connsiteX372" fmla="*/ 236036 w 1064123"/>
              <a:gd name="connsiteY372" fmla="*/ 797294 h 6407421"/>
              <a:gd name="connsiteX373" fmla="*/ 265639 w 1064123"/>
              <a:gd name="connsiteY373" fmla="*/ 797294 h 6407421"/>
              <a:gd name="connsiteX374" fmla="*/ 265639 w 1064123"/>
              <a:gd name="connsiteY374" fmla="*/ 826789 h 6407421"/>
              <a:gd name="connsiteX375" fmla="*/ 236036 w 1064123"/>
              <a:gd name="connsiteY375" fmla="*/ 826789 h 6407421"/>
              <a:gd name="connsiteX376" fmla="*/ 0 w 1064123"/>
              <a:gd name="connsiteY376" fmla="*/ 797294 h 6407421"/>
              <a:gd name="connsiteX377" fmla="*/ 29602 w 1064123"/>
              <a:gd name="connsiteY377" fmla="*/ 797294 h 6407421"/>
              <a:gd name="connsiteX378" fmla="*/ 29602 w 1064123"/>
              <a:gd name="connsiteY378" fmla="*/ 826789 h 6407421"/>
              <a:gd name="connsiteX379" fmla="*/ 0 w 1064123"/>
              <a:gd name="connsiteY379" fmla="*/ 826789 h 6407421"/>
              <a:gd name="connsiteX380" fmla="*/ 1034520 w 1064123"/>
              <a:gd name="connsiteY380" fmla="*/ 531537 h 6407421"/>
              <a:gd name="connsiteX381" fmla="*/ 1064123 w 1064123"/>
              <a:gd name="connsiteY381" fmla="*/ 531537 h 6407421"/>
              <a:gd name="connsiteX382" fmla="*/ 1064123 w 1064123"/>
              <a:gd name="connsiteY382" fmla="*/ 561139 h 6407421"/>
              <a:gd name="connsiteX383" fmla="*/ 1034520 w 1064123"/>
              <a:gd name="connsiteY383" fmla="*/ 561139 h 6407421"/>
              <a:gd name="connsiteX384" fmla="*/ 768326 w 1064123"/>
              <a:gd name="connsiteY384" fmla="*/ 531534 h 6407421"/>
              <a:gd name="connsiteX385" fmla="*/ 797926 w 1064123"/>
              <a:gd name="connsiteY385" fmla="*/ 531534 h 6407421"/>
              <a:gd name="connsiteX386" fmla="*/ 797926 w 1064123"/>
              <a:gd name="connsiteY386" fmla="*/ 561137 h 6407421"/>
              <a:gd name="connsiteX387" fmla="*/ 768326 w 1064123"/>
              <a:gd name="connsiteY387" fmla="*/ 561137 h 6407421"/>
              <a:gd name="connsiteX388" fmla="*/ 502235 w 1064123"/>
              <a:gd name="connsiteY388" fmla="*/ 531532 h 6407421"/>
              <a:gd name="connsiteX389" fmla="*/ 531838 w 1064123"/>
              <a:gd name="connsiteY389" fmla="*/ 531532 h 6407421"/>
              <a:gd name="connsiteX390" fmla="*/ 531838 w 1064123"/>
              <a:gd name="connsiteY390" fmla="*/ 561135 h 6407421"/>
              <a:gd name="connsiteX391" fmla="*/ 502235 w 1064123"/>
              <a:gd name="connsiteY391" fmla="*/ 561135 h 6407421"/>
              <a:gd name="connsiteX392" fmla="*/ 236036 w 1064123"/>
              <a:gd name="connsiteY392" fmla="*/ 531530 h 6407421"/>
              <a:gd name="connsiteX393" fmla="*/ 265639 w 1064123"/>
              <a:gd name="connsiteY393" fmla="*/ 531530 h 6407421"/>
              <a:gd name="connsiteX394" fmla="*/ 265639 w 1064123"/>
              <a:gd name="connsiteY394" fmla="*/ 561133 h 6407421"/>
              <a:gd name="connsiteX395" fmla="*/ 236036 w 1064123"/>
              <a:gd name="connsiteY395" fmla="*/ 561133 h 6407421"/>
              <a:gd name="connsiteX396" fmla="*/ 0 w 1064123"/>
              <a:gd name="connsiteY396" fmla="*/ 531530 h 6407421"/>
              <a:gd name="connsiteX397" fmla="*/ 29602 w 1064123"/>
              <a:gd name="connsiteY397" fmla="*/ 531530 h 6407421"/>
              <a:gd name="connsiteX398" fmla="*/ 29602 w 1064123"/>
              <a:gd name="connsiteY398" fmla="*/ 561133 h 6407421"/>
              <a:gd name="connsiteX399" fmla="*/ 0 w 1064123"/>
              <a:gd name="connsiteY399" fmla="*/ 561133 h 6407421"/>
              <a:gd name="connsiteX400" fmla="*/ 1034520 w 1064123"/>
              <a:gd name="connsiteY400" fmla="*/ 265772 h 6407421"/>
              <a:gd name="connsiteX401" fmla="*/ 1064123 w 1064123"/>
              <a:gd name="connsiteY401" fmla="*/ 265772 h 6407421"/>
              <a:gd name="connsiteX402" fmla="*/ 1064123 w 1064123"/>
              <a:gd name="connsiteY402" fmla="*/ 295374 h 6407421"/>
              <a:gd name="connsiteX403" fmla="*/ 1034520 w 1064123"/>
              <a:gd name="connsiteY403" fmla="*/ 295374 h 6407421"/>
              <a:gd name="connsiteX404" fmla="*/ 768326 w 1064123"/>
              <a:gd name="connsiteY404" fmla="*/ 265770 h 6407421"/>
              <a:gd name="connsiteX405" fmla="*/ 797926 w 1064123"/>
              <a:gd name="connsiteY405" fmla="*/ 265770 h 6407421"/>
              <a:gd name="connsiteX406" fmla="*/ 797926 w 1064123"/>
              <a:gd name="connsiteY406" fmla="*/ 295372 h 6407421"/>
              <a:gd name="connsiteX407" fmla="*/ 768326 w 1064123"/>
              <a:gd name="connsiteY407" fmla="*/ 295372 h 6407421"/>
              <a:gd name="connsiteX408" fmla="*/ 502235 w 1064123"/>
              <a:gd name="connsiteY408" fmla="*/ 265767 h 6407421"/>
              <a:gd name="connsiteX409" fmla="*/ 531838 w 1064123"/>
              <a:gd name="connsiteY409" fmla="*/ 265767 h 6407421"/>
              <a:gd name="connsiteX410" fmla="*/ 531838 w 1064123"/>
              <a:gd name="connsiteY410" fmla="*/ 295370 h 6407421"/>
              <a:gd name="connsiteX411" fmla="*/ 502235 w 1064123"/>
              <a:gd name="connsiteY411" fmla="*/ 295370 h 6407421"/>
              <a:gd name="connsiteX412" fmla="*/ 236036 w 1064123"/>
              <a:gd name="connsiteY412" fmla="*/ 265765 h 6407421"/>
              <a:gd name="connsiteX413" fmla="*/ 265639 w 1064123"/>
              <a:gd name="connsiteY413" fmla="*/ 265765 h 6407421"/>
              <a:gd name="connsiteX414" fmla="*/ 265639 w 1064123"/>
              <a:gd name="connsiteY414" fmla="*/ 295368 h 6407421"/>
              <a:gd name="connsiteX415" fmla="*/ 236036 w 1064123"/>
              <a:gd name="connsiteY415" fmla="*/ 295368 h 6407421"/>
              <a:gd name="connsiteX416" fmla="*/ 0 w 1064123"/>
              <a:gd name="connsiteY416" fmla="*/ 265765 h 6407421"/>
              <a:gd name="connsiteX417" fmla="*/ 29602 w 1064123"/>
              <a:gd name="connsiteY417" fmla="*/ 265765 h 6407421"/>
              <a:gd name="connsiteX418" fmla="*/ 29602 w 1064123"/>
              <a:gd name="connsiteY418" fmla="*/ 295368 h 6407421"/>
              <a:gd name="connsiteX419" fmla="*/ 0 w 1064123"/>
              <a:gd name="connsiteY419" fmla="*/ 295368 h 6407421"/>
              <a:gd name="connsiteX420" fmla="*/ 1034520 w 1064123"/>
              <a:gd name="connsiteY420" fmla="*/ 7 h 6407421"/>
              <a:gd name="connsiteX421" fmla="*/ 1064123 w 1064123"/>
              <a:gd name="connsiteY421" fmla="*/ 7 h 6407421"/>
              <a:gd name="connsiteX422" fmla="*/ 1064123 w 1064123"/>
              <a:gd name="connsiteY422" fmla="*/ 29609 h 6407421"/>
              <a:gd name="connsiteX423" fmla="*/ 1034520 w 1064123"/>
              <a:gd name="connsiteY423" fmla="*/ 29609 h 6407421"/>
              <a:gd name="connsiteX424" fmla="*/ 768326 w 1064123"/>
              <a:gd name="connsiteY424" fmla="*/ 5 h 6407421"/>
              <a:gd name="connsiteX425" fmla="*/ 797926 w 1064123"/>
              <a:gd name="connsiteY425" fmla="*/ 5 h 6407421"/>
              <a:gd name="connsiteX426" fmla="*/ 797926 w 1064123"/>
              <a:gd name="connsiteY426" fmla="*/ 29607 h 6407421"/>
              <a:gd name="connsiteX427" fmla="*/ 768326 w 1064123"/>
              <a:gd name="connsiteY427" fmla="*/ 29607 h 6407421"/>
              <a:gd name="connsiteX428" fmla="*/ 502235 w 1064123"/>
              <a:gd name="connsiteY428" fmla="*/ 2 h 6407421"/>
              <a:gd name="connsiteX429" fmla="*/ 531838 w 1064123"/>
              <a:gd name="connsiteY429" fmla="*/ 2 h 6407421"/>
              <a:gd name="connsiteX430" fmla="*/ 531838 w 1064123"/>
              <a:gd name="connsiteY430" fmla="*/ 29605 h 6407421"/>
              <a:gd name="connsiteX431" fmla="*/ 502235 w 1064123"/>
              <a:gd name="connsiteY431" fmla="*/ 29605 h 6407421"/>
              <a:gd name="connsiteX432" fmla="*/ 236036 w 1064123"/>
              <a:gd name="connsiteY432" fmla="*/ 0 h 6407421"/>
              <a:gd name="connsiteX433" fmla="*/ 265638 w 1064123"/>
              <a:gd name="connsiteY433" fmla="*/ 0 h 6407421"/>
              <a:gd name="connsiteX434" fmla="*/ 265638 w 1064123"/>
              <a:gd name="connsiteY434" fmla="*/ 29602 h 6407421"/>
              <a:gd name="connsiteX435" fmla="*/ 236036 w 1064123"/>
              <a:gd name="connsiteY435" fmla="*/ 29602 h 6407421"/>
              <a:gd name="connsiteX436" fmla="*/ 0 w 1064123"/>
              <a:gd name="connsiteY436" fmla="*/ 0 h 6407421"/>
              <a:gd name="connsiteX437" fmla="*/ 29602 w 1064123"/>
              <a:gd name="connsiteY437" fmla="*/ 0 h 6407421"/>
              <a:gd name="connsiteX438" fmla="*/ 29602 w 1064123"/>
              <a:gd name="connsiteY438" fmla="*/ 29602 h 6407421"/>
              <a:gd name="connsiteX439" fmla="*/ 0 w 1064123"/>
              <a:gd name="connsiteY43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20000"/>
            </a:schemeClr>
          </a:solidFill>
          <a:ln w="10797" cap="flat">
            <a:noFill/>
            <a:prstDash val="solid"/>
            <a:miter/>
          </a:ln>
        </p:spPr>
        <p:txBody>
          <a:bodyPr wrap="square" rtlCol="0" anchor="ctr">
            <a:noAutofit/>
          </a:bodyPr>
          <a:lstStyle/>
          <a:p>
            <a:endParaRPr lang="en-US"/>
          </a:p>
        </p:txBody>
      </p:sp>
      <p:grpSp>
        <p:nvGrpSpPr>
          <p:cNvPr id="196" name="Group 195">
            <a:extLst>
              <a:ext uri="{FF2B5EF4-FFF2-40B4-BE49-F238E27FC236}">
                <a16:creationId xmlns:a16="http://schemas.microsoft.com/office/drawing/2014/main" id="{2871ABBE-46A9-462B-917C-B5E1CEA096A1}"/>
              </a:ext>
            </a:extLst>
          </p:cNvPr>
          <p:cNvGrpSpPr/>
          <p:nvPr userDrawn="1"/>
        </p:nvGrpSpPr>
        <p:grpSpPr>
          <a:xfrm>
            <a:off x="-3221" y="0"/>
            <a:ext cx="1570603" cy="6342667"/>
            <a:chOff x="-3221" y="0"/>
            <a:chExt cx="1570603" cy="6342667"/>
          </a:xfrm>
        </p:grpSpPr>
        <p:sp>
          <p:nvSpPr>
            <p:cNvPr id="197" name="Freeform: Shape 41">
              <a:extLst>
                <a:ext uri="{FF2B5EF4-FFF2-40B4-BE49-F238E27FC236}">
                  <a16:creationId xmlns:a16="http://schemas.microsoft.com/office/drawing/2014/main" id="{1BDAA0C7-6AC2-4219-B125-DB8A01DDF156}"/>
                </a:ext>
              </a:extLst>
            </p:cNvPr>
            <p:cNvSpPr txBox="1">
              <a:spLocks/>
            </p:cNvSpPr>
            <p:nvPr/>
          </p:nvSpPr>
          <p:spPr>
            <a:xfrm>
              <a:off x="771720" y="1305465"/>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98" name="Freeform: Shape 42">
              <a:extLst>
                <a:ext uri="{FF2B5EF4-FFF2-40B4-BE49-F238E27FC236}">
                  <a16:creationId xmlns:a16="http://schemas.microsoft.com/office/drawing/2014/main" id="{3C545C6B-84BE-4B2C-8D99-679A88B10F48}"/>
                </a:ext>
              </a:extLst>
            </p:cNvPr>
            <p:cNvSpPr txBox="1">
              <a:spLocks/>
            </p:cNvSpPr>
            <p:nvPr/>
          </p:nvSpPr>
          <p:spPr>
            <a:xfrm rot="16200000">
              <a:off x="653257" y="1982983"/>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99" name="Freeform: Shape 81">
              <a:extLst>
                <a:ext uri="{FF2B5EF4-FFF2-40B4-BE49-F238E27FC236}">
                  <a16:creationId xmlns:a16="http://schemas.microsoft.com/office/drawing/2014/main" id="{C6E77901-A921-4F45-B78D-4695A1C40DCD}"/>
                </a:ext>
              </a:extLst>
            </p:cNvPr>
            <p:cNvSpPr txBox="1">
              <a:spLocks/>
            </p:cNvSpPr>
            <p:nvPr/>
          </p:nvSpPr>
          <p:spPr>
            <a:xfrm rot="5400000">
              <a:off x="522214" y="5297589"/>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0" name="Freeform: Shape 41">
              <a:extLst>
                <a:ext uri="{FF2B5EF4-FFF2-40B4-BE49-F238E27FC236}">
                  <a16:creationId xmlns:a16="http://schemas.microsoft.com/office/drawing/2014/main" id="{2162A28F-4B74-465B-A932-0B1BBB90E6E3}"/>
                </a:ext>
              </a:extLst>
            </p:cNvPr>
            <p:cNvSpPr txBox="1">
              <a:spLocks/>
            </p:cNvSpPr>
            <p:nvPr/>
          </p:nvSpPr>
          <p:spPr>
            <a:xfrm>
              <a:off x="253539" y="422329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1" name="Freeform: Shape 81">
              <a:extLst>
                <a:ext uri="{FF2B5EF4-FFF2-40B4-BE49-F238E27FC236}">
                  <a16:creationId xmlns:a16="http://schemas.microsoft.com/office/drawing/2014/main" id="{14B3A904-4D3E-483C-8D73-1E35D43E1A9B}"/>
                </a:ext>
              </a:extLst>
            </p:cNvPr>
            <p:cNvSpPr txBox="1">
              <a:spLocks/>
            </p:cNvSpPr>
            <p:nvPr/>
          </p:nvSpPr>
          <p:spPr>
            <a:xfrm rot="16200000">
              <a:off x="11410" y="-14631"/>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pic>
        <p:nvPicPr>
          <p:cNvPr id="192" name="Picture 191">
            <a:extLst>
              <a:ext uri="{FF2B5EF4-FFF2-40B4-BE49-F238E27FC236}">
                <a16:creationId xmlns:a16="http://schemas.microsoft.com/office/drawing/2014/main" id="{DA6529FD-FF9C-485C-8E9B-24FAF7B5B756}"/>
              </a:ext>
            </a:extLst>
          </p:cNvPr>
          <p:cNvPicPr>
            <a:picLocks noChangeAspect="1"/>
          </p:cNvPicPr>
          <p:nvPr userDrawn="1"/>
        </p:nvPicPr>
        <p:blipFill>
          <a:blip r:embed="rId2"/>
          <a:srcRect/>
          <a:stretch/>
        </p:blipFill>
        <p:spPr>
          <a:xfrm>
            <a:off x="260487" y="3152155"/>
            <a:ext cx="1053566" cy="542008"/>
          </a:xfrm>
          <a:prstGeom prst="rect">
            <a:avLst/>
          </a:prstGeom>
        </p:spPr>
      </p:pic>
    </p:spTree>
    <p:extLst>
      <p:ext uri="{BB962C8B-B14F-4D97-AF65-F5344CB8AC3E}">
        <p14:creationId xmlns:p14="http://schemas.microsoft.com/office/powerpoint/2010/main" val="207340018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esktop Screenshot">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2C32A2-735E-4F61-B7C3-7EDF7AB8BD88}"/>
              </a:ext>
            </a:extLst>
          </p:cNvPr>
          <p:cNvPicPr>
            <a:picLocks noChangeAspect="1"/>
          </p:cNvPicPr>
          <p:nvPr userDrawn="1"/>
        </p:nvPicPr>
        <p:blipFill>
          <a:blip r:embed="rId2"/>
          <a:srcRect/>
          <a:stretch/>
        </p:blipFill>
        <p:spPr>
          <a:xfrm>
            <a:off x="3276064" y="369645"/>
            <a:ext cx="7135296" cy="6001934"/>
          </a:xfrm>
          <a:prstGeom prst="rect">
            <a:avLst/>
          </a:prstGeom>
        </p:spPr>
      </p:pic>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3561704" y="744721"/>
            <a:ext cx="6564016" cy="3689676"/>
          </a:xfrm>
        </p:spPr>
        <p:txBody>
          <a:bodyPr anchor="ctr"/>
          <a:lstStyle>
            <a:lvl1pPr algn="ctr">
              <a:defRPr/>
            </a:lvl1pPr>
          </a:lstStyle>
          <a:p>
            <a:endParaRPr lang="en-US"/>
          </a:p>
        </p:txBody>
      </p:sp>
      <p:sp>
        <p:nvSpPr>
          <p:cNvPr id="5" name="Rectangle 4">
            <a:extLst>
              <a:ext uri="{FF2B5EF4-FFF2-40B4-BE49-F238E27FC236}">
                <a16:creationId xmlns:a16="http://schemas.microsoft.com/office/drawing/2014/main" id="{44AD1263-C35A-4BDC-8A54-036B083FB63E}"/>
              </a:ext>
            </a:extLst>
          </p:cNvPr>
          <p:cNvSpPr/>
          <p:nvPr userDrawn="1"/>
        </p:nvSpPr>
        <p:spPr>
          <a:xfrm>
            <a:off x="-1" y="1"/>
            <a:ext cx="156625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9F44FE60-065C-4257-B2C7-550BF632BCC7}"/>
              </a:ext>
            </a:extLst>
          </p:cNvPr>
          <p:cNvSpPr/>
          <p:nvPr userDrawn="1"/>
        </p:nvSpPr>
        <p:spPr>
          <a:xfrm>
            <a:off x="252827" y="222349"/>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2657443 h 6407421"/>
              <a:gd name="connsiteX221" fmla="*/ 1064123 w 1064123"/>
              <a:gd name="connsiteY221" fmla="*/ 2657443 h 6407421"/>
              <a:gd name="connsiteX222" fmla="*/ 1064123 w 1064123"/>
              <a:gd name="connsiteY222" fmla="*/ 2687045 h 6407421"/>
              <a:gd name="connsiteX223" fmla="*/ 1034520 w 1064123"/>
              <a:gd name="connsiteY223" fmla="*/ 2687045 h 6407421"/>
              <a:gd name="connsiteX224" fmla="*/ 768327 w 1064123"/>
              <a:gd name="connsiteY224" fmla="*/ 2657440 h 6407421"/>
              <a:gd name="connsiteX225" fmla="*/ 797926 w 1064123"/>
              <a:gd name="connsiteY225" fmla="*/ 2657440 h 6407421"/>
              <a:gd name="connsiteX226" fmla="*/ 797926 w 1064123"/>
              <a:gd name="connsiteY226" fmla="*/ 2687042 h 6407421"/>
              <a:gd name="connsiteX227" fmla="*/ 768327 w 1064123"/>
              <a:gd name="connsiteY227" fmla="*/ 2687042 h 6407421"/>
              <a:gd name="connsiteX228" fmla="*/ 502236 w 1064123"/>
              <a:gd name="connsiteY228" fmla="*/ 2657437 h 6407421"/>
              <a:gd name="connsiteX229" fmla="*/ 531838 w 1064123"/>
              <a:gd name="connsiteY229" fmla="*/ 2657437 h 6407421"/>
              <a:gd name="connsiteX230" fmla="*/ 531838 w 1064123"/>
              <a:gd name="connsiteY230" fmla="*/ 2687039 h 6407421"/>
              <a:gd name="connsiteX231" fmla="*/ 502236 w 1064123"/>
              <a:gd name="connsiteY231" fmla="*/ 2687039 h 6407421"/>
              <a:gd name="connsiteX232" fmla="*/ 236037 w 1064123"/>
              <a:gd name="connsiteY232" fmla="*/ 2657434 h 6407421"/>
              <a:gd name="connsiteX233" fmla="*/ 265639 w 1064123"/>
              <a:gd name="connsiteY233" fmla="*/ 2657434 h 6407421"/>
              <a:gd name="connsiteX234" fmla="*/ 265639 w 1064123"/>
              <a:gd name="connsiteY234" fmla="*/ 2687036 h 6407421"/>
              <a:gd name="connsiteX235" fmla="*/ 236037 w 1064123"/>
              <a:gd name="connsiteY235" fmla="*/ 2687036 h 6407421"/>
              <a:gd name="connsiteX236" fmla="*/ 1 w 1064123"/>
              <a:gd name="connsiteY236" fmla="*/ 2657434 h 6407421"/>
              <a:gd name="connsiteX237" fmla="*/ 29603 w 1064123"/>
              <a:gd name="connsiteY237" fmla="*/ 2657434 h 6407421"/>
              <a:gd name="connsiteX238" fmla="*/ 29603 w 1064123"/>
              <a:gd name="connsiteY238" fmla="*/ 2687036 h 6407421"/>
              <a:gd name="connsiteX239" fmla="*/ 1 w 1064123"/>
              <a:gd name="connsiteY239" fmla="*/ 2687036 h 6407421"/>
              <a:gd name="connsiteX240" fmla="*/ 1034520 w 1064123"/>
              <a:gd name="connsiteY240" fmla="*/ 2391678 h 6407421"/>
              <a:gd name="connsiteX241" fmla="*/ 1064123 w 1064123"/>
              <a:gd name="connsiteY241" fmla="*/ 2391678 h 6407421"/>
              <a:gd name="connsiteX242" fmla="*/ 1064123 w 1064123"/>
              <a:gd name="connsiteY242" fmla="*/ 2421288 h 6407421"/>
              <a:gd name="connsiteX243" fmla="*/ 1034520 w 1064123"/>
              <a:gd name="connsiteY243" fmla="*/ 2421288 h 6407421"/>
              <a:gd name="connsiteX244" fmla="*/ 768327 w 1064123"/>
              <a:gd name="connsiteY244" fmla="*/ 2391675 h 6407421"/>
              <a:gd name="connsiteX245" fmla="*/ 797926 w 1064123"/>
              <a:gd name="connsiteY245" fmla="*/ 2391675 h 6407421"/>
              <a:gd name="connsiteX246" fmla="*/ 797926 w 1064123"/>
              <a:gd name="connsiteY246" fmla="*/ 2421283 h 6407421"/>
              <a:gd name="connsiteX247" fmla="*/ 768327 w 1064123"/>
              <a:gd name="connsiteY247" fmla="*/ 2421283 h 6407421"/>
              <a:gd name="connsiteX248" fmla="*/ 502236 w 1064123"/>
              <a:gd name="connsiteY248" fmla="*/ 2391672 h 6407421"/>
              <a:gd name="connsiteX249" fmla="*/ 531838 w 1064123"/>
              <a:gd name="connsiteY249" fmla="*/ 2391672 h 6407421"/>
              <a:gd name="connsiteX250" fmla="*/ 531838 w 1064123"/>
              <a:gd name="connsiteY250" fmla="*/ 2421278 h 6407421"/>
              <a:gd name="connsiteX251" fmla="*/ 502236 w 1064123"/>
              <a:gd name="connsiteY251" fmla="*/ 2421278 h 6407421"/>
              <a:gd name="connsiteX252" fmla="*/ 236037 w 1064123"/>
              <a:gd name="connsiteY252" fmla="*/ 2391669 h 6407421"/>
              <a:gd name="connsiteX253" fmla="*/ 265639 w 1064123"/>
              <a:gd name="connsiteY253" fmla="*/ 2391669 h 6407421"/>
              <a:gd name="connsiteX254" fmla="*/ 265639 w 1064123"/>
              <a:gd name="connsiteY254" fmla="*/ 2421272 h 6407421"/>
              <a:gd name="connsiteX255" fmla="*/ 236037 w 1064123"/>
              <a:gd name="connsiteY255" fmla="*/ 2421272 h 6407421"/>
              <a:gd name="connsiteX256" fmla="*/ 1 w 1064123"/>
              <a:gd name="connsiteY256" fmla="*/ 2391669 h 6407421"/>
              <a:gd name="connsiteX257" fmla="*/ 29603 w 1064123"/>
              <a:gd name="connsiteY257" fmla="*/ 2391669 h 6407421"/>
              <a:gd name="connsiteX258" fmla="*/ 29603 w 1064123"/>
              <a:gd name="connsiteY258" fmla="*/ 2421272 h 6407421"/>
              <a:gd name="connsiteX259" fmla="*/ 1 w 1064123"/>
              <a:gd name="connsiteY259" fmla="*/ 2421272 h 6407421"/>
              <a:gd name="connsiteX260" fmla="*/ 1034520 w 1064123"/>
              <a:gd name="connsiteY260" fmla="*/ 2126020 h 6407421"/>
              <a:gd name="connsiteX261" fmla="*/ 1064123 w 1064123"/>
              <a:gd name="connsiteY261" fmla="*/ 2126020 h 6407421"/>
              <a:gd name="connsiteX262" fmla="*/ 1064123 w 1064123"/>
              <a:gd name="connsiteY262" fmla="*/ 2155517 h 6407421"/>
              <a:gd name="connsiteX263" fmla="*/ 1034520 w 1064123"/>
              <a:gd name="connsiteY263" fmla="*/ 2155517 h 6407421"/>
              <a:gd name="connsiteX264" fmla="*/ 768327 w 1064123"/>
              <a:gd name="connsiteY264" fmla="*/ 2126017 h 6407421"/>
              <a:gd name="connsiteX265" fmla="*/ 797926 w 1064123"/>
              <a:gd name="connsiteY265" fmla="*/ 2126017 h 6407421"/>
              <a:gd name="connsiteX266" fmla="*/ 797926 w 1064123"/>
              <a:gd name="connsiteY266" fmla="*/ 2155513 h 6407421"/>
              <a:gd name="connsiteX267" fmla="*/ 768327 w 1064123"/>
              <a:gd name="connsiteY267" fmla="*/ 2155513 h 6407421"/>
              <a:gd name="connsiteX268" fmla="*/ 502236 w 1064123"/>
              <a:gd name="connsiteY268" fmla="*/ 2126014 h 6407421"/>
              <a:gd name="connsiteX269" fmla="*/ 531838 w 1064123"/>
              <a:gd name="connsiteY269" fmla="*/ 2126014 h 6407421"/>
              <a:gd name="connsiteX270" fmla="*/ 531838 w 1064123"/>
              <a:gd name="connsiteY270" fmla="*/ 2155510 h 6407421"/>
              <a:gd name="connsiteX271" fmla="*/ 502236 w 1064123"/>
              <a:gd name="connsiteY271" fmla="*/ 2155510 h 6407421"/>
              <a:gd name="connsiteX272" fmla="*/ 236037 w 1064123"/>
              <a:gd name="connsiteY272" fmla="*/ 2126012 h 6407421"/>
              <a:gd name="connsiteX273" fmla="*/ 265639 w 1064123"/>
              <a:gd name="connsiteY273" fmla="*/ 2126012 h 6407421"/>
              <a:gd name="connsiteX274" fmla="*/ 265639 w 1064123"/>
              <a:gd name="connsiteY274" fmla="*/ 2155506 h 6407421"/>
              <a:gd name="connsiteX275" fmla="*/ 236037 w 1064123"/>
              <a:gd name="connsiteY275" fmla="*/ 2155506 h 6407421"/>
              <a:gd name="connsiteX276" fmla="*/ 1 w 1064123"/>
              <a:gd name="connsiteY276" fmla="*/ 2126012 h 6407421"/>
              <a:gd name="connsiteX277" fmla="*/ 29603 w 1064123"/>
              <a:gd name="connsiteY277" fmla="*/ 2126012 h 6407421"/>
              <a:gd name="connsiteX278" fmla="*/ 29603 w 1064123"/>
              <a:gd name="connsiteY278" fmla="*/ 2155506 h 6407421"/>
              <a:gd name="connsiteX279" fmla="*/ 1 w 1064123"/>
              <a:gd name="connsiteY279" fmla="*/ 2155506 h 6407421"/>
              <a:gd name="connsiteX280" fmla="*/ 1034520 w 1064123"/>
              <a:gd name="connsiteY280" fmla="*/ 1860254 h 6407421"/>
              <a:gd name="connsiteX281" fmla="*/ 1064123 w 1064123"/>
              <a:gd name="connsiteY281" fmla="*/ 1860254 h 6407421"/>
              <a:gd name="connsiteX282" fmla="*/ 1064123 w 1064123"/>
              <a:gd name="connsiteY282" fmla="*/ 1889747 h 6407421"/>
              <a:gd name="connsiteX283" fmla="*/ 1034520 w 1064123"/>
              <a:gd name="connsiteY283" fmla="*/ 1889747 h 6407421"/>
              <a:gd name="connsiteX284" fmla="*/ 768327 w 1064123"/>
              <a:gd name="connsiteY284" fmla="*/ 1860252 h 6407421"/>
              <a:gd name="connsiteX285" fmla="*/ 797926 w 1064123"/>
              <a:gd name="connsiteY285" fmla="*/ 1860252 h 6407421"/>
              <a:gd name="connsiteX286" fmla="*/ 797926 w 1064123"/>
              <a:gd name="connsiteY286" fmla="*/ 1889745 h 6407421"/>
              <a:gd name="connsiteX287" fmla="*/ 768327 w 1064123"/>
              <a:gd name="connsiteY287" fmla="*/ 1889745 h 6407421"/>
              <a:gd name="connsiteX288" fmla="*/ 502236 w 1064123"/>
              <a:gd name="connsiteY288" fmla="*/ 1860249 h 6407421"/>
              <a:gd name="connsiteX289" fmla="*/ 531838 w 1064123"/>
              <a:gd name="connsiteY289" fmla="*/ 1860249 h 6407421"/>
              <a:gd name="connsiteX290" fmla="*/ 531838 w 1064123"/>
              <a:gd name="connsiteY290" fmla="*/ 1889744 h 6407421"/>
              <a:gd name="connsiteX291" fmla="*/ 502236 w 1064123"/>
              <a:gd name="connsiteY291" fmla="*/ 1889744 h 6407421"/>
              <a:gd name="connsiteX292" fmla="*/ 236037 w 1064123"/>
              <a:gd name="connsiteY292" fmla="*/ 1860247 h 6407421"/>
              <a:gd name="connsiteX293" fmla="*/ 265639 w 1064123"/>
              <a:gd name="connsiteY293" fmla="*/ 1860247 h 6407421"/>
              <a:gd name="connsiteX294" fmla="*/ 265639 w 1064123"/>
              <a:gd name="connsiteY294" fmla="*/ 1889742 h 6407421"/>
              <a:gd name="connsiteX295" fmla="*/ 236037 w 1064123"/>
              <a:gd name="connsiteY295" fmla="*/ 1889742 h 6407421"/>
              <a:gd name="connsiteX296" fmla="*/ 1 w 1064123"/>
              <a:gd name="connsiteY296" fmla="*/ 1860247 h 6407421"/>
              <a:gd name="connsiteX297" fmla="*/ 29603 w 1064123"/>
              <a:gd name="connsiteY297" fmla="*/ 1860247 h 6407421"/>
              <a:gd name="connsiteX298" fmla="*/ 29603 w 1064123"/>
              <a:gd name="connsiteY298" fmla="*/ 1889742 h 6407421"/>
              <a:gd name="connsiteX299" fmla="*/ 1 w 1064123"/>
              <a:gd name="connsiteY299" fmla="*/ 1889742 h 6407421"/>
              <a:gd name="connsiteX300" fmla="*/ 1034520 w 1064123"/>
              <a:gd name="connsiteY300" fmla="*/ 1594489 h 6407421"/>
              <a:gd name="connsiteX301" fmla="*/ 1064123 w 1064123"/>
              <a:gd name="connsiteY301" fmla="*/ 1594489 h 6407421"/>
              <a:gd name="connsiteX302" fmla="*/ 1064123 w 1064123"/>
              <a:gd name="connsiteY302" fmla="*/ 1624092 h 6407421"/>
              <a:gd name="connsiteX303" fmla="*/ 1034520 w 1064123"/>
              <a:gd name="connsiteY303" fmla="*/ 1624092 h 6407421"/>
              <a:gd name="connsiteX304" fmla="*/ 768327 w 1064123"/>
              <a:gd name="connsiteY304" fmla="*/ 1594486 h 6407421"/>
              <a:gd name="connsiteX305" fmla="*/ 797926 w 1064123"/>
              <a:gd name="connsiteY305" fmla="*/ 1594486 h 6407421"/>
              <a:gd name="connsiteX306" fmla="*/ 797926 w 1064123"/>
              <a:gd name="connsiteY306" fmla="*/ 1624090 h 6407421"/>
              <a:gd name="connsiteX307" fmla="*/ 768327 w 1064123"/>
              <a:gd name="connsiteY307" fmla="*/ 1624090 h 6407421"/>
              <a:gd name="connsiteX308" fmla="*/ 502236 w 1064123"/>
              <a:gd name="connsiteY308" fmla="*/ 1594484 h 6407421"/>
              <a:gd name="connsiteX309" fmla="*/ 531838 w 1064123"/>
              <a:gd name="connsiteY309" fmla="*/ 1594484 h 6407421"/>
              <a:gd name="connsiteX310" fmla="*/ 531838 w 1064123"/>
              <a:gd name="connsiteY310" fmla="*/ 1624087 h 6407421"/>
              <a:gd name="connsiteX311" fmla="*/ 502236 w 1064123"/>
              <a:gd name="connsiteY311" fmla="*/ 1624087 h 6407421"/>
              <a:gd name="connsiteX312" fmla="*/ 236037 w 1064123"/>
              <a:gd name="connsiteY312" fmla="*/ 1594482 h 6407421"/>
              <a:gd name="connsiteX313" fmla="*/ 265639 w 1064123"/>
              <a:gd name="connsiteY313" fmla="*/ 1594482 h 6407421"/>
              <a:gd name="connsiteX314" fmla="*/ 265639 w 1064123"/>
              <a:gd name="connsiteY314" fmla="*/ 1624085 h 6407421"/>
              <a:gd name="connsiteX315" fmla="*/ 236037 w 1064123"/>
              <a:gd name="connsiteY315" fmla="*/ 1624085 h 6407421"/>
              <a:gd name="connsiteX316" fmla="*/ 1 w 1064123"/>
              <a:gd name="connsiteY316" fmla="*/ 1594482 h 6407421"/>
              <a:gd name="connsiteX317" fmla="*/ 29603 w 1064123"/>
              <a:gd name="connsiteY317" fmla="*/ 1594482 h 6407421"/>
              <a:gd name="connsiteX318" fmla="*/ 29603 w 1064123"/>
              <a:gd name="connsiteY318" fmla="*/ 1624085 h 6407421"/>
              <a:gd name="connsiteX319" fmla="*/ 1 w 1064123"/>
              <a:gd name="connsiteY319" fmla="*/ 1624085 h 6407421"/>
              <a:gd name="connsiteX320" fmla="*/ 1034520 w 1064123"/>
              <a:gd name="connsiteY320" fmla="*/ 1328724 h 6407421"/>
              <a:gd name="connsiteX321" fmla="*/ 1064123 w 1064123"/>
              <a:gd name="connsiteY321" fmla="*/ 1328724 h 6407421"/>
              <a:gd name="connsiteX322" fmla="*/ 1064123 w 1064123"/>
              <a:gd name="connsiteY322" fmla="*/ 1358328 h 6407421"/>
              <a:gd name="connsiteX323" fmla="*/ 1034520 w 1064123"/>
              <a:gd name="connsiteY323" fmla="*/ 1358328 h 6407421"/>
              <a:gd name="connsiteX324" fmla="*/ 768327 w 1064123"/>
              <a:gd name="connsiteY324" fmla="*/ 1328722 h 6407421"/>
              <a:gd name="connsiteX325" fmla="*/ 797926 w 1064123"/>
              <a:gd name="connsiteY325" fmla="*/ 1328722 h 6407421"/>
              <a:gd name="connsiteX326" fmla="*/ 797926 w 1064123"/>
              <a:gd name="connsiteY326" fmla="*/ 1358325 h 6407421"/>
              <a:gd name="connsiteX327" fmla="*/ 768327 w 1064123"/>
              <a:gd name="connsiteY327" fmla="*/ 1358325 h 6407421"/>
              <a:gd name="connsiteX328" fmla="*/ 502236 w 1064123"/>
              <a:gd name="connsiteY328" fmla="*/ 1328719 h 6407421"/>
              <a:gd name="connsiteX329" fmla="*/ 531838 w 1064123"/>
              <a:gd name="connsiteY329" fmla="*/ 1328719 h 6407421"/>
              <a:gd name="connsiteX330" fmla="*/ 531838 w 1064123"/>
              <a:gd name="connsiteY330" fmla="*/ 1358323 h 6407421"/>
              <a:gd name="connsiteX331" fmla="*/ 502236 w 1064123"/>
              <a:gd name="connsiteY331" fmla="*/ 1358323 h 6407421"/>
              <a:gd name="connsiteX332" fmla="*/ 236036 w 1064123"/>
              <a:gd name="connsiteY332" fmla="*/ 1328717 h 6407421"/>
              <a:gd name="connsiteX333" fmla="*/ 265639 w 1064123"/>
              <a:gd name="connsiteY333" fmla="*/ 1328717 h 6407421"/>
              <a:gd name="connsiteX334" fmla="*/ 265639 w 1064123"/>
              <a:gd name="connsiteY334" fmla="*/ 1358320 h 6407421"/>
              <a:gd name="connsiteX335" fmla="*/ 236036 w 1064123"/>
              <a:gd name="connsiteY335" fmla="*/ 1358320 h 6407421"/>
              <a:gd name="connsiteX336" fmla="*/ 1 w 1064123"/>
              <a:gd name="connsiteY336" fmla="*/ 1328717 h 6407421"/>
              <a:gd name="connsiteX337" fmla="*/ 29602 w 1064123"/>
              <a:gd name="connsiteY337" fmla="*/ 1328717 h 6407421"/>
              <a:gd name="connsiteX338" fmla="*/ 29602 w 1064123"/>
              <a:gd name="connsiteY338" fmla="*/ 1358320 h 6407421"/>
              <a:gd name="connsiteX339" fmla="*/ 1 w 1064123"/>
              <a:gd name="connsiteY339" fmla="*/ 1358320 h 6407421"/>
              <a:gd name="connsiteX340" fmla="*/ 1034520 w 1064123"/>
              <a:gd name="connsiteY340" fmla="*/ 1063069 h 6407421"/>
              <a:gd name="connsiteX341" fmla="*/ 1064123 w 1064123"/>
              <a:gd name="connsiteY341" fmla="*/ 1063069 h 6407421"/>
              <a:gd name="connsiteX342" fmla="*/ 1064123 w 1064123"/>
              <a:gd name="connsiteY342" fmla="*/ 1092563 h 6407421"/>
              <a:gd name="connsiteX343" fmla="*/ 1034520 w 1064123"/>
              <a:gd name="connsiteY343" fmla="*/ 1092563 h 6407421"/>
              <a:gd name="connsiteX344" fmla="*/ 768326 w 1064123"/>
              <a:gd name="connsiteY344" fmla="*/ 1063066 h 6407421"/>
              <a:gd name="connsiteX345" fmla="*/ 797926 w 1064123"/>
              <a:gd name="connsiteY345" fmla="*/ 1063066 h 6407421"/>
              <a:gd name="connsiteX346" fmla="*/ 797926 w 1064123"/>
              <a:gd name="connsiteY346" fmla="*/ 1092560 h 6407421"/>
              <a:gd name="connsiteX347" fmla="*/ 768326 w 1064123"/>
              <a:gd name="connsiteY347" fmla="*/ 1092560 h 6407421"/>
              <a:gd name="connsiteX348" fmla="*/ 502235 w 1064123"/>
              <a:gd name="connsiteY348" fmla="*/ 1063063 h 6407421"/>
              <a:gd name="connsiteX349" fmla="*/ 531838 w 1064123"/>
              <a:gd name="connsiteY349" fmla="*/ 1063063 h 6407421"/>
              <a:gd name="connsiteX350" fmla="*/ 531838 w 1064123"/>
              <a:gd name="connsiteY350" fmla="*/ 1092557 h 6407421"/>
              <a:gd name="connsiteX351" fmla="*/ 502235 w 1064123"/>
              <a:gd name="connsiteY351" fmla="*/ 1092557 h 6407421"/>
              <a:gd name="connsiteX352" fmla="*/ 236036 w 1064123"/>
              <a:gd name="connsiteY352" fmla="*/ 1063059 h 6407421"/>
              <a:gd name="connsiteX353" fmla="*/ 265639 w 1064123"/>
              <a:gd name="connsiteY353" fmla="*/ 1063059 h 6407421"/>
              <a:gd name="connsiteX354" fmla="*/ 265639 w 1064123"/>
              <a:gd name="connsiteY354" fmla="*/ 1092554 h 6407421"/>
              <a:gd name="connsiteX355" fmla="*/ 236036 w 1064123"/>
              <a:gd name="connsiteY355" fmla="*/ 1092554 h 6407421"/>
              <a:gd name="connsiteX356" fmla="*/ 0 w 1064123"/>
              <a:gd name="connsiteY356" fmla="*/ 1063059 h 6407421"/>
              <a:gd name="connsiteX357" fmla="*/ 29602 w 1064123"/>
              <a:gd name="connsiteY357" fmla="*/ 1063059 h 6407421"/>
              <a:gd name="connsiteX358" fmla="*/ 29602 w 1064123"/>
              <a:gd name="connsiteY358" fmla="*/ 1092554 h 6407421"/>
              <a:gd name="connsiteX359" fmla="*/ 0 w 1064123"/>
              <a:gd name="connsiteY359" fmla="*/ 1092554 h 6407421"/>
              <a:gd name="connsiteX360" fmla="*/ 1034520 w 1064123"/>
              <a:gd name="connsiteY360" fmla="*/ 797300 h 6407421"/>
              <a:gd name="connsiteX361" fmla="*/ 1064123 w 1064123"/>
              <a:gd name="connsiteY361" fmla="*/ 797300 h 6407421"/>
              <a:gd name="connsiteX362" fmla="*/ 1064123 w 1064123"/>
              <a:gd name="connsiteY362" fmla="*/ 826797 h 6407421"/>
              <a:gd name="connsiteX363" fmla="*/ 1034520 w 1064123"/>
              <a:gd name="connsiteY363" fmla="*/ 826797 h 6407421"/>
              <a:gd name="connsiteX364" fmla="*/ 768326 w 1064123"/>
              <a:gd name="connsiteY364" fmla="*/ 797298 h 6407421"/>
              <a:gd name="connsiteX365" fmla="*/ 797926 w 1064123"/>
              <a:gd name="connsiteY365" fmla="*/ 797298 h 6407421"/>
              <a:gd name="connsiteX366" fmla="*/ 797926 w 1064123"/>
              <a:gd name="connsiteY366" fmla="*/ 826794 h 6407421"/>
              <a:gd name="connsiteX367" fmla="*/ 768326 w 1064123"/>
              <a:gd name="connsiteY367" fmla="*/ 826794 h 6407421"/>
              <a:gd name="connsiteX368" fmla="*/ 502235 w 1064123"/>
              <a:gd name="connsiteY368" fmla="*/ 797296 h 6407421"/>
              <a:gd name="connsiteX369" fmla="*/ 531838 w 1064123"/>
              <a:gd name="connsiteY369" fmla="*/ 797296 h 6407421"/>
              <a:gd name="connsiteX370" fmla="*/ 531838 w 1064123"/>
              <a:gd name="connsiteY370" fmla="*/ 826792 h 6407421"/>
              <a:gd name="connsiteX371" fmla="*/ 502235 w 1064123"/>
              <a:gd name="connsiteY371" fmla="*/ 826792 h 6407421"/>
              <a:gd name="connsiteX372" fmla="*/ 236036 w 1064123"/>
              <a:gd name="connsiteY372" fmla="*/ 797294 h 6407421"/>
              <a:gd name="connsiteX373" fmla="*/ 265639 w 1064123"/>
              <a:gd name="connsiteY373" fmla="*/ 797294 h 6407421"/>
              <a:gd name="connsiteX374" fmla="*/ 265639 w 1064123"/>
              <a:gd name="connsiteY374" fmla="*/ 826789 h 6407421"/>
              <a:gd name="connsiteX375" fmla="*/ 236036 w 1064123"/>
              <a:gd name="connsiteY375" fmla="*/ 826789 h 6407421"/>
              <a:gd name="connsiteX376" fmla="*/ 0 w 1064123"/>
              <a:gd name="connsiteY376" fmla="*/ 797294 h 6407421"/>
              <a:gd name="connsiteX377" fmla="*/ 29602 w 1064123"/>
              <a:gd name="connsiteY377" fmla="*/ 797294 h 6407421"/>
              <a:gd name="connsiteX378" fmla="*/ 29602 w 1064123"/>
              <a:gd name="connsiteY378" fmla="*/ 826789 h 6407421"/>
              <a:gd name="connsiteX379" fmla="*/ 0 w 1064123"/>
              <a:gd name="connsiteY379" fmla="*/ 826789 h 6407421"/>
              <a:gd name="connsiteX380" fmla="*/ 1034520 w 1064123"/>
              <a:gd name="connsiteY380" fmla="*/ 531537 h 6407421"/>
              <a:gd name="connsiteX381" fmla="*/ 1064123 w 1064123"/>
              <a:gd name="connsiteY381" fmla="*/ 531537 h 6407421"/>
              <a:gd name="connsiteX382" fmla="*/ 1064123 w 1064123"/>
              <a:gd name="connsiteY382" fmla="*/ 561139 h 6407421"/>
              <a:gd name="connsiteX383" fmla="*/ 1034520 w 1064123"/>
              <a:gd name="connsiteY383" fmla="*/ 561139 h 6407421"/>
              <a:gd name="connsiteX384" fmla="*/ 768326 w 1064123"/>
              <a:gd name="connsiteY384" fmla="*/ 531534 h 6407421"/>
              <a:gd name="connsiteX385" fmla="*/ 797926 w 1064123"/>
              <a:gd name="connsiteY385" fmla="*/ 531534 h 6407421"/>
              <a:gd name="connsiteX386" fmla="*/ 797926 w 1064123"/>
              <a:gd name="connsiteY386" fmla="*/ 561137 h 6407421"/>
              <a:gd name="connsiteX387" fmla="*/ 768326 w 1064123"/>
              <a:gd name="connsiteY387" fmla="*/ 561137 h 6407421"/>
              <a:gd name="connsiteX388" fmla="*/ 502235 w 1064123"/>
              <a:gd name="connsiteY388" fmla="*/ 531532 h 6407421"/>
              <a:gd name="connsiteX389" fmla="*/ 531838 w 1064123"/>
              <a:gd name="connsiteY389" fmla="*/ 531532 h 6407421"/>
              <a:gd name="connsiteX390" fmla="*/ 531838 w 1064123"/>
              <a:gd name="connsiteY390" fmla="*/ 561135 h 6407421"/>
              <a:gd name="connsiteX391" fmla="*/ 502235 w 1064123"/>
              <a:gd name="connsiteY391" fmla="*/ 561135 h 6407421"/>
              <a:gd name="connsiteX392" fmla="*/ 236036 w 1064123"/>
              <a:gd name="connsiteY392" fmla="*/ 531530 h 6407421"/>
              <a:gd name="connsiteX393" fmla="*/ 265639 w 1064123"/>
              <a:gd name="connsiteY393" fmla="*/ 531530 h 6407421"/>
              <a:gd name="connsiteX394" fmla="*/ 265639 w 1064123"/>
              <a:gd name="connsiteY394" fmla="*/ 561133 h 6407421"/>
              <a:gd name="connsiteX395" fmla="*/ 236036 w 1064123"/>
              <a:gd name="connsiteY395" fmla="*/ 561133 h 6407421"/>
              <a:gd name="connsiteX396" fmla="*/ 0 w 1064123"/>
              <a:gd name="connsiteY396" fmla="*/ 531530 h 6407421"/>
              <a:gd name="connsiteX397" fmla="*/ 29602 w 1064123"/>
              <a:gd name="connsiteY397" fmla="*/ 531530 h 6407421"/>
              <a:gd name="connsiteX398" fmla="*/ 29602 w 1064123"/>
              <a:gd name="connsiteY398" fmla="*/ 561133 h 6407421"/>
              <a:gd name="connsiteX399" fmla="*/ 0 w 1064123"/>
              <a:gd name="connsiteY399" fmla="*/ 561133 h 6407421"/>
              <a:gd name="connsiteX400" fmla="*/ 1034520 w 1064123"/>
              <a:gd name="connsiteY400" fmla="*/ 265772 h 6407421"/>
              <a:gd name="connsiteX401" fmla="*/ 1064123 w 1064123"/>
              <a:gd name="connsiteY401" fmla="*/ 265772 h 6407421"/>
              <a:gd name="connsiteX402" fmla="*/ 1064123 w 1064123"/>
              <a:gd name="connsiteY402" fmla="*/ 295374 h 6407421"/>
              <a:gd name="connsiteX403" fmla="*/ 1034520 w 1064123"/>
              <a:gd name="connsiteY403" fmla="*/ 295374 h 6407421"/>
              <a:gd name="connsiteX404" fmla="*/ 768326 w 1064123"/>
              <a:gd name="connsiteY404" fmla="*/ 265770 h 6407421"/>
              <a:gd name="connsiteX405" fmla="*/ 797926 w 1064123"/>
              <a:gd name="connsiteY405" fmla="*/ 265770 h 6407421"/>
              <a:gd name="connsiteX406" fmla="*/ 797926 w 1064123"/>
              <a:gd name="connsiteY406" fmla="*/ 295372 h 6407421"/>
              <a:gd name="connsiteX407" fmla="*/ 768326 w 1064123"/>
              <a:gd name="connsiteY407" fmla="*/ 295372 h 6407421"/>
              <a:gd name="connsiteX408" fmla="*/ 502235 w 1064123"/>
              <a:gd name="connsiteY408" fmla="*/ 265767 h 6407421"/>
              <a:gd name="connsiteX409" fmla="*/ 531838 w 1064123"/>
              <a:gd name="connsiteY409" fmla="*/ 265767 h 6407421"/>
              <a:gd name="connsiteX410" fmla="*/ 531838 w 1064123"/>
              <a:gd name="connsiteY410" fmla="*/ 295370 h 6407421"/>
              <a:gd name="connsiteX411" fmla="*/ 502235 w 1064123"/>
              <a:gd name="connsiteY411" fmla="*/ 295370 h 6407421"/>
              <a:gd name="connsiteX412" fmla="*/ 236036 w 1064123"/>
              <a:gd name="connsiteY412" fmla="*/ 265765 h 6407421"/>
              <a:gd name="connsiteX413" fmla="*/ 265639 w 1064123"/>
              <a:gd name="connsiteY413" fmla="*/ 265765 h 6407421"/>
              <a:gd name="connsiteX414" fmla="*/ 265639 w 1064123"/>
              <a:gd name="connsiteY414" fmla="*/ 295368 h 6407421"/>
              <a:gd name="connsiteX415" fmla="*/ 236036 w 1064123"/>
              <a:gd name="connsiteY415" fmla="*/ 295368 h 6407421"/>
              <a:gd name="connsiteX416" fmla="*/ 0 w 1064123"/>
              <a:gd name="connsiteY416" fmla="*/ 265765 h 6407421"/>
              <a:gd name="connsiteX417" fmla="*/ 29602 w 1064123"/>
              <a:gd name="connsiteY417" fmla="*/ 265765 h 6407421"/>
              <a:gd name="connsiteX418" fmla="*/ 29602 w 1064123"/>
              <a:gd name="connsiteY418" fmla="*/ 295368 h 6407421"/>
              <a:gd name="connsiteX419" fmla="*/ 0 w 1064123"/>
              <a:gd name="connsiteY419" fmla="*/ 295368 h 6407421"/>
              <a:gd name="connsiteX420" fmla="*/ 1034520 w 1064123"/>
              <a:gd name="connsiteY420" fmla="*/ 7 h 6407421"/>
              <a:gd name="connsiteX421" fmla="*/ 1064123 w 1064123"/>
              <a:gd name="connsiteY421" fmla="*/ 7 h 6407421"/>
              <a:gd name="connsiteX422" fmla="*/ 1064123 w 1064123"/>
              <a:gd name="connsiteY422" fmla="*/ 29609 h 6407421"/>
              <a:gd name="connsiteX423" fmla="*/ 1034520 w 1064123"/>
              <a:gd name="connsiteY423" fmla="*/ 29609 h 6407421"/>
              <a:gd name="connsiteX424" fmla="*/ 768326 w 1064123"/>
              <a:gd name="connsiteY424" fmla="*/ 5 h 6407421"/>
              <a:gd name="connsiteX425" fmla="*/ 797926 w 1064123"/>
              <a:gd name="connsiteY425" fmla="*/ 5 h 6407421"/>
              <a:gd name="connsiteX426" fmla="*/ 797926 w 1064123"/>
              <a:gd name="connsiteY426" fmla="*/ 29607 h 6407421"/>
              <a:gd name="connsiteX427" fmla="*/ 768326 w 1064123"/>
              <a:gd name="connsiteY427" fmla="*/ 29607 h 6407421"/>
              <a:gd name="connsiteX428" fmla="*/ 502235 w 1064123"/>
              <a:gd name="connsiteY428" fmla="*/ 2 h 6407421"/>
              <a:gd name="connsiteX429" fmla="*/ 531838 w 1064123"/>
              <a:gd name="connsiteY429" fmla="*/ 2 h 6407421"/>
              <a:gd name="connsiteX430" fmla="*/ 531838 w 1064123"/>
              <a:gd name="connsiteY430" fmla="*/ 29605 h 6407421"/>
              <a:gd name="connsiteX431" fmla="*/ 502235 w 1064123"/>
              <a:gd name="connsiteY431" fmla="*/ 29605 h 6407421"/>
              <a:gd name="connsiteX432" fmla="*/ 236036 w 1064123"/>
              <a:gd name="connsiteY432" fmla="*/ 0 h 6407421"/>
              <a:gd name="connsiteX433" fmla="*/ 265638 w 1064123"/>
              <a:gd name="connsiteY433" fmla="*/ 0 h 6407421"/>
              <a:gd name="connsiteX434" fmla="*/ 265638 w 1064123"/>
              <a:gd name="connsiteY434" fmla="*/ 29602 h 6407421"/>
              <a:gd name="connsiteX435" fmla="*/ 236036 w 1064123"/>
              <a:gd name="connsiteY435" fmla="*/ 29602 h 6407421"/>
              <a:gd name="connsiteX436" fmla="*/ 0 w 1064123"/>
              <a:gd name="connsiteY436" fmla="*/ 0 h 6407421"/>
              <a:gd name="connsiteX437" fmla="*/ 29602 w 1064123"/>
              <a:gd name="connsiteY437" fmla="*/ 0 h 6407421"/>
              <a:gd name="connsiteX438" fmla="*/ 29602 w 1064123"/>
              <a:gd name="connsiteY438" fmla="*/ 29602 h 6407421"/>
              <a:gd name="connsiteX439" fmla="*/ 0 w 1064123"/>
              <a:gd name="connsiteY43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20000"/>
            </a:schemeClr>
          </a:solidFill>
          <a:ln w="10797" cap="flat">
            <a:noFill/>
            <a:prstDash val="solid"/>
            <a:miter/>
          </a:ln>
        </p:spPr>
        <p:txBody>
          <a:bodyPr wrap="square" rtlCol="0" anchor="ctr">
            <a:noAutofit/>
          </a:bodyPr>
          <a:lstStyle/>
          <a:p>
            <a:endParaRPr lang="en-US"/>
          </a:p>
        </p:txBody>
      </p:sp>
      <p:grpSp>
        <p:nvGrpSpPr>
          <p:cNvPr id="9" name="Group 8">
            <a:extLst>
              <a:ext uri="{FF2B5EF4-FFF2-40B4-BE49-F238E27FC236}">
                <a16:creationId xmlns:a16="http://schemas.microsoft.com/office/drawing/2014/main" id="{F939D155-EE25-4544-9305-C396B87D1380}"/>
              </a:ext>
            </a:extLst>
          </p:cNvPr>
          <p:cNvGrpSpPr/>
          <p:nvPr userDrawn="1"/>
        </p:nvGrpSpPr>
        <p:grpSpPr>
          <a:xfrm>
            <a:off x="-3221" y="0"/>
            <a:ext cx="1570603" cy="6342667"/>
            <a:chOff x="-3221" y="0"/>
            <a:chExt cx="1570603" cy="6342667"/>
          </a:xfrm>
        </p:grpSpPr>
        <p:sp>
          <p:nvSpPr>
            <p:cNvPr id="10" name="Freeform: Shape 41">
              <a:extLst>
                <a:ext uri="{FF2B5EF4-FFF2-40B4-BE49-F238E27FC236}">
                  <a16:creationId xmlns:a16="http://schemas.microsoft.com/office/drawing/2014/main" id="{295FE130-F6EF-42DA-86EC-517DBF4701D9}"/>
                </a:ext>
              </a:extLst>
            </p:cNvPr>
            <p:cNvSpPr txBox="1">
              <a:spLocks/>
            </p:cNvSpPr>
            <p:nvPr/>
          </p:nvSpPr>
          <p:spPr>
            <a:xfrm>
              <a:off x="771720" y="1305465"/>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1" name="Freeform: Shape 42">
              <a:extLst>
                <a:ext uri="{FF2B5EF4-FFF2-40B4-BE49-F238E27FC236}">
                  <a16:creationId xmlns:a16="http://schemas.microsoft.com/office/drawing/2014/main" id="{D3CD3C93-E3E2-4931-AFD8-F266020491A3}"/>
                </a:ext>
              </a:extLst>
            </p:cNvPr>
            <p:cNvSpPr txBox="1">
              <a:spLocks/>
            </p:cNvSpPr>
            <p:nvPr/>
          </p:nvSpPr>
          <p:spPr>
            <a:xfrm rot="16200000">
              <a:off x="653257" y="1982983"/>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2" name="Freeform: Shape 81">
              <a:extLst>
                <a:ext uri="{FF2B5EF4-FFF2-40B4-BE49-F238E27FC236}">
                  <a16:creationId xmlns:a16="http://schemas.microsoft.com/office/drawing/2014/main" id="{1A501290-2DE8-466C-8D25-D288FA76144F}"/>
                </a:ext>
              </a:extLst>
            </p:cNvPr>
            <p:cNvSpPr txBox="1">
              <a:spLocks/>
            </p:cNvSpPr>
            <p:nvPr/>
          </p:nvSpPr>
          <p:spPr>
            <a:xfrm rot="5400000">
              <a:off x="522214" y="5297589"/>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3" name="Freeform: Shape 41">
              <a:extLst>
                <a:ext uri="{FF2B5EF4-FFF2-40B4-BE49-F238E27FC236}">
                  <a16:creationId xmlns:a16="http://schemas.microsoft.com/office/drawing/2014/main" id="{7032E997-8728-46EB-BE87-C4ABFFD88737}"/>
                </a:ext>
              </a:extLst>
            </p:cNvPr>
            <p:cNvSpPr txBox="1">
              <a:spLocks/>
            </p:cNvSpPr>
            <p:nvPr/>
          </p:nvSpPr>
          <p:spPr>
            <a:xfrm>
              <a:off x="253539" y="422329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4" name="Freeform: Shape 81">
              <a:extLst>
                <a:ext uri="{FF2B5EF4-FFF2-40B4-BE49-F238E27FC236}">
                  <a16:creationId xmlns:a16="http://schemas.microsoft.com/office/drawing/2014/main" id="{B0CFB3D0-F722-4B6D-9485-50599304701B}"/>
                </a:ext>
              </a:extLst>
            </p:cNvPr>
            <p:cNvSpPr txBox="1">
              <a:spLocks/>
            </p:cNvSpPr>
            <p:nvPr/>
          </p:nvSpPr>
          <p:spPr>
            <a:xfrm rot="16200000">
              <a:off x="11410" y="-14631"/>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pic>
        <p:nvPicPr>
          <p:cNvPr id="15" name="Picture 14">
            <a:extLst>
              <a:ext uri="{FF2B5EF4-FFF2-40B4-BE49-F238E27FC236}">
                <a16:creationId xmlns:a16="http://schemas.microsoft.com/office/drawing/2014/main" id="{E111FF8D-C363-4FBE-BD70-EAB0DD906D53}"/>
              </a:ext>
            </a:extLst>
          </p:cNvPr>
          <p:cNvPicPr>
            <a:picLocks noChangeAspect="1"/>
          </p:cNvPicPr>
          <p:nvPr userDrawn="1"/>
        </p:nvPicPr>
        <p:blipFill>
          <a:blip r:embed="rId3"/>
          <a:srcRect/>
          <a:stretch/>
        </p:blipFill>
        <p:spPr>
          <a:xfrm>
            <a:off x="260487" y="3152155"/>
            <a:ext cx="1053566" cy="542008"/>
          </a:xfrm>
          <a:prstGeom prst="rect">
            <a:avLst/>
          </a:prstGeom>
        </p:spPr>
      </p:pic>
    </p:spTree>
    <p:extLst>
      <p:ext uri="{BB962C8B-B14F-4D97-AF65-F5344CB8AC3E}">
        <p14:creationId xmlns:p14="http://schemas.microsoft.com/office/powerpoint/2010/main" val="5743945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ptop Screensho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8AA178-7695-486F-AE3D-C1BB3F583729}"/>
              </a:ext>
            </a:extLst>
          </p:cNvPr>
          <p:cNvSpPr/>
          <p:nvPr userDrawn="1"/>
        </p:nvSpPr>
        <p:spPr>
          <a:xfrm>
            <a:off x="3289300" y="903593"/>
            <a:ext cx="7277100" cy="47171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pic>
        <p:nvPicPr>
          <p:cNvPr id="4" name="Picture 3">
            <a:extLst>
              <a:ext uri="{FF2B5EF4-FFF2-40B4-BE49-F238E27FC236}">
                <a16:creationId xmlns:a16="http://schemas.microsoft.com/office/drawing/2014/main" id="{C3ED9E8F-DE34-408C-8ECF-DE7BEEA6A1A0}"/>
              </a:ext>
            </a:extLst>
          </p:cNvPr>
          <p:cNvPicPr>
            <a:picLocks noChangeAspect="1"/>
          </p:cNvPicPr>
          <p:nvPr userDrawn="1"/>
        </p:nvPicPr>
        <p:blipFill>
          <a:blip r:embed="rId2"/>
          <a:srcRect/>
          <a:stretch/>
        </p:blipFill>
        <p:spPr>
          <a:xfrm>
            <a:off x="1988457" y="387003"/>
            <a:ext cx="9942286" cy="5998288"/>
          </a:xfrm>
          <a:prstGeom prst="rect">
            <a:avLst/>
          </a:prstGeom>
        </p:spPr>
      </p:pic>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3447569" y="1095945"/>
            <a:ext cx="6995487" cy="4375936"/>
          </a:xfrm>
        </p:spPr>
        <p:txBody>
          <a:bodyPr anchor="ctr"/>
          <a:lstStyle>
            <a:lvl1pPr algn="ctr">
              <a:defRPr/>
            </a:lvl1pPr>
          </a:lstStyle>
          <a:p>
            <a:endParaRPr lang="en-US"/>
          </a:p>
        </p:txBody>
      </p:sp>
      <p:pic>
        <p:nvPicPr>
          <p:cNvPr id="10" name="Graphic 9" hidden="1">
            <a:extLst>
              <a:ext uri="{FF2B5EF4-FFF2-40B4-BE49-F238E27FC236}">
                <a16:creationId xmlns:a16="http://schemas.microsoft.com/office/drawing/2014/main" id="{17CDA781-D5FC-4C3F-93B0-299A1CC43D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12103" y="715198"/>
            <a:ext cx="9301845" cy="5352540"/>
          </a:xfrm>
          <a:prstGeom prst="rect">
            <a:avLst/>
          </a:prstGeom>
        </p:spPr>
      </p:pic>
      <p:sp>
        <p:nvSpPr>
          <p:cNvPr id="6" name="Rectangle 5">
            <a:extLst>
              <a:ext uri="{FF2B5EF4-FFF2-40B4-BE49-F238E27FC236}">
                <a16:creationId xmlns:a16="http://schemas.microsoft.com/office/drawing/2014/main" id="{98945077-0E94-460B-AEC2-6AA169A59062}"/>
              </a:ext>
            </a:extLst>
          </p:cNvPr>
          <p:cNvSpPr/>
          <p:nvPr userDrawn="1"/>
        </p:nvSpPr>
        <p:spPr>
          <a:xfrm>
            <a:off x="-1" y="1"/>
            <a:ext cx="156625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DD01A43A-7296-4C92-A17C-6631164EFAFE}"/>
              </a:ext>
            </a:extLst>
          </p:cNvPr>
          <p:cNvSpPr/>
          <p:nvPr userDrawn="1"/>
        </p:nvSpPr>
        <p:spPr>
          <a:xfrm>
            <a:off x="252827" y="222349"/>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2657443 h 6407421"/>
              <a:gd name="connsiteX221" fmla="*/ 1064123 w 1064123"/>
              <a:gd name="connsiteY221" fmla="*/ 2657443 h 6407421"/>
              <a:gd name="connsiteX222" fmla="*/ 1064123 w 1064123"/>
              <a:gd name="connsiteY222" fmla="*/ 2687045 h 6407421"/>
              <a:gd name="connsiteX223" fmla="*/ 1034520 w 1064123"/>
              <a:gd name="connsiteY223" fmla="*/ 2687045 h 6407421"/>
              <a:gd name="connsiteX224" fmla="*/ 768327 w 1064123"/>
              <a:gd name="connsiteY224" fmla="*/ 2657440 h 6407421"/>
              <a:gd name="connsiteX225" fmla="*/ 797926 w 1064123"/>
              <a:gd name="connsiteY225" fmla="*/ 2657440 h 6407421"/>
              <a:gd name="connsiteX226" fmla="*/ 797926 w 1064123"/>
              <a:gd name="connsiteY226" fmla="*/ 2687042 h 6407421"/>
              <a:gd name="connsiteX227" fmla="*/ 768327 w 1064123"/>
              <a:gd name="connsiteY227" fmla="*/ 2687042 h 6407421"/>
              <a:gd name="connsiteX228" fmla="*/ 502236 w 1064123"/>
              <a:gd name="connsiteY228" fmla="*/ 2657437 h 6407421"/>
              <a:gd name="connsiteX229" fmla="*/ 531838 w 1064123"/>
              <a:gd name="connsiteY229" fmla="*/ 2657437 h 6407421"/>
              <a:gd name="connsiteX230" fmla="*/ 531838 w 1064123"/>
              <a:gd name="connsiteY230" fmla="*/ 2687039 h 6407421"/>
              <a:gd name="connsiteX231" fmla="*/ 502236 w 1064123"/>
              <a:gd name="connsiteY231" fmla="*/ 2687039 h 6407421"/>
              <a:gd name="connsiteX232" fmla="*/ 236037 w 1064123"/>
              <a:gd name="connsiteY232" fmla="*/ 2657434 h 6407421"/>
              <a:gd name="connsiteX233" fmla="*/ 265639 w 1064123"/>
              <a:gd name="connsiteY233" fmla="*/ 2657434 h 6407421"/>
              <a:gd name="connsiteX234" fmla="*/ 265639 w 1064123"/>
              <a:gd name="connsiteY234" fmla="*/ 2687036 h 6407421"/>
              <a:gd name="connsiteX235" fmla="*/ 236037 w 1064123"/>
              <a:gd name="connsiteY235" fmla="*/ 2687036 h 6407421"/>
              <a:gd name="connsiteX236" fmla="*/ 1 w 1064123"/>
              <a:gd name="connsiteY236" fmla="*/ 2657434 h 6407421"/>
              <a:gd name="connsiteX237" fmla="*/ 29603 w 1064123"/>
              <a:gd name="connsiteY237" fmla="*/ 2657434 h 6407421"/>
              <a:gd name="connsiteX238" fmla="*/ 29603 w 1064123"/>
              <a:gd name="connsiteY238" fmla="*/ 2687036 h 6407421"/>
              <a:gd name="connsiteX239" fmla="*/ 1 w 1064123"/>
              <a:gd name="connsiteY239" fmla="*/ 2687036 h 6407421"/>
              <a:gd name="connsiteX240" fmla="*/ 1034520 w 1064123"/>
              <a:gd name="connsiteY240" fmla="*/ 2391678 h 6407421"/>
              <a:gd name="connsiteX241" fmla="*/ 1064123 w 1064123"/>
              <a:gd name="connsiteY241" fmla="*/ 2391678 h 6407421"/>
              <a:gd name="connsiteX242" fmla="*/ 1064123 w 1064123"/>
              <a:gd name="connsiteY242" fmla="*/ 2421288 h 6407421"/>
              <a:gd name="connsiteX243" fmla="*/ 1034520 w 1064123"/>
              <a:gd name="connsiteY243" fmla="*/ 2421288 h 6407421"/>
              <a:gd name="connsiteX244" fmla="*/ 768327 w 1064123"/>
              <a:gd name="connsiteY244" fmla="*/ 2391675 h 6407421"/>
              <a:gd name="connsiteX245" fmla="*/ 797926 w 1064123"/>
              <a:gd name="connsiteY245" fmla="*/ 2391675 h 6407421"/>
              <a:gd name="connsiteX246" fmla="*/ 797926 w 1064123"/>
              <a:gd name="connsiteY246" fmla="*/ 2421283 h 6407421"/>
              <a:gd name="connsiteX247" fmla="*/ 768327 w 1064123"/>
              <a:gd name="connsiteY247" fmla="*/ 2421283 h 6407421"/>
              <a:gd name="connsiteX248" fmla="*/ 502236 w 1064123"/>
              <a:gd name="connsiteY248" fmla="*/ 2391672 h 6407421"/>
              <a:gd name="connsiteX249" fmla="*/ 531838 w 1064123"/>
              <a:gd name="connsiteY249" fmla="*/ 2391672 h 6407421"/>
              <a:gd name="connsiteX250" fmla="*/ 531838 w 1064123"/>
              <a:gd name="connsiteY250" fmla="*/ 2421278 h 6407421"/>
              <a:gd name="connsiteX251" fmla="*/ 502236 w 1064123"/>
              <a:gd name="connsiteY251" fmla="*/ 2421278 h 6407421"/>
              <a:gd name="connsiteX252" fmla="*/ 236037 w 1064123"/>
              <a:gd name="connsiteY252" fmla="*/ 2391669 h 6407421"/>
              <a:gd name="connsiteX253" fmla="*/ 265639 w 1064123"/>
              <a:gd name="connsiteY253" fmla="*/ 2391669 h 6407421"/>
              <a:gd name="connsiteX254" fmla="*/ 265639 w 1064123"/>
              <a:gd name="connsiteY254" fmla="*/ 2421272 h 6407421"/>
              <a:gd name="connsiteX255" fmla="*/ 236037 w 1064123"/>
              <a:gd name="connsiteY255" fmla="*/ 2421272 h 6407421"/>
              <a:gd name="connsiteX256" fmla="*/ 1 w 1064123"/>
              <a:gd name="connsiteY256" fmla="*/ 2391669 h 6407421"/>
              <a:gd name="connsiteX257" fmla="*/ 29603 w 1064123"/>
              <a:gd name="connsiteY257" fmla="*/ 2391669 h 6407421"/>
              <a:gd name="connsiteX258" fmla="*/ 29603 w 1064123"/>
              <a:gd name="connsiteY258" fmla="*/ 2421272 h 6407421"/>
              <a:gd name="connsiteX259" fmla="*/ 1 w 1064123"/>
              <a:gd name="connsiteY259" fmla="*/ 2421272 h 6407421"/>
              <a:gd name="connsiteX260" fmla="*/ 1034520 w 1064123"/>
              <a:gd name="connsiteY260" fmla="*/ 2126020 h 6407421"/>
              <a:gd name="connsiteX261" fmla="*/ 1064123 w 1064123"/>
              <a:gd name="connsiteY261" fmla="*/ 2126020 h 6407421"/>
              <a:gd name="connsiteX262" fmla="*/ 1064123 w 1064123"/>
              <a:gd name="connsiteY262" fmla="*/ 2155517 h 6407421"/>
              <a:gd name="connsiteX263" fmla="*/ 1034520 w 1064123"/>
              <a:gd name="connsiteY263" fmla="*/ 2155517 h 6407421"/>
              <a:gd name="connsiteX264" fmla="*/ 768327 w 1064123"/>
              <a:gd name="connsiteY264" fmla="*/ 2126017 h 6407421"/>
              <a:gd name="connsiteX265" fmla="*/ 797926 w 1064123"/>
              <a:gd name="connsiteY265" fmla="*/ 2126017 h 6407421"/>
              <a:gd name="connsiteX266" fmla="*/ 797926 w 1064123"/>
              <a:gd name="connsiteY266" fmla="*/ 2155513 h 6407421"/>
              <a:gd name="connsiteX267" fmla="*/ 768327 w 1064123"/>
              <a:gd name="connsiteY267" fmla="*/ 2155513 h 6407421"/>
              <a:gd name="connsiteX268" fmla="*/ 502236 w 1064123"/>
              <a:gd name="connsiteY268" fmla="*/ 2126014 h 6407421"/>
              <a:gd name="connsiteX269" fmla="*/ 531838 w 1064123"/>
              <a:gd name="connsiteY269" fmla="*/ 2126014 h 6407421"/>
              <a:gd name="connsiteX270" fmla="*/ 531838 w 1064123"/>
              <a:gd name="connsiteY270" fmla="*/ 2155510 h 6407421"/>
              <a:gd name="connsiteX271" fmla="*/ 502236 w 1064123"/>
              <a:gd name="connsiteY271" fmla="*/ 2155510 h 6407421"/>
              <a:gd name="connsiteX272" fmla="*/ 236037 w 1064123"/>
              <a:gd name="connsiteY272" fmla="*/ 2126012 h 6407421"/>
              <a:gd name="connsiteX273" fmla="*/ 265639 w 1064123"/>
              <a:gd name="connsiteY273" fmla="*/ 2126012 h 6407421"/>
              <a:gd name="connsiteX274" fmla="*/ 265639 w 1064123"/>
              <a:gd name="connsiteY274" fmla="*/ 2155506 h 6407421"/>
              <a:gd name="connsiteX275" fmla="*/ 236037 w 1064123"/>
              <a:gd name="connsiteY275" fmla="*/ 2155506 h 6407421"/>
              <a:gd name="connsiteX276" fmla="*/ 1 w 1064123"/>
              <a:gd name="connsiteY276" fmla="*/ 2126012 h 6407421"/>
              <a:gd name="connsiteX277" fmla="*/ 29603 w 1064123"/>
              <a:gd name="connsiteY277" fmla="*/ 2126012 h 6407421"/>
              <a:gd name="connsiteX278" fmla="*/ 29603 w 1064123"/>
              <a:gd name="connsiteY278" fmla="*/ 2155506 h 6407421"/>
              <a:gd name="connsiteX279" fmla="*/ 1 w 1064123"/>
              <a:gd name="connsiteY279" fmla="*/ 2155506 h 6407421"/>
              <a:gd name="connsiteX280" fmla="*/ 1034520 w 1064123"/>
              <a:gd name="connsiteY280" fmla="*/ 1860254 h 6407421"/>
              <a:gd name="connsiteX281" fmla="*/ 1064123 w 1064123"/>
              <a:gd name="connsiteY281" fmla="*/ 1860254 h 6407421"/>
              <a:gd name="connsiteX282" fmla="*/ 1064123 w 1064123"/>
              <a:gd name="connsiteY282" fmla="*/ 1889747 h 6407421"/>
              <a:gd name="connsiteX283" fmla="*/ 1034520 w 1064123"/>
              <a:gd name="connsiteY283" fmla="*/ 1889747 h 6407421"/>
              <a:gd name="connsiteX284" fmla="*/ 768327 w 1064123"/>
              <a:gd name="connsiteY284" fmla="*/ 1860252 h 6407421"/>
              <a:gd name="connsiteX285" fmla="*/ 797926 w 1064123"/>
              <a:gd name="connsiteY285" fmla="*/ 1860252 h 6407421"/>
              <a:gd name="connsiteX286" fmla="*/ 797926 w 1064123"/>
              <a:gd name="connsiteY286" fmla="*/ 1889745 h 6407421"/>
              <a:gd name="connsiteX287" fmla="*/ 768327 w 1064123"/>
              <a:gd name="connsiteY287" fmla="*/ 1889745 h 6407421"/>
              <a:gd name="connsiteX288" fmla="*/ 502236 w 1064123"/>
              <a:gd name="connsiteY288" fmla="*/ 1860249 h 6407421"/>
              <a:gd name="connsiteX289" fmla="*/ 531838 w 1064123"/>
              <a:gd name="connsiteY289" fmla="*/ 1860249 h 6407421"/>
              <a:gd name="connsiteX290" fmla="*/ 531838 w 1064123"/>
              <a:gd name="connsiteY290" fmla="*/ 1889744 h 6407421"/>
              <a:gd name="connsiteX291" fmla="*/ 502236 w 1064123"/>
              <a:gd name="connsiteY291" fmla="*/ 1889744 h 6407421"/>
              <a:gd name="connsiteX292" fmla="*/ 236037 w 1064123"/>
              <a:gd name="connsiteY292" fmla="*/ 1860247 h 6407421"/>
              <a:gd name="connsiteX293" fmla="*/ 265639 w 1064123"/>
              <a:gd name="connsiteY293" fmla="*/ 1860247 h 6407421"/>
              <a:gd name="connsiteX294" fmla="*/ 265639 w 1064123"/>
              <a:gd name="connsiteY294" fmla="*/ 1889742 h 6407421"/>
              <a:gd name="connsiteX295" fmla="*/ 236037 w 1064123"/>
              <a:gd name="connsiteY295" fmla="*/ 1889742 h 6407421"/>
              <a:gd name="connsiteX296" fmla="*/ 1 w 1064123"/>
              <a:gd name="connsiteY296" fmla="*/ 1860247 h 6407421"/>
              <a:gd name="connsiteX297" fmla="*/ 29603 w 1064123"/>
              <a:gd name="connsiteY297" fmla="*/ 1860247 h 6407421"/>
              <a:gd name="connsiteX298" fmla="*/ 29603 w 1064123"/>
              <a:gd name="connsiteY298" fmla="*/ 1889742 h 6407421"/>
              <a:gd name="connsiteX299" fmla="*/ 1 w 1064123"/>
              <a:gd name="connsiteY299" fmla="*/ 1889742 h 6407421"/>
              <a:gd name="connsiteX300" fmla="*/ 1034520 w 1064123"/>
              <a:gd name="connsiteY300" fmla="*/ 1594489 h 6407421"/>
              <a:gd name="connsiteX301" fmla="*/ 1064123 w 1064123"/>
              <a:gd name="connsiteY301" fmla="*/ 1594489 h 6407421"/>
              <a:gd name="connsiteX302" fmla="*/ 1064123 w 1064123"/>
              <a:gd name="connsiteY302" fmla="*/ 1624092 h 6407421"/>
              <a:gd name="connsiteX303" fmla="*/ 1034520 w 1064123"/>
              <a:gd name="connsiteY303" fmla="*/ 1624092 h 6407421"/>
              <a:gd name="connsiteX304" fmla="*/ 768327 w 1064123"/>
              <a:gd name="connsiteY304" fmla="*/ 1594486 h 6407421"/>
              <a:gd name="connsiteX305" fmla="*/ 797926 w 1064123"/>
              <a:gd name="connsiteY305" fmla="*/ 1594486 h 6407421"/>
              <a:gd name="connsiteX306" fmla="*/ 797926 w 1064123"/>
              <a:gd name="connsiteY306" fmla="*/ 1624090 h 6407421"/>
              <a:gd name="connsiteX307" fmla="*/ 768327 w 1064123"/>
              <a:gd name="connsiteY307" fmla="*/ 1624090 h 6407421"/>
              <a:gd name="connsiteX308" fmla="*/ 502236 w 1064123"/>
              <a:gd name="connsiteY308" fmla="*/ 1594484 h 6407421"/>
              <a:gd name="connsiteX309" fmla="*/ 531838 w 1064123"/>
              <a:gd name="connsiteY309" fmla="*/ 1594484 h 6407421"/>
              <a:gd name="connsiteX310" fmla="*/ 531838 w 1064123"/>
              <a:gd name="connsiteY310" fmla="*/ 1624087 h 6407421"/>
              <a:gd name="connsiteX311" fmla="*/ 502236 w 1064123"/>
              <a:gd name="connsiteY311" fmla="*/ 1624087 h 6407421"/>
              <a:gd name="connsiteX312" fmla="*/ 236037 w 1064123"/>
              <a:gd name="connsiteY312" fmla="*/ 1594482 h 6407421"/>
              <a:gd name="connsiteX313" fmla="*/ 265639 w 1064123"/>
              <a:gd name="connsiteY313" fmla="*/ 1594482 h 6407421"/>
              <a:gd name="connsiteX314" fmla="*/ 265639 w 1064123"/>
              <a:gd name="connsiteY314" fmla="*/ 1624085 h 6407421"/>
              <a:gd name="connsiteX315" fmla="*/ 236037 w 1064123"/>
              <a:gd name="connsiteY315" fmla="*/ 1624085 h 6407421"/>
              <a:gd name="connsiteX316" fmla="*/ 1 w 1064123"/>
              <a:gd name="connsiteY316" fmla="*/ 1594482 h 6407421"/>
              <a:gd name="connsiteX317" fmla="*/ 29603 w 1064123"/>
              <a:gd name="connsiteY317" fmla="*/ 1594482 h 6407421"/>
              <a:gd name="connsiteX318" fmla="*/ 29603 w 1064123"/>
              <a:gd name="connsiteY318" fmla="*/ 1624085 h 6407421"/>
              <a:gd name="connsiteX319" fmla="*/ 1 w 1064123"/>
              <a:gd name="connsiteY319" fmla="*/ 1624085 h 6407421"/>
              <a:gd name="connsiteX320" fmla="*/ 1034520 w 1064123"/>
              <a:gd name="connsiteY320" fmla="*/ 1328724 h 6407421"/>
              <a:gd name="connsiteX321" fmla="*/ 1064123 w 1064123"/>
              <a:gd name="connsiteY321" fmla="*/ 1328724 h 6407421"/>
              <a:gd name="connsiteX322" fmla="*/ 1064123 w 1064123"/>
              <a:gd name="connsiteY322" fmla="*/ 1358328 h 6407421"/>
              <a:gd name="connsiteX323" fmla="*/ 1034520 w 1064123"/>
              <a:gd name="connsiteY323" fmla="*/ 1358328 h 6407421"/>
              <a:gd name="connsiteX324" fmla="*/ 768327 w 1064123"/>
              <a:gd name="connsiteY324" fmla="*/ 1328722 h 6407421"/>
              <a:gd name="connsiteX325" fmla="*/ 797926 w 1064123"/>
              <a:gd name="connsiteY325" fmla="*/ 1328722 h 6407421"/>
              <a:gd name="connsiteX326" fmla="*/ 797926 w 1064123"/>
              <a:gd name="connsiteY326" fmla="*/ 1358325 h 6407421"/>
              <a:gd name="connsiteX327" fmla="*/ 768327 w 1064123"/>
              <a:gd name="connsiteY327" fmla="*/ 1358325 h 6407421"/>
              <a:gd name="connsiteX328" fmla="*/ 502236 w 1064123"/>
              <a:gd name="connsiteY328" fmla="*/ 1328719 h 6407421"/>
              <a:gd name="connsiteX329" fmla="*/ 531838 w 1064123"/>
              <a:gd name="connsiteY329" fmla="*/ 1328719 h 6407421"/>
              <a:gd name="connsiteX330" fmla="*/ 531838 w 1064123"/>
              <a:gd name="connsiteY330" fmla="*/ 1358323 h 6407421"/>
              <a:gd name="connsiteX331" fmla="*/ 502236 w 1064123"/>
              <a:gd name="connsiteY331" fmla="*/ 1358323 h 6407421"/>
              <a:gd name="connsiteX332" fmla="*/ 236036 w 1064123"/>
              <a:gd name="connsiteY332" fmla="*/ 1328717 h 6407421"/>
              <a:gd name="connsiteX333" fmla="*/ 265639 w 1064123"/>
              <a:gd name="connsiteY333" fmla="*/ 1328717 h 6407421"/>
              <a:gd name="connsiteX334" fmla="*/ 265639 w 1064123"/>
              <a:gd name="connsiteY334" fmla="*/ 1358320 h 6407421"/>
              <a:gd name="connsiteX335" fmla="*/ 236036 w 1064123"/>
              <a:gd name="connsiteY335" fmla="*/ 1358320 h 6407421"/>
              <a:gd name="connsiteX336" fmla="*/ 1 w 1064123"/>
              <a:gd name="connsiteY336" fmla="*/ 1328717 h 6407421"/>
              <a:gd name="connsiteX337" fmla="*/ 29602 w 1064123"/>
              <a:gd name="connsiteY337" fmla="*/ 1328717 h 6407421"/>
              <a:gd name="connsiteX338" fmla="*/ 29602 w 1064123"/>
              <a:gd name="connsiteY338" fmla="*/ 1358320 h 6407421"/>
              <a:gd name="connsiteX339" fmla="*/ 1 w 1064123"/>
              <a:gd name="connsiteY339" fmla="*/ 1358320 h 6407421"/>
              <a:gd name="connsiteX340" fmla="*/ 1034520 w 1064123"/>
              <a:gd name="connsiteY340" fmla="*/ 1063069 h 6407421"/>
              <a:gd name="connsiteX341" fmla="*/ 1064123 w 1064123"/>
              <a:gd name="connsiteY341" fmla="*/ 1063069 h 6407421"/>
              <a:gd name="connsiteX342" fmla="*/ 1064123 w 1064123"/>
              <a:gd name="connsiteY342" fmla="*/ 1092563 h 6407421"/>
              <a:gd name="connsiteX343" fmla="*/ 1034520 w 1064123"/>
              <a:gd name="connsiteY343" fmla="*/ 1092563 h 6407421"/>
              <a:gd name="connsiteX344" fmla="*/ 768326 w 1064123"/>
              <a:gd name="connsiteY344" fmla="*/ 1063066 h 6407421"/>
              <a:gd name="connsiteX345" fmla="*/ 797926 w 1064123"/>
              <a:gd name="connsiteY345" fmla="*/ 1063066 h 6407421"/>
              <a:gd name="connsiteX346" fmla="*/ 797926 w 1064123"/>
              <a:gd name="connsiteY346" fmla="*/ 1092560 h 6407421"/>
              <a:gd name="connsiteX347" fmla="*/ 768326 w 1064123"/>
              <a:gd name="connsiteY347" fmla="*/ 1092560 h 6407421"/>
              <a:gd name="connsiteX348" fmla="*/ 502235 w 1064123"/>
              <a:gd name="connsiteY348" fmla="*/ 1063063 h 6407421"/>
              <a:gd name="connsiteX349" fmla="*/ 531838 w 1064123"/>
              <a:gd name="connsiteY349" fmla="*/ 1063063 h 6407421"/>
              <a:gd name="connsiteX350" fmla="*/ 531838 w 1064123"/>
              <a:gd name="connsiteY350" fmla="*/ 1092557 h 6407421"/>
              <a:gd name="connsiteX351" fmla="*/ 502235 w 1064123"/>
              <a:gd name="connsiteY351" fmla="*/ 1092557 h 6407421"/>
              <a:gd name="connsiteX352" fmla="*/ 236036 w 1064123"/>
              <a:gd name="connsiteY352" fmla="*/ 1063059 h 6407421"/>
              <a:gd name="connsiteX353" fmla="*/ 265639 w 1064123"/>
              <a:gd name="connsiteY353" fmla="*/ 1063059 h 6407421"/>
              <a:gd name="connsiteX354" fmla="*/ 265639 w 1064123"/>
              <a:gd name="connsiteY354" fmla="*/ 1092554 h 6407421"/>
              <a:gd name="connsiteX355" fmla="*/ 236036 w 1064123"/>
              <a:gd name="connsiteY355" fmla="*/ 1092554 h 6407421"/>
              <a:gd name="connsiteX356" fmla="*/ 0 w 1064123"/>
              <a:gd name="connsiteY356" fmla="*/ 1063059 h 6407421"/>
              <a:gd name="connsiteX357" fmla="*/ 29602 w 1064123"/>
              <a:gd name="connsiteY357" fmla="*/ 1063059 h 6407421"/>
              <a:gd name="connsiteX358" fmla="*/ 29602 w 1064123"/>
              <a:gd name="connsiteY358" fmla="*/ 1092554 h 6407421"/>
              <a:gd name="connsiteX359" fmla="*/ 0 w 1064123"/>
              <a:gd name="connsiteY359" fmla="*/ 1092554 h 6407421"/>
              <a:gd name="connsiteX360" fmla="*/ 1034520 w 1064123"/>
              <a:gd name="connsiteY360" fmla="*/ 797300 h 6407421"/>
              <a:gd name="connsiteX361" fmla="*/ 1064123 w 1064123"/>
              <a:gd name="connsiteY361" fmla="*/ 797300 h 6407421"/>
              <a:gd name="connsiteX362" fmla="*/ 1064123 w 1064123"/>
              <a:gd name="connsiteY362" fmla="*/ 826797 h 6407421"/>
              <a:gd name="connsiteX363" fmla="*/ 1034520 w 1064123"/>
              <a:gd name="connsiteY363" fmla="*/ 826797 h 6407421"/>
              <a:gd name="connsiteX364" fmla="*/ 768326 w 1064123"/>
              <a:gd name="connsiteY364" fmla="*/ 797298 h 6407421"/>
              <a:gd name="connsiteX365" fmla="*/ 797926 w 1064123"/>
              <a:gd name="connsiteY365" fmla="*/ 797298 h 6407421"/>
              <a:gd name="connsiteX366" fmla="*/ 797926 w 1064123"/>
              <a:gd name="connsiteY366" fmla="*/ 826794 h 6407421"/>
              <a:gd name="connsiteX367" fmla="*/ 768326 w 1064123"/>
              <a:gd name="connsiteY367" fmla="*/ 826794 h 6407421"/>
              <a:gd name="connsiteX368" fmla="*/ 502235 w 1064123"/>
              <a:gd name="connsiteY368" fmla="*/ 797296 h 6407421"/>
              <a:gd name="connsiteX369" fmla="*/ 531838 w 1064123"/>
              <a:gd name="connsiteY369" fmla="*/ 797296 h 6407421"/>
              <a:gd name="connsiteX370" fmla="*/ 531838 w 1064123"/>
              <a:gd name="connsiteY370" fmla="*/ 826792 h 6407421"/>
              <a:gd name="connsiteX371" fmla="*/ 502235 w 1064123"/>
              <a:gd name="connsiteY371" fmla="*/ 826792 h 6407421"/>
              <a:gd name="connsiteX372" fmla="*/ 236036 w 1064123"/>
              <a:gd name="connsiteY372" fmla="*/ 797294 h 6407421"/>
              <a:gd name="connsiteX373" fmla="*/ 265639 w 1064123"/>
              <a:gd name="connsiteY373" fmla="*/ 797294 h 6407421"/>
              <a:gd name="connsiteX374" fmla="*/ 265639 w 1064123"/>
              <a:gd name="connsiteY374" fmla="*/ 826789 h 6407421"/>
              <a:gd name="connsiteX375" fmla="*/ 236036 w 1064123"/>
              <a:gd name="connsiteY375" fmla="*/ 826789 h 6407421"/>
              <a:gd name="connsiteX376" fmla="*/ 0 w 1064123"/>
              <a:gd name="connsiteY376" fmla="*/ 797294 h 6407421"/>
              <a:gd name="connsiteX377" fmla="*/ 29602 w 1064123"/>
              <a:gd name="connsiteY377" fmla="*/ 797294 h 6407421"/>
              <a:gd name="connsiteX378" fmla="*/ 29602 w 1064123"/>
              <a:gd name="connsiteY378" fmla="*/ 826789 h 6407421"/>
              <a:gd name="connsiteX379" fmla="*/ 0 w 1064123"/>
              <a:gd name="connsiteY379" fmla="*/ 826789 h 6407421"/>
              <a:gd name="connsiteX380" fmla="*/ 1034520 w 1064123"/>
              <a:gd name="connsiteY380" fmla="*/ 531537 h 6407421"/>
              <a:gd name="connsiteX381" fmla="*/ 1064123 w 1064123"/>
              <a:gd name="connsiteY381" fmla="*/ 531537 h 6407421"/>
              <a:gd name="connsiteX382" fmla="*/ 1064123 w 1064123"/>
              <a:gd name="connsiteY382" fmla="*/ 561139 h 6407421"/>
              <a:gd name="connsiteX383" fmla="*/ 1034520 w 1064123"/>
              <a:gd name="connsiteY383" fmla="*/ 561139 h 6407421"/>
              <a:gd name="connsiteX384" fmla="*/ 768326 w 1064123"/>
              <a:gd name="connsiteY384" fmla="*/ 531534 h 6407421"/>
              <a:gd name="connsiteX385" fmla="*/ 797926 w 1064123"/>
              <a:gd name="connsiteY385" fmla="*/ 531534 h 6407421"/>
              <a:gd name="connsiteX386" fmla="*/ 797926 w 1064123"/>
              <a:gd name="connsiteY386" fmla="*/ 561137 h 6407421"/>
              <a:gd name="connsiteX387" fmla="*/ 768326 w 1064123"/>
              <a:gd name="connsiteY387" fmla="*/ 561137 h 6407421"/>
              <a:gd name="connsiteX388" fmla="*/ 502235 w 1064123"/>
              <a:gd name="connsiteY388" fmla="*/ 531532 h 6407421"/>
              <a:gd name="connsiteX389" fmla="*/ 531838 w 1064123"/>
              <a:gd name="connsiteY389" fmla="*/ 531532 h 6407421"/>
              <a:gd name="connsiteX390" fmla="*/ 531838 w 1064123"/>
              <a:gd name="connsiteY390" fmla="*/ 561135 h 6407421"/>
              <a:gd name="connsiteX391" fmla="*/ 502235 w 1064123"/>
              <a:gd name="connsiteY391" fmla="*/ 561135 h 6407421"/>
              <a:gd name="connsiteX392" fmla="*/ 236036 w 1064123"/>
              <a:gd name="connsiteY392" fmla="*/ 531530 h 6407421"/>
              <a:gd name="connsiteX393" fmla="*/ 265639 w 1064123"/>
              <a:gd name="connsiteY393" fmla="*/ 531530 h 6407421"/>
              <a:gd name="connsiteX394" fmla="*/ 265639 w 1064123"/>
              <a:gd name="connsiteY394" fmla="*/ 561133 h 6407421"/>
              <a:gd name="connsiteX395" fmla="*/ 236036 w 1064123"/>
              <a:gd name="connsiteY395" fmla="*/ 561133 h 6407421"/>
              <a:gd name="connsiteX396" fmla="*/ 0 w 1064123"/>
              <a:gd name="connsiteY396" fmla="*/ 531530 h 6407421"/>
              <a:gd name="connsiteX397" fmla="*/ 29602 w 1064123"/>
              <a:gd name="connsiteY397" fmla="*/ 531530 h 6407421"/>
              <a:gd name="connsiteX398" fmla="*/ 29602 w 1064123"/>
              <a:gd name="connsiteY398" fmla="*/ 561133 h 6407421"/>
              <a:gd name="connsiteX399" fmla="*/ 0 w 1064123"/>
              <a:gd name="connsiteY399" fmla="*/ 561133 h 6407421"/>
              <a:gd name="connsiteX400" fmla="*/ 1034520 w 1064123"/>
              <a:gd name="connsiteY400" fmla="*/ 265772 h 6407421"/>
              <a:gd name="connsiteX401" fmla="*/ 1064123 w 1064123"/>
              <a:gd name="connsiteY401" fmla="*/ 265772 h 6407421"/>
              <a:gd name="connsiteX402" fmla="*/ 1064123 w 1064123"/>
              <a:gd name="connsiteY402" fmla="*/ 295374 h 6407421"/>
              <a:gd name="connsiteX403" fmla="*/ 1034520 w 1064123"/>
              <a:gd name="connsiteY403" fmla="*/ 295374 h 6407421"/>
              <a:gd name="connsiteX404" fmla="*/ 768326 w 1064123"/>
              <a:gd name="connsiteY404" fmla="*/ 265770 h 6407421"/>
              <a:gd name="connsiteX405" fmla="*/ 797926 w 1064123"/>
              <a:gd name="connsiteY405" fmla="*/ 265770 h 6407421"/>
              <a:gd name="connsiteX406" fmla="*/ 797926 w 1064123"/>
              <a:gd name="connsiteY406" fmla="*/ 295372 h 6407421"/>
              <a:gd name="connsiteX407" fmla="*/ 768326 w 1064123"/>
              <a:gd name="connsiteY407" fmla="*/ 295372 h 6407421"/>
              <a:gd name="connsiteX408" fmla="*/ 502235 w 1064123"/>
              <a:gd name="connsiteY408" fmla="*/ 265767 h 6407421"/>
              <a:gd name="connsiteX409" fmla="*/ 531838 w 1064123"/>
              <a:gd name="connsiteY409" fmla="*/ 265767 h 6407421"/>
              <a:gd name="connsiteX410" fmla="*/ 531838 w 1064123"/>
              <a:gd name="connsiteY410" fmla="*/ 295370 h 6407421"/>
              <a:gd name="connsiteX411" fmla="*/ 502235 w 1064123"/>
              <a:gd name="connsiteY411" fmla="*/ 295370 h 6407421"/>
              <a:gd name="connsiteX412" fmla="*/ 236036 w 1064123"/>
              <a:gd name="connsiteY412" fmla="*/ 265765 h 6407421"/>
              <a:gd name="connsiteX413" fmla="*/ 265639 w 1064123"/>
              <a:gd name="connsiteY413" fmla="*/ 265765 h 6407421"/>
              <a:gd name="connsiteX414" fmla="*/ 265639 w 1064123"/>
              <a:gd name="connsiteY414" fmla="*/ 295368 h 6407421"/>
              <a:gd name="connsiteX415" fmla="*/ 236036 w 1064123"/>
              <a:gd name="connsiteY415" fmla="*/ 295368 h 6407421"/>
              <a:gd name="connsiteX416" fmla="*/ 0 w 1064123"/>
              <a:gd name="connsiteY416" fmla="*/ 265765 h 6407421"/>
              <a:gd name="connsiteX417" fmla="*/ 29602 w 1064123"/>
              <a:gd name="connsiteY417" fmla="*/ 265765 h 6407421"/>
              <a:gd name="connsiteX418" fmla="*/ 29602 w 1064123"/>
              <a:gd name="connsiteY418" fmla="*/ 295368 h 6407421"/>
              <a:gd name="connsiteX419" fmla="*/ 0 w 1064123"/>
              <a:gd name="connsiteY419" fmla="*/ 295368 h 6407421"/>
              <a:gd name="connsiteX420" fmla="*/ 1034520 w 1064123"/>
              <a:gd name="connsiteY420" fmla="*/ 7 h 6407421"/>
              <a:gd name="connsiteX421" fmla="*/ 1064123 w 1064123"/>
              <a:gd name="connsiteY421" fmla="*/ 7 h 6407421"/>
              <a:gd name="connsiteX422" fmla="*/ 1064123 w 1064123"/>
              <a:gd name="connsiteY422" fmla="*/ 29609 h 6407421"/>
              <a:gd name="connsiteX423" fmla="*/ 1034520 w 1064123"/>
              <a:gd name="connsiteY423" fmla="*/ 29609 h 6407421"/>
              <a:gd name="connsiteX424" fmla="*/ 768326 w 1064123"/>
              <a:gd name="connsiteY424" fmla="*/ 5 h 6407421"/>
              <a:gd name="connsiteX425" fmla="*/ 797926 w 1064123"/>
              <a:gd name="connsiteY425" fmla="*/ 5 h 6407421"/>
              <a:gd name="connsiteX426" fmla="*/ 797926 w 1064123"/>
              <a:gd name="connsiteY426" fmla="*/ 29607 h 6407421"/>
              <a:gd name="connsiteX427" fmla="*/ 768326 w 1064123"/>
              <a:gd name="connsiteY427" fmla="*/ 29607 h 6407421"/>
              <a:gd name="connsiteX428" fmla="*/ 502235 w 1064123"/>
              <a:gd name="connsiteY428" fmla="*/ 2 h 6407421"/>
              <a:gd name="connsiteX429" fmla="*/ 531838 w 1064123"/>
              <a:gd name="connsiteY429" fmla="*/ 2 h 6407421"/>
              <a:gd name="connsiteX430" fmla="*/ 531838 w 1064123"/>
              <a:gd name="connsiteY430" fmla="*/ 29605 h 6407421"/>
              <a:gd name="connsiteX431" fmla="*/ 502235 w 1064123"/>
              <a:gd name="connsiteY431" fmla="*/ 29605 h 6407421"/>
              <a:gd name="connsiteX432" fmla="*/ 236036 w 1064123"/>
              <a:gd name="connsiteY432" fmla="*/ 0 h 6407421"/>
              <a:gd name="connsiteX433" fmla="*/ 265638 w 1064123"/>
              <a:gd name="connsiteY433" fmla="*/ 0 h 6407421"/>
              <a:gd name="connsiteX434" fmla="*/ 265638 w 1064123"/>
              <a:gd name="connsiteY434" fmla="*/ 29602 h 6407421"/>
              <a:gd name="connsiteX435" fmla="*/ 236036 w 1064123"/>
              <a:gd name="connsiteY435" fmla="*/ 29602 h 6407421"/>
              <a:gd name="connsiteX436" fmla="*/ 0 w 1064123"/>
              <a:gd name="connsiteY436" fmla="*/ 0 h 6407421"/>
              <a:gd name="connsiteX437" fmla="*/ 29602 w 1064123"/>
              <a:gd name="connsiteY437" fmla="*/ 0 h 6407421"/>
              <a:gd name="connsiteX438" fmla="*/ 29602 w 1064123"/>
              <a:gd name="connsiteY438" fmla="*/ 29602 h 6407421"/>
              <a:gd name="connsiteX439" fmla="*/ 0 w 1064123"/>
              <a:gd name="connsiteY43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20000"/>
            </a:schemeClr>
          </a:solidFill>
          <a:ln w="10797" cap="flat">
            <a:noFill/>
            <a:prstDash val="solid"/>
            <a:miter/>
          </a:ln>
        </p:spPr>
        <p:txBody>
          <a:bodyPr wrap="square" rtlCol="0" anchor="ctr">
            <a:noAutofit/>
          </a:bodyPr>
          <a:lstStyle/>
          <a:p>
            <a:endParaRPr lang="en-US"/>
          </a:p>
        </p:txBody>
      </p:sp>
      <p:grpSp>
        <p:nvGrpSpPr>
          <p:cNvPr id="9" name="Group 8">
            <a:extLst>
              <a:ext uri="{FF2B5EF4-FFF2-40B4-BE49-F238E27FC236}">
                <a16:creationId xmlns:a16="http://schemas.microsoft.com/office/drawing/2014/main" id="{B5ED8F1A-DF55-4373-A1AF-0BB681AB979F}"/>
              </a:ext>
            </a:extLst>
          </p:cNvPr>
          <p:cNvGrpSpPr/>
          <p:nvPr userDrawn="1"/>
        </p:nvGrpSpPr>
        <p:grpSpPr>
          <a:xfrm>
            <a:off x="-3221" y="0"/>
            <a:ext cx="1570603" cy="6342667"/>
            <a:chOff x="-3221" y="0"/>
            <a:chExt cx="1570603" cy="6342667"/>
          </a:xfrm>
        </p:grpSpPr>
        <p:sp>
          <p:nvSpPr>
            <p:cNvPr id="11" name="Freeform: Shape 41">
              <a:extLst>
                <a:ext uri="{FF2B5EF4-FFF2-40B4-BE49-F238E27FC236}">
                  <a16:creationId xmlns:a16="http://schemas.microsoft.com/office/drawing/2014/main" id="{BF704692-7ED8-4734-8CC3-6EE81F8C6559}"/>
                </a:ext>
              </a:extLst>
            </p:cNvPr>
            <p:cNvSpPr txBox="1">
              <a:spLocks/>
            </p:cNvSpPr>
            <p:nvPr/>
          </p:nvSpPr>
          <p:spPr>
            <a:xfrm>
              <a:off x="771720" y="1305465"/>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2" name="Freeform: Shape 42">
              <a:extLst>
                <a:ext uri="{FF2B5EF4-FFF2-40B4-BE49-F238E27FC236}">
                  <a16:creationId xmlns:a16="http://schemas.microsoft.com/office/drawing/2014/main" id="{DC73A71E-57FB-4CCE-9BA4-0C7150E061ED}"/>
                </a:ext>
              </a:extLst>
            </p:cNvPr>
            <p:cNvSpPr txBox="1">
              <a:spLocks/>
            </p:cNvSpPr>
            <p:nvPr/>
          </p:nvSpPr>
          <p:spPr>
            <a:xfrm rot="16200000">
              <a:off x="653257" y="1982983"/>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3" name="Freeform: Shape 81">
              <a:extLst>
                <a:ext uri="{FF2B5EF4-FFF2-40B4-BE49-F238E27FC236}">
                  <a16:creationId xmlns:a16="http://schemas.microsoft.com/office/drawing/2014/main" id="{08BB9E74-EFA9-4C0C-AC35-AEB701E345AB}"/>
                </a:ext>
              </a:extLst>
            </p:cNvPr>
            <p:cNvSpPr txBox="1">
              <a:spLocks/>
            </p:cNvSpPr>
            <p:nvPr/>
          </p:nvSpPr>
          <p:spPr>
            <a:xfrm rot="5400000">
              <a:off x="522214" y="5297589"/>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4" name="Freeform: Shape 41">
              <a:extLst>
                <a:ext uri="{FF2B5EF4-FFF2-40B4-BE49-F238E27FC236}">
                  <a16:creationId xmlns:a16="http://schemas.microsoft.com/office/drawing/2014/main" id="{9EFF1AB5-4303-4404-9E20-E5E5A6E0DE45}"/>
                </a:ext>
              </a:extLst>
            </p:cNvPr>
            <p:cNvSpPr txBox="1">
              <a:spLocks/>
            </p:cNvSpPr>
            <p:nvPr/>
          </p:nvSpPr>
          <p:spPr>
            <a:xfrm>
              <a:off x="253539" y="422329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 name="Freeform: Shape 81">
              <a:extLst>
                <a:ext uri="{FF2B5EF4-FFF2-40B4-BE49-F238E27FC236}">
                  <a16:creationId xmlns:a16="http://schemas.microsoft.com/office/drawing/2014/main" id="{7A0B1BA6-2386-4BBD-9C5A-2334DD333E2B}"/>
                </a:ext>
              </a:extLst>
            </p:cNvPr>
            <p:cNvSpPr txBox="1">
              <a:spLocks/>
            </p:cNvSpPr>
            <p:nvPr/>
          </p:nvSpPr>
          <p:spPr>
            <a:xfrm rot="16200000">
              <a:off x="11410" y="-14631"/>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pic>
        <p:nvPicPr>
          <p:cNvPr id="16" name="Picture 15">
            <a:extLst>
              <a:ext uri="{FF2B5EF4-FFF2-40B4-BE49-F238E27FC236}">
                <a16:creationId xmlns:a16="http://schemas.microsoft.com/office/drawing/2014/main" id="{4A104770-5DA0-4F07-A5A5-29D0F9451EFB}"/>
              </a:ext>
            </a:extLst>
          </p:cNvPr>
          <p:cNvPicPr>
            <a:picLocks noChangeAspect="1"/>
          </p:cNvPicPr>
          <p:nvPr userDrawn="1"/>
        </p:nvPicPr>
        <p:blipFill>
          <a:blip r:embed="rId5"/>
          <a:srcRect/>
          <a:stretch/>
        </p:blipFill>
        <p:spPr>
          <a:xfrm>
            <a:off x="260487" y="3152155"/>
            <a:ext cx="1053566" cy="542008"/>
          </a:xfrm>
          <a:prstGeom prst="rect">
            <a:avLst/>
          </a:prstGeom>
        </p:spPr>
      </p:pic>
    </p:spTree>
    <p:extLst>
      <p:ext uri="{BB962C8B-B14F-4D97-AF65-F5344CB8AC3E}">
        <p14:creationId xmlns:p14="http://schemas.microsoft.com/office/powerpoint/2010/main" val="5697639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bg2"/>
        </a:solidFill>
        <a:effectLst/>
      </p:bgPr>
    </p:bg>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 y="0"/>
            <a:ext cx="12188825" cy="6858000"/>
          </a:xfrm>
          <a:solidFill>
            <a:schemeClr val="bg2"/>
          </a:solidFill>
        </p:spPr>
        <p:txBody>
          <a:bodyPr anchor="ctr"/>
          <a:lstStyle>
            <a:lvl1pPr algn="ctr">
              <a:defRPr/>
            </a:lvl1pPr>
          </a:lstStyle>
          <a:p>
            <a:endParaRPr lang="en-US"/>
          </a:p>
        </p:txBody>
      </p:sp>
    </p:spTree>
    <p:extLst>
      <p:ext uri="{BB962C8B-B14F-4D97-AF65-F5344CB8AC3E}">
        <p14:creationId xmlns:p14="http://schemas.microsoft.com/office/powerpoint/2010/main" val="2338476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World Map">
    <p:bg>
      <p:bgPr>
        <a:solidFill>
          <a:schemeClr val="bg1"/>
        </a:solidFill>
        <a:effectLst/>
      </p:bgPr>
    </p:bg>
    <p:spTree>
      <p:nvGrpSpPr>
        <p:cNvPr id="1" name=""/>
        <p:cNvGrpSpPr/>
        <p:nvPr/>
      </p:nvGrpSpPr>
      <p:grpSpPr>
        <a:xfrm>
          <a:off x="0" y="0"/>
          <a:ext cx="0" cy="0"/>
          <a:chOff x="0" y="0"/>
          <a:chExt cx="0" cy="0"/>
        </a:xfrm>
      </p:grpSpPr>
      <p:sp>
        <p:nvSpPr>
          <p:cNvPr id="194" name="Freeform: Shape 193">
            <a:extLst>
              <a:ext uri="{FF2B5EF4-FFF2-40B4-BE49-F238E27FC236}">
                <a16:creationId xmlns:a16="http://schemas.microsoft.com/office/drawing/2014/main" id="{6BC82101-B058-4AB9-A98C-BB640AA0540A}"/>
              </a:ext>
            </a:extLst>
          </p:cNvPr>
          <p:cNvSpPr/>
          <p:nvPr userDrawn="1"/>
        </p:nvSpPr>
        <p:spPr>
          <a:xfrm>
            <a:off x="252827" y="222351"/>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3454727 h 6407421"/>
              <a:gd name="connsiteX221" fmla="*/ 1064123 w 1064123"/>
              <a:gd name="connsiteY221" fmla="*/ 3454727 h 6407421"/>
              <a:gd name="connsiteX222" fmla="*/ 1064123 w 1064123"/>
              <a:gd name="connsiteY222" fmla="*/ 3484330 h 6407421"/>
              <a:gd name="connsiteX223" fmla="*/ 1034520 w 1064123"/>
              <a:gd name="connsiteY223" fmla="*/ 3484330 h 6407421"/>
              <a:gd name="connsiteX224" fmla="*/ 768327 w 1064123"/>
              <a:gd name="connsiteY224" fmla="*/ 3454727 h 6407421"/>
              <a:gd name="connsiteX225" fmla="*/ 797926 w 1064123"/>
              <a:gd name="connsiteY225" fmla="*/ 3454727 h 6407421"/>
              <a:gd name="connsiteX226" fmla="*/ 797926 w 1064123"/>
              <a:gd name="connsiteY226" fmla="*/ 3484330 h 6407421"/>
              <a:gd name="connsiteX227" fmla="*/ 768327 w 1064123"/>
              <a:gd name="connsiteY227" fmla="*/ 3484330 h 6407421"/>
              <a:gd name="connsiteX228" fmla="*/ 502236 w 1064123"/>
              <a:gd name="connsiteY228" fmla="*/ 3454727 h 6407421"/>
              <a:gd name="connsiteX229" fmla="*/ 531839 w 1064123"/>
              <a:gd name="connsiteY229" fmla="*/ 3454727 h 6407421"/>
              <a:gd name="connsiteX230" fmla="*/ 531839 w 1064123"/>
              <a:gd name="connsiteY230" fmla="*/ 3484330 h 6407421"/>
              <a:gd name="connsiteX231" fmla="*/ 502236 w 1064123"/>
              <a:gd name="connsiteY231" fmla="*/ 3484330 h 6407421"/>
              <a:gd name="connsiteX232" fmla="*/ 236037 w 1064123"/>
              <a:gd name="connsiteY232" fmla="*/ 3454727 h 6407421"/>
              <a:gd name="connsiteX233" fmla="*/ 265640 w 1064123"/>
              <a:gd name="connsiteY233" fmla="*/ 3454727 h 6407421"/>
              <a:gd name="connsiteX234" fmla="*/ 265640 w 1064123"/>
              <a:gd name="connsiteY234" fmla="*/ 3484330 h 6407421"/>
              <a:gd name="connsiteX235" fmla="*/ 236037 w 1064123"/>
              <a:gd name="connsiteY235" fmla="*/ 3484330 h 6407421"/>
              <a:gd name="connsiteX236" fmla="*/ 1 w 1064123"/>
              <a:gd name="connsiteY236" fmla="*/ 3454727 h 6407421"/>
              <a:gd name="connsiteX237" fmla="*/ 29603 w 1064123"/>
              <a:gd name="connsiteY237" fmla="*/ 3454727 h 6407421"/>
              <a:gd name="connsiteX238" fmla="*/ 29603 w 1064123"/>
              <a:gd name="connsiteY238" fmla="*/ 3484330 h 6407421"/>
              <a:gd name="connsiteX239" fmla="*/ 1 w 1064123"/>
              <a:gd name="connsiteY239" fmla="*/ 3484330 h 6407421"/>
              <a:gd name="connsiteX240" fmla="*/ 1034520 w 1064123"/>
              <a:gd name="connsiteY240" fmla="*/ 3189074 h 6407421"/>
              <a:gd name="connsiteX241" fmla="*/ 1064123 w 1064123"/>
              <a:gd name="connsiteY241" fmla="*/ 3189074 h 6407421"/>
              <a:gd name="connsiteX242" fmla="*/ 1064123 w 1064123"/>
              <a:gd name="connsiteY242" fmla="*/ 3218566 h 6407421"/>
              <a:gd name="connsiteX243" fmla="*/ 1034520 w 1064123"/>
              <a:gd name="connsiteY243" fmla="*/ 3218566 h 6407421"/>
              <a:gd name="connsiteX244" fmla="*/ 1 w 1064123"/>
              <a:gd name="connsiteY244" fmla="*/ 3189071 h 6407421"/>
              <a:gd name="connsiteX245" fmla="*/ 29603 w 1064123"/>
              <a:gd name="connsiteY245" fmla="*/ 3189071 h 6407421"/>
              <a:gd name="connsiteX246" fmla="*/ 29603 w 1064123"/>
              <a:gd name="connsiteY246" fmla="*/ 3218566 h 6407421"/>
              <a:gd name="connsiteX247" fmla="*/ 1 w 1064123"/>
              <a:gd name="connsiteY247" fmla="*/ 3218566 h 6407421"/>
              <a:gd name="connsiteX248" fmla="*/ 1034520 w 1064123"/>
              <a:gd name="connsiteY248" fmla="*/ 2923310 h 6407421"/>
              <a:gd name="connsiteX249" fmla="*/ 1064123 w 1064123"/>
              <a:gd name="connsiteY249" fmla="*/ 2923310 h 6407421"/>
              <a:gd name="connsiteX250" fmla="*/ 1064123 w 1064123"/>
              <a:gd name="connsiteY250" fmla="*/ 2952805 h 6407421"/>
              <a:gd name="connsiteX251" fmla="*/ 1034520 w 1064123"/>
              <a:gd name="connsiteY251" fmla="*/ 2952805 h 6407421"/>
              <a:gd name="connsiteX252" fmla="*/ 768327 w 1064123"/>
              <a:gd name="connsiteY252" fmla="*/ 2923309 h 6407421"/>
              <a:gd name="connsiteX253" fmla="*/ 797926 w 1064123"/>
              <a:gd name="connsiteY253" fmla="*/ 2923309 h 6407421"/>
              <a:gd name="connsiteX254" fmla="*/ 797926 w 1064123"/>
              <a:gd name="connsiteY254" fmla="*/ 2952804 h 6407421"/>
              <a:gd name="connsiteX255" fmla="*/ 768327 w 1064123"/>
              <a:gd name="connsiteY255" fmla="*/ 2952804 h 6407421"/>
              <a:gd name="connsiteX256" fmla="*/ 502236 w 1064123"/>
              <a:gd name="connsiteY256" fmla="*/ 2923308 h 6407421"/>
              <a:gd name="connsiteX257" fmla="*/ 531838 w 1064123"/>
              <a:gd name="connsiteY257" fmla="*/ 2923308 h 6407421"/>
              <a:gd name="connsiteX258" fmla="*/ 531838 w 1064123"/>
              <a:gd name="connsiteY258" fmla="*/ 2952803 h 6407421"/>
              <a:gd name="connsiteX259" fmla="*/ 502236 w 1064123"/>
              <a:gd name="connsiteY259" fmla="*/ 2952803 h 6407421"/>
              <a:gd name="connsiteX260" fmla="*/ 236037 w 1064123"/>
              <a:gd name="connsiteY260" fmla="*/ 2923307 h 6407421"/>
              <a:gd name="connsiteX261" fmla="*/ 265639 w 1064123"/>
              <a:gd name="connsiteY261" fmla="*/ 2923307 h 6407421"/>
              <a:gd name="connsiteX262" fmla="*/ 265639 w 1064123"/>
              <a:gd name="connsiteY262" fmla="*/ 2952802 h 6407421"/>
              <a:gd name="connsiteX263" fmla="*/ 236037 w 1064123"/>
              <a:gd name="connsiteY263" fmla="*/ 2952802 h 6407421"/>
              <a:gd name="connsiteX264" fmla="*/ 1 w 1064123"/>
              <a:gd name="connsiteY264" fmla="*/ 2923307 h 6407421"/>
              <a:gd name="connsiteX265" fmla="*/ 29603 w 1064123"/>
              <a:gd name="connsiteY265" fmla="*/ 2923307 h 6407421"/>
              <a:gd name="connsiteX266" fmla="*/ 29603 w 1064123"/>
              <a:gd name="connsiteY266" fmla="*/ 2952802 h 6407421"/>
              <a:gd name="connsiteX267" fmla="*/ 1 w 1064123"/>
              <a:gd name="connsiteY267" fmla="*/ 2952802 h 6407421"/>
              <a:gd name="connsiteX268" fmla="*/ 1034520 w 1064123"/>
              <a:gd name="connsiteY268" fmla="*/ 2657443 h 6407421"/>
              <a:gd name="connsiteX269" fmla="*/ 1064123 w 1064123"/>
              <a:gd name="connsiteY269" fmla="*/ 2657443 h 6407421"/>
              <a:gd name="connsiteX270" fmla="*/ 1064123 w 1064123"/>
              <a:gd name="connsiteY270" fmla="*/ 2687045 h 6407421"/>
              <a:gd name="connsiteX271" fmla="*/ 1034520 w 1064123"/>
              <a:gd name="connsiteY271" fmla="*/ 2687045 h 6407421"/>
              <a:gd name="connsiteX272" fmla="*/ 768327 w 1064123"/>
              <a:gd name="connsiteY272" fmla="*/ 2657440 h 6407421"/>
              <a:gd name="connsiteX273" fmla="*/ 797926 w 1064123"/>
              <a:gd name="connsiteY273" fmla="*/ 2657440 h 6407421"/>
              <a:gd name="connsiteX274" fmla="*/ 797926 w 1064123"/>
              <a:gd name="connsiteY274" fmla="*/ 2687042 h 6407421"/>
              <a:gd name="connsiteX275" fmla="*/ 768327 w 1064123"/>
              <a:gd name="connsiteY275" fmla="*/ 2687042 h 6407421"/>
              <a:gd name="connsiteX276" fmla="*/ 502236 w 1064123"/>
              <a:gd name="connsiteY276" fmla="*/ 2657437 h 6407421"/>
              <a:gd name="connsiteX277" fmla="*/ 531838 w 1064123"/>
              <a:gd name="connsiteY277" fmla="*/ 2657437 h 6407421"/>
              <a:gd name="connsiteX278" fmla="*/ 531838 w 1064123"/>
              <a:gd name="connsiteY278" fmla="*/ 2687039 h 6407421"/>
              <a:gd name="connsiteX279" fmla="*/ 502236 w 1064123"/>
              <a:gd name="connsiteY279" fmla="*/ 2687039 h 6407421"/>
              <a:gd name="connsiteX280" fmla="*/ 236037 w 1064123"/>
              <a:gd name="connsiteY280" fmla="*/ 2657434 h 6407421"/>
              <a:gd name="connsiteX281" fmla="*/ 265639 w 1064123"/>
              <a:gd name="connsiteY281" fmla="*/ 2657434 h 6407421"/>
              <a:gd name="connsiteX282" fmla="*/ 265639 w 1064123"/>
              <a:gd name="connsiteY282" fmla="*/ 2687036 h 6407421"/>
              <a:gd name="connsiteX283" fmla="*/ 236037 w 1064123"/>
              <a:gd name="connsiteY283" fmla="*/ 2687036 h 6407421"/>
              <a:gd name="connsiteX284" fmla="*/ 1 w 1064123"/>
              <a:gd name="connsiteY284" fmla="*/ 2657434 h 6407421"/>
              <a:gd name="connsiteX285" fmla="*/ 29603 w 1064123"/>
              <a:gd name="connsiteY285" fmla="*/ 2657434 h 6407421"/>
              <a:gd name="connsiteX286" fmla="*/ 29603 w 1064123"/>
              <a:gd name="connsiteY286" fmla="*/ 2687036 h 6407421"/>
              <a:gd name="connsiteX287" fmla="*/ 1 w 1064123"/>
              <a:gd name="connsiteY287" fmla="*/ 2687036 h 6407421"/>
              <a:gd name="connsiteX288" fmla="*/ 1034520 w 1064123"/>
              <a:gd name="connsiteY288" fmla="*/ 2391678 h 6407421"/>
              <a:gd name="connsiteX289" fmla="*/ 1064123 w 1064123"/>
              <a:gd name="connsiteY289" fmla="*/ 2391678 h 6407421"/>
              <a:gd name="connsiteX290" fmla="*/ 1064123 w 1064123"/>
              <a:gd name="connsiteY290" fmla="*/ 2421288 h 6407421"/>
              <a:gd name="connsiteX291" fmla="*/ 1034520 w 1064123"/>
              <a:gd name="connsiteY291" fmla="*/ 2421288 h 6407421"/>
              <a:gd name="connsiteX292" fmla="*/ 768327 w 1064123"/>
              <a:gd name="connsiteY292" fmla="*/ 2391675 h 6407421"/>
              <a:gd name="connsiteX293" fmla="*/ 797926 w 1064123"/>
              <a:gd name="connsiteY293" fmla="*/ 2391675 h 6407421"/>
              <a:gd name="connsiteX294" fmla="*/ 797926 w 1064123"/>
              <a:gd name="connsiteY294" fmla="*/ 2421283 h 6407421"/>
              <a:gd name="connsiteX295" fmla="*/ 768327 w 1064123"/>
              <a:gd name="connsiteY295" fmla="*/ 2421283 h 6407421"/>
              <a:gd name="connsiteX296" fmla="*/ 502236 w 1064123"/>
              <a:gd name="connsiteY296" fmla="*/ 2391672 h 6407421"/>
              <a:gd name="connsiteX297" fmla="*/ 531838 w 1064123"/>
              <a:gd name="connsiteY297" fmla="*/ 2391672 h 6407421"/>
              <a:gd name="connsiteX298" fmla="*/ 531838 w 1064123"/>
              <a:gd name="connsiteY298" fmla="*/ 2421278 h 6407421"/>
              <a:gd name="connsiteX299" fmla="*/ 502236 w 1064123"/>
              <a:gd name="connsiteY299" fmla="*/ 2421278 h 6407421"/>
              <a:gd name="connsiteX300" fmla="*/ 236037 w 1064123"/>
              <a:gd name="connsiteY300" fmla="*/ 2391669 h 6407421"/>
              <a:gd name="connsiteX301" fmla="*/ 265639 w 1064123"/>
              <a:gd name="connsiteY301" fmla="*/ 2391669 h 6407421"/>
              <a:gd name="connsiteX302" fmla="*/ 265639 w 1064123"/>
              <a:gd name="connsiteY302" fmla="*/ 2421272 h 6407421"/>
              <a:gd name="connsiteX303" fmla="*/ 236037 w 1064123"/>
              <a:gd name="connsiteY303" fmla="*/ 2421272 h 6407421"/>
              <a:gd name="connsiteX304" fmla="*/ 1 w 1064123"/>
              <a:gd name="connsiteY304" fmla="*/ 2391669 h 6407421"/>
              <a:gd name="connsiteX305" fmla="*/ 29603 w 1064123"/>
              <a:gd name="connsiteY305" fmla="*/ 2391669 h 6407421"/>
              <a:gd name="connsiteX306" fmla="*/ 29603 w 1064123"/>
              <a:gd name="connsiteY306" fmla="*/ 2421272 h 6407421"/>
              <a:gd name="connsiteX307" fmla="*/ 1 w 1064123"/>
              <a:gd name="connsiteY307" fmla="*/ 2421272 h 6407421"/>
              <a:gd name="connsiteX308" fmla="*/ 1034520 w 1064123"/>
              <a:gd name="connsiteY308" fmla="*/ 2126020 h 6407421"/>
              <a:gd name="connsiteX309" fmla="*/ 1064123 w 1064123"/>
              <a:gd name="connsiteY309" fmla="*/ 2126020 h 6407421"/>
              <a:gd name="connsiteX310" fmla="*/ 1064123 w 1064123"/>
              <a:gd name="connsiteY310" fmla="*/ 2155517 h 6407421"/>
              <a:gd name="connsiteX311" fmla="*/ 1034520 w 1064123"/>
              <a:gd name="connsiteY311" fmla="*/ 2155517 h 6407421"/>
              <a:gd name="connsiteX312" fmla="*/ 768327 w 1064123"/>
              <a:gd name="connsiteY312" fmla="*/ 2126017 h 6407421"/>
              <a:gd name="connsiteX313" fmla="*/ 797926 w 1064123"/>
              <a:gd name="connsiteY313" fmla="*/ 2126017 h 6407421"/>
              <a:gd name="connsiteX314" fmla="*/ 797926 w 1064123"/>
              <a:gd name="connsiteY314" fmla="*/ 2155513 h 6407421"/>
              <a:gd name="connsiteX315" fmla="*/ 768327 w 1064123"/>
              <a:gd name="connsiteY315" fmla="*/ 2155513 h 6407421"/>
              <a:gd name="connsiteX316" fmla="*/ 502236 w 1064123"/>
              <a:gd name="connsiteY316" fmla="*/ 2126014 h 6407421"/>
              <a:gd name="connsiteX317" fmla="*/ 531838 w 1064123"/>
              <a:gd name="connsiteY317" fmla="*/ 2126014 h 6407421"/>
              <a:gd name="connsiteX318" fmla="*/ 531838 w 1064123"/>
              <a:gd name="connsiteY318" fmla="*/ 2155510 h 6407421"/>
              <a:gd name="connsiteX319" fmla="*/ 502236 w 1064123"/>
              <a:gd name="connsiteY319" fmla="*/ 2155510 h 6407421"/>
              <a:gd name="connsiteX320" fmla="*/ 236037 w 1064123"/>
              <a:gd name="connsiteY320" fmla="*/ 2126012 h 6407421"/>
              <a:gd name="connsiteX321" fmla="*/ 265639 w 1064123"/>
              <a:gd name="connsiteY321" fmla="*/ 2126012 h 6407421"/>
              <a:gd name="connsiteX322" fmla="*/ 265639 w 1064123"/>
              <a:gd name="connsiteY322" fmla="*/ 2155506 h 6407421"/>
              <a:gd name="connsiteX323" fmla="*/ 236037 w 1064123"/>
              <a:gd name="connsiteY323" fmla="*/ 2155506 h 6407421"/>
              <a:gd name="connsiteX324" fmla="*/ 1 w 1064123"/>
              <a:gd name="connsiteY324" fmla="*/ 2126012 h 6407421"/>
              <a:gd name="connsiteX325" fmla="*/ 29603 w 1064123"/>
              <a:gd name="connsiteY325" fmla="*/ 2126012 h 6407421"/>
              <a:gd name="connsiteX326" fmla="*/ 29603 w 1064123"/>
              <a:gd name="connsiteY326" fmla="*/ 2155506 h 6407421"/>
              <a:gd name="connsiteX327" fmla="*/ 1 w 1064123"/>
              <a:gd name="connsiteY327" fmla="*/ 2155506 h 6407421"/>
              <a:gd name="connsiteX328" fmla="*/ 1034520 w 1064123"/>
              <a:gd name="connsiteY328" fmla="*/ 1860254 h 6407421"/>
              <a:gd name="connsiteX329" fmla="*/ 1064123 w 1064123"/>
              <a:gd name="connsiteY329" fmla="*/ 1860254 h 6407421"/>
              <a:gd name="connsiteX330" fmla="*/ 1064123 w 1064123"/>
              <a:gd name="connsiteY330" fmla="*/ 1889747 h 6407421"/>
              <a:gd name="connsiteX331" fmla="*/ 1034520 w 1064123"/>
              <a:gd name="connsiteY331" fmla="*/ 1889747 h 6407421"/>
              <a:gd name="connsiteX332" fmla="*/ 768327 w 1064123"/>
              <a:gd name="connsiteY332" fmla="*/ 1860252 h 6407421"/>
              <a:gd name="connsiteX333" fmla="*/ 797926 w 1064123"/>
              <a:gd name="connsiteY333" fmla="*/ 1860252 h 6407421"/>
              <a:gd name="connsiteX334" fmla="*/ 797926 w 1064123"/>
              <a:gd name="connsiteY334" fmla="*/ 1889745 h 6407421"/>
              <a:gd name="connsiteX335" fmla="*/ 768327 w 1064123"/>
              <a:gd name="connsiteY335" fmla="*/ 1889745 h 6407421"/>
              <a:gd name="connsiteX336" fmla="*/ 502236 w 1064123"/>
              <a:gd name="connsiteY336" fmla="*/ 1860249 h 6407421"/>
              <a:gd name="connsiteX337" fmla="*/ 531838 w 1064123"/>
              <a:gd name="connsiteY337" fmla="*/ 1860249 h 6407421"/>
              <a:gd name="connsiteX338" fmla="*/ 531838 w 1064123"/>
              <a:gd name="connsiteY338" fmla="*/ 1889744 h 6407421"/>
              <a:gd name="connsiteX339" fmla="*/ 502236 w 1064123"/>
              <a:gd name="connsiteY339" fmla="*/ 1889744 h 6407421"/>
              <a:gd name="connsiteX340" fmla="*/ 236037 w 1064123"/>
              <a:gd name="connsiteY340" fmla="*/ 1860247 h 6407421"/>
              <a:gd name="connsiteX341" fmla="*/ 265639 w 1064123"/>
              <a:gd name="connsiteY341" fmla="*/ 1860247 h 6407421"/>
              <a:gd name="connsiteX342" fmla="*/ 265639 w 1064123"/>
              <a:gd name="connsiteY342" fmla="*/ 1889742 h 6407421"/>
              <a:gd name="connsiteX343" fmla="*/ 236037 w 1064123"/>
              <a:gd name="connsiteY343" fmla="*/ 1889742 h 6407421"/>
              <a:gd name="connsiteX344" fmla="*/ 1 w 1064123"/>
              <a:gd name="connsiteY344" fmla="*/ 1860247 h 6407421"/>
              <a:gd name="connsiteX345" fmla="*/ 29603 w 1064123"/>
              <a:gd name="connsiteY345" fmla="*/ 1860247 h 6407421"/>
              <a:gd name="connsiteX346" fmla="*/ 29603 w 1064123"/>
              <a:gd name="connsiteY346" fmla="*/ 1889742 h 6407421"/>
              <a:gd name="connsiteX347" fmla="*/ 1 w 1064123"/>
              <a:gd name="connsiteY347" fmla="*/ 1889742 h 6407421"/>
              <a:gd name="connsiteX348" fmla="*/ 1034520 w 1064123"/>
              <a:gd name="connsiteY348" fmla="*/ 1594489 h 6407421"/>
              <a:gd name="connsiteX349" fmla="*/ 1064123 w 1064123"/>
              <a:gd name="connsiteY349" fmla="*/ 1594489 h 6407421"/>
              <a:gd name="connsiteX350" fmla="*/ 1064123 w 1064123"/>
              <a:gd name="connsiteY350" fmla="*/ 1624092 h 6407421"/>
              <a:gd name="connsiteX351" fmla="*/ 1034520 w 1064123"/>
              <a:gd name="connsiteY351" fmla="*/ 1624092 h 6407421"/>
              <a:gd name="connsiteX352" fmla="*/ 768327 w 1064123"/>
              <a:gd name="connsiteY352" fmla="*/ 1594486 h 6407421"/>
              <a:gd name="connsiteX353" fmla="*/ 797926 w 1064123"/>
              <a:gd name="connsiteY353" fmla="*/ 1594486 h 6407421"/>
              <a:gd name="connsiteX354" fmla="*/ 797926 w 1064123"/>
              <a:gd name="connsiteY354" fmla="*/ 1624090 h 6407421"/>
              <a:gd name="connsiteX355" fmla="*/ 768327 w 1064123"/>
              <a:gd name="connsiteY355" fmla="*/ 1624090 h 6407421"/>
              <a:gd name="connsiteX356" fmla="*/ 502236 w 1064123"/>
              <a:gd name="connsiteY356" fmla="*/ 1594484 h 6407421"/>
              <a:gd name="connsiteX357" fmla="*/ 531838 w 1064123"/>
              <a:gd name="connsiteY357" fmla="*/ 1594484 h 6407421"/>
              <a:gd name="connsiteX358" fmla="*/ 531838 w 1064123"/>
              <a:gd name="connsiteY358" fmla="*/ 1624087 h 6407421"/>
              <a:gd name="connsiteX359" fmla="*/ 502236 w 1064123"/>
              <a:gd name="connsiteY359" fmla="*/ 1624087 h 6407421"/>
              <a:gd name="connsiteX360" fmla="*/ 236037 w 1064123"/>
              <a:gd name="connsiteY360" fmla="*/ 1594482 h 6407421"/>
              <a:gd name="connsiteX361" fmla="*/ 265639 w 1064123"/>
              <a:gd name="connsiteY361" fmla="*/ 1594482 h 6407421"/>
              <a:gd name="connsiteX362" fmla="*/ 265639 w 1064123"/>
              <a:gd name="connsiteY362" fmla="*/ 1624085 h 6407421"/>
              <a:gd name="connsiteX363" fmla="*/ 236037 w 1064123"/>
              <a:gd name="connsiteY363" fmla="*/ 1624085 h 6407421"/>
              <a:gd name="connsiteX364" fmla="*/ 1 w 1064123"/>
              <a:gd name="connsiteY364" fmla="*/ 1594482 h 6407421"/>
              <a:gd name="connsiteX365" fmla="*/ 29603 w 1064123"/>
              <a:gd name="connsiteY365" fmla="*/ 1594482 h 6407421"/>
              <a:gd name="connsiteX366" fmla="*/ 29603 w 1064123"/>
              <a:gd name="connsiteY366" fmla="*/ 1624085 h 6407421"/>
              <a:gd name="connsiteX367" fmla="*/ 1 w 1064123"/>
              <a:gd name="connsiteY367" fmla="*/ 1624085 h 6407421"/>
              <a:gd name="connsiteX368" fmla="*/ 1034520 w 1064123"/>
              <a:gd name="connsiteY368" fmla="*/ 1328724 h 6407421"/>
              <a:gd name="connsiteX369" fmla="*/ 1064123 w 1064123"/>
              <a:gd name="connsiteY369" fmla="*/ 1328724 h 6407421"/>
              <a:gd name="connsiteX370" fmla="*/ 1064123 w 1064123"/>
              <a:gd name="connsiteY370" fmla="*/ 1358328 h 6407421"/>
              <a:gd name="connsiteX371" fmla="*/ 1034520 w 1064123"/>
              <a:gd name="connsiteY371" fmla="*/ 1358328 h 6407421"/>
              <a:gd name="connsiteX372" fmla="*/ 768327 w 1064123"/>
              <a:gd name="connsiteY372" fmla="*/ 1328722 h 6407421"/>
              <a:gd name="connsiteX373" fmla="*/ 797926 w 1064123"/>
              <a:gd name="connsiteY373" fmla="*/ 1328722 h 6407421"/>
              <a:gd name="connsiteX374" fmla="*/ 797926 w 1064123"/>
              <a:gd name="connsiteY374" fmla="*/ 1358325 h 6407421"/>
              <a:gd name="connsiteX375" fmla="*/ 768327 w 1064123"/>
              <a:gd name="connsiteY375" fmla="*/ 1358325 h 6407421"/>
              <a:gd name="connsiteX376" fmla="*/ 502236 w 1064123"/>
              <a:gd name="connsiteY376" fmla="*/ 1328719 h 6407421"/>
              <a:gd name="connsiteX377" fmla="*/ 531838 w 1064123"/>
              <a:gd name="connsiteY377" fmla="*/ 1328719 h 6407421"/>
              <a:gd name="connsiteX378" fmla="*/ 531838 w 1064123"/>
              <a:gd name="connsiteY378" fmla="*/ 1358323 h 6407421"/>
              <a:gd name="connsiteX379" fmla="*/ 502236 w 1064123"/>
              <a:gd name="connsiteY379" fmla="*/ 1358323 h 6407421"/>
              <a:gd name="connsiteX380" fmla="*/ 236036 w 1064123"/>
              <a:gd name="connsiteY380" fmla="*/ 1328717 h 6407421"/>
              <a:gd name="connsiteX381" fmla="*/ 265639 w 1064123"/>
              <a:gd name="connsiteY381" fmla="*/ 1328717 h 6407421"/>
              <a:gd name="connsiteX382" fmla="*/ 265639 w 1064123"/>
              <a:gd name="connsiteY382" fmla="*/ 1358320 h 6407421"/>
              <a:gd name="connsiteX383" fmla="*/ 236036 w 1064123"/>
              <a:gd name="connsiteY383" fmla="*/ 1358320 h 6407421"/>
              <a:gd name="connsiteX384" fmla="*/ 1 w 1064123"/>
              <a:gd name="connsiteY384" fmla="*/ 1328717 h 6407421"/>
              <a:gd name="connsiteX385" fmla="*/ 29602 w 1064123"/>
              <a:gd name="connsiteY385" fmla="*/ 1328717 h 6407421"/>
              <a:gd name="connsiteX386" fmla="*/ 29602 w 1064123"/>
              <a:gd name="connsiteY386" fmla="*/ 1358320 h 6407421"/>
              <a:gd name="connsiteX387" fmla="*/ 1 w 1064123"/>
              <a:gd name="connsiteY387" fmla="*/ 1358320 h 6407421"/>
              <a:gd name="connsiteX388" fmla="*/ 1034520 w 1064123"/>
              <a:gd name="connsiteY388" fmla="*/ 1063069 h 6407421"/>
              <a:gd name="connsiteX389" fmla="*/ 1064123 w 1064123"/>
              <a:gd name="connsiteY389" fmla="*/ 1063069 h 6407421"/>
              <a:gd name="connsiteX390" fmla="*/ 1064123 w 1064123"/>
              <a:gd name="connsiteY390" fmla="*/ 1092563 h 6407421"/>
              <a:gd name="connsiteX391" fmla="*/ 1034520 w 1064123"/>
              <a:gd name="connsiteY391" fmla="*/ 1092563 h 6407421"/>
              <a:gd name="connsiteX392" fmla="*/ 768326 w 1064123"/>
              <a:gd name="connsiteY392" fmla="*/ 1063066 h 6407421"/>
              <a:gd name="connsiteX393" fmla="*/ 797926 w 1064123"/>
              <a:gd name="connsiteY393" fmla="*/ 1063066 h 6407421"/>
              <a:gd name="connsiteX394" fmla="*/ 797926 w 1064123"/>
              <a:gd name="connsiteY394" fmla="*/ 1092560 h 6407421"/>
              <a:gd name="connsiteX395" fmla="*/ 768326 w 1064123"/>
              <a:gd name="connsiteY395" fmla="*/ 1092560 h 6407421"/>
              <a:gd name="connsiteX396" fmla="*/ 502235 w 1064123"/>
              <a:gd name="connsiteY396" fmla="*/ 1063063 h 6407421"/>
              <a:gd name="connsiteX397" fmla="*/ 531838 w 1064123"/>
              <a:gd name="connsiteY397" fmla="*/ 1063063 h 6407421"/>
              <a:gd name="connsiteX398" fmla="*/ 531838 w 1064123"/>
              <a:gd name="connsiteY398" fmla="*/ 1092557 h 6407421"/>
              <a:gd name="connsiteX399" fmla="*/ 502235 w 1064123"/>
              <a:gd name="connsiteY399" fmla="*/ 1092557 h 6407421"/>
              <a:gd name="connsiteX400" fmla="*/ 236036 w 1064123"/>
              <a:gd name="connsiteY400" fmla="*/ 1063059 h 6407421"/>
              <a:gd name="connsiteX401" fmla="*/ 265639 w 1064123"/>
              <a:gd name="connsiteY401" fmla="*/ 1063059 h 6407421"/>
              <a:gd name="connsiteX402" fmla="*/ 265639 w 1064123"/>
              <a:gd name="connsiteY402" fmla="*/ 1092554 h 6407421"/>
              <a:gd name="connsiteX403" fmla="*/ 236036 w 1064123"/>
              <a:gd name="connsiteY403" fmla="*/ 1092554 h 6407421"/>
              <a:gd name="connsiteX404" fmla="*/ 0 w 1064123"/>
              <a:gd name="connsiteY404" fmla="*/ 1063059 h 6407421"/>
              <a:gd name="connsiteX405" fmla="*/ 29602 w 1064123"/>
              <a:gd name="connsiteY405" fmla="*/ 1063059 h 6407421"/>
              <a:gd name="connsiteX406" fmla="*/ 29602 w 1064123"/>
              <a:gd name="connsiteY406" fmla="*/ 1092554 h 6407421"/>
              <a:gd name="connsiteX407" fmla="*/ 0 w 1064123"/>
              <a:gd name="connsiteY407" fmla="*/ 1092554 h 6407421"/>
              <a:gd name="connsiteX408" fmla="*/ 1034520 w 1064123"/>
              <a:gd name="connsiteY408" fmla="*/ 797300 h 6407421"/>
              <a:gd name="connsiteX409" fmla="*/ 1064123 w 1064123"/>
              <a:gd name="connsiteY409" fmla="*/ 797300 h 6407421"/>
              <a:gd name="connsiteX410" fmla="*/ 1064123 w 1064123"/>
              <a:gd name="connsiteY410" fmla="*/ 826797 h 6407421"/>
              <a:gd name="connsiteX411" fmla="*/ 1034520 w 1064123"/>
              <a:gd name="connsiteY411" fmla="*/ 826797 h 6407421"/>
              <a:gd name="connsiteX412" fmla="*/ 768326 w 1064123"/>
              <a:gd name="connsiteY412" fmla="*/ 797298 h 6407421"/>
              <a:gd name="connsiteX413" fmla="*/ 797926 w 1064123"/>
              <a:gd name="connsiteY413" fmla="*/ 797298 h 6407421"/>
              <a:gd name="connsiteX414" fmla="*/ 797926 w 1064123"/>
              <a:gd name="connsiteY414" fmla="*/ 826794 h 6407421"/>
              <a:gd name="connsiteX415" fmla="*/ 768326 w 1064123"/>
              <a:gd name="connsiteY415" fmla="*/ 826794 h 6407421"/>
              <a:gd name="connsiteX416" fmla="*/ 502235 w 1064123"/>
              <a:gd name="connsiteY416" fmla="*/ 797296 h 6407421"/>
              <a:gd name="connsiteX417" fmla="*/ 531838 w 1064123"/>
              <a:gd name="connsiteY417" fmla="*/ 797296 h 6407421"/>
              <a:gd name="connsiteX418" fmla="*/ 531838 w 1064123"/>
              <a:gd name="connsiteY418" fmla="*/ 826792 h 6407421"/>
              <a:gd name="connsiteX419" fmla="*/ 502235 w 1064123"/>
              <a:gd name="connsiteY419" fmla="*/ 826792 h 6407421"/>
              <a:gd name="connsiteX420" fmla="*/ 236036 w 1064123"/>
              <a:gd name="connsiteY420" fmla="*/ 797294 h 6407421"/>
              <a:gd name="connsiteX421" fmla="*/ 265639 w 1064123"/>
              <a:gd name="connsiteY421" fmla="*/ 797294 h 6407421"/>
              <a:gd name="connsiteX422" fmla="*/ 265639 w 1064123"/>
              <a:gd name="connsiteY422" fmla="*/ 826789 h 6407421"/>
              <a:gd name="connsiteX423" fmla="*/ 236036 w 1064123"/>
              <a:gd name="connsiteY423" fmla="*/ 826789 h 6407421"/>
              <a:gd name="connsiteX424" fmla="*/ 0 w 1064123"/>
              <a:gd name="connsiteY424" fmla="*/ 797294 h 6407421"/>
              <a:gd name="connsiteX425" fmla="*/ 29602 w 1064123"/>
              <a:gd name="connsiteY425" fmla="*/ 797294 h 6407421"/>
              <a:gd name="connsiteX426" fmla="*/ 29602 w 1064123"/>
              <a:gd name="connsiteY426" fmla="*/ 826789 h 6407421"/>
              <a:gd name="connsiteX427" fmla="*/ 0 w 1064123"/>
              <a:gd name="connsiteY427" fmla="*/ 826789 h 6407421"/>
              <a:gd name="connsiteX428" fmla="*/ 1034520 w 1064123"/>
              <a:gd name="connsiteY428" fmla="*/ 531537 h 6407421"/>
              <a:gd name="connsiteX429" fmla="*/ 1064123 w 1064123"/>
              <a:gd name="connsiteY429" fmla="*/ 531537 h 6407421"/>
              <a:gd name="connsiteX430" fmla="*/ 1064123 w 1064123"/>
              <a:gd name="connsiteY430" fmla="*/ 561139 h 6407421"/>
              <a:gd name="connsiteX431" fmla="*/ 1034520 w 1064123"/>
              <a:gd name="connsiteY431" fmla="*/ 561139 h 6407421"/>
              <a:gd name="connsiteX432" fmla="*/ 768326 w 1064123"/>
              <a:gd name="connsiteY432" fmla="*/ 531534 h 6407421"/>
              <a:gd name="connsiteX433" fmla="*/ 797926 w 1064123"/>
              <a:gd name="connsiteY433" fmla="*/ 531534 h 6407421"/>
              <a:gd name="connsiteX434" fmla="*/ 797926 w 1064123"/>
              <a:gd name="connsiteY434" fmla="*/ 561137 h 6407421"/>
              <a:gd name="connsiteX435" fmla="*/ 768326 w 1064123"/>
              <a:gd name="connsiteY435" fmla="*/ 561137 h 6407421"/>
              <a:gd name="connsiteX436" fmla="*/ 502235 w 1064123"/>
              <a:gd name="connsiteY436" fmla="*/ 531532 h 6407421"/>
              <a:gd name="connsiteX437" fmla="*/ 531838 w 1064123"/>
              <a:gd name="connsiteY437" fmla="*/ 531532 h 6407421"/>
              <a:gd name="connsiteX438" fmla="*/ 531838 w 1064123"/>
              <a:gd name="connsiteY438" fmla="*/ 561135 h 6407421"/>
              <a:gd name="connsiteX439" fmla="*/ 502235 w 1064123"/>
              <a:gd name="connsiteY439" fmla="*/ 561135 h 6407421"/>
              <a:gd name="connsiteX440" fmla="*/ 236036 w 1064123"/>
              <a:gd name="connsiteY440" fmla="*/ 531530 h 6407421"/>
              <a:gd name="connsiteX441" fmla="*/ 265639 w 1064123"/>
              <a:gd name="connsiteY441" fmla="*/ 531530 h 6407421"/>
              <a:gd name="connsiteX442" fmla="*/ 265639 w 1064123"/>
              <a:gd name="connsiteY442" fmla="*/ 561133 h 6407421"/>
              <a:gd name="connsiteX443" fmla="*/ 236036 w 1064123"/>
              <a:gd name="connsiteY443" fmla="*/ 561133 h 6407421"/>
              <a:gd name="connsiteX444" fmla="*/ 0 w 1064123"/>
              <a:gd name="connsiteY444" fmla="*/ 531530 h 6407421"/>
              <a:gd name="connsiteX445" fmla="*/ 29602 w 1064123"/>
              <a:gd name="connsiteY445" fmla="*/ 531530 h 6407421"/>
              <a:gd name="connsiteX446" fmla="*/ 29602 w 1064123"/>
              <a:gd name="connsiteY446" fmla="*/ 561133 h 6407421"/>
              <a:gd name="connsiteX447" fmla="*/ 0 w 1064123"/>
              <a:gd name="connsiteY447" fmla="*/ 561133 h 6407421"/>
              <a:gd name="connsiteX448" fmla="*/ 1034520 w 1064123"/>
              <a:gd name="connsiteY448" fmla="*/ 265772 h 6407421"/>
              <a:gd name="connsiteX449" fmla="*/ 1064123 w 1064123"/>
              <a:gd name="connsiteY449" fmla="*/ 265772 h 6407421"/>
              <a:gd name="connsiteX450" fmla="*/ 1064123 w 1064123"/>
              <a:gd name="connsiteY450" fmla="*/ 295374 h 6407421"/>
              <a:gd name="connsiteX451" fmla="*/ 1034520 w 1064123"/>
              <a:gd name="connsiteY451" fmla="*/ 295374 h 6407421"/>
              <a:gd name="connsiteX452" fmla="*/ 768326 w 1064123"/>
              <a:gd name="connsiteY452" fmla="*/ 265770 h 6407421"/>
              <a:gd name="connsiteX453" fmla="*/ 797926 w 1064123"/>
              <a:gd name="connsiteY453" fmla="*/ 265770 h 6407421"/>
              <a:gd name="connsiteX454" fmla="*/ 797926 w 1064123"/>
              <a:gd name="connsiteY454" fmla="*/ 295372 h 6407421"/>
              <a:gd name="connsiteX455" fmla="*/ 768326 w 1064123"/>
              <a:gd name="connsiteY455" fmla="*/ 295372 h 6407421"/>
              <a:gd name="connsiteX456" fmla="*/ 502235 w 1064123"/>
              <a:gd name="connsiteY456" fmla="*/ 265767 h 6407421"/>
              <a:gd name="connsiteX457" fmla="*/ 531838 w 1064123"/>
              <a:gd name="connsiteY457" fmla="*/ 265767 h 6407421"/>
              <a:gd name="connsiteX458" fmla="*/ 531838 w 1064123"/>
              <a:gd name="connsiteY458" fmla="*/ 295370 h 6407421"/>
              <a:gd name="connsiteX459" fmla="*/ 502235 w 1064123"/>
              <a:gd name="connsiteY459" fmla="*/ 295370 h 6407421"/>
              <a:gd name="connsiteX460" fmla="*/ 236036 w 1064123"/>
              <a:gd name="connsiteY460" fmla="*/ 265765 h 6407421"/>
              <a:gd name="connsiteX461" fmla="*/ 265639 w 1064123"/>
              <a:gd name="connsiteY461" fmla="*/ 265765 h 6407421"/>
              <a:gd name="connsiteX462" fmla="*/ 265639 w 1064123"/>
              <a:gd name="connsiteY462" fmla="*/ 295368 h 6407421"/>
              <a:gd name="connsiteX463" fmla="*/ 236036 w 1064123"/>
              <a:gd name="connsiteY463" fmla="*/ 295368 h 6407421"/>
              <a:gd name="connsiteX464" fmla="*/ 0 w 1064123"/>
              <a:gd name="connsiteY464" fmla="*/ 265765 h 6407421"/>
              <a:gd name="connsiteX465" fmla="*/ 29602 w 1064123"/>
              <a:gd name="connsiteY465" fmla="*/ 265765 h 6407421"/>
              <a:gd name="connsiteX466" fmla="*/ 29602 w 1064123"/>
              <a:gd name="connsiteY466" fmla="*/ 295368 h 6407421"/>
              <a:gd name="connsiteX467" fmla="*/ 0 w 1064123"/>
              <a:gd name="connsiteY467" fmla="*/ 295368 h 6407421"/>
              <a:gd name="connsiteX468" fmla="*/ 1034520 w 1064123"/>
              <a:gd name="connsiteY468" fmla="*/ 7 h 6407421"/>
              <a:gd name="connsiteX469" fmla="*/ 1064123 w 1064123"/>
              <a:gd name="connsiteY469" fmla="*/ 7 h 6407421"/>
              <a:gd name="connsiteX470" fmla="*/ 1064123 w 1064123"/>
              <a:gd name="connsiteY470" fmla="*/ 29609 h 6407421"/>
              <a:gd name="connsiteX471" fmla="*/ 1034520 w 1064123"/>
              <a:gd name="connsiteY471" fmla="*/ 29609 h 6407421"/>
              <a:gd name="connsiteX472" fmla="*/ 768326 w 1064123"/>
              <a:gd name="connsiteY472" fmla="*/ 5 h 6407421"/>
              <a:gd name="connsiteX473" fmla="*/ 797926 w 1064123"/>
              <a:gd name="connsiteY473" fmla="*/ 5 h 6407421"/>
              <a:gd name="connsiteX474" fmla="*/ 797926 w 1064123"/>
              <a:gd name="connsiteY474" fmla="*/ 29607 h 6407421"/>
              <a:gd name="connsiteX475" fmla="*/ 768326 w 1064123"/>
              <a:gd name="connsiteY475" fmla="*/ 29607 h 6407421"/>
              <a:gd name="connsiteX476" fmla="*/ 502235 w 1064123"/>
              <a:gd name="connsiteY476" fmla="*/ 2 h 6407421"/>
              <a:gd name="connsiteX477" fmla="*/ 531838 w 1064123"/>
              <a:gd name="connsiteY477" fmla="*/ 2 h 6407421"/>
              <a:gd name="connsiteX478" fmla="*/ 531838 w 1064123"/>
              <a:gd name="connsiteY478" fmla="*/ 29605 h 6407421"/>
              <a:gd name="connsiteX479" fmla="*/ 502235 w 1064123"/>
              <a:gd name="connsiteY479" fmla="*/ 29605 h 6407421"/>
              <a:gd name="connsiteX480" fmla="*/ 236036 w 1064123"/>
              <a:gd name="connsiteY480" fmla="*/ 0 h 6407421"/>
              <a:gd name="connsiteX481" fmla="*/ 265638 w 1064123"/>
              <a:gd name="connsiteY481" fmla="*/ 0 h 6407421"/>
              <a:gd name="connsiteX482" fmla="*/ 265638 w 1064123"/>
              <a:gd name="connsiteY482" fmla="*/ 29602 h 6407421"/>
              <a:gd name="connsiteX483" fmla="*/ 236036 w 1064123"/>
              <a:gd name="connsiteY483" fmla="*/ 29602 h 6407421"/>
              <a:gd name="connsiteX484" fmla="*/ 0 w 1064123"/>
              <a:gd name="connsiteY484" fmla="*/ 0 h 6407421"/>
              <a:gd name="connsiteX485" fmla="*/ 29602 w 1064123"/>
              <a:gd name="connsiteY485" fmla="*/ 0 h 6407421"/>
              <a:gd name="connsiteX486" fmla="*/ 29602 w 1064123"/>
              <a:gd name="connsiteY486" fmla="*/ 29602 h 6407421"/>
              <a:gd name="connsiteX487" fmla="*/ 0 w 1064123"/>
              <a:gd name="connsiteY487"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3454727"/>
                </a:moveTo>
                <a:lnTo>
                  <a:pt x="1064123" y="3454727"/>
                </a:lnTo>
                <a:lnTo>
                  <a:pt x="1064123" y="3484330"/>
                </a:lnTo>
                <a:lnTo>
                  <a:pt x="1034520" y="3484330"/>
                </a:lnTo>
                <a:close/>
                <a:moveTo>
                  <a:pt x="768327" y="3454727"/>
                </a:moveTo>
                <a:lnTo>
                  <a:pt x="797926" y="3454727"/>
                </a:lnTo>
                <a:lnTo>
                  <a:pt x="797926" y="3484330"/>
                </a:lnTo>
                <a:lnTo>
                  <a:pt x="768327" y="3484330"/>
                </a:lnTo>
                <a:close/>
                <a:moveTo>
                  <a:pt x="502236" y="3454727"/>
                </a:moveTo>
                <a:lnTo>
                  <a:pt x="531839" y="3454727"/>
                </a:lnTo>
                <a:lnTo>
                  <a:pt x="531839" y="3484330"/>
                </a:lnTo>
                <a:lnTo>
                  <a:pt x="502236" y="3484330"/>
                </a:lnTo>
                <a:close/>
                <a:moveTo>
                  <a:pt x="236037" y="3454727"/>
                </a:moveTo>
                <a:lnTo>
                  <a:pt x="265640" y="3454727"/>
                </a:lnTo>
                <a:lnTo>
                  <a:pt x="265640" y="3484330"/>
                </a:lnTo>
                <a:lnTo>
                  <a:pt x="236037" y="3484330"/>
                </a:lnTo>
                <a:close/>
                <a:moveTo>
                  <a:pt x="1" y="3454727"/>
                </a:moveTo>
                <a:lnTo>
                  <a:pt x="29603" y="3454727"/>
                </a:lnTo>
                <a:lnTo>
                  <a:pt x="29603" y="3484330"/>
                </a:lnTo>
                <a:lnTo>
                  <a:pt x="1" y="3484330"/>
                </a:lnTo>
                <a:close/>
                <a:moveTo>
                  <a:pt x="1034520" y="3189074"/>
                </a:moveTo>
                <a:lnTo>
                  <a:pt x="1064123" y="3189074"/>
                </a:lnTo>
                <a:lnTo>
                  <a:pt x="1064123" y="3218566"/>
                </a:lnTo>
                <a:lnTo>
                  <a:pt x="1034520" y="3218566"/>
                </a:lnTo>
                <a:close/>
                <a:moveTo>
                  <a:pt x="1" y="3189071"/>
                </a:moveTo>
                <a:lnTo>
                  <a:pt x="29603" y="3189071"/>
                </a:lnTo>
                <a:lnTo>
                  <a:pt x="29603" y="3218566"/>
                </a:lnTo>
                <a:lnTo>
                  <a:pt x="1" y="3218566"/>
                </a:lnTo>
                <a:close/>
                <a:moveTo>
                  <a:pt x="1034520" y="2923310"/>
                </a:moveTo>
                <a:lnTo>
                  <a:pt x="1064123" y="2923310"/>
                </a:lnTo>
                <a:lnTo>
                  <a:pt x="1064123" y="2952805"/>
                </a:lnTo>
                <a:lnTo>
                  <a:pt x="1034520" y="2952805"/>
                </a:lnTo>
                <a:close/>
                <a:moveTo>
                  <a:pt x="768327" y="2923309"/>
                </a:moveTo>
                <a:lnTo>
                  <a:pt x="797926" y="2923309"/>
                </a:lnTo>
                <a:lnTo>
                  <a:pt x="797926" y="2952804"/>
                </a:lnTo>
                <a:lnTo>
                  <a:pt x="768327" y="2952804"/>
                </a:lnTo>
                <a:close/>
                <a:moveTo>
                  <a:pt x="502236" y="2923308"/>
                </a:moveTo>
                <a:lnTo>
                  <a:pt x="531838" y="2923308"/>
                </a:lnTo>
                <a:lnTo>
                  <a:pt x="531838" y="2952803"/>
                </a:lnTo>
                <a:lnTo>
                  <a:pt x="502236" y="2952803"/>
                </a:lnTo>
                <a:close/>
                <a:moveTo>
                  <a:pt x="236037" y="2923307"/>
                </a:moveTo>
                <a:lnTo>
                  <a:pt x="265639" y="2923307"/>
                </a:lnTo>
                <a:lnTo>
                  <a:pt x="265639" y="2952802"/>
                </a:lnTo>
                <a:lnTo>
                  <a:pt x="236037" y="2952802"/>
                </a:lnTo>
                <a:close/>
                <a:moveTo>
                  <a:pt x="1" y="2923307"/>
                </a:moveTo>
                <a:lnTo>
                  <a:pt x="29603" y="2923307"/>
                </a:lnTo>
                <a:lnTo>
                  <a:pt x="29603" y="2952802"/>
                </a:lnTo>
                <a:lnTo>
                  <a:pt x="1" y="2952802"/>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20000"/>
            </a:schemeClr>
          </a:solidFill>
          <a:ln w="10797" cap="flat">
            <a:noFill/>
            <a:prstDash val="solid"/>
            <a:miter/>
          </a:ln>
        </p:spPr>
        <p:txBody>
          <a:bodyPr wrap="square" rtlCol="0" anchor="ctr">
            <a:noAutofit/>
          </a:bodyPr>
          <a:lstStyle/>
          <a:p>
            <a:endParaRPr lang="en-US" sz="1799"/>
          </a:p>
        </p:txBody>
      </p:sp>
      <p:sp>
        <p:nvSpPr>
          <p:cNvPr id="13" name="Title Placeholder 1"/>
          <p:cNvSpPr>
            <a:spLocks noGrp="1"/>
          </p:cNvSpPr>
          <p:nvPr>
            <p:ph type="title"/>
          </p:nvPr>
        </p:nvSpPr>
        <p:spPr>
          <a:xfrm>
            <a:off x="417335" y="388976"/>
            <a:ext cx="9892380" cy="738785"/>
          </a:xfrm>
          <a:prstGeom prst="rect">
            <a:avLst/>
          </a:prstGeom>
        </p:spPr>
        <p:txBody>
          <a:bodyPr vert="horz" lIns="0" tIns="0" rIns="0" bIns="0" rtlCol="0" anchor="t" anchorCtr="0">
            <a:noAutofit/>
          </a:bodyPr>
          <a:lstStyle>
            <a:lvl1pPr>
              <a:defRPr lang="en-US" sz="2099" b="0" i="0" kern="1200" spc="-50" baseline="0" dirty="0">
                <a:solidFill>
                  <a:schemeClr val="tx1"/>
                </a:solidFill>
                <a:latin typeface="Arial" panose="020B0604020202020204" pitchFamily="34" charset="0"/>
                <a:ea typeface="+mj-ea"/>
                <a:cs typeface="Arial"/>
              </a:defRPr>
            </a:lvl1pPr>
          </a:lstStyle>
          <a:p>
            <a:endParaRPr lang="en-US"/>
          </a:p>
        </p:txBody>
      </p:sp>
      <p:sp>
        <p:nvSpPr>
          <p:cNvPr id="14" name="Round Same-side Corner of Rectangle 7">
            <a:extLst>
              <a:ext uri="{FF2B5EF4-FFF2-40B4-BE49-F238E27FC236}">
                <a16:creationId xmlns:a16="http://schemas.microsoft.com/office/drawing/2014/main" id="{CEBD1A75-5873-5C48-A3DF-6DA40EDCA8AE}"/>
              </a:ext>
            </a:extLst>
          </p:cNvPr>
          <p:cNvSpPr/>
          <p:nvPr userDrawn="1"/>
        </p:nvSpPr>
        <p:spPr>
          <a:xfrm rot="5400000">
            <a:off x="-82897" y="402299"/>
            <a:ext cx="365226" cy="199432"/>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ro-RO" sz="1400" b="0" i="0" err="1">
              <a:latin typeface="Arial"/>
              <a:cs typeface="Arial"/>
            </a:endParaRPr>
          </a:p>
        </p:txBody>
      </p:sp>
      <p:sp>
        <p:nvSpPr>
          <p:cNvPr id="15" name="Graphic 16">
            <a:extLst>
              <a:ext uri="{FF2B5EF4-FFF2-40B4-BE49-F238E27FC236}">
                <a16:creationId xmlns:a16="http://schemas.microsoft.com/office/drawing/2014/main" id="{C1DC35A7-EFB6-4FED-B520-4FBC9E9DE315}"/>
              </a:ext>
            </a:extLst>
          </p:cNvPr>
          <p:cNvSpPr>
            <a:spLocks noChangeAspect="1"/>
          </p:cNvSpPr>
          <p:nvPr userDrawn="1"/>
        </p:nvSpPr>
        <p:spPr>
          <a:xfrm>
            <a:off x="10848924" y="313008"/>
            <a:ext cx="1048870" cy="371620"/>
          </a:xfrm>
          <a:custGeom>
            <a:avLst/>
            <a:gdLst>
              <a:gd name="connsiteX0" fmla="*/ 0 w 1508759"/>
              <a:gd name="connsiteY0" fmla="*/ 0 h 534561"/>
              <a:gd name="connsiteX1" fmla="*/ 537808 w 1508759"/>
              <a:gd name="connsiteY1" fmla="*/ 0 h 534561"/>
              <a:gd name="connsiteX2" fmla="*/ 537808 w 1508759"/>
              <a:gd name="connsiteY2" fmla="*/ 537808 h 534561"/>
              <a:gd name="connsiteX3" fmla="*/ 0 w 1508759"/>
              <a:gd name="connsiteY3" fmla="*/ 537808 h 534561"/>
              <a:gd name="connsiteX4" fmla="*/ 0 w 1508759"/>
              <a:gd name="connsiteY4" fmla="*/ 0 h 534561"/>
              <a:gd name="connsiteX5" fmla="*/ 55654 w 1508759"/>
              <a:gd name="connsiteY5" fmla="*/ 482154 h 534561"/>
              <a:gd name="connsiteX6" fmla="*/ 482154 w 1508759"/>
              <a:gd name="connsiteY6" fmla="*/ 482154 h 534561"/>
              <a:gd name="connsiteX7" fmla="*/ 482154 w 1508759"/>
              <a:gd name="connsiteY7" fmla="*/ 55654 h 534561"/>
              <a:gd name="connsiteX8" fmla="*/ 55654 w 1508759"/>
              <a:gd name="connsiteY8" fmla="*/ 55654 h 534561"/>
              <a:gd name="connsiteX9" fmla="*/ 55654 w 1508759"/>
              <a:gd name="connsiteY9" fmla="*/ 482154 h 534561"/>
              <a:gd name="connsiteX10" fmla="*/ 270678 w 1508759"/>
              <a:gd name="connsiteY10" fmla="*/ 138736 h 534561"/>
              <a:gd name="connsiteX11" fmla="*/ 326332 w 1508759"/>
              <a:gd name="connsiteY11" fmla="*/ 138736 h 534561"/>
              <a:gd name="connsiteX12" fmla="*/ 326332 w 1508759"/>
              <a:gd name="connsiteY12" fmla="*/ 301702 h 534561"/>
              <a:gd name="connsiteX13" fmla="*/ 214124 w 1508759"/>
              <a:gd name="connsiteY13" fmla="*/ 419755 h 534561"/>
              <a:gd name="connsiteX14" fmla="*/ 104114 w 1508759"/>
              <a:gd name="connsiteY14" fmla="*/ 301702 h 534561"/>
              <a:gd name="connsiteX15" fmla="*/ 104114 w 1508759"/>
              <a:gd name="connsiteY15" fmla="*/ 138736 h 534561"/>
              <a:gd name="connsiteX16" fmla="*/ 159769 w 1508759"/>
              <a:gd name="connsiteY16" fmla="*/ 138736 h 534561"/>
              <a:gd name="connsiteX17" fmla="*/ 159769 w 1508759"/>
              <a:gd name="connsiteY17" fmla="*/ 301702 h 534561"/>
              <a:gd name="connsiteX18" fmla="*/ 215423 w 1508759"/>
              <a:gd name="connsiteY18" fmla="*/ 367248 h 534561"/>
              <a:gd name="connsiteX19" fmla="*/ 270628 w 1508759"/>
              <a:gd name="connsiteY19" fmla="*/ 301702 h 534561"/>
              <a:gd name="connsiteX20" fmla="*/ 270628 w 1508759"/>
              <a:gd name="connsiteY20" fmla="*/ 138736 h 534561"/>
              <a:gd name="connsiteX21" fmla="*/ 432345 w 1508759"/>
              <a:gd name="connsiteY21" fmla="*/ 138736 h 534561"/>
              <a:gd name="connsiteX22" fmla="*/ 398223 w 1508759"/>
              <a:gd name="connsiteY22" fmla="*/ 171959 h 534561"/>
              <a:gd name="connsiteX23" fmla="*/ 364101 w 1508759"/>
              <a:gd name="connsiteY23" fmla="*/ 138736 h 534561"/>
              <a:gd name="connsiteX24" fmla="*/ 398223 w 1508759"/>
              <a:gd name="connsiteY24" fmla="*/ 104614 h 534561"/>
              <a:gd name="connsiteX25" fmla="*/ 432345 w 1508759"/>
              <a:gd name="connsiteY25" fmla="*/ 138736 h 534561"/>
              <a:gd name="connsiteX26" fmla="*/ 370346 w 1508759"/>
              <a:gd name="connsiteY26" fmla="*/ 198437 h 534561"/>
              <a:gd name="connsiteX27" fmla="*/ 426000 w 1508759"/>
              <a:gd name="connsiteY27" fmla="*/ 198437 h 534561"/>
              <a:gd name="connsiteX28" fmla="*/ 426000 w 1508759"/>
              <a:gd name="connsiteY28" fmla="*/ 417058 h 534561"/>
              <a:gd name="connsiteX29" fmla="*/ 370346 w 1508759"/>
              <a:gd name="connsiteY29" fmla="*/ 417058 h 534561"/>
              <a:gd name="connsiteX30" fmla="*/ 370346 w 1508759"/>
              <a:gd name="connsiteY30" fmla="*/ 198437 h 534561"/>
              <a:gd name="connsiteX31" fmla="*/ 799543 w 1508759"/>
              <a:gd name="connsiteY31" fmla="*/ 232109 h 534561"/>
              <a:gd name="connsiteX32" fmla="*/ 699425 w 1508759"/>
              <a:gd name="connsiteY32" fmla="*/ 327281 h 534561"/>
              <a:gd name="connsiteX33" fmla="*/ 649167 w 1508759"/>
              <a:gd name="connsiteY33" fmla="*/ 327281 h 534561"/>
              <a:gd name="connsiteX34" fmla="*/ 649167 w 1508759"/>
              <a:gd name="connsiteY34" fmla="*/ 417058 h 534561"/>
              <a:gd name="connsiteX35" fmla="*/ 593512 w 1508759"/>
              <a:gd name="connsiteY35" fmla="*/ 417058 h 534561"/>
              <a:gd name="connsiteX36" fmla="*/ 593512 w 1508759"/>
              <a:gd name="connsiteY36" fmla="*/ 138736 h 534561"/>
              <a:gd name="connsiteX37" fmla="*/ 699425 w 1508759"/>
              <a:gd name="connsiteY37" fmla="*/ 138736 h 534561"/>
              <a:gd name="connsiteX38" fmla="*/ 799543 w 1508759"/>
              <a:gd name="connsiteY38" fmla="*/ 232109 h 534561"/>
              <a:gd name="connsiteX39" fmla="*/ 742989 w 1508759"/>
              <a:gd name="connsiteY39" fmla="*/ 232109 h 534561"/>
              <a:gd name="connsiteX40" fmla="*/ 693630 w 1508759"/>
              <a:gd name="connsiteY40" fmla="*/ 183599 h 534561"/>
              <a:gd name="connsiteX41" fmla="*/ 649167 w 1508759"/>
              <a:gd name="connsiteY41" fmla="*/ 183599 h 534561"/>
              <a:gd name="connsiteX42" fmla="*/ 649167 w 1508759"/>
              <a:gd name="connsiteY42" fmla="*/ 282818 h 534561"/>
              <a:gd name="connsiteX43" fmla="*/ 693630 w 1508759"/>
              <a:gd name="connsiteY43" fmla="*/ 282818 h 534561"/>
              <a:gd name="connsiteX44" fmla="*/ 742989 w 1508759"/>
              <a:gd name="connsiteY44" fmla="*/ 232109 h 534561"/>
              <a:gd name="connsiteX45" fmla="*/ 986739 w 1508759"/>
              <a:gd name="connsiteY45" fmla="*/ 198437 h 534561"/>
              <a:gd name="connsiteX46" fmla="*/ 1042393 w 1508759"/>
              <a:gd name="connsiteY46" fmla="*/ 198437 h 534561"/>
              <a:gd name="connsiteX47" fmla="*/ 1042393 w 1508759"/>
              <a:gd name="connsiteY47" fmla="*/ 417058 h 534561"/>
              <a:gd name="connsiteX48" fmla="*/ 986739 w 1508759"/>
              <a:gd name="connsiteY48" fmla="*/ 417058 h 534561"/>
              <a:gd name="connsiteX49" fmla="*/ 986739 w 1508759"/>
              <a:gd name="connsiteY49" fmla="*/ 392378 h 534561"/>
              <a:gd name="connsiteX50" fmla="*/ 915797 w 1508759"/>
              <a:gd name="connsiteY50" fmla="*/ 419755 h 534561"/>
              <a:gd name="connsiteX51" fmla="*/ 814780 w 1508759"/>
              <a:gd name="connsiteY51" fmla="*/ 307947 h 534561"/>
              <a:gd name="connsiteX52" fmla="*/ 915797 w 1508759"/>
              <a:gd name="connsiteY52" fmla="*/ 195689 h 534561"/>
              <a:gd name="connsiteX53" fmla="*/ 986739 w 1508759"/>
              <a:gd name="connsiteY53" fmla="*/ 225765 h 534561"/>
              <a:gd name="connsiteX54" fmla="*/ 986739 w 1508759"/>
              <a:gd name="connsiteY54" fmla="*/ 198437 h 534561"/>
              <a:gd name="connsiteX55" fmla="*/ 986739 w 1508759"/>
              <a:gd name="connsiteY55" fmla="*/ 307947 h 534561"/>
              <a:gd name="connsiteX56" fmla="*/ 928837 w 1508759"/>
              <a:gd name="connsiteY56" fmla="*/ 244200 h 534561"/>
              <a:gd name="connsiteX57" fmla="*/ 871384 w 1508759"/>
              <a:gd name="connsiteY57" fmla="*/ 307947 h 534561"/>
              <a:gd name="connsiteX58" fmla="*/ 928837 w 1508759"/>
              <a:gd name="connsiteY58" fmla="*/ 370796 h 534561"/>
              <a:gd name="connsiteX59" fmla="*/ 986739 w 1508759"/>
              <a:gd name="connsiteY59" fmla="*/ 307947 h 534561"/>
              <a:gd name="connsiteX60" fmla="*/ 1178432 w 1508759"/>
              <a:gd name="connsiteY60" fmla="*/ 369447 h 534561"/>
              <a:gd name="connsiteX61" fmla="*/ 1200413 w 1508759"/>
              <a:gd name="connsiteY61" fmla="*/ 369447 h 534561"/>
              <a:gd name="connsiteX62" fmla="*/ 1200413 w 1508759"/>
              <a:gd name="connsiteY62" fmla="*/ 417058 h 534561"/>
              <a:gd name="connsiteX63" fmla="*/ 1171237 w 1508759"/>
              <a:gd name="connsiteY63" fmla="*/ 417058 h 534561"/>
              <a:gd name="connsiteX64" fmla="*/ 1095350 w 1508759"/>
              <a:gd name="connsiteY64" fmla="*/ 340271 h 534561"/>
              <a:gd name="connsiteX65" fmla="*/ 1095350 w 1508759"/>
              <a:gd name="connsiteY65" fmla="*/ 245548 h 534561"/>
              <a:gd name="connsiteX66" fmla="*/ 1069321 w 1508759"/>
              <a:gd name="connsiteY66" fmla="*/ 245548 h 534561"/>
              <a:gd name="connsiteX67" fmla="*/ 1069321 w 1508759"/>
              <a:gd name="connsiteY67" fmla="*/ 198387 h 534561"/>
              <a:gd name="connsiteX68" fmla="*/ 1095350 w 1508759"/>
              <a:gd name="connsiteY68" fmla="*/ 198387 h 534561"/>
              <a:gd name="connsiteX69" fmla="*/ 1095350 w 1508759"/>
              <a:gd name="connsiteY69" fmla="*/ 138736 h 534561"/>
              <a:gd name="connsiteX70" fmla="*/ 1151004 w 1508759"/>
              <a:gd name="connsiteY70" fmla="*/ 138736 h 534561"/>
              <a:gd name="connsiteX71" fmla="*/ 1151004 w 1508759"/>
              <a:gd name="connsiteY71" fmla="*/ 198437 h 534561"/>
              <a:gd name="connsiteX72" fmla="*/ 1199914 w 1508759"/>
              <a:gd name="connsiteY72" fmla="*/ 198437 h 534561"/>
              <a:gd name="connsiteX73" fmla="*/ 1199914 w 1508759"/>
              <a:gd name="connsiteY73" fmla="*/ 245598 h 534561"/>
              <a:gd name="connsiteX74" fmla="*/ 1151004 w 1508759"/>
              <a:gd name="connsiteY74" fmla="*/ 245598 h 534561"/>
              <a:gd name="connsiteX75" fmla="*/ 1151004 w 1508759"/>
              <a:gd name="connsiteY75" fmla="*/ 340720 h 534561"/>
              <a:gd name="connsiteX76" fmla="*/ 1178432 w 1508759"/>
              <a:gd name="connsiteY76" fmla="*/ 369447 h 534561"/>
              <a:gd name="connsiteX77" fmla="*/ 1440616 w 1508759"/>
              <a:gd name="connsiteY77" fmla="*/ 290012 h 534561"/>
              <a:gd name="connsiteX78" fmla="*/ 1440616 w 1508759"/>
              <a:gd name="connsiteY78" fmla="*/ 417058 h 534561"/>
              <a:gd name="connsiteX79" fmla="*/ 1384962 w 1508759"/>
              <a:gd name="connsiteY79" fmla="*/ 417058 h 534561"/>
              <a:gd name="connsiteX80" fmla="*/ 1384962 w 1508759"/>
              <a:gd name="connsiteY80" fmla="*/ 296307 h 534561"/>
              <a:gd name="connsiteX81" fmla="*/ 1335103 w 1508759"/>
              <a:gd name="connsiteY81" fmla="*/ 241552 h 534561"/>
              <a:gd name="connsiteX82" fmla="*/ 1282596 w 1508759"/>
              <a:gd name="connsiteY82" fmla="*/ 301253 h 534561"/>
              <a:gd name="connsiteX83" fmla="*/ 1282596 w 1508759"/>
              <a:gd name="connsiteY83" fmla="*/ 417058 h 534561"/>
              <a:gd name="connsiteX84" fmla="*/ 1226942 w 1508759"/>
              <a:gd name="connsiteY84" fmla="*/ 417058 h 534561"/>
              <a:gd name="connsiteX85" fmla="*/ 1226942 w 1508759"/>
              <a:gd name="connsiteY85" fmla="*/ 125247 h 534561"/>
              <a:gd name="connsiteX86" fmla="*/ 1282596 w 1508759"/>
              <a:gd name="connsiteY86" fmla="*/ 125247 h 534561"/>
              <a:gd name="connsiteX87" fmla="*/ 1282596 w 1508759"/>
              <a:gd name="connsiteY87" fmla="*/ 220869 h 534561"/>
              <a:gd name="connsiteX88" fmla="*/ 1348592 w 1508759"/>
              <a:gd name="connsiteY88" fmla="*/ 195290 h 534561"/>
              <a:gd name="connsiteX89" fmla="*/ 1440616 w 1508759"/>
              <a:gd name="connsiteY89" fmla="*/ 290012 h 534561"/>
              <a:gd name="connsiteX90" fmla="*/ 1429075 w 1508759"/>
              <a:gd name="connsiteY90" fmla="*/ 125247 h 534561"/>
              <a:gd name="connsiteX91" fmla="*/ 1458252 w 1508759"/>
              <a:gd name="connsiteY91" fmla="*/ 125247 h 534561"/>
              <a:gd name="connsiteX92" fmla="*/ 1458252 w 1508759"/>
              <a:gd name="connsiteY92" fmla="*/ 131092 h 534561"/>
              <a:gd name="connsiteX93" fmla="*/ 1447460 w 1508759"/>
              <a:gd name="connsiteY93" fmla="*/ 131092 h 534561"/>
              <a:gd name="connsiteX94" fmla="*/ 1447460 w 1508759"/>
              <a:gd name="connsiteY94" fmla="*/ 165664 h 534561"/>
              <a:gd name="connsiteX95" fmla="*/ 1440266 w 1508759"/>
              <a:gd name="connsiteY95" fmla="*/ 165664 h 534561"/>
              <a:gd name="connsiteX96" fmla="*/ 1440266 w 1508759"/>
              <a:gd name="connsiteY96" fmla="*/ 131092 h 534561"/>
              <a:gd name="connsiteX97" fmla="*/ 1429026 w 1508759"/>
              <a:gd name="connsiteY97" fmla="*/ 131092 h 534561"/>
              <a:gd name="connsiteX98" fmla="*/ 1429026 w 1508759"/>
              <a:gd name="connsiteY98" fmla="*/ 125247 h 534561"/>
              <a:gd name="connsiteX99" fmla="*/ 1510808 w 1508759"/>
              <a:gd name="connsiteY99" fmla="*/ 125247 h 534561"/>
              <a:gd name="connsiteX100" fmla="*/ 1510808 w 1508759"/>
              <a:gd name="connsiteY100" fmla="*/ 165664 h 534561"/>
              <a:gd name="connsiteX101" fmla="*/ 1504064 w 1508759"/>
              <a:gd name="connsiteY101" fmla="*/ 165664 h 534561"/>
              <a:gd name="connsiteX102" fmla="*/ 1504064 w 1508759"/>
              <a:gd name="connsiteY102" fmla="*/ 135139 h 534561"/>
              <a:gd name="connsiteX103" fmla="*/ 1491474 w 1508759"/>
              <a:gd name="connsiteY103" fmla="*/ 165664 h 534561"/>
              <a:gd name="connsiteX104" fmla="*/ 1486079 w 1508759"/>
              <a:gd name="connsiteY104" fmla="*/ 165664 h 534561"/>
              <a:gd name="connsiteX105" fmla="*/ 1473089 w 1508759"/>
              <a:gd name="connsiteY105" fmla="*/ 135139 h 534561"/>
              <a:gd name="connsiteX106" fmla="*/ 1473089 w 1508759"/>
              <a:gd name="connsiteY106" fmla="*/ 165664 h 534561"/>
              <a:gd name="connsiteX107" fmla="*/ 1466795 w 1508759"/>
              <a:gd name="connsiteY107" fmla="*/ 165664 h 534561"/>
              <a:gd name="connsiteX108" fmla="*/ 1466795 w 1508759"/>
              <a:gd name="connsiteY108" fmla="*/ 125247 h 534561"/>
              <a:gd name="connsiteX109" fmla="*/ 1475338 w 1508759"/>
              <a:gd name="connsiteY109" fmla="*/ 125247 h 534561"/>
              <a:gd name="connsiteX110" fmla="*/ 1488327 w 1508759"/>
              <a:gd name="connsiteY110" fmla="*/ 157121 h 534561"/>
              <a:gd name="connsiteX111" fmla="*/ 1502265 w 1508759"/>
              <a:gd name="connsiteY111" fmla="*/ 125247 h 534561"/>
              <a:gd name="connsiteX112" fmla="*/ 1510808 w 1508759"/>
              <a:gd name="connsiteY112" fmla="*/ 125247 h 53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508759" h="534561">
                <a:moveTo>
                  <a:pt x="0" y="0"/>
                </a:moveTo>
                <a:lnTo>
                  <a:pt x="537808" y="0"/>
                </a:lnTo>
                <a:lnTo>
                  <a:pt x="537808" y="537808"/>
                </a:lnTo>
                <a:lnTo>
                  <a:pt x="0" y="537808"/>
                </a:lnTo>
                <a:lnTo>
                  <a:pt x="0" y="0"/>
                </a:lnTo>
                <a:close/>
                <a:moveTo>
                  <a:pt x="55654" y="482154"/>
                </a:moveTo>
                <a:lnTo>
                  <a:pt x="482154" y="482154"/>
                </a:lnTo>
                <a:lnTo>
                  <a:pt x="482154" y="55654"/>
                </a:lnTo>
                <a:lnTo>
                  <a:pt x="55654" y="55654"/>
                </a:lnTo>
                <a:lnTo>
                  <a:pt x="55654" y="482154"/>
                </a:lnTo>
                <a:close/>
                <a:moveTo>
                  <a:pt x="270678" y="138736"/>
                </a:moveTo>
                <a:lnTo>
                  <a:pt x="326332" y="138736"/>
                </a:lnTo>
                <a:lnTo>
                  <a:pt x="326332" y="301702"/>
                </a:lnTo>
                <a:cubicBezTo>
                  <a:pt x="326332" y="375342"/>
                  <a:pt x="284566" y="419755"/>
                  <a:pt x="214124" y="419755"/>
                </a:cubicBezTo>
                <a:cubicBezTo>
                  <a:pt x="144981" y="419755"/>
                  <a:pt x="104114" y="376191"/>
                  <a:pt x="104114" y="301702"/>
                </a:cubicBezTo>
                <a:lnTo>
                  <a:pt x="104114" y="138736"/>
                </a:lnTo>
                <a:lnTo>
                  <a:pt x="159769" y="138736"/>
                </a:lnTo>
                <a:lnTo>
                  <a:pt x="159769" y="301702"/>
                </a:lnTo>
                <a:cubicBezTo>
                  <a:pt x="159769" y="342569"/>
                  <a:pt x="176805" y="367248"/>
                  <a:pt x="215423" y="367248"/>
                </a:cubicBezTo>
                <a:cubicBezTo>
                  <a:pt x="252692" y="367248"/>
                  <a:pt x="270628" y="343918"/>
                  <a:pt x="270628" y="301702"/>
                </a:cubicBezTo>
                <a:lnTo>
                  <a:pt x="270628" y="138736"/>
                </a:lnTo>
                <a:close/>
                <a:moveTo>
                  <a:pt x="432345" y="138736"/>
                </a:moveTo>
                <a:cubicBezTo>
                  <a:pt x="432345" y="158520"/>
                  <a:pt x="417957" y="171959"/>
                  <a:pt x="398223" y="171959"/>
                </a:cubicBezTo>
                <a:cubicBezTo>
                  <a:pt x="378489" y="171959"/>
                  <a:pt x="364101" y="158520"/>
                  <a:pt x="364101" y="138736"/>
                </a:cubicBezTo>
                <a:cubicBezTo>
                  <a:pt x="364101" y="118553"/>
                  <a:pt x="378489" y="104614"/>
                  <a:pt x="398223" y="104614"/>
                </a:cubicBezTo>
                <a:cubicBezTo>
                  <a:pt x="417957" y="104614"/>
                  <a:pt x="432345" y="118503"/>
                  <a:pt x="432345" y="138736"/>
                </a:cubicBezTo>
                <a:moveTo>
                  <a:pt x="370346" y="198437"/>
                </a:moveTo>
                <a:lnTo>
                  <a:pt x="426000" y="198437"/>
                </a:lnTo>
                <a:lnTo>
                  <a:pt x="426000" y="417058"/>
                </a:lnTo>
                <a:lnTo>
                  <a:pt x="370346" y="417058"/>
                </a:lnTo>
                <a:lnTo>
                  <a:pt x="370346" y="198437"/>
                </a:lnTo>
                <a:close/>
                <a:moveTo>
                  <a:pt x="799543" y="232109"/>
                </a:moveTo>
                <a:cubicBezTo>
                  <a:pt x="799543" y="291810"/>
                  <a:pt x="760025" y="327281"/>
                  <a:pt x="699425" y="327281"/>
                </a:cubicBezTo>
                <a:lnTo>
                  <a:pt x="649167" y="327281"/>
                </a:lnTo>
                <a:lnTo>
                  <a:pt x="649167" y="417058"/>
                </a:lnTo>
                <a:lnTo>
                  <a:pt x="593512" y="417058"/>
                </a:lnTo>
                <a:lnTo>
                  <a:pt x="593512" y="138736"/>
                </a:lnTo>
                <a:lnTo>
                  <a:pt x="699425" y="138736"/>
                </a:lnTo>
                <a:cubicBezTo>
                  <a:pt x="760925" y="138736"/>
                  <a:pt x="799543" y="174657"/>
                  <a:pt x="799543" y="232109"/>
                </a:cubicBezTo>
                <a:moveTo>
                  <a:pt x="742989" y="232109"/>
                </a:moveTo>
                <a:cubicBezTo>
                  <a:pt x="742989" y="201584"/>
                  <a:pt x="725504" y="183599"/>
                  <a:pt x="693630" y="183599"/>
                </a:cubicBezTo>
                <a:lnTo>
                  <a:pt x="649167" y="183599"/>
                </a:lnTo>
                <a:lnTo>
                  <a:pt x="649167" y="282818"/>
                </a:lnTo>
                <a:lnTo>
                  <a:pt x="693630" y="282818"/>
                </a:lnTo>
                <a:cubicBezTo>
                  <a:pt x="725504" y="282818"/>
                  <a:pt x="742989" y="264883"/>
                  <a:pt x="742989" y="232109"/>
                </a:cubicBezTo>
                <a:moveTo>
                  <a:pt x="986739" y="198437"/>
                </a:moveTo>
                <a:lnTo>
                  <a:pt x="1042393" y="198437"/>
                </a:lnTo>
                <a:lnTo>
                  <a:pt x="1042393" y="417058"/>
                </a:lnTo>
                <a:lnTo>
                  <a:pt x="986739" y="417058"/>
                </a:lnTo>
                <a:lnTo>
                  <a:pt x="986739" y="392378"/>
                </a:lnTo>
                <a:cubicBezTo>
                  <a:pt x="971951" y="409913"/>
                  <a:pt x="948570" y="419755"/>
                  <a:pt x="915797" y="419755"/>
                </a:cubicBezTo>
                <a:cubicBezTo>
                  <a:pt x="856546" y="419755"/>
                  <a:pt x="814780" y="373044"/>
                  <a:pt x="814780" y="307947"/>
                </a:cubicBezTo>
                <a:cubicBezTo>
                  <a:pt x="814780" y="243300"/>
                  <a:pt x="855647" y="195689"/>
                  <a:pt x="915797" y="195689"/>
                </a:cubicBezTo>
                <a:cubicBezTo>
                  <a:pt x="947671" y="195689"/>
                  <a:pt x="971901" y="206930"/>
                  <a:pt x="986739" y="225765"/>
                </a:cubicBezTo>
                <a:lnTo>
                  <a:pt x="986739" y="198437"/>
                </a:lnTo>
                <a:close/>
                <a:moveTo>
                  <a:pt x="986739" y="307947"/>
                </a:moveTo>
                <a:cubicBezTo>
                  <a:pt x="986739" y="270228"/>
                  <a:pt x="964308" y="244200"/>
                  <a:pt x="928837" y="244200"/>
                </a:cubicBezTo>
                <a:cubicBezTo>
                  <a:pt x="893366" y="244200"/>
                  <a:pt x="871384" y="268879"/>
                  <a:pt x="871384" y="307947"/>
                </a:cubicBezTo>
                <a:cubicBezTo>
                  <a:pt x="871384" y="344317"/>
                  <a:pt x="891118" y="370796"/>
                  <a:pt x="928837" y="370796"/>
                </a:cubicBezTo>
                <a:cubicBezTo>
                  <a:pt x="962959" y="370796"/>
                  <a:pt x="986739" y="346116"/>
                  <a:pt x="986739" y="307947"/>
                </a:cubicBezTo>
                <a:moveTo>
                  <a:pt x="1178432" y="369447"/>
                </a:moveTo>
                <a:lnTo>
                  <a:pt x="1200413" y="369447"/>
                </a:lnTo>
                <a:lnTo>
                  <a:pt x="1200413" y="417058"/>
                </a:lnTo>
                <a:lnTo>
                  <a:pt x="1171237" y="417058"/>
                </a:lnTo>
                <a:cubicBezTo>
                  <a:pt x="1118281" y="417058"/>
                  <a:pt x="1095350" y="391928"/>
                  <a:pt x="1095350" y="340271"/>
                </a:cubicBezTo>
                <a:lnTo>
                  <a:pt x="1095350" y="245548"/>
                </a:lnTo>
                <a:lnTo>
                  <a:pt x="1069321" y="245548"/>
                </a:lnTo>
                <a:lnTo>
                  <a:pt x="1069321" y="198387"/>
                </a:lnTo>
                <a:lnTo>
                  <a:pt x="1095350" y="198387"/>
                </a:lnTo>
                <a:lnTo>
                  <a:pt x="1095350" y="138736"/>
                </a:lnTo>
                <a:lnTo>
                  <a:pt x="1151004" y="138736"/>
                </a:lnTo>
                <a:lnTo>
                  <a:pt x="1151004" y="198437"/>
                </a:lnTo>
                <a:lnTo>
                  <a:pt x="1199914" y="198437"/>
                </a:lnTo>
                <a:lnTo>
                  <a:pt x="1199914" y="245598"/>
                </a:lnTo>
                <a:lnTo>
                  <a:pt x="1151004" y="245598"/>
                </a:lnTo>
                <a:lnTo>
                  <a:pt x="1151004" y="340720"/>
                </a:lnTo>
                <a:cubicBezTo>
                  <a:pt x="1151054" y="360054"/>
                  <a:pt x="1156899" y="369447"/>
                  <a:pt x="1178432" y="369447"/>
                </a:cubicBezTo>
                <a:moveTo>
                  <a:pt x="1440616" y="290012"/>
                </a:moveTo>
                <a:lnTo>
                  <a:pt x="1440616" y="417058"/>
                </a:lnTo>
                <a:lnTo>
                  <a:pt x="1384962" y="417058"/>
                </a:lnTo>
                <a:lnTo>
                  <a:pt x="1384962" y="296307"/>
                </a:lnTo>
                <a:cubicBezTo>
                  <a:pt x="1384962" y="263084"/>
                  <a:pt x="1367876" y="241552"/>
                  <a:pt x="1335103" y="241552"/>
                </a:cubicBezTo>
                <a:cubicBezTo>
                  <a:pt x="1302330" y="241552"/>
                  <a:pt x="1282596" y="263983"/>
                  <a:pt x="1282596" y="301253"/>
                </a:cubicBezTo>
                <a:lnTo>
                  <a:pt x="1282596" y="417058"/>
                </a:lnTo>
                <a:lnTo>
                  <a:pt x="1226942" y="417058"/>
                </a:lnTo>
                <a:lnTo>
                  <a:pt x="1226942" y="125247"/>
                </a:lnTo>
                <a:lnTo>
                  <a:pt x="1282596" y="125247"/>
                </a:lnTo>
                <a:lnTo>
                  <a:pt x="1282596" y="220869"/>
                </a:lnTo>
                <a:cubicBezTo>
                  <a:pt x="1296485" y="204232"/>
                  <a:pt x="1318516" y="195290"/>
                  <a:pt x="1348592" y="195290"/>
                </a:cubicBezTo>
                <a:cubicBezTo>
                  <a:pt x="1400199" y="195290"/>
                  <a:pt x="1440616" y="232559"/>
                  <a:pt x="1440616" y="290012"/>
                </a:cubicBezTo>
                <a:moveTo>
                  <a:pt x="1429075" y="125247"/>
                </a:moveTo>
                <a:lnTo>
                  <a:pt x="1458252" y="125247"/>
                </a:lnTo>
                <a:lnTo>
                  <a:pt x="1458252" y="131092"/>
                </a:lnTo>
                <a:lnTo>
                  <a:pt x="1447460" y="131092"/>
                </a:lnTo>
                <a:lnTo>
                  <a:pt x="1447460" y="165664"/>
                </a:lnTo>
                <a:lnTo>
                  <a:pt x="1440266" y="165664"/>
                </a:lnTo>
                <a:lnTo>
                  <a:pt x="1440266" y="131092"/>
                </a:lnTo>
                <a:lnTo>
                  <a:pt x="1429026" y="131092"/>
                </a:lnTo>
                <a:lnTo>
                  <a:pt x="1429026" y="125247"/>
                </a:lnTo>
                <a:close/>
                <a:moveTo>
                  <a:pt x="1510808" y="125247"/>
                </a:moveTo>
                <a:lnTo>
                  <a:pt x="1510808" y="165664"/>
                </a:lnTo>
                <a:lnTo>
                  <a:pt x="1504064" y="165664"/>
                </a:lnTo>
                <a:lnTo>
                  <a:pt x="1504064" y="135139"/>
                </a:lnTo>
                <a:lnTo>
                  <a:pt x="1491474" y="165664"/>
                </a:lnTo>
                <a:lnTo>
                  <a:pt x="1486079" y="165664"/>
                </a:lnTo>
                <a:lnTo>
                  <a:pt x="1473089" y="135139"/>
                </a:lnTo>
                <a:lnTo>
                  <a:pt x="1473089" y="165664"/>
                </a:lnTo>
                <a:lnTo>
                  <a:pt x="1466795" y="165664"/>
                </a:lnTo>
                <a:lnTo>
                  <a:pt x="1466795" y="125247"/>
                </a:lnTo>
                <a:lnTo>
                  <a:pt x="1475338" y="125247"/>
                </a:lnTo>
                <a:lnTo>
                  <a:pt x="1488327" y="157121"/>
                </a:lnTo>
                <a:lnTo>
                  <a:pt x="1502265" y="125247"/>
                </a:lnTo>
                <a:lnTo>
                  <a:pt x="1510808" y="125247"/>
                </a:lnTo>
                <a:close/>
              </a:path>
            </a:pathLst>
          </a:custGeom>
          <a:solidFill>
            <a:schemeClr val="tx2"/>
          </a:solidFill>
          <a:ln w="4983" cap="flat">
            <a:noFill/>
            <a:prstDash val="solid"/>
            <a:miter/>
          </a:ln>
        </p:spPr>
        <p:txBody>
          <a:bodyPr rtlCol="0" anchor="ctr"/>
          <a:lstStyle/>
          <a:p>
            <a:endParaRPr lang="en-US" sz="1799"/>
          </a:p>
        </p:txBody>
      </p:sp>
    </p:spTree>
    <p:extLst>
      <p:ext uri="{BB962C8B-B14F-4D97-AF65-F5344CB8AC3E}">
        <p14:creationId xmlns:p14="http://schemas.microsoft.com/office/powerpoint/2010/main" val="1244544504"/>
      </p:ext>
    </p:extLst>
  </p:cSld>
  <p:clrMapOvr>
    <a:masterClrMapping/>
  </p:clrMapOvr>
  <p:extLst>
    <p:ext uri="{DCECCB84-F9BA-43D5-87BE-67443E8EF086}">
      <p15:sldGuideLst xmlns:p15="http://schemas.microsoft.com/office/powerpoint/2012/main">
        <p15:guide id="1" pos="264">
          <p15:clr>
            <a:srgbClr val="FBAE40"/>
          </p15:clr>
        </p15:guide>
        <p15:guide id="2" orient="horz" pos="81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86CA78F-5F80-4B38-954B-2CFBFFFDE882}"/>
              </a:ext>
            </a:extLst>
          </p:cNvPr>
          <p:cNvSpPr/>
          <p:nvPr userDrawn="1"/>
        </p:nvSpPr>
        <p:spPr>
          <a:xfrm>
            <a:off x="11552221" y="0"/>
            <a:ext cx="636603"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1941517" y="1828800"/>
            <a:ext cx="6935784" cy="4343400"/>
          </a:xfrm>
        </p:spPr>
        <p:txBody>
          <a:bodyPr numCol="2"/>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4" name="Title 3">
            <a:extLst>
              <a:ext uri="{FF2B5EF4-FFF2-40B4-BE49-F238E27FC236}">
                <a16:creationId xmlns:a16="http://schemas.microsoft.com/office/drawing/2014/main" id="{D4C769E4-F1F0-410E-8A65-B7BA27B4B88A}"/>
              </a:ext>
            </a:extLst>
          </p:cNvPr>
          <p:cNvSpPr>
            <a:spLocks noGrp="1"/>
          </p:cNvSpPr>
          <p:nvPr>
            <p:ph type="title"/>
          </p:nvPr>
        </p:nvSpPr>
        <p:spPr>
          <a:xfrm>
            <a:off x="1941517" y="912309"/>
            <a:ext cx="6936109" cy="916491"/>
          </a:xfrm>
        </p:spPr>
        <p:txBody>
          <a:bodyPr/>
          <a:lstStyle/>
          <a:p>
            <a:r>
              <a:rPr lang="en-US"/>
              <a:t>Click to edit Master title style</a:t>
            </a:r>
          </a:p>
        </p:txBody>
      </p:sp>
      <p:sp>
        <p:nvSpPr>
          <p:cNvPr id="15" name="Text Placeholder 12">
            <a:extLst>
              <a:ext uri="{FF2B5EF4-FFF2-40B4-BE49-F238E27FC236}">
                <a16:creationId xmlns:a16="http://schemas.microsoft.com/office/drawing/2014/main" id="{6FB7D808-B18A-40C2-A394-71CFF8345D74}"/>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
        <p:nvSpPr>
          <p:cNvPr id="5" name="Freeform: Shape 4">
            <a:extLst>
              <a:ext uri="{FF2B5EF4-FFF2-40B4-BE49-F238E27FC236}">
                <a16:creationId xmlns:a16="http://schemas.microsoft.com/office/drawing/2014/main" id="{0579B13F-2545-4CBA-AB8D-7DE27099664D}"/>
              </a:ext>
            </a:extLst>
          </p:cNvPr>
          <p:cNvSpPr/>
          <p:nvPr userDrawn="1"/>
        </p:nvSpPr>
        <p:spPr>
          <a:xfrm>
            <a:off x="9267728" y="217489"/>
            <a:ext cx="2689189" cy="6412736"/>
          </a:xfrm>
          <a:custGeom>
            <a:avLst/>
            <a:gdLst>
              <a:gd name="connsiteX0" fmla="*/ 2659604 w 2689189"/>
              <a:gd name="connsiteY0" fmla="*/ 6383150 h 6412736"/>
              <a:gd name="connsiteX1" fmla="*/ 2689189 w 2689189"/>
              <a:gd name="connsiteY1" fmla="*/ 6383150 h 6412736"/>
              <a:gd name="connsiteX2" fmla="*/ 2689189 w 2689189"/>
              <a:gd name="connsiteY2" fmla="*/ 6412736 h 6412736"/>
              <a:gd name="connsiteX3" fmla="*/ 2659604 w 2689189"/>
              <a:gd name="connsiteY3" fmla="*/ 6412736 h 6412736"/>
              <a:gd name="connsiteX4" fmla="*/ 2393644 w 2689189"/>
              <a:gd name="connsiteY4" fmla="*/ 6383150 h 6412736"/>
              <a:gd name="connsiteX5" fmla="*/ 2423230 w 2689189"/>
              <a:gd name="connsiteY5" fmla="*/ 6383150 h 6412736"/>
              <a:gd name="connsiteX6" fmla="*/ 2423230 w 2689189"/>
              <a:gd name="connsiteY6" fmla="*/ 6412736 h 6412736"/>
              <a:gd name="connsiteX7" fmla="*/ 2393644 w 2689189"/>
              <a:gd name="connsiteY7" fmla="*/ 6412736 h 6412736"/>
              <a:gd name="connsiteX8" fmla="*/ 2127683 w 2689189"/>
              <a:gd name="connsiteY8" fmla="*/ 6383150 h 6412736"/>
              <a:gd name="connsiteX9" fmla="*/ 2157268 w 2689189"/>
              <a:gd name="connsiteY9" fmla="*/ 6383150 h 6412736"/>
              <a:gd name="connsiteX10" fmla="*/ 2157268 w 2689189"/>
              <a:gd name="connsiteY10" fmla="*/ 6412736 h 6412736"/>
              <a:gd name="connsiteX11" fmla="*/ 2127683 w 2689189"/>
              <a:gd name="connsiteY11" fmla="*/ 6412736 h 6412736"/>
              <a:gd name="connsiteX12" fmla="*/ 1861723 w 2689189"/>
              <a:gd name="connsiteY12" fmla="*/ 6383150 h 6412736"/>
              <a:gd name="connsiteX13" fmla="*/ 1891309 w 2689189"/>
              <a:gd name="connsiteY13" fmla="*/ 6383150 h 6412736"/>
              <a:gd name="connsiteX14" fmla="*/ 1891309 w 2689189"/>
              <a:gd name="connsiteY14" fmla="*/ 6412736 h 6412736"/>
              <a:gd name="connsiteX15" fmla="*/ 1861723 w 2689189"/>
              <a:gd name="connsiteY15" fmla="*/ 6412736 h 6412736"/>
              <a:gd name="connsiteX16" fmla="*/ 1595763 w 2689189"/>
              <a:gd name="connsiteY16" fmla="*/ 6383150 h 6412736"/>
              <a:gd name="connsiteX17" fmla="*/ 1625348 w 2689189"/>
              <a:gd name="connsiteY17" fmla="*/ 6383150 h 6412736"/>
              <a:gd name="connsiteX18" fmla="*/ 1625348 w 2689189"/>
              <a:gd name="connsiteY18" fmla="*/ 6412736 h 6412736"/>
              <a:gd name="connsiteX19" fmla="*/ 1595763 w 2689189"/>
              <a:gd name="connsiteY19" fmla="*/ 6412736 h 6412736"/>
              <a:gd name="connsiteX20" fmla="*/ 1329802 w 2689189"/>
              <a:gd name="connsiteY20" fmla="*/ 6383150 h 6412736"/>
              <a:gd name="connsiteX21" fmla="*/ 1359387 w 2689189"/>
              <a:gd name="connsiteY21" fmla="*/ 6383150 h 6412736"/>
              <a:gd name="connsiteX22" fmla="*/ 1359387 w 2689189"/>
              <a:gd name="connsiteY22" fmla="*/ 6412736 h 6412736"/>
              <a:gd name="connsiteX23" fmla="*/ 1329802 w 2689189"/>
              <a:gd name="connsiteY23" fmla="*/ 6412736 h 6412736"/>
              <a:gd name="connsiteX24" fmla="*/ 1063842 w 2689189"/>
              <a:gd name="connsiteY24" fmla="*/ 6383150 h 6412736"/>
              <a:gd name="connsiteX25" fmla="*/ 1093428 w 2689189"/>
              <a:gd name="connsiteY25" fmla="*/ 6383150 h 6412736"/>
              <a:gd name="connsiteX26" fmla="*/ 1093428 w 2689189"/>
              <a:gd name="connsiteY26" fmla="*/ 6412736 h 6412736"/>
              <a:gd name="connsiteX27" fmla="*/ 1063842 w 2689189"/>
              <a:gd name="connsiteY27" fmla="*/ 6412736 h 6412736"/>
              <a:gd name="connsiteX28" fmla="*/ 797881 w 2689189"/>
              <a:gd name="connsiteY28" fmla="*/ 6383150 h 6412736"/>
              <a:gd name="connsiteX29" fmla="*/ 827466 w 2689189"/>
              <a:gd name="connsiteY29" fmla="*/ 6383150 h 6412736"/>
              <a:gd name="connsiteX30" fmla="*/ 827466 w 2689189"/>
              <a:gd name="connsiteY30" fmla="*/ 6412736 h 6412736"/>
              <a:gd name="connsiteX31" fmla="*/ 797881 w 2689189"/>
              <a:gd name="connsiteY31" fmla="*/ 6412736 h 6412736"/>
              <a:gd name="connsiteX32" fmla="*/ 531921 w 2689189"/>
              <a:gd name="connsiteY32" fmla="*/ 6383150 h 6412736"/>
              <a:gd name="connsiteX33" fmla="*/ 561507 w 2689189"/>
              <a:gd name="connsiteY33" fmla="*/ 6383150 h 6412736"/>
              <a:gd name="connsiteX34" fmla="*/ 561507 w 2689189"/>
              <a:gd name="connsiteY34" fmla="*/ 6412736 h 6412736"/>
              <a:gd name="connsiteX35" fmla="*/ 531921 w 2689189"/>
              <a:gd name="connsiteY35" fmla="*/ 6412736 h 6412736"/>
              <a:gd name="connsiteX36" fmla="*/ 265961 w 2689189"/>
              <a:gd name="connsiteY36" fmla="*/ 6383150 h 6412736"/>
              <a:gd name="connsiteX37" fmla="*/ 295546 w 2689189"/>
              <a:gd name="connsiteY37" fmla="*/ 6383150 h 6412736"/>
              <a:gd name="connsiteX38" fmla="*/ 295546 w 2689189"/>
              <a:gd name="connsiteY38" fmla="*/ 6412736 h 6412736"/>
              <a:gd name="connsiteX39" fmla="*/ 265961 w 2689189"/>
              <a:gd name="connsiteY39" fmla="*/ 6412736 h 6412736"/>
              <a:gd name="connsiteX40" fmla="*/ 0 w 2689189"/>
              <a:gd name="connsiteY40" fmla="*/ 6383150 h 6412736"/>
              <a:gd name="connsiteX41" fmla="*/ 29585 w 2689189"/>
              <a:gd name="connsiteY41" fmla="*/ 6383150 h 6412736"/>
              <a:gd name="connsiteX42" fmla="*/ 29585 w 2689189"/>
              <a:gd name="connsiteY42" fmla="*/ 6412736 h 6412736"/>
              <a:gd name="connsiteX43" fmla="*/ 0 w 2689189"/>
              <a:gd name="connsiteY43" fmla="*/ 6412736 h 6412736"/>
              <a:gd name="connsiteX44" fmla="*/ 2659604 w 2689189"/>
              <a:gd name="connsiteY44" fmla="*/ 6117190 h 6412736"/>
              <a:gd name="connsiteX45" fmla="*/ 2689189 w 2689189"/>
              <a:gd name="connsiteY45" fmla="*/ 6117190 h 6412736"/>
              <a:gd name="connsiteX46" fmla="*/ 2689189 w 2689189"/>
              <a:gd name="connsiteY46" fmla="*/ 6146775 h 6412736"/>
              <a:gd name="connsiteX47" fmla="*/ 2659604 w 2689189"/>
              <a:gd name="connsiteY47" fmla="*/ 6146775 h 6412736"/>
              <a:gd name="connsiteX48" fmla="*/ 2393644 w 2689189"/>
              <a:gd name="connsiteY48" fmla="*/ 6117190 h 6412736"/>
              <a:gd name="connsiteX49" fmla="*/ 2423230 w 2689189"/>
              <a:gd name="connsiteY49" fmla="*/ 6117190 h 6412736"/>
              <a:gd name="connsiteX50" fmla="*/ 2423230 w 2689189"/>
              <a:gd name="connsiteY50" fmla="*/ 6146775 h 6412736"/>
              <a:gd name="connsiteX51" fmla="*/ 2393644 w 2689189"/>
              <a:gd name="connsiteY51" fmla="*/ 6146775 h 6412736"/>
              <a:gd name="connsiteX52" fmla="*/ 2127683 w 2689189"/>
              <a:gd name="connsiteY52" fmla="*/ 6117190 h 6412736"/>
              <a:gd name="connsiteX53" fmla="*/ 2157268 w 2689189"/>
              <a:gd name="connsiteY53" fmla="*/ 6117190 h 6412736"/>
              <a:gd name="connsiteX54" fmla="*/ 2157268 w 2689189"/>
              <a:gd name="connsiteY54" fmla="*/ 6146775 h 6412736"/>
              <a:gd name="connsiteX55" fmla="*/ 2127683 w 2689189"/>
              <a:gd name="connsiteY55" fmla="*/ 6146775 h 6412736"/>
              <a:gd name="connsiteX56" fmla="*/ 1861723 w 2689189"/>
              <a:gd name="connsiteY56" fmla="*/ 6117190 h 6412736"/>
              <a:gd name="connsiteX57" fmla="*/ 1891309 w 2689189"/>
              <a:gd name="connsiteY57" fmla="*/ 6117190 h 6412736"/>
              <a:gd name="connsiteX58" fmla="*/ 1891309 w 2689189"/>
              <a:gd name="connsiteY58" fmla="*/ 6146775 h 6412736"/>
              <a:gd name="connsiteX59" fmla="*/ 1861723 w 2689189"/>
              <a:gd name="connsiteY59" fmla="*/ 6146775 h 6412736"/>
              <a:gd name="connsiteX60" fmla="*/ 1595763 w 2689189"/>
              <a:gd name="connsiteY60" fmla="*/ 6117190 h 6412736"/>
              <a:gd name="connsiteX61" fmla="*/ 1625348 w 2689189"/>
              <a:gd name="connsiteY61" fmla="*/ 6117190 h 6412736"/>
              <a:gd name="connsiteX62" fmla="*/ 1625348 w 2689189"/>
              <a:gd name="connsiteY62" fmla="*/ 6146775 h 6412736"/>
              <a:gd name="connsiteX63" fmla="*/ 1595763 w 2689189"/>
              <a:gd name="connsiteY63" fmla="*/ 6146775 h 6412736"/>
              <a:gd name="connsiteX64" fmla="*/ 1329802 w 2689189"/>
              <a:gd name="connsiteY64" fmla="*/ 6117190 h 6412736"/>
              <a:gd name="connsiteX65" fmla="*/ 1359387 w 2689189"/>
              <a:gd name="connsiteY65" fmla="*/ 6117190 h 6412736"/>
              <a:gd name="connsiteX66" fmla="*/ 1359387 w 2689189"/>
              <a:gd name="connsiteY66" fmla="*/ 6146775 h 6412736"/>
              <a:gd name="connsiteX67" fmla="*/ 1329802 w 2689189"/>
              <a:gd name="connsiteY67" fmla="*/ 6146775 h 6412736"/>
              <a:gd name="connsiteX68" fmla="*/ 1063842 w 2689189"/>
              <a:gd name="connsiteY68" fmla="*/ 6117190 h 6412736"/>
              <a:gd name="connsiteX69" fmla="*/ 1093428 w 2689189"/>
              <a:gd name="connsiteY69" fmla="*/ 6117190 h 6412736"/>
              <a:gd name="connsiteX70" fmla="*/ 1093428 w 2689189"/>
              <a:gd name="connsiteY70" fmla="*/ 6146775 h 6412736"/>
              <a:gd name="connsiteX71" fmla="*/ 1063842 w 2689189"/>
              <a:gd name="connsiteY71" fmla="*/ 6146775 h 6412736"/>
              <a:gd name="connsiteX72" fmla="*/ 797881 w 2689189"/>
              <a:gd name="connsiteY72" fmla="*/ 6117190 h 6412736"/>
              <a:gd name="connsiteX73" fmla="*/ 827466 w 2689189"/>
              <a:gd name="connsiteY73" fmla="*/ 6117190 h 6412736"/>
              <a:gd name="connsiteX74" fmla="*/ 827466 w 2689189"/>
              <a:gd name="connsiteY74" fmla="*/ 6146775 h 6412736"/>
              <a:gd name="connsiteX75" fmla="*/ 797881 w 2689189"/>
              <a:gd name="connsiteY75" fmla="*/ 6146775 h 6412736"/>
              <a:gd name="connsiteX76" fmla="*/ 531921 w 2689189"/>
              <a:gd name="connsiteY76" fmla="*/ 6117190 h 6412736"/>
              <a:gd name="connsiteX77" fmla="*/ 561507 w 2689189"/>
              <a:gd name="connsiteY77" fmla="*/ 6117190 h 6412736"/>
              <a:gd name="connsiteX78" fmla="*/ 561507 w 2689189"/>
              <a:gd name="connsiteY78" fmla="*/ 6146775 h 6412736"/>
              <a:gd name="connsiteX79" fmla="*/ 531921 w 2689189"/>
              <a:gd name="connsiteY79" fmla="*/ 6146775 h 6412736"/>
              <a:gd name="connsiteX80" fmla="*/ 265961 w 2689189"/>
              <a:gd name="connsiteY80" fmla="*/ 6117190 h 6412736"/>
              <a:gd name="connsiteX81" fmla="*/ 295546 w 2689189"/>
              <a:gd name="connsiteY81" fmla="*/ 6117190 h 6412736"/>
              <a:gd name="connsiteX82" fmla="*/ 295546 w 2689189"/>
              <a:gd name="connsiteY82" fmla="*/ 6146775 h 6412736"/>
              <a:gd name="connsiteX83" fmla="*/ 265961 w 2689189"/>
              <a:gd name="connsiteY83" fmla="*/ 6146775 h 6412736"/>
              <a:gd name="connsiteX84" fmla="*/ 0 w 2689189"/>
              <a:gd name="connsiteY84" fmla="*/ 6117190 h 6412736"/>
              <a:gd name="connsiteX85" fmla="*/ 29585 w 2689189"/>
              <a:gd name="connsiteY85" fmla="*/ 6117190 h 6412736"/>
              <a:gd name="connsiteX86" fmla="*/ 29585 w 2689189"/>
              <a:gd name="connsiteY86" fmla="*/ 6146775 h 6412736"/>
              <a:gd name="connsiteX87" fmla="*/ 0 w 2689189"/>
              <a:gd name="connsiteY87" fmla="*/ 6146775 h 6412736"/>
              <a:gd name="connsiteX88" fmla="*/ 2659604 w 2689189"/>
              <a:gd name="connsiteY88" fmla="*/ 5851229 h 6412736"/>
              <a:gd name="connsiteX89" fmla="*/ 2689189 w 2689189"/>
              <a:gd name="connsiteY89" fmla="*/ 5851229 h 6412736"/>
              <a:gd name="connsiteX90" fmla="*/ 2689189 w 2689189"/>
              <a:gd name="connsiteY90" fmla="*/ 5880814 h 6412736"/>
              <a:gd name="connsiteX91" fmla="*/ 2659604 w 2689189"/>
              <a:gd name="connsiteY91" fmla="*/ 5880814 h 6412736"/>
              <a:gd name="connsiteX92" fmla="*/ 2393644 w 2689189"/>
              <a:gd name="connsiteY92" fmla="*/ 5851229 h 6412736"/>
              <a:gd name="connsiteX93" fmla="*/ 2423230 w 2689189"/>
              <a:gd name="connsiteY93" fmla="*/ 5851229 h 6412736"/>
              <a:gd name="connsiteX94" fmla="*/ 2423230 w 2689189"/>
              <a:gd name="connsiteY94" fmla="*/ 5880814 h 6412736"/>
              <a:gd name="connsiteX95" fmla="*/ 2393644 w 2689189"/>
              <a:gd name="connsiteY95" fmla="*/ 5880814 h 6412736"/>
              <a:gd name="connsiteX96" fmla="*/ 2127683 w 2689189"/>
              <a:gd name="connsiteY96" fmla="*/ 5851229 h 6412736"/>
              <a:gd name="connsiteX97" fmla="*/ 2157268 w 2689189"/>
              <a:gd name="connsiteY97" fmla="*/ 5851229 h 6412736"/>
              <a:gd name="connsiteX98" fmla="*/ 2157268 w 2689189"/>
              <a:gd name="connsiteY98" fmla="*/ 5880814 h 6412736"/>
              <a:gd name="connsiteX99" fmla="*/ 2127683 w 2689189"/>
              <a:gd name="connsiteY99" fmla="*/ 5880814 h 6412736"/>
              <a:gd name="connsiteX100" fmla="*/ 1861723 w 2689189"/>
              <a:gd name="connsiteY100" fmla="*/ 5851229 h 6412736"/>
              <a:gd name="connsiteX101" fmla="*/ 1891309 w 2689189"/>
              <a:gd name="connsiteY101" fmla="*/ 5851229 h 6412736"/>
              <a:gd name="connsiteX102" fmla="*/ 1891309 w 2689189"/>
              <a:gd name="connsiteY102" fmla="*/ 5880814 h 6412736"/>
              <a:gd name="connsiteX103" fmla="*/ 1861723 w 2689189"/>
              <a:gd name="connsiteY103" fmla="*/ 5880814 h 6412736"/>
              <a:gd name="connsiteX104" fmla="*/ 1595763 w 2689189"/>
              <a:gd name="connsiteY104" fmla="*/ 5851229 h 6412736"/>
              <a:gd name="connsiteX105" fmla="*/ 1625348 w 2689189"/>
              <a:gd name="connsiteY105" fmla="*/ 5851229 h 6412736"/>
              <a:gd name="connsiteX106" fmla="*/ 1625348 w 2689189"/>
              <a:gd name="connsiteY106" fmla="*/ 5880814 h 6412736"/>
              <a:gd name="connsiteX107" fmla="*/ 1595763 w 2689189"/>
              <a:gd name="connsiteY107" fmla="*/ 5880814 h 6412736"/>
              <a:gd name="connsiteX108" fmla="*/ 1329802 w 2689189"/>
              <a:gd name="connsiteY108" fmla="*/ 5851229 h 6412736"/>
              <a:gd name="connsiteX109" fmla="*/ 1359387 w 2689189"/>
              <a:gd name="connsiteY109" fmla="*/ 5851229 h 6412736"/>
              <a:gd name="connsiteX110" fmla="*/ 1359387 w 2689189"/>
              <a:gd name="connsiteY110" fmla="*/ 5880814 h 6412736"/>
              <a:gd name="connsiteX111" fmla="*/ 1329802 w 2689189"/>
              <a:gd name="connsiteY111" fmla="*/ 5880814 h 6412736"/>
              <a:gd name="connsiteX112" fmla="*/ 1063842 w 2689189"/>
              <a:gd name="connsiteY112" fmla="*/ 5851229 h 6412736"/>
              <a:gd name="connsiteX113" fmla="*/ 1093428 w 2689189"/>
              <a:gd name="connsiteY113" fmla="*/ 5851229 h 6412736"/>
              <a:gd name="connsiteX114" fmla="*/ 1093428 w 2689189"/>
              <a:gd name="connsiteY114" fmla="*/ 5880814 h 6412736"/>
              <a:gd name="connsiteX115" fmla="*/ 1063842 w 2689189"/>
              <a:gd name="connsiteY115" fmla="*/ 5880814 h 6412736"/>
              <a:gd name="connsiteX116" fmla="*/ 797881 w 2689189"/>
              <a:gd name="connsiteY116" fmla="*/ 5851229 h 6412736"/>
              <a:gd name="connsiteX117" fmla="*/ 827466 w 2689189"/>
              <a:gd name="connsiteY117" fmla="*/ 5851229 h 6412736"/>
              <a:gd name="connsiteX118" fmla="*/ 827466 w 2689189"/>
              <a:gd name="connsiteY118" fmla="*/ 5880814 h 6412736"/>
              <a:gd name="connsiteX119" fmla="*/ 797881 w 2689189"/>
              <a:gd name="connsiteY119" fmla="*/ 5880814 h 6412736"/>
              <a:gd name="connsiteX120" fmla="*/ 531921 w 2689189"/>
              <a:gd name="connsiteY120" fmla="*/ 5851229 h 6412736"/>
              <a:gd name="connsiteX121" fmla="*/ 561507 w 2689189"/>
              <a:gd name="connsiteY121" fmla="*/ 5851229 h 6412736"/>
              <a:gd name="connsiteX122" fmla="*/ 561507 w 2689189"/>
              <a:gd name="connsiteY122" fmla="*/ 5880814 h 6412736"/>
              <a:gd name="connsiteX123" fmla="*/ 531921 w 2689189"/>
              <a:gd name="connsiteY123" fmla="*/ 5880814 h 6412736"/>
              <a:gd name="connsiteX124" fmla="*/ 265961 w 2689189"/>
              <a:gd name="connsiteY124" fmla="*/ 5851229 h 6412736"/>
              <a:gd name="connsiteX125" fmla="*/ 295546 w 2689189"/>
              <a:gd name="connsiteY125" fmla="*/ 5851229 h 6412736"/>
              <a:gd name="connsiteX126" fmla="*/ 295546 w 2689189"/>
              <a:gd name="connsiteY126" fmla="*/ 5880814 h 6412736"/>
              <a:gd name="connsiteX127" fmla="*/ 265961 w 2689189"/>
              <a:gd name="connsiteY127" fmla="*/ 5880814 h 6412736"/>
              <a:gd name="connsiteX128" fmla="*/ 0 w 2689189"/>
              <a:gd name="connsiteY128" fmla="*/ 5851229 h 6412736"/>
              <a:gd name="connsiteX129" fmla="*/ 29585 w 2689189"/>
              <a:gd name="connsiteY129" fmla="*/ 5851229 h 6412736"/>
              <a:gd name="connsiteX130" fmla="*/ 29585 w 2689189"/>
              <a:gd name="connsiteY130" fmla="*/ 5880814 h 6412736"/>
              <a:gd name="connsiteX131" fmla="*/ 0 w 2689189"/>
              <a:gd name="connsiteY131" fmla="*/ 5880814 h 6412736"/>
              <a:gd name="connsiteX132" fmla="*/ 2659604 w 2689189"/>
              <a:gd name="connsiteY132" fmla="*/ 5585269 h 6412736"/>
              <a:gd name="connsiteX133" fmla="*/ 2689189 w 2689189"/>
              <a:gd name="connsiteY133" fmla="*/ 5585269 h 6412736"/>
              <a:gd name="connsiteX134" fmla="*/ 2689189 w 2689189"/>
              <a:gd name="connsiteY134" fmla="*/ 5614854 h 6412736"/>
              <a:gd name="connsiteX135" fmla="*/ 2659604 w 2689189"/>
              <a:gd name="connsiteY135" fmla="*/ 5614854 h 6412736"/>
              <a:gd name="connsiteX136" fmla="*/ 2393644 w 2689189"/>
              <a:gd name="connsiteY136" fmla="*/ 5585269 h 6412736"/>
              <a:gd name="connsiteX137" fmla="*/ 2423230 w 2689189"/>
              <a:gd name="connsiteY137" fmla="*/ 5585269 h 6412736"/>
              <a:gd name="connsiteX138" fmla="*/ 2423230 w 2689189"/>
              <a:gd name="connsiteY138" fmla="*/ 5614854 h 6412736"/>
              <a:gd name="connsiteX139" fmla="*/ 2393644 w 2689189"/>
              <a:gd name="connsiteY139" fmla="*/ 5614854 h 6412736"/>
              <a:gd name="connsiteX140" fmla="*/ 2127683 w 2689189"/>
              <a:gd name="connsiteY140" fmla="*/ 5585269 h 6412736"/>
              <a:gd name="connsiteX141" fmla="*/ 2157268 w 2689189"/>
              <a:gd name="connsiteY141" fmla="*/ 5585269 h 6412736"/>
              <a:gd name="connsiteX142" fmla="*/ 2157268 w 2689189"/>
              <a:gd name="connsiteY142" fmla="*/ 5614854 h 6412736"/>
              <a:gd name="connsiteX143" fmla="*/ 2127683 w 2689189"/>
              <a:gd name="connsiteY143" fmla="*/ 5614854 h 6412736"/>
              <a:gd name="connsiteX144" fmla="*/ 1861723 w 2689189"/>
              <a:gd name="connsiteY144" fmla="*/ 5585269 h 6412736"/>
              <a:gd name="connsiteX145" fmla="*/ 1891309 w 2689189"/>
              <a:gd name="connsiteY145" fmla="*/ 5585269 h 6412736"/>
              <a:gd name="connsiteX146" fmla="*/ 1891309 w 2689189"/>
              <a:gd name="connsiteY146" fmla="*/ 5614854 h 6412736"/>
              <a:gd name="connsiteX147" fmla="*/ 1861723 w 2689189"/>
              <a:gd name="connsiteY147" fmla="*/ 5614854 h 6412736"/>
              <a:gd name="connsiteX148" fmla="*/ 1595763 w 2689189"/>
              <a:gd name="connsiteY148" fmla="*/ 5585269 h 6412736"/>
              <a:gd name="connsiteX149" fmla="*/ 1625348 w 2689189"/>
              <a:gd name="connsiteY149" fmla="*/ 5585269 h 6412736"/>
              <a:gd name="connsiteX150" fmla="*/ 1625348 w 2689189"/>
              <a:gd name="connsiteY150" fmla="*/ 5614854 h 6412736"/>
              <a:gd name="connsiteX151" fmla="*/ 1595763 w 2689189"/>
              <a:gd name="connsiteY151" fmla="*/ 5614854 h 6412736"/>
              <a:gd name="connsiteX152" fmla="*/ 1329802 w 2689189"/>
              <a:gd name="connsiteY152" fmla="*/ 5585269 h 6412736"/>
              <a:gd name="connsiteX153" fmla="*/ 1359387 w 2689189"/>
              <a:gd name="connsiteY153" fmla="*/ 5585269 h 6412736"/>
              <a:gd name="connsiteX154" fmla="*/ 1359387 w 2689189"/>
              <a:gd name="connsiteY154" fmla="*/ 5614854 h 6412736"/>
              <a:gd name="connsiteX155" fmla="*/ 1329802 w 2689189"/>
              <a:gd name="connsiteY155" fmla="*/ 5614854 h 6412736"/>
              <a:gd name="connsiteX156" fmla="*/ 1063842 w 2689189"/>
              <a:gd name="connsiteY156" fmla="*/ 5585269 h 6412736"/>
              <a:gd name="connsiteX157" fmla="*/ 1093428 w 2689189"/>
              <a:gd name="connsiteY157" fmla="*/ 5585269 h 6412736"/>
              <a:gd name="connsiteX158" fmla="*/ 1093428 w 2689189"/>
              <a:gd name="connsiteY158" fmla="*/ 5614854 h 6412736"/>
              <a:gd name="connsiteX159" fmla="*/ 1063842 w 2689189"/>
              <a:gd name="connsiteY159" fmla="*/ 5614854 h 6412736"/>
              <a:gd name="connsiteX160" fmla="*/ 797881 w 2689189"/>
              <a:gd name="connsiteY160" fmla="*/ 5585269 h 6412736"/>
              <a:gd name="connsiteX161" fmla="*/ 827466 w 2689189"/>
              <a:gd name="connsiteY161" fmla="*/ 5585269 h 6412736"/>
              <a:gd name="connsiteX162" fmla="*/ 827466 w 2689189"/>
              <a:gd name="connsiteY162" fmla="*/ 5614854 h 6412736"/>
              <a:gd name="connsiteX163" fmla="*/ 797881 w 2689189"/>
              <a:gd name="connsiteY163" fmla="*/ 5614854 h 6412736"/>
              <a:gd name="connsiteX164" fmla="*/ 531921 w 2689189"/>
              <a:gd name="connsiteY164" fmla="*/ 5585269 h 6412736"/>
              <a:gd name="connsiteX165" fmla="*/ 561507 w 2689189"/>
              <a:gd name="connsiteY165" fmla="*/ 5585269 h 6412736"/>
              <a:gd name="connsiteX166" fmla="*/ 561507 w 2689189"/>
              <a:gd name="connsiteY166" fmla="*/ 5614854 h 6412736"/>
              <a:gd name="connsiteX167" fmla="*/ 531921 w 2689189"/>
              <a:gd name="connsiteY167" fmla="*/ 5614854 h 6412736"/>
              <a:gd name="connsiteX168" fmla="*/ 265961 w 2689189"/>
              <a:gd name="connsiteY168" fmla="*/ 5585269 h 6412736"/>
              <a:gd name="connsiteX169" fmla="*/ 295546 w 2689189"/>
              <a:gd name="connsiteY169" fmla="*/ 5585269 h 6412736"/>
              <a:gd name="connsiteX170" fmla="*/ 295546 w 2689189"/>
              <a:gd name="connsiteY170" fmla="*/ 5614854 h 6412736"/>
              <a:gd name="connsiteX171" fmla="*/ 265961 w 2689189"/>
              <a:gd name="connsiteY171" fmla="*/ 5614854 h 6412736"/>
              <a:gd name="connsiteX172" fmla="*/ 0 w 2689189"/>
              <a:gd name="connsiteY172" fmla="*/ 5585269 h 6412736"/>
              <a:gd name="connsiteX173" fmla="*/ 29585 w 2689189"/>
              <a:gd name="connsiteY173" fmla="*/ 5585269 h 6412736"/>
              <a:gd name="connsiteX174" fmla="*/ 29585 w 2689189"/>
              <a:gd name="connsiteY174" fmla="*/ 5614854 h 6412736"/>
              <a:gd name="connsiteX175" fmla="*/ 0 w 2689189"/>
              <a:gd name="connsiteY175" fmla="*/ 5614854 h 6412736"/>
              <a:gd name="connsiteX176" fmla="*/ 2659604 w 2689189"/>
              <a:gd name="connsiteY176" fmla="*/ 5319309 h 6412736"/>
              <a:gd name="connsiteX177" fmla="*/ 2689189 w 2689189"/>
              <a:gd name="connsiteY177" fmla="*/ 5319309 h 6412736"/>
              <a:gd name="connsiteX178" fmla="*/ 2689189 w 2689189"/>
              <a:gd name="connsiteY178" fmla="*/ 5348895 h 6412736"/>
              <a:gd name="connsiteX179" fmla="*/ 2659604 w 2689189"/>
              <a:gd name="connsiteY179" fmla="*/ 5348895 h 6412736"/>
              <a:gd name="connsiteX180" fmla="*/ 2393644 w 2689189"/>
              <a:gd name="connsiteY180" fmla="*/ 5319309 h 6412736"/>
              <a:gd name="connsiteX181" fmla="*/ 2423230 w 2689189"/>
              <a:gd name="connsiteY181" fmla="*/ 5319309 h 6412736"/>
              <a:gd name="connsiteX182" fmla="*/ 2423230 w 2689189"/>
              <a:gd name="connsiteY182" fmla="*/ 5348895 h 6412736"/>
              <a:gd name="connsiteX183" fmla="*/ 2393644 w 2689189"/>
              <a:gd name="connsiteY183" fmla="*/ 5348895 h 6412736"/>
              <a:gd name="connsiteX184" fmla="*/ 2127683 w 2689189"/>
              <a:gd name="connsiteY184" fmla="*/ 5319309 h 6412736"/>
              <a:gd name="connsiteX185" fmla="*/ 2157268 w 2689189"/>
              <a:gd name="connsiteY185" fmla="*/ 5319309 h 6412736"/>
              <a:gd name="connsiteX186" fmla="*/ 2157268 w 2689189"/>
              <a:gd name="connsiteY186" fmla="*/ 5348895 h 6412736"/>
              <a:gd name="connsiteX187" fmla="*/ 2127683 w 2689189"/>
              <a:gd name="connsiteY187" fmla="*/ 5348895 h 6412736"/>
              <a:gd name="connsiteX188" fmla="*/ 1861723 w 2689189"/>
              <a:gd name="connsiteY188" fmla="*/ 5319309 h 6412736"/>
              <a:gd name="connsiteX189" fmla="*/ 1891309 w 2689189"/>
              <a:gd name="connsiteY189" fmla="*/ 5319309 h 6412736"/>
              <a:gd name="connsiteX190" fmla="*/ 1891309 w 2689189"/>
              <a:gd name="connsiteY190" fmla="*/ 5348895 h 6412736"/>
              <a:gd name="connsiteX191" fmla="*/ 1861723 w 2689189"/>
              <a:gd name="connsiteY191" fmla="*/ 5348895 h 6412736"/>
              <a:gd name="connsiteX192" fmla="*/ 1595763 w 2689189"/>
              <a:gd name="connsiteY192" fmla="*/ 5319309 h 6412736"/>
              <a:gd name="connsiteX193" fmla="*/ 1625348 w 2689189"/>
              <a:gd name="connsiteY193" fmla="*/ 5319309 h 6412736"/>
              <a:gd name="connsiteX194" fmla="*/ 1625348 w 2689189"/>
              <a:gd name="connsiteY194" fmla="*/ 5348895 h 6412736"/>
              <a:gd name="connsiteX195" fmla="*/ 1595763 w 2689189"/>
              <a:gd name="connsiteY195" fmla="*/ 5348895 h 6412736"/>
              <a:gd name="connsiteX196" fmla="*/ 1329802 w 2689189"/>
              <a:gd name="connsiteY196" fmla="*/ 5319309 h 6412736"/>
              <a:gd name="connsiteX197" fmla="*/ 1359387 w 2689189"/>
              <a:gd name="connsiteY197" fmla="*/ 5319309 h 6412736"/>
              <a:gd name="connsiteX198" fmla="*/ 1359387 w 2689189"/>
              <a:gd name="connsiteY198" fmla="*/ 5348895 h 6412736"/>
              <a:gd name="connsiteX199" fmla="*/ 1329802 w 2689189"/>
              <a:gd name="connsiteY199" fmla="*/ 5348895 h 6412736"/>
              <a:gd name="connsiteX200" fmla="*/ 1063842 w 2689189"/>
              <a:gd name="connsiteY200" fmla="*/ 5319309 h 6412736"/>
              <a:gd name="connsiteX201" fmla="*/ 1093428 w 2689189"/>
              <a:gd name="connsiteY201" fmla="*/ 5319309 h 6412736"/>
              <a:gd name="connsiteX202" fmla="*/ 1093428 w 2689189"/>
              <a:gd name="connsiteY202" fmla="*/ 5348895 h 6412736"/>
              <a:gd name="connsiteX203" fmla="*/ 1063842 w 2689189"/>
              <a:gd name="connsiteY203" fmla="*/ 5348895 h 6412736"/>
              <a:gd name="connsiteX204" fmla="*/ 797881 w 2689189"/>
              <a:gd name="connsiteY204" fmla="*/ 5319309 h 6412736"/>
              <a:gd name="connsiteX205" fmla="*/ 827466 w 2689189"/>
              <a:gd name="connsiteY205" fmla="*/ 5319309 h 6412736"/>
              <a:gd name="connsiteX206" fmla="*/ 827466 w 2689189"/>
              <a:gd name="connsiteY206" fmla="*/ 5348895 h 6412736"/>
              <a:gd name="connsiteX207" fmla="*/ 797881 w 2689189"/>
              <a:gd name="connsiteY207" fmla="*/ 5348895 h 6412736"/>
              <a:gd name="connsiteX208" fmla="*/ 531921 w 2689189"/>
              <a:gd name="connsiteY208" fmla="*/ 5319309 h 6412736"/>
              <a:gd name="connsiteX209" fmla="*/ 561507 w 2689189"/>
              <a:gd name="connsiteY209" fmla="*/ 5319309 h 6412736"/>
              <a:gd name="connsiteX210" fmla="*/ 561507 w 2689189"/>
              <a:gd name="connsiteY210" fmla="*/ 5348895 h 6412736"/>
              <a:gd name="connsiteX211" fmla="*/ 531921 w 2689189"/>
              <a:gd name="connsiteY211" fmla="*/ 5348895 h 6412736"/>
              <a:gd name="connsiteX212" fmla="*/ 265961 w 2689189"/>
              <a:gd name="connsiteY212" fmla="*/ 5319309 h 6412736"/>
              <a:gd name="connsiteX213" fmla="*/ 295546 w 2689189"/>
              <a:gd name="connsiteY213" fmla="*/ 5319309 h 6412736"/>
              <a:gd name="connsiteX214" fmla="*/ 295546 w 2689189"/>
              <a:gd name="connsiteY214" fmla="*/ 5348895 h 6412736"/>
              <a:gd name="connsiteX215" fmla="*/ 265961 w 2689189"/>
              <a:gd name="connsiteY215" fmla="*/ 5348895 h 6412736"/>
              <a:gd name="connsiteX216" fmla="*/ 0 w 2689189"/>
              <a:gd name="connsiteY216" fmla="*/ 5319309 h 6412736"/>
              <a:gd name="connsiteX217" fmla="*/ 29585 w 2689189"/>
              <a:gd name="connsiteY217" fmla="*/ 5319309 h 6412736"/>
              <a:gd name="connsiteX218" fmla="*/ 29585 w 2689189"/>
              <a:gd name="connsiteY218" fmla="*/ 5348895 h 6412736"/>
              <a:gd name="connsiteX219" fmla="*/ 0 w 2689189"/>
              <a:gd name="connsiteY219" fmla="*/ 5348895 h 6412736"/>
              <a:gd name="connsiteX220" fmla="*/ 2659604 w 2689189"/>
              <a:gd name="connsiteY220" fmla="*/ 5053348 h 6412736"/>
              <a:gd name="connsiteX221" fmla="*/ 2689189 w 2689189"/>
              <a:gd name="connsiteY221" fmla="*/ 5053348 h 6412736"/>
              <a:gd name="connsiteX222" fmla="*/ 2689189 w 2689189"/>
              <a:gd name="connsiteY222" fmla="*/ 5082933 h 6412736"/>
              <a:gd name="connsiteX223" fmla="*/ 2659604 w 2689189"/>
              <a:gd name="connsiteY223" fmla="*/ 5082933 h 6412736"/>
              <a:gd name="connsiteX224" fmla="*/ 2393644 w 2689189"/>
              <a:gd name="connsiteY224" fmla="*/ 5053348 h 6412736"/>
              <a:gd name="connsiteX225" fmla="*/ 2423230 w 2689189"/>
              <a:gd name="connsiteY225" fmla="*/ 5053348 h 6412736"/>
              <a:gd name="connsiteX226" fmla="*/ 2423230 w 2689189"/>
              <a:gd name="connsiteY226" fmla="*/ 5082933 h 6412736"/>
              <a:gd name="connsiteX227" fmla="*/ 2393644 w 2689189"/>
              <a:gd name="connsiteY227" fmla="*/ 5082933 h 6412736"/>
              <a:gd name="connsiteX228" fmla="*/ 2127683 w 2689189"/>
              <a:gd name="connsiteY228" fmla="*/ 5053348 h 6412736"/>
              <a:gd name="connsiteX229" fmla="*/ 2157268 w 2689189"/>
              <a:gd name="connsiteY229" fmla="*/ 5053348 h 6412736"/>
              <a:gd name="connsiteX230" fmla="*/ 2157268 w 2689189"/>
              <a:gd name="connsiteY230" fmla="*/ 5082933 h 6412736"/>
              <a:gd name="connsiteX231" fmla="*/ 2127683 w 2689189"/>
              <a:gd name="connsiteY231" fmla="*/ 5082933 h 6412736"/>
              <a:gd name="connsiteX232" fmla="*/ 1861723 w 2689189"/>
              <a:gd name="connsiteY232" fmla="*/ 5053348 h 6412736"/>
              <a:gd name="connsiteX233" fmla="*/ 1891309 w 2689189"/>
              <a:gd name="connsiteY233" fmla="*/ 5053348 h 6412736"/>
              <a:gd name="connsiteX234" fmla="*/ 1891309 w 2689189"/>
              <a:gd name="connsiteY234" fmla="*/ 5082933 h 6412736"/>
              <a:gd name="connsiteX235" fmla="*/ 1861723 w 2689189"/>
              <a:gd name="connsiteY235" fmla="*/ 5082933 h 6412736"/>
              <a:gd name="connsiteX236" fmla="*/ 1595763 w 2689189"/>
              <a:gd name="connsiteY236" fmla="*/ 5053348 h 6412736"/>
              <a:gd name="connsiteX237" fmla="*/ 1625348 w 2689189"/>
              <a:gd name="connsiteY237" fmla="*/ 5053348 h 6412736"/>
              <a:gd name="connsiteX238" fmla="*/ 1625348 w 2689189"/>
              <a:gd name="connsiteY238" fmla="*/ 5082933 h 6412736"/>
              <a:gd name="connsiteX239" fmla="*/ 1595763 w 2689189"/>
              <a:gd name="connsiteY239" fmla="*/ 5082933 h 6412736"/>
              <a:gd name="connsiteX240" fmla="*/ 1329802 w 2689189"/>
              <a:gd name="connsiteY240" fmla="*/ 5053348 h 6412736"/>
              <a:gd name="connsiteX241" fmla="*/ 1359387 w 2689189"/>
              <a:gd name="connsiteY241" fmla="*/ 5053348 h 6412736"/>
              <a:gd name="connsiteX242" fmla="*/ 1359387 w 2689189"/>
              <a:gd name="connsiteY242" fmla="*/ 5082933 h 6412736"/>
              <a:gd name="connsiteX243" fmla="*/ 1329802 w 2689189"/>
              <a:gd name="connsiteY243" fmla="*/ 5082933 h 6412736"/>
              <a:gd name="connsiteX244" fmla="*/ 1063842 w 2689189"/>
              <a:gd name="connsiteY244" fmla="*/ 5053348 h 6412736"/>
              <a:gd name="connsiteX245" fmla="*/ 1093428 w 2689189"/>
              <a:gd name="connsiteY245" fmla="*/ 5053348 h 6412736"/>
              <a:gd name="connsiteX246" fmla="*/ 1093428 w 2689189"/>
              <a:gd name="connsiteY246" fmla="*/ 5082933 h 6412736"/>
              <a:gd name="connsiteX247" fmla="*/ 1063842 w 2689189"/>
              <a:gd name="connsiteY247" fmla="*/ 5082933 h 6412736"/>
              <a:gd name="connsiteX248" fmla="*/ 797881 w 2689189"/>
              <a:gd name="connsiteY248" fmla="*/ 5053348 h 6412736"/>
              <a:gd name="connsiteX249" fmla="*/ 827466 w 2689189"/>
              <a:gd name="connsiteY249" fmla="*/ 5053348 h 6412736"/>
              <a:gd name="connsiteX250" fmla="*/ 827466 w 2689189"/>
              <a:gd name="connsiteY250" fmla="*/ 5082933 h 6412736"/>
              <a:gd name="connsiteX251" fmla="*/ 797881 w 2689189"/>
              <a:gd name="connsiteY251" fmla="*/ 5082933 h 6412736"/>
              <a:gd name="connsiteX252" fmla="*/ 531921 w 2689189"/>
              <a:gd name="connsiteY252" fmla="*/ 5053348 h 6412736"/>
              <a:gd name="connsiteX253" fmla="*/ 561507 w 2689189"/>
              <a:gd name="connsiteY253" fmla="*/ 5053348 h 6412736"/>
              <a:gd name="connsiteX254" fmla="*/ 561507 w 2689189"/>
              <a:gd name="connsiteY254" fmla="*/ 5082933 h 6412736"/>
              <a:gd name="connsiteX255" fmla="*/ 531921 w 2689189"/>
              <a:gd name="connsiteY255" fmla="*/ 5082933 h 6412736"/>
              <a:gd name="connsiteX256" fmla="*/ 265961 w 2689189"/>
              <a:gd name="connsiteY256" fmla="*/ 5053348 h 6412736"/>
              <a:gd name="connsiteX257" fmla="*/ 295546 w 2689189"/>
              <a:gd name="connsiteY257" fmla="*/ 5053348 h 6412736"/>
              <a:gd name="connsiteX258" fmla="*/ 295546 w 2689189"/>
              <a:gd name="connsiteY258" fmla="*/ 5082933 h 6412736"/>
              <a:gd name="connsiteX259" fmla="*/ 265961 w 2689189"/>
              <a:gd name="connsiteY259" fmla="*/ 5082933 h 6412736"/>
              <a:gd name="connsiteX260" fmla="*/ 0 w 2689189"/>
              <a:gd name="connsiteY260" fmla="*/ 5053348 h 6412736"/>
              <a:gd name="connsiteX261" fmla="*/ 29585 w 2689189"/>
              <a:gd name="connsiteY261" fmla="*/ 5053348 h 6412736"/>
              <a:gd name="connsiteX262" fmla="*/ 29585 w 2689189"/>
              <a:gd name="connsiteY262" fmla="*/ 5082933 h 6412736"/>
              <a:gd name="connsiteX263" fmla="*/ 0 w 2689189"/>
              <a:gd name="connsiteY263" fmla="*/ 5082933 h 6412736"/>
              <a:gd name="connsiteX264" fmla="*/ 2659604 w 2689189"/>
              <a:gd name="connsiteY264" fmla="*/ 4787388 h 6412736"/>
              <a:gd name="connsiteX265" fmla="*/ 2689189 w 2689189"/>
              <a:gd name="connsiteY265" fmla="*/ 4787388 h 6412736"/>
              <a:gd name="connsiteX266" fmla="*/ 2689189 w 2689189"/>
              <a:gd name="connsiteY266" fmla="*/ 4816974 h 6412736"/>
              <a:gd name="connsiteX267" fmla="*/ 2659604 w 2689189"/>
              <a:gd name="connsiteY267" fmla="*/ 4816974 h 6412736"/>
              <a:gd name="connsiteX268" fmla="*/ 2393644 w 2689189"/>
              <a:gd name="connsiteY268" fmla="*/ 4787388 h 6412736"/>
              <a:gd name="connsiteX269" fmla="*/ 2423230 w 2689189"/>
              <a:gd name="connsiteY269" fmla="*/ 4787388 h 6412736"/>
              <a:gd name="connsiteX270" fmla="*/ 2423230 w 2689189"/>
              <a:gd name="connsiteY270" fmla="*/ 4816974 h 6412736"/>
              <a:gd name="connsiteX271" fmla="*/ 2393644 w 2689189"/>
              <a:gd name="connsiteY271" fmla="*/ 4816974 h 6412736"/>
              <a:gd name="connsiteX272" fmla="*/ 2127683 w 2689189"/>
              <a:gd name="connsiteY272" fmla="*/ 4787388 h 6412736"/>
              <a:gd name="connsiteX273" fmla="*/ 2157268 w 2689189"/>
              <a:gd name="connsiteY273" fmla="*/ 4787388 h 6412736"/>
              <a:gd name="connsiteX274" fmla="*/ 2157268 w 2689189"/>
              <a:gd name="connsiteY274" fmla="*/ 4816974 h 6412736"/>
              <a:gd name="connsiteX275" fmla="*/ 2127683 w 2689189"/>
              <a:gd name="connsiteY275" fmla="*/ 4816974 h 6412736"/>
              <a:gd name="connsiteX276" fmla="*/ 1861723 w 2689189"/>
              <a:gd name="connsiteY276" fmla="*/ 4787388 h 6412736"/>
              <a:gd name="connsiteX277" fmla="*/ 1891309 w 2689189"/>
              <a:gd name="connsiteY277" fmla="*/ 4787388 h 6412736"/>
              <a:gd name="connsiteX278" fmla="*/ 1891309 w 2689189"/>
              <a:gd name="connsiteY278" fmla="*/ 4816974 h 6412736"/>
              <a:gd name="connsiteX279" fmla="*/ 1861723 w 2689189"/>
              <a:gd name="connsiteY279" fmla="*/ 4816974 h 6412736"/>
              <a:gd name="connsiteX280" fmla="*/ 1595763 w 2689189"/>
              <a:gd name="connsiteY280" fmla="*/ 4787388 h 6412736"/>
              <a:gd name="connsiteX281" fmla="*/ 1625348 w 2689189"/>
              <a:gd name="connsiteY281" fmla="*/ 4787388 h 6412736"/>
              <a:gd name="connsiteX282" fmla="*/ 1625348 w 2689189"/>
              <a:gd name="connsiteY282" fmla="*/ 4816974 h 6412736"/>
              <a:gd name="connsiteX283" fmla="*/ 1595763 w 2689189"/>
              <a:gd name="connsiteY283" fmla="*/ 4816974 h 6412736"/>
              <a:gd name="connsiteX284" fmla="*/ 1329802 w 2689189"/>
              <a:gd name="connsiteY284" fmla="*/ 4787388 h 6412736"/>
              <a:gd name="connsiteX285" fmla="*/ 1359387 w 2689189"/>
              <a:gd name="connsiteY285" fmla="*/ 4787388 h 6412736"/>
              <a:gd name="connsiteX286" fmla="*/ 1359387 w 2689189"/>
              <a:gd name="connsiteY286" fmla="*/ 4816974 h 6412736"/>
              <a:gd name="connsiteX287" fmla="*/ 1329802 w 2689189"/>
              <a:gd name="connsiteY287" fmla="*/ 4816974 h 6412736"/>
              <a:gd name="connsiteX288" fmla="*/ 1063842 w 2689189"/>
              <a:gd name="connsiteY288" fmla="*/ 4787388 h 6412736"/>
              <a:gd name="connsiteX289" fmla="*/ 1093428 w 2689189"/>
              <a:gd name="connsiteY289" fmla="*/ 4787388 h 6412736"/>
              <a:gd name="connsiteX290" fmla="*/ 1093428 w 2689189"/>
              <a:gd name="connsiteY290" fmla="*/ 4816974 h 6412736"/>
              <a:gd name="connsiteX291" fmla="*/ 1063842 w 2689189"/>
              <a:gd name="connsiteY291" fmla="*/ 4816974 h 6412736"/>
              <a:gd name="connsiteX292" fmla="*/ 797881 w 2689189"/>
              <a:gd name="connsiteY292" fmla="*/ 4787388 h 6412736"/>
              <a:gd name="connsiteX293" fmla="*/ 827466 w 2689189"/>
              <a:gd name="connsiteY293" fmla="*/ 4787388 h 6412736"/>
              <a:gd name="connsiteX294" fmla="*/ 827466 w 2689189"/>
              <a:gd name="connsiteY294" fmla="*/ 4816974 h 6412736"/>
              <a:gd name="connsiteX295" fmla="*/ 797881 w 2689189"/>
              <a:gd name="connsiteY295" fmla="*/ 4816974 h 6412736"/>
              <a:gd name="connsiteX296" fmla="*/ 531921 w 2689189"/>
              <a:gd name="connsiteY296" fmla="*/ 4787388 h 6412736"/>
              <a:gd name="connsiteX297" fmla="*/ 561507 w 2689189"/>
              <a:gd name="connsiteY297" fmla="*/ 4787388 h 6412736"/>
              <a:gd name="connsiteX298" fmla="*/ 561507 w 2689189"/>
              <a:gd name="connsiteY298" fmla="*/ 4816974 h 6412736"/>
              <a:gd name="connsiteX299" fmla="*/ 531921 w 2689189"/>
              <a:gd name="connsiteY299" fmla="*/ 4816974 h 6412736"/>
              <a:gd name="connsiteX300" fmla="*/ 265961 w 2689189"/>
              <a:gd name="connsiteY300" fmla="*/ 4787388 h 6412736"/>
              <a:gd name="connsiteX301" fmla="*/ 295546 w 2689189"/>
              <a:gd name="connsiteY301" fmla="*/ 4787388 h 6412736"/>
              <a:gd name="connsiteX302" fmla="*/ 295546 w 2689189"/>
              <a:gd name="connsiteY302" fmla="*/ 4816974 h 6412736"/>
              <a:gd name="connsiteX303" fmla="*/ 265961 w 2689189"/>
              <a:gd name="connsiteY303" fmla="*/ 4816974 h 6412736"/>
              <a:gd name="connsiteX304" fmla="*/ 0 w 2689189"/>
              <a:gd name="connsiteY304" fmla="*/ 4787388 h 6412736"/>
              <a:gd name="connsiteX305" fmla="*/ 29585 w 2689189"/>
              <a:gd name="connsiteY305" fmla="*/ 4787388 h 6412736"/>
              <a:gd name="connsiteX306" fmla="*/ 29585 w 2689189"/>
              <a:gd name="connsiteY306" fmla="*/ 4816974 h 6412736"/>
              <a:gd name="connsiteX307" fmla="*/ 0 w 2689189"/>
              <a:gd name="connsiteY307" fmla="*/ 4816974 h 6412736"/>
              <a:gd name="connsiteX308" fmla="*/ 2659604 w 2689189"/>
              <a:gd name="connsiteY308" fmla="*/ 4521428 h 6412736"/>
              <a:gd name="connsiteX309" fmla="*/ 2689189 w 2689189"/>
              <a:gd name="connsiteY309" fmla="*/ 4521428 h 6412736"/>
              <a:gd name="connsiteX310" fmla="*/ 2689189 w 2689189"/>
              <a:gd name="connsiteY310" fmla="*/ 4551013 h 6412736"/>
              <a:gd name="connsiteX311" fmla="*/ 2659604 w 2689189"/>
              <a:gd name="connsiteY311" fmla="*/ 4551013 h 6412736"/>
              <a:gd name="connsiteX312" fmla="*/ 2393644 w 2689189"/>
              <a:gd name="connsiteY312" fmla="*/ 4521428 h 6412736"/>
              <a:gd name="connsiteX313" fmla="*/ 2423230 w 2689189"/>
              <a:gd name="connsiteY313" fmla="*/ 4521428 h 6412736"/>
              <a:gd name="connsiteX314" fmla="*/ 2423230 w 2689189"/>
              <a:gd name="connsiteY314" fmla="*/ 4551013 h 6412736"/>
              <a:gd name="connsiteX315" fmla="*/ 2393644 w 2689189"/>
              <a:gd name="connsiteY315" fmla="*/ 4551013 h 6412736"/>
              <a:gd name="connsiteX316" fmla="*/ 2127683 w 2689189"/>
              <a:gd name="connsiteY316" fmla="*/ 4521428 h 6412736"/>
              <a:gd name="connsiteX317" fmla="*/ 2157268 w 2689189"/>
              <a:gd name="connsiteY317" fmla="*/ 4521428 h 6412736"/>
              <a:gd name="connsiteX318" fmla="*/ 2157268 w 2689189"/>
              <a:gd name="connsiteY318" fmla="*/ 4551013 h 6412736"/>
              <a:gd name="connsiteX319" fmla="*/ 2127683 w 2689189"/>
              <a:gd name="connsiteY319" fmla="*/ 4551013 h 6412736"/>
              <a:gd name="connsiteX320" fmla="*/ 1861723 w 2689189"/>
              <a:gd name="connsiteY320" fmla="*/ 4521428 h 6412736"/>
              <a:gd name="connsiteX321" fmla="*/ 1891309 w 2689189"/>
              <a:gd name="connsiteY321" fmla="*/ 4521428 h 6412736"/>
              <a:gd name="connsiteX322" fmla="*/ 1891309 w 2689189"/>
              <a:gd name="connsiteY322" fmla="*/ 4551013 h 6412736"/>
              <a:gd name="connsiteX323" fmla="*/ 1861723 w 2689189"/>
              <a:gd name="connsiteY323" fmla="*/ 4551013 h 6412736"/>
              <a:gd name="connsiteX324" fmla="*/ 1595763 w 2689189"/>
              <a:gd name="connsiteY324" fmla="*/ 4521428 h 6412736"/>
              <a:gd name="connsiteX325" fmla="*/ 1625348 w 2689189"/>
              <a:gd name="connsiteY325" fmla="*/ 4521428 h 6412736"/>
              <a:gd name="connsiteX326" fmla="*/ 1625348 w 2689189"/>
              <a:gd name="connsiteY326" fmla="*/ 4551013 h 6412736"/>
              <a:gd name="connsiteX327" fmla="*/ 1595763 w 2689189"/>
              <a:gd name="connsiteY327" fmla="*/ 4551013 h 6412736"/>
              <a:gd name="connsiteX328" fmla="*/ 1329802 w 2689189"/>
              <a:gd name="connsiteY328" fmla="*/ 4521428 h 6412736"/>
              <a:gd name="connsiteX329" fmla="*/ 1359387 w 2689189"/>
              <a:gd name="connsiteY329" fmla="*/ 4521428 h 6412736"/>
              <a:gd name="connsiteX330" fmla="*/ 1359387 w 2689189"/>
              <a:gd name="connsiteY330" fmla="*/ 4551013 h 6412736"/>
              <a:gd name="connsiteX331" fmla="*/ 1329802 w 2689189"/>
              <a:gd name="connsiteY331" fmla="*/ 4551013 h 6412736"/>
              <a:gd name="connsiteX332" fmla="*/ 1063842 w 2689189"/>
              <a:gd name="connsiteY332" fmla="*/ 4521428 h 6412736"/>
              <a:gd name="connsiteX333" fmla="*/ 1093428 w 2689189"/>
              <a:gd name="connsiteY333" fmla="*/ 4521428 h 6412736"/>
              <a:gd name="connsiteX334" fmla="*/ 1093428 w 2689189"/>
              <a:gd name="connsiteY334" fmla="*/ 4551013 h 6412736"/>
              <a:gd name="connsiteX335" fmla="*/ 1063842 w 2689189"/>
              <a:gd name="connsiteY335" fmla="*/ 4551013 h 6412736"/>
              <a:gd name="connsiteX336" fmla="*/ 797881 w 2689189"/>
              <a:gd name="connsiteY336" fmla="*/ 4521428 h 6412736"/>
              <a:gd name="connsiteX337" fmla="*/ 827466 w 2689189"/>
              <a:gd name="connsiteY337" fmla="*/ 4521428 h 6412736"/>
              <a:gd name="connsiteX338" fmla="*/ 827466 w 2689189"/>
              <a:gd name="connsiteY338" fmla="*/ 4551013 h 6412736"/>
              <a:gd name="connsiteX339" fmla="*/ 797881 w 2689189"/>
              <a:gd name="connsiteY339" fmla="*/ 4551013 h 6412736"/>
              <a:gd name="connsiteX340" fmla="*/ 531921 w 2689189"/>
              <a:gd name="connsiteY340" fmla="*/ 4521428 h 6412736"/>
              <a:gd name="connsiteX341" fmla="*/ 561507 w 2689189"/>
              <a:gd name="connsiteY341" fmla="*/ 4521428 h 6412736"/>
              <a:gd name="connsiteX342" fmla="*/ 561507 w 2689189"/>
              <a:gd name="connsiteY342" fmla="*/ 4551013 h 6412736"/>
              <a:gd name="connsiteX343" fmla="*/ 531921 w 2689189"/>
              <a:gd name="connsiteY343" fmla="*/ 4551013 h 6412736"/>
              <a:gd name="connsiteX344" fmla="*/ 265961 w 2689189"/>
              <a:gd name="connsiteY344" fmla="*/ 4521428 h 6412736"/>
              <a:gd name="connsiteX345" fmla="*/ 295546 w 2689189"/>
              <a:gd name="connsiteY345" fmla="*/ 4521428 h 6412736"/>
              <a:gd name="connsiteX346" fmla="*/ 295546 w 2689189"/>
              <a:gd name="connsiteY346" fmla="*/ 4551013 h 6412736"/>
              <a:gd name="connsiteX347" fmla="*/ 265961 w 2689189"/>
              <a:gd name="connsiteY347" fmla="*/ 4551013 h 6412736"/>
              <a:gd name="connsiteX348" fmla="*/ 0 w 2689189"/>
              <a:gd name="connsiteY348" fmla="*/ 4521428 h 6412736"/>
              <a:gd name="connsiteX349" fmla="*/ 29585 w 2689189"/>
              <a:gd name="connsiteY349" fmla="*/ 4521428 h 6412736"/>
              <a:gd name="connsiteX350" fmla="*/ 29585 w 2689189"/>
              <a:gd name="connsiteY350" fmla="*/ 4551013 h 6412736"/>
              <a:gd name="connsiteX351" fmla="*/ 0 w 2689189"/>
              <a:gd name="connsiteY351" fmla="*/ 4551013 h 6412736"/>
              <a:gd name="connsiteX352" fmla="*/ 2659604 w 2689189"/>
              <a:gd name="connsiteY352" fmla="*/ 4255467 h 6412736"/>
              <a:gd name="connsiteX353" fmla="*/ 2689189 w 2689189"/>
              <a:gd name="connsiteY353" fmla="*/ 4255467 h 6412736"/>
              <a:gd name="connsiteX354" fmla="*/ 2689189 w 2689189"/>
              <a:gd name="connsiteY354" fmla="*/ 4285052 h 6412736"/>
              <a:gd name="connsiteX355" fmla="*/ 2659604 w 2689189"/>
              <a:gd name="connsiteY355" fmla="*/ 4285052 h 6412736"/>
              <a:gd name="connsiteX356" fmla="*/ 2393644 w 2689189"/>
              <a:gd name="connsiteY356" fmla="*/ 4255467 h 6412736"/>
              <a:gd name="connsiteX357" fmla="*/ 2423230 w 2689189"/>
              <a:gd name="connsiteY357" fmla="*/ 4255467 h 6412736"/>
              <a:gd name="connsiteX358" fmla="*/ 2423230 w 2689189"/>
              <a:gd name="connsiteY358" fmla="*/ 4285052 h 6412736"/>
              <a:gd name="connsiteX359" fmla="*/ 2393644 w 2689189"/>
              <a:gd name="connsiteY359" fmla="*/ 4285052 h 6412736"/>
              <a:gd name="connsiteX360" fmla="*/ 2127683 w 2689189"/>
              <a:gd name="connsiteY360" fmla="*/ 4255467 h 6412736"/>
              <a:gd name="connsiteX361" fmla="*/ 2157268 w 2689189"/>
              <a:gd name="connsiteY361" fmla="*/ 4255467 h 6412736"/>
              <a:gd name="connsiteX362" fmla="*/ 2157268 w 2689189"/>
              <a:gd name="connsiteY362" fmla="*/ 4285052 h 6412736"/>
              <a:gd name="connsiteX363" fmla="*/ 2127683 w 2689189"/>
              <a:gd name="connsiteY363" fmla="*/ 4285052 h 6412736"/>
              <a:gd name="connsiteX364" fmla="*/ 1861723 w 2689189"/>
              <a:gd name="connsiteY364" fmla="*/ 4255467 h 6412736"/>
              <a:gd name="connsiteX365" fmla="*/ 1891309 w 2689189"/>
              <a:gd name="connsiteY365" fmla="*/ 4255467 h 6412736"/>
              <a:gd name="connsiteX366" fmla="*/ 1891309 w 2689189"/>
              <a:gd name="connsiteY366" fmla="*/ 4285052 h 6412736"/>
              <a:gd name="connsiteX367" fmla="*/ 1861723 w 2689189"/>
              <a:gd name="connsiteY367" fmla="*/ 4285052 h 6412736"/>
              <a:gd name="connsiteX368" fmla="*/ 1595763 w 2689189"/>
              <a:gd name="connsiteY368" fmla="*/ 4255467 h 6412736"/>
              <a:gd name="connsiteX369" fmla="*/ 1625348 w 2689189"/>
              <a:gd name="connsiteY369" fmla="*/ 4255467 h 6412736"/>
              <a:gd name="connsiteX370" fmla="*/ 1625348 w 2689189"/>
              <a:gd name="connsiteY370" fmla="*/ 4285052 h 6412736"/>
              <a:gd name="connsiteX371" fmla="*/ 1595763 w 2689189"/>
              <a:gd name="connsiteY371" fmla="*/ 4285052 h 6412736"/>
              <a:gd name="connsiteX372" fmla="*/ 1329802 w 2689189"/>
              <a:gd name="connsiteY372" fmla="*/ 4255467 h 6412736"/>
              <a:gd name="connsiteX373" fmla="*/ 1359387 w 2689189"/>
              <a:gd name="connsiteY373" fmla="*/ 4255467 h 6412736"/>
              <a:gd name="connsiteX374" fmla="*/ 1359387 w 2689189"/>
              <a:gd name="connsiteY374" fmla="*/ 4285052 h 6412736"/>
              <a:gd name="connsiteX375" fmla="*/ 1329802 w 2689189"/>
              <a:gd name="connsiteY375" fmla="*/ 4285052 h 6412736"/>
              <a:gd name="connsiteX376" fmla="*/ 1063842 w 2689189"/>
              <a:gd name="connsiteY376" fmla="*/ 4255467 h 6412736"/>
              <a:gd name="connsiteX377" fmla="*/ 1093428 w 2689189"/>
              <a:gd name="connsiteY377" fmla="*/ 4255467 h 6412736"/>
              <a:gd name="connsiteX378" fmla="*/ 1093428 w 2689189"/>
              <a:gd name="connsiteY378" fmla="*/ 4285052 h 6412736"/>
              <a:gd name="connsiteX379" fmla="*/ 1063842 w 2689189"/>
              <a:gd name="connsiteY379" fmla="*/ 4285052 h 6412736"/>
              <a:gd name="connsiteX380" fmla="*/ 797881 w 2689189"/>
              <a:gd name="connsiteY380" fmla="*/ 4255467 h 6412736"/>
              <a:gd name="connsiteX381" fmla="*/ 827466 w 2689189"/>
              <a:gd name="connsiteY381" fmla="*/ 4255467 h 6412736"/>
              <a:gd name="connsiteX382" fmla="*/ 827466 w 2689189"/>
              <a:gd name="connsiteY382" fmla="*/ 4285052 h 6412736"/>
              <a:gd name="connsiteX383" fmla="*/ 797881 w 2689189"/>
              <a:gd name="connsiteY383" fmla="*/ 4285052 h 6412736"/>
              <a:gd name="connsiteX384" fmla="*/ 531921 w 2689189"/>
              <a:gd name="connsiteY384" fmla="*/ 4255467 h 6412736"/>
              <a:gd name="connsiteX385" fmla="*/ 561507 w 2689189"/>
              <a:gd name="connsiteY385" fmla="*/ 4255467 h 6412736"/>
              <a:gd name="connsiteX386" fmla="*/ 561507 w 2689189"/>
              <a:gd name="connsiteY386" fmla="*/ 4285052 h 6412736"/>
              <a:gd name="connsiteX387" fmla="*/ 531921 w 2689189"/>
              <a:gd name="connsiteY387" fmla="*/ 4285052 h 6412736"/>
              <a:gd name="connsiteX388" fmla="*/ 265961 w 2689189"/>
              <a:gd name="connsiteY388" fmla="*/ 4255467 h 6412736"/>
              <a:gd name="connsiteX389" fmla="*/ 295546 w 2689189"/>
              <a:gd name="connsiteY389" fmla="*/ 4255467 h 6412736"/>
              <a:gd name="connsiteX390" fmla="*/ 295546 w 2689189"/>
              <a:gd name="connsiteY390" fmla="*/ 4285052 h 6412736"/>
              <a:gd name="connsiteX391" fmla="*/ 265961 w 2689189"/>
              <a:gd name="connsiteY391" fmla="*/ 4285052 h 6412736"/>
              <a:gd name="connsiteX392" fmla="*/ 0 w 2689189"/>
              <a:gd name="connsiteY392" fmla="*/ 4255467 h 6412736"/>
              <a:gd name="connsiteX393" fmla="*/ 29585 w 2689189"/>
              <a:gd name="connsiteY393" fmla="*/ 4255467 h 6412736"/>
              <a:gd name="connsiteX394" fmla="*/ 29585 w 2689189"/>
              <a:gd name="connsiteY394" fmla="*/ 4285052 h 6412736"/>
              <a:gd name="connsiteX395" fmla="*/ 0 w 2689189"/>
              <a:gd name="connsiteY395" fmla="*/ 4285052 h 6412736"/>
              <a:gd name="connsiteX396" fmla="*/ 2659604 w 2689189"/>
              <a:gd name="connsiteY396" fmla="*/ 3989507 h 6412736"/>
              <a:gd name="connsiteX397" fmla="*/ 2689189 w 2689189"/>
              <a:gd name="connsiteY397" fmla="*/ 3989507 h 6412736"/>
              <a:gd name="connsiteX398" fmla="*/ 2689189 w 2689189"/>
              <a:gd name="connsiteY398" fmla="*/ 4019093 h 6412736"/>
              <a:gd name="connsiteX399" fmla="*/ 2659604 w 2689189"/>
              <a:gd name="connsiteY399" fmla="*/ 4019093 h 6412736"/>
              <a:gd name="connsiteX400" fmla="*/ 2393644 w 2689189"/>
              <a:gd name="connsiteY400" fmla="*/ 3989507 h 6412736"/>
              <a:gd name="connsiteX401" fmla="*/ 2423230 w 2689189"/>
              <a:gd name="connsiteY401" fmla="*/ 3989507 h 6412736"/>
              <a:gd name="connsiteX402" fmla="*/ 2423230 w 2689189"/>
              <a:gd name="connsiteY402" fmla="*/ 4019093 h 6412736"/>
              <a:gd name="connsiteX403" fmla="*/ 2393644 w 2689189"/>
              <a:gd name="connsiteY403" fmla="*/ 4019093 h 6412736"/>
              <a:gd name="connsiteX404" fmla="*/ 2127683 w 2689189"/>
              <a:gd name="connsiteY404" fmla="*/ 3989507 h 6412736"/>
              <a:gd name="connsiteX405" fmla="*/ 2157268 w 2689189"/>
              <a:gd name="connsiteY405" fmla="*/ 3989507 h 6412736"/>
              <a:gd name="connsiteX406" fmla="*/ 2157268 w 2689189"/>
              <a:gd name="connsiteY406" fmla="*/ 4019093 h 6412736"/>
              <a:gd name="connsiteX407" fmla="*/ 2127683 w 2689189"/>
              <a:gd name="connsiteY407" fmla="*/ 4019093 h 6412736"/>
              <a:gd name="connsiteX408" fmla="*/ 1861723 w 2689189"/>
              <a:gd name="connsiteY408" fmla="*/ 3989507 h 6412736"/>
              <a:gd name="connsiteX409" fmla="*/ 1891309 w 2689189"/>
              <a:gd name="connsiteY409" fmla="*/ 3989507 h 6412736"/>
              <a:gd name="connsiteX410" fmla="*/ 1891309 w 2689189"/>
              <a:gd name="connsiteY410" fmla="*/ 4019093 h 6412736"/>
              <a:gd name="connsiteX411" fmla="*/ 1861723 w 2689189"/>
              <a:gd name="connsiteY411" fmla="*/ 4019093 h 6412736"/>
              <a:gd name="connsiteX412" fmla="*/ 1595763 w 2689189"/>
              <a:gd name="connsiteY412" fmla="*/ 3989507 h 6412736"/>
              <a:gd name="connsiteX413" fmla="*/ 1625348 w 2689189"/>
              <a:gd name="connsiteY413" fmla="*/ 3989507 h 6412736"/>
              <a:gd name="connsiteX414" fmla="*/ 1625348 w 2689189"/>
              <a:gd name="connsiteY414" fmla="*/ 4019093 h 6412736"/>
              <a:gd name="connsiteX415" fmla="*/ 1595763 w 2689189"/>
              <a:gd name="connsiteY415" fmla="*/ 4019093 h 6412736"/>
              <a:gd name="connsiteX416" fmla="*/ 1329802 w 2689189"/>
              <a:gd name="connsiteY416" fmla="*/ 3989507 h 6412736"/>
              <a:gd name="connsiteX417" fmla="*/ 1359387 w 2689189"/>
              <a:gd name="connsiteY417" fmla="*/ 3989507 h 6412736"/>
              <a:gd name="connsiteX418" fmla="*/ 1359387 w 2689189"/>
              <a:gd name="connsiteY418" fmla="*/ 4019093 h 6412736"/>
              <a:gd name="connsiteX419" fmla="*/ 1329802 w 2689189"/>
              <a:gd name="connsiteY419" fmla="*/ 4019093 h 6412736"/>
              <a:gd name="connsiteX420" fmla="*/ 1063842 w 2689189"/>
              <a:gd name="connsiteY420" fmla="*/ 3989507 h 6412736"/>
              <a:gd name="connsiteX421" fmla="*/ 1093428 w 2689189"/>
              <a:gd name="connsiteY421" fmla="*/ 3989507 h 6412736"/>
              <a:gd name="connsiteX422" fmla="*/ 1093428 w 2689189"/>
              <a:gd name="connsiteY422" fmla="*/ 4019093 h 6412736"/>
              <a:gd name="connsiteX423" fmla="*/ 1063842 w 2689189"/>
              <a:gd name="connsiteY423" fmla="*/ 4019093 h 6412736"/>
              <a:gd name="connsiteX424" fmla="*/ 797881 w 2689189"/>
              <a:gd name="connsiteY424" fmla="*/ 3989507 h 6412736"/>
              <a:gd name="connsiteX425" fmla="*/ 827466 w 2689189"/>
              <a:gd name="connsiteY425" fmla="*/ 3989507 h 6412736"/>
              <a:gd name="connsiteX426" fmla="*/ 827466 w 2689189"/>
              <a:gd name="connsiteY426" fmla="*/ 4019093 h 6412736"/>
              <a:gd name="connsiteX427" fmla="*/ 797881 w 2689189"/>
              <a:gd name="connsiteY427" fmla="*/ 4019093 h 6412736"/>
              <a:gd name="connsiteX428" fmla="*/ 531921 w 2689189"/>
              <a:gd name="connsiteY428" fmla="*/ 3989507 h 6412736"/>
              <a:gd name="connsiteX429" fmla="*/ 561507 w 2689189"/>
              <a:gd name="connsiteY429" fmla="*/ 3989507 h 6412736"/>
              <a:gd name="connsiteX430" fmla="*/ 561507 w 2689189"/>
              <a:gd name="connsiteY430" fmla="*/ 4019093 h 6412736"/>
              <a:gd name="connsiteX431" fmla="*/ 531921 w 2689189"/>
              <a:gd name="connsiteY431" fmla="*/ 4019093 h 6412736"/>
              <a:gd name="connsiteX432" fmla="*/ 265961 w 2689189"/>
              <a:gd name="connsiteY432" fmla="*/ 3989507 h 6412736"/>
              <a:gd name="connsiteX433" fmla="*/ 295546 w 2689189"/>
              <a:gd name="connsiteY433" fmla="*/ 3989507 h 6412736"/>
              <a:gd name="connsiteX434" fmla="*/ 295546 w 2689189"/>
              <a:gd name="connsiteY434" fmla="*/ 4019093 h 6412736"/>
              <a:gd name="connsiteX435" fmla="*/ 265961 w 2689189"/>
              <a:gd name="connsiteY435" fmla="*/ 4019093 h 6412736"/>
              <a:gd name="connsiteX436" fmla="*/ 0 w 2689189"/>
              <a:gd name="connsiteY436" fmla="*/ 3989507 h 6412736"/>
              <a:gd name="connsiteX437" fmla="*/ 29585 w 2689189"/>
              <a:gd name="connsiteY437" fmla="*/ 3989507 h 6412736"/>
              <a:gd name="connsiteX438" fmla="*/ 29585 w 2689189"/>
              <a:gd name="connsiteY438" fmla="*/ 4019093 h 6412736"/>
              <a:gd name="connsiteX439" fmla="*/ 0 w 2689189"/>
              <a:gd name="connsiteY439" fmla="*/ 4019093 h 6412736"/>
              <a:gd name="connsiteX440" fmla="*/ 2659604 w 2689189"/>
              <a:gd name="connsiteY440" fmla="*/ 3723546 h 6412736"/>
              <a:gd name="connsiteX441" fmla="*/ 2689189 w 2689189"/>
              <a:gd name="connsiteY441" fmla="*/ 3723546 h 6412736"/>
              <a:gd name="connsiteX442" fmla="*/ 2689189 w 2689189"/>
              <a:gd name="connsiteY442" fmla="*/ 3753131 h 6412736"/>
              <a:gd name="connsiteX443" fmla="*/ 2659604 w 2689189"/>
              <a:gd name="connsiteY443" fmla="*/ 3753131 h 6412736"/>
              <a:gd name="connsiteX444" fmla="*/ 2393644 w 2689189"/>
              <a:gd name="connsiteY444" fmla="*/ 3723546 h 6412736"/>
              <a:gd name="connsiteX445" fmla="*/ 2423230 w 2689189"/>
              <a:gd name="connsiteY445" fmla="*/ 3723546 h 6412736"/>
              <a:gd name="connsiteX446" fmla="*/ 2423230 w 2689189"/>
              <a:gd name="connsiteY446" fmla="*/ 3753131 h 6412736"/>
              <a:gd name="connsiteX447" fmla="*/ 2393644 w 2689189"/>
              <a:gd name="connsiteY447" fmla="*/ 3753131 h 6412736"/>
              <a:gd name="connsiteX448" fmla="*/ 2127683 w 2689189"/>
              <a:gd name="connsiteY448" fmla="*/ 3723546 h 6412736"/>
              <a:gd name="connsiteX449" fmla="*/ 2157268 w 2689189"/>
              <a:gd name="connsiteY449" fmla="*/ 3723546 h 6412736"/>
              <a:gd name="connsiteX450" fmla="*/ 2157268 w 2689189"/>
              <a:gd name="connsiteY450" fmla="*/ 3753131 h 6412736"/>
              <a:gd name="connsiteX451" fmla="*/ 2127683 w 2689189"/>
              <a:gd name="connsiteY451" fmla="*/ 3753131 h 6412736"/>
              <a:gd name="connsiteX452" fmla="*/ 1861723 w 2689189"/>
              <a:gd name="connsiteY452" fmla="*/ 3723546 h 6412736"/>
              <a:gd name="connsiteX453" fmla="*/ 1891309 w 2689189"/>
              <a:gd name="connsiteY453" fmla="*/ 3723546 h 6412736"/>
              <a:gd name="connsiteX454" fmla="*/ 1891309 w 2689189"/>
              <a:gd name="connsiteY454" fmla="*/ 3753131 h 6412736"/>
              <a:gd name="connsiteX455" fmla="*/ 1861723 w 2689189"/>
              <a:gd name="connsiteY455" fmla="*/ 3753131 h 6412736"/>
              <a:gd name="connsiteX456" fmla="*/ 1595763 w 2689189"/>
              <a:gd name="connsiteY456" fmla="*/ 3723546 h 6412736"/>
              <a:gd name="connsiteX457" fmla="*/ 1625348 w 2689189"/>
              <a:gd name="connsiteY457" fmla="*/ 3723546 h 6412736"/>
              <a:gd name="connsiteX458" fmla="*/ 1625348 w 2689189"/>
              <a:gd name="connsiteY458" fmla="*/ 3753131 h 6412736"/>
              <a:gd name="connsiteX459" fmla="*/ 1595763 w 2689189"/>
              <a:gd name="connsiteY459" fmla="*/ 3753131 h 6412736"/>
              <a:gd name="connsiteX460" fmla="*/ 1329802 w 2689189"/>
              <a:gd name="connsiteY460" fmla="*/ 3723546 h 6412736"/>
              <a:gd name="connsiteX461" fmla="*/ 1359387 w 2689189"/>
              <a:gd name="connsiteY461" fmla="*/ 3723546 h 6412736"/>
              <a:gd name="connsiteX462" fmla="*/ 1359387 w 2689189"/>
              <a:gd name="connsiteY462" fmla="*/ 3753131 h 6412736"/>
              <a:gd name="connsiteX463" fmla="*/ 1329802 w 2689189"/>
              <a:gd name="connsiteY463" fmla="*/ 3753131 h 6412736"/>
              <a:gd name="connsiteX464" fmla="*/ 1063842 w 2689189"/>
              <a:gd name="connsiteY464" fmla="*/ 3723546 h 6412736"/>
              <a:gd name="connsiteX465" fmla="*/ 1093428 w 2689189"/>
              <a:gd name="connsiteY465" fmla="*/ 3723546 h 6412736"/>
              <a:gd name="connsiteX466" fmla="*/ 1093428 w 2689189"/>
              <a:gd name="connsiteY466" fmla="*/ 3753131 h 6412736"/>
              <a:gd name="connsiteX467" fmla="*/ 1063842 w 2689189"/>
              <a:gd name="connsiteY467" fmla="*/ 3753131 h 6412736"/>
              <a:gd name="connsiteX468" fmla="*/ 797881 w 2689189"/>
              <a:gd name="connsiteY468" fmla="*/ 3723546 h 6412736"/>
              <a:gd name="connsiteX469" fmla="*/ 827466 w 2689189"/>
              <a:gd name="connsiteY469" fmla="*/ 3723546 h 6412736"/>
              <a:gd name="connsiteX470" fmla="*/ 827466 w 2689189"/>
              <a:gd name="connsiteY470" fmla="*/ 3753131 h 6412736"/>
              <a:gd name="connsiteX471" fmla="*/ 797881 w 2689189"/>
              <a:gd name="connsiteY471" fmla="*/ 3753131 h 6412736"/>
              <a:gd name="connsiteX472" fmla="*/ 531921 w 2689189"/>
              <a:gd name="connsiteY472" fmla="*/ 3723546 h 6412736"/>
              <a:gd name="connsiteX473" fmla="*/ 561507 w 2689189"/>
              <a:gd name="connsiteY473" fmla="*/ 3723546 h 6412736"/>
              <a:gd name="connsiteX474" fmla="*/ 561507 w 2689189"/>
              <a:gd name="connsiteY474" fmla="*/ 3753131 h 6412736"/>
              <a:gd name="connsiteX475" fmla="*/ 531921 w 2689189"/>
              <a:gd name="connsiteY475" fmla="*/ 3753131 h 6412736"/>
              <a:gd name="connsiteX476" fmla="*/ 265961 w 2689189"/>
              <a:gd name="connsiteY476" fmla="*/ 3723546 h 6412736"/>
              <a:gd name="connsiteX477" fmla="*/ 295546 w 2689189"/>
              <a:gd name="connsiteY477" fmla="*/ 3723546 h 6412736"/>
              <a:gd name="connsiteX478" fmla="*/ 295546 w 2689189"/>
              <a:gd name="connsiteY478" fmla="*/ 3753131 h 6412736"/>
              <a:gd name="connsiteX479" fmla="*/ 265961 w 2689189"/>
              <a:gd name="connsiteY479" fmla="*/ 3753131 h 6412736"/>
              <a:gd name="connsiteX480" fmla="*/ 0 w 2689189"/>
              <a:gd name="connsiteY480" fmla="*/ 3723546 h 6412736"/>
              <a:gd name="connsiteX481" fmla="*/ 29585 w 2689189"/>
              <a:gd name="connsiteY481" fmla="*/ 3723546 h 6412736"/>
              <a:gd name="connsiteX482" fmla="*/ 29585 w 2689189"/>
              <a:gd name="connsiteY482" fmla="*/ 3753131 h 6412736"/>
              <a:gd name="connsiteX483" fmla="*/ 0 w 2689189"/>
              <a:gd name="connsiteY483" fmla="*/ 3753131 h 6412736"/>
              <a:gd name="connsiteX484" fmla="*/ 2659604 w 2689189"/>
              <a:gd name="connsiteY484" fmla="*/ 3457586 h 6412736"/>
              <a:gd name="connsiteX485" fmla="*/ 2689189 w 2689189"/>
              <a:gd name="connsiteY485" fmla="*/ 3457586 h 6412736"/>
              <a:gd name="connsiteX486" fmla="*/ 2689189 w 2689189"/>
              <a:gd name="connsiteY486" fmla="*/ 3487172 h 6412736"/>
              <a:gd name="connsiteX487" fmla="*/ 2659604 w 2689189"/>
              <a:gd name="connsiteY487" fmla="*/ 3487172 h 6412736"/>
              <a:gd name="connsiteX488" fmla="*/ 2393644 w 2689189"/>
              <a:gd name="connsiteY488" fmla="*/ 3457586 h 6412736"/>
              <a:gd name="connsiteX489" fmla="*/ 2423230 w 2689189"/>
              <a:gd name="connsiteY489" fmla="*/ 3457586 h 6412736"/>
              <a:gd name="connsiteX490" fmla="*/ 2423230 w 2689189"/>
              <a:gd name="connsiteY490" fmla="*/ 3487172 h 6412736"/>
              <a:gd name="connsiteX491" fmla="*/ 2393644 w 2689189"/>
              <a:gd name="connsiteY491" fmla="*/ 3487172 h 6412736"/>
              <a:gd name="connsiteX492" fmla="*/ 2127683 w 2689189"/>
              <a:gd name="connsiteY492" fmla="*/ 3457586 h 6412736"/>
              <a:gd name="connsiteX493" fmla="*/ 2157268 w 2689189"/>
              <a:gd name="connsiteY493" fmla="*/ 3457586 h 6412736"/>
              <a:gd name="connsiteX494" fmla="*/ 2157268 w 2689189"/>
              <a:gd name="connsiteY494" fmla="*/ 3487172 h 6412736"/>
              <a:gd name="connsiteX495" fmla="*/ 2127683 w 2689189"/>
              <a:gd name="connsiteY495" fmla="*/ 3487172 h 6412736"/>
              <a:gd name="connsiteX496" fmla="*/ 1861723 w 2689189"/>
              <a:gd name="connsiteY496" fmla="*/ 3457586 h 6412736"/>
              <a:gd name="connsiteX497" fmla="*/ 1891309 w 2689189"/>
              <a:gd name="connsiteY497" fmla="*/ 3457586 h 6412736"/>
              <a:gd name="connsiteX498" fmla="*/ 1891309 w 2689189"/>
              <a:gd name="connsiteY498" fmla="*/ 3487172 h 6412736"/>
              <a:gd name="connsiteX499" fmla="*/ 1861723 w 2689189"/>
              <a:gd name="connsiteY499" fmla="*/ 3487172 h 6412736"/>
              <a:gd name="connsiteX500" fmla="*/ 1595763 w 2689189"/>
              <a:gd name="connsiteY500" fmla="*/ 3457586 h 6412736"/>
              <a:gd name="connsiteX501" fmla="*/ 1625348 w 2689189"/>
              <a:gd name="connsiteY501" fmla="*/ 3457586 h 6412736"/>
              <a:gd name="connsiteX502" fmla="*/ 1625348 w 2689189"/>
              <a:gd name="connsiteY502" fmla="*/ 3487172 h 6412736"/>
              <a:gd name="connsiteX503" fmla="*/ 1595763 w 2689189"/>
              <a:gd name="connsiteY503" fmla="*/ 3487172 h 6412736"/>
              <a:gd name="connsiteX504" fmla="*/ 1329802 w 2689189"/>
              <a:gd name="connsiteY504" fmla="*/ 3457586 h 6412736"/>
              <a:gd name="connsiteX505" fmla="*/ 1359387 w 2689189"/>
              <a:gd name="connsiteY505" fmla="*/ 3457586 h 6412736"/>
              <a:gd name="connsiteX506" fmla="*/ 1359387 w 2689189"/>
              <a:gd name="connsiteY506" fmla="*/ 3487172 h 6412736"/>
              <a:gd name="connsiteX507" fmla="*/ 1329802 w 2689189"/>
              <a:gd name="connsiteY507" fmla="*/ 3487172 h 6412736"/>
              <a:gd name="connsiteX508" fmla="*/ 1063842 w 2689189"/>
              <a:gd name="connsiteY508" fmla="*/ 3457586 h 6412736"/>
              <a:gd name="connsiteX509" fmla="*/ 1093428 w 2689189"/>
              <a:gd name="connsiteY509" fmla="*/ 3457586 h 6412736"/>
              <a:gd name="connsiteX510" fmla="*/ 1093428 w 2689189"/>
              <a:gd name="connsiteY510" fmla="*/ 3487172 h 6412736"/>
              <a:gd name="connsiteX511" fmla="*/ 1063842 w 2689189"/>
              <a:gd name="connsiteY511" fmla="*/ 3487172 h 6412736"/>
              <a:gd name="connsiteX512" fmla="*/ 797881 w 2689189"/>
              <a:gd name="connsiteY512" fmla="*/ 3457586 h 6412736"/>
              <a:gd name="connsiteX513" fmla="*/ 827466 w 2689189"/>
              <a:gd name="connsiteY513" fmla="*/ 3457586 h 6412736"/>
              <a:gd name="connsiteX514" fmla="*/ 827466 w 2689189"/>
              <a:gd name="connsiteY514" fmla="*/ 3487172 h 6412736"/>
              <a:gd name="connsiteX515" fmla="*/ 797881 w 2689189"/>
              <a:gd name="connsiteY515" fmla="*/ 3487172 h 6412736"/>
              <a:gd name="connsiteX516" fmla="*/ 531921 w 2689189"/>
              <a:gd name="connsiteY516" fmla="*/ 3457586 h 6412736"/>
              <a:gd name="connsiteX517" fmla="*/ 561507 w 2689189"/>
              <a:gd name="connsiteY517" fmla="*/ 3457586 h 6412736"/>
              <a:gd name="connsiteX518" fmla="*/ 561507 w 2689189"/>
              <a:gd name="connsiteY518" fmla="*/ 3487172 h 6412736"/>
              <a:gd name="connsiteX519" fmla="*/ 531921 w 2689189"/>
              <a:gd name="connsiteY519" fmla="*/ 3487172 h 6412736"/>
              <a:gd name="connsiteX520" fmla="*/ 265961 w 2689189"/>
              <a:gd name="connsiteY520" fmla="*/ 3457586 h 6412736"/>
              <a:gd name="connsiteX521" fmla="*/ 295546 w 2689189"/>
              <a:gd name="connsiteY521" fmla="*/ 3457586 h 6412736"/>
              <a:gd name="connsiteX522" fmla="*/ 295546 w 2689189"/>
              <a:gd name="connsiteY522" fmla="*/ 3487172 h 6412736"/>
              <a:gd name="connsiteX523" fmla="*/ 265961 w 2689189"/>
              <a:gd name="connsiteY523" fmla="*/ 3487172 h 6412736"/>
              <a:gd name="connsiteX524" fmla="*/ 0 w 2689189"/>
              <a:gd name="connsiteY524" fmla="*/ 3457586 h 6412736"/>
              <a:gd name="connsiteX525" fmla="*/ 29585 w 2689189"/>
              <a:gd name="connsiteY525" fmla="*/ 3457586 h 6412736"/>
              <a:gd name="connsiteX526" fmla="*/ 29585 w 2689189"/>
              <a:gd name="connsiteY526" fmla="*/ 3487172 h 6412736"/>
              <a:gd name="connsiteX527" fmla="*/ 0 w 2689189"/>
              <a:gd name="connsiteY527" fmla="*/ 3487172 h 6412736"/>
              <a:gd name="connsiteX528" fmla="*/ 2659604 w 2689189"/>
              <a:gd name="connsiteY528" fmla="*/ 3191634 h 6412736"/>
              <a:gd name="connsiteX529" fmla="*/ 2689189 w 2689189"/>
              <a:gd name="connsiteY529" fmla="*/ 3191634 h 6412736"/>
              <a:gd name="connsiteX530" fmla="*/ 2689189 w 2689189"/>
              <a:gd name="connsiteY530" fmla="*/ 3221211 h 6412736"/>
              <a:gd name="connsiteX531" fmla="*/ 2659604 w 2689189"/>
              <a:gd name="connsiteY531" fmla="*/ 3221211 h 6412736"/>
              <a:gd name="connsiteX532" fmla="*/ 2393644 w 2689189"/>
              <a:gd name="connsiteY532" fmla="*/ 3191634 h 6412736"/>
              <a:gd name="connsiteX533" fmla="*/ 2423230 w 2689189"/>
              <a:gd name="connsiteY533" fmla="*/ 3191634 h 6412736"/>
              <a:gd name="connsiteX534" fmla="*/ 2423230 w 2689189"/>
              <a:gd name="connsiteY534" fmla="*/ 3221211 h 6412736"/>
              <a:gd name="connsiteX535" fmla="*/ 2393644 w 2689189"/>
              <a:gd name="connsiteY535" fmla="*/ 3221211 h 6412736"/>
              <a:gd name="connsiteX536" fmla="*/ 2127683 w 2689189"/>
              <a:gd name="connsiteY536" fmla="*/ 3191633 h 6412736"/>
              <a:gd name="connsiteX537" fmla="*/ 2157268 w 2689189"/>
              <a:gd name="connsiteY537" fmla="*/ 3191633 h 6412736"/>
              <a:gd name="connsiteX538" fmla="*/ 2157268 w 2689189"/>
              <a:gd name="connsiteY538" fmla="*/ 3221211 h 6412736"/>
              <a:gd name="connsiteX539" fmla="*/ 2127683 w 2689189"/>
              <a:gd name="connsiteY539" fmla="*/ 3221211 h 6412736"/>
              <a:gd name="connsiteX540" fmla="*/ 1861723 w 2689189"/>
              <a:gd name="connsiteY540" fmla="*/ 3191632 h 6412736"/>
              <a:gd name="connsiteX541" fmla="*/ 1891309 w 2689189"/>
              <a:gd name="connsiteY541" fmla="*/ 3191632 h 6412736"/>
              <a:gd name="connsiteX542" fmla="*/ 1891309 w 2689189"/>
              <a:gd name="connsiteY542" fmla="*/ 3221211 h 6412736"/>
              <a:gd name="connsiteX543" fmla="*/ 1861723 w 2689189"/>
              <a:gd name="connsiteY543" fmla="*/ 3221211 h 6412736"/>
              <a:gd name="connsiteX544" fmla="*/ 1595763 w 2689189"/>
              <a:gd name="connsiteY544" fmla="*/ 3191631 h 6412736"/>
              <a:gd name="connsiteX545" fmla="*/ 1625348 w 2689189"/>
              <a:gd name="connsiteY545" fmla="*/ 3191631 h 6412736"/>
              <a:gd name="connsiteX546" fmla="*/ 1625348 w 2689189"/>
              <a:gd name="connsiteY546" fmla="*/ 3221211 h 6412736"/>
              <a:gd name="connsiteX547" fmla="*/ 1595763 w 2689189"/>
              <a:gd name="connsiteY547" fmla="*/ 3221211 h 6412736"/>
              <a:gd name="connsiteX548" fmla="*/ 1329802 w 2689189"/>
              <a:gd name="connsiteY548" fmla="*/ 3191630 h 6412736"/>
              <a:gd name="connsiteX549" fmla="*/ 1359387 w 2689189"/>
              <a:gd name="connsiteY549" fmla="*/ 3191630 h 6412736"/>
              <a:gd name="connsiteX550" fmla="*/ 1359387 w 2689189"/>
              <a:gd name="connsiteY550" fmla="*/ 3221211 h 6412736"/>
              <a:gd name="connsiteX551" fmla="*/ 1329802 w 2689189"/>
              <a:gd name="connsiteY551" fmla="*/ 3221211 h 6412736"/>
              <a:gd name="connsiteX552" fmla="*/ 1063842 w 2689189"/>
              <a:gd name="connsiteY552" fmla="*/ 3191629 h 6412736"/>
              <a:gd name="connsiteX553" fmla="*/ 1093428 w 2689189"/>
              <a:gd name="connsiteY553" fmla="*/ 3191629 h 6412736"/>
              <a:gd name="connsiteX554" fmla="*/ 1093428 w 2689189"/>
              <a:gd name="connsiteY554" fmla="*/ 3221211 h 6412736"/>
              <a:gd name="connsiteX555" fmla="*/ 1063842 w 2689189"/>
              <a:gd name="connsiteY555" fmla="*/ 3221211 h 6412736"/>
              <a:gd name="connsiteX556" fmla="*/ 797881 w 2689189"/>
              <a:gd name="connsiteY556" fmla="*/ 3191628 h 6412736"/>
              <a:gd name="connsiteX557" fmla="*/ 827466 w 2689189"/>
              <a:gd name="connsiteY557" fmla="*/ 3191628 h 6412736"/>
              <a:gd name="connsiteX558" fmla="*/ 827466 w 2689189"/>
              <a:gd name="connsiteY558" fmla="*/ 3221211 h 6412736"/>
              <a:gd name="connsiteX559" fmla="*/ 797881 w 2689189"/>
              <a:gd name="connsiteY559" fmla="*/ 3221211 h 6412736"/>
              <a:gd name="connsiteX560" fmla="*/ 531921 w 2689189"/>
              <a:gd name="connsiteY560" fmla="*/ 3191628 h 6412736"/>
              <a:gd name="connsiteX561" fmla="*/ 561507 w 2689189"/>
              <a:gd name="connsiteY561" fmla="*/ 3191628 h 6412736"/>
              <a:gd name="connsiteX562" fmla="*/ 561507 w 2689189"/>
              <a:gd name="connsiteY562" fmla="*/ 3221211 h 6412736"/>
              <a:gd name="connsiteX563" fmla="*/ 531921 w 2689189"/>
              <a:gd name="connsiteY563" fmla="*/ 3221211 h 6412736"/>
              <a:gd name="connsiteX564" fmla="*/ 265961 w 2689189"/>
              <a:gd name="connsiteY564" fmla="*/ 3191627 h 6412736"/>
              <a:gd name="connsiteX565" fmla="*/ 295546 w 2689189"/>
              <a:gd name="connsiteY565" fmla="*/ 3191627 h 6412736"/>
              <a:gd name="connsiteX566" fmla="*/ 295546 w 2689189"/>
              <a:gd name="connsiteY566" fmla="*/ 3221211 h 6412736"/>
              <a:gd name="connsiteX567" fmla="*/ 265961 w 2689189"/>
              <a:gd name="connsiteY567" fmla="*/ 3221211 h 6412736"/>
              <a:gd name="connsiteX568" fmla="*/ 0 w 2689189"/>
              <a:gd name="connsiteY568" fmla="*/ 3191626 h 6412736"/>
              <a:gd name="connsiteX569" fmla="*/ 29585 w 2689189"/>
              <a:gd name="connsiteY569" fmla="*/ 3191626 h 6412736"/>
              <a:gd name="connsiteX570" fmla="*/ 29585 w 2689189"/>
              <a:gd name="connsiteY570" fmla="*/ 3221211 h 6412736"/>
              <a:gd name="connsiteX571" fmla="*/ 0 w 2689189"/>
              <a:gd name="connsiteY571" fmla="*/ 3221211 h 6412736"/>
              <a:gd name="connsiteX572" fmla="*/ 2659604 w 2689189"/>
              <a:gd name="connsiteY572" fmla="*/ 2925676 h 6412736"/>
              <a:gd name="connsiteX573" fmla="*/ 2689189 w 2689189"/>
              <a:gd name="connsiteY573" fmla="*/ 2925676 h 6412736"/>
              <a:gd name="connsiteX574" fmla="*/ 2689189 w 2689189"/>
              <a:gd name="connsiteY574" fmla="*/ 2955262 h 6412736"/>
              <a:gd name="connsiteX575" fmla="*/ 2659604 w 2689189"/>
              <a:gd name="connsiteY575" fmla="*/ 2955262 h 6412736"/>
              <a:gd name="connsiteX576" fmla="*/ 2393644 w 2689189"/>
              <a:gd name="connsiteY576" fmla="*/ 2925675 h 6412736"/>
              <a:gd name="connsiteX577" fmla="*/ 2423230 w 2689189"/>
              <a:gd name="connsiteY577" fmla="*/ 2925675 h 6412736"/>
              <a:gd name="connsiteX578" fmla="*/ 2423230 w 2689189"/>
              <a:gd name="connsiteY578" fmla="*/ 2955261 h 6412736"/>
              <a:gd name="connsiteX579" fmla="*/ 2393644 w 2689189"/>
              <a:gd name="connsiteY579" fmla="*/ 2955261 h 6412736"/>
              <a:gd name="connsiteX580" fmla="*/ 2127683 w 2689189"/>
              <a:gd name="connsiteY580" fmla="*/ 2925674 h 6412736"/>
              <a:gd name="connsiteX581" fmla="*/ 2157268 w 2689189"/>
              <a:gd name="connsiteY581" fmla="*/ 2925674 h 6412736"/>
              <a:gd name="connsiteX582" fmla="*/ 2157268 w 2689189"/>
              <a:gd name="connsiteY582" fmla="*/ 2955260 h 6412736"/>
              <a:gd name="connsiteX583" fmla="*/ 2127683 w 2689189"/>
              <a:gd name="connsiteY583" fmla="*/ 2955260 h 6412736"/>
              <a:gd name="connsiteX584" fmla="*/ 1861723 w 2689189"/>
              <a:gd name="connsiteY584" fmla="*/ 2925673 h 6412736"/>
              <a:gd name="connsiteX585" fmla="*/ 1891309 w 2689189"/>
              <a:gd name="connsiteY585" fmla="*/ 2925673 h 6412736"/>
              <a:gd name="connsiteX586" fmla="*/ 1891309 w 2689189"/>
              <a:gd name="connsiteY586" fmla="*/ 2955259 h 6412736"/>
              <a:gd name="connsiteX587" fmla="*/ 1861723 w 2689189"/>
              <a:gd name="connsiteY587" fmla="*/ 2955259 h 6412736"/>
              <a:gd name="connsiteX588" fmla="*/ 1595763 w 2689189"/>
              <a:gd name="connsiteY588" fmla="*/ 2925672 h 6412736"/>
              <a:gd name="connsiteX589" fmla="*/ 1625348 w 2689189"/>
              <a:gd name="connsiteY589" fmla="*/ 2925672 h 6412736"/>
              <a:gd name="connsiteX590" fmla="*/ 1625348 w 2689189"/>
              <a:gd name="connsiteY590" fmla="*/ 2955258 h 6412736"/>
              <a:gd name="connsiteX591" fmla="*/ 1595763 w 2689189"/>
              <a:gd name="connsiteY591" fmla="*/ 2955258 h 6412736"/>
              <a:gd name="connsiteX592" fmla="*/ 1329802 w 2689189"/>
              <a:gd name="connsiteY592" fmla="*/ 2925671 h 6412736"/>
              <a:gd name="connsiteX593" fmla="*/ 1359387 w 2689189"/>
              <a:gd name="connsiteY593" fmla="*/ 2925671 h 6412736"/>
              <a:gd name="connsiteX594" fmla="*/ 1359387 w 2689189"/>
              <a:gd name="connsiteY594" fmla="*/ 2955256 h 6412736"/>
              <a:gd name="connsiteX595" fmla="*/ 1329802 w 2689189"/>
              <a:gd name="connsiteY595" fmla="*/ 2955256 h 6412736"/>
              <a:gd name="connsiteX596" fmla="*/ 1063842 w 2689189"/>
              <a:gd name="connsiteY596" fmla="*/ 2925670 h 6412736"/>
              <a:gd name="connsiteX597" fmla="*/ 1093428 w 2689189"/>
              <a:gd name="connsiteY597" fmla="*/ 2925670 h 6412736"/>
              <a:gd name="connsiteX598" fmla="*/ 1093428 w 2689189"/>
              <a:gd name="connsiteY598" fmla="*/ 2955255 h 6412736"/>
              <a:gd name="connsiteX599" fmla="*/ 1063842 w 2689189"/>
              <a:gd name="connsiteY599" fmla="*/ 2955255 h 6412736"/>
              <a:gd name="connsiteX600" fmla="*/ 797881 w 2689189"/>
              <a:gd name="connsiteY600" fmla="*/ 2925668 h 6412736"/>
              <a:gd name="connsiteX601" fmla="*/ 827466 w 2689189"/>
              <a:gd name="connsiteY601" fmla="*/ 2925668 h 6412736"/>
              <a:gd name="connsiteX602" fmla="*/ 827466 w 2689189"/>
              <a:gd name="connsiteY602" fmla="*/ 2955254 h 6412736"/>
              <a:gd name="connsiteX603" fmla="*/ 797881 w 2689189"/>
              <a:gd name="connsiteY603" fmla="*/ 2955254 h 6412736"/>
              <a:gd name="connsiteX604" fmla="*/ 531921 w 2689189"/>
              <a:gd name="connsiteY604" fmla="*/ 2925667 h 6412736"/>
              <a:gd name="connsiteX605" fmla="*/ 561507 w 2689189"/>
              <a:gd name="connsiteY605" fmla="*/ 2925667 h 6412736"/>
              <a:gd name="connsiteX606" fmla="*/ 561507 w 2689189"/>
              <a:gd name="connsiteY606" fmla="*/ 2955253 h 6412736"/>
              <a:gd name="connsiteX607" fmla="*/ 531921 w 2689189"/>
              <a:gd name="connsiteY607" fmla="*/ 2955253 h 6412736"/>
              <a:gd name="connsiteX608" fmla="*/ 265961 w 2689189"/>
              <a:gd name="connsiteY608" fmla="*/ 2925666 h 6412736"/>
              <a:gd name="connsiteX609" fmla="*/ 295546 w 2689189"/>
              <a:gd name="connsiteY609" fmla="*/ 2925666 h 6412736"/>
              <a:gd name="connsiteX610" fmla="*/ 295546 w 2689189"/>
              <a:gd name="connsiteY610" fmla="*/ 2955252 h 6412736"/>
              <a:gd name="connsiteX611" fmla="*/ 265961 w 2689189"/>
              <a:gd name="connsiteY611" fmla="*/ 2955252 h 6412736"/>
              <a:gd name="connsiteX612" fmla="*/ 0 w 2689189"/>
              <a:gd name="connsiteY612" fmla="*/ 2925665 h 6412736"/>
              <a:gd name="connsiteX613" fmla="*/ 29585 w 2689189"/>
              <a:gd name="connsiteY613" fmla="*/ 2925665 h 6412736"/>
              <a:gd name="connsiteX614" fmla="*/ 29585 w 2689189"/>
              <a:gd name="connsiteY614" fmla="*/ 2955251 h 6412736"/>
              <a:gd name="connsiteX615" fmla="*/ 0 w 2689189"/>
              <a:gd name="connsiteY615" fmla="*/ 2955251 h 6412736"/>
              <a:gd name="connsiteX616" fmla="*/ 2659604 w 2689189"/>
              <a:gd name="connsiteY616" fmla="*/ 2659636 h 6412736"/>
              <a:gd name="connsiteX617" fmla="*/ 2689189 w 2689189"/>
              <a:gd name="connsiteY617" fmla="*/ 2659636 h 6412736"/>
              <a:gd name="connsiteX618" fmla="*/ 2689189 w 2689189"/>
              <a:gd name="connsiteY618" fmla="*/ 2689220 h 6412736"/>
              <a:gd name="connsiteX619" fmla="*/ 2659604 w 2689189"/>
              <a:gd name="connsiteY619" fmla="*/ 2689220 h 6412736"/>
              <a:gd name="connsiteX620" fmla="*/ 2393644 w 2689189"/>
              <a:gd name="connsiteY620" fmla="*/ 2659632 h 6412736"/>
              <a:gd name="connsiteX621" fmla="*/ 2423230 w 2689189"/>
              <a:gd name="connsiteY621" fmla="*/ 2659632 h 6412736"/>
              <a:gd name="connsiteX622" fmla="*/ 2423230 w 2689189"/>
              <a:gd name="connsiteY622" fmla="*/ 2689217 h 6412736"/>
              <a:gd name="connsiteX623" fmla="*/ 2393644 w 2689189"/>
              <a:gd name="connsiteY623" fmla="*/ 2689217 h 6412736"/>
              <a:gd name="connsiteX624" fmla="*/ 2127683 w 2689189"/>
              <a:gd name="connsiteY624" fmla="*/ 2659629 h 6412736"/>
              <a:gd name="connsiteX625" fmla="*/ 2157268 w 2689189"/>
              <a:gd name="connsiteY625" fmla="*/ 2659629 h 6412736"/>
              <a:gd name="connsiteX626" fmla="*/ 2157268 w 2689189"/>
              <a:gd name="connsiteY626" fmla="*/ 2689214 h 6412736"/>
              <a:gd name="connsiteX627" fmla="*/ 2127683 w 2689189"/>
              <a:gd name="connsiteY627" fmla="*/ 2689214 h 6412736"/>
              <a:gd name="connsiteX628" fmla="*/ 1861723 w 2689189"/>
              <a:gd name="connsiteY628" fmla="*/ 2659626 h 6412736"/>
              <a:gd name="connsiteX629" fmla="*/ 1891309 w 2689189"/>
              <a:gd name="connsiteY629" fmla="*/ 2659626 h 6412736"/>
              <a:gd name="connsiteX630" fmla="*/ 1891309 w 2689189"/>
              <a:gd name="connsiteY630" fmla="*/ 2689211 h 6412736"/>
              <a:gd name="connsiteX631" fmla="*/ 1861723 w 2689189"/>
              <a:gd name="connsiteY631" fmla="*/ 2689211 h 6412736"/>
              <a:gd name="connsiteX632" fmla="*/ 1595763 w 2689189"/>
              <a:gd name="connsiteY632" fmla="*/ 2659623 h 6412736"/>
              <a:gd name="connsiteX633" fmla="*/ 1625348 w 2689189"/>
              <a:gd name="connsiteY633" fmla="*/ 2659623 h 6412736"/>
              <a:gd name="connsiteX634" fmla="*/ 1625348 w 2689189"/>
              <a:gd name="connsiteY634" fmla="*/ 2689207 h 6412736"/>
              <a:gd name="connsiteX635" fmla="*/ 1595763 w 2689189"/>
              <a:gd name="connsiteY635" fmla="*/ 2689207 h 6412736"/>
              <a:gd name="connsiteX636" fmla="*/ 1329802 w 2689189"/>
              <a:gd name="connsiteY636" fmla="*/ 2659620 h 6412736"/>
              <a:gd name="connsiteX637" fmla="*/ 1359387 w 2689189"/>
              <a:gd name="connsiteY637" fmla="*/ 2659620 h 6412736"/>
              <a:gd name="connsiteX638" fmla="*/ 1359387 w 2689189"/>
              <a:gd name="connsiteY638" fmla="*/ 2689204 h 6412736"/>
              <a:gd name="connsiteX639" fmla="*/ 1329802 w 2689189"/>
              <a:gd name="connsiteY639" fmla="*/ 2689204 h 6412736"/>
              <a:gd name="connsiteX640" fmla="*/ 1063842 w 2689189"/>
              <a:gd name="connsiteY640" fmla="*/ 2659616 h 6412736"/>
              <a:gd name="connsiteX641" fmla="*/ 1093428 w 2689189"/>
              <a:gd name="connsiteY641" fmla="*/ 2659616 h 6412736"/>
              <a:gd name="connsiteX642" fmla="*/ 1093428 w 2689189"/>
              <a:gd name="connsiteY642" fmla="*/ 2689201 h 6412736"/>
              <a:gd name="connsiteX643" fmla="*/ 1063842 w 2689189"/>
              <a:gd name="connsiteY643" fmla="*/ 2689201 h 6412736"/>
              <a:gd name="connsiteX644" fmla="*/ 797881 w 2689189"/>
              <a:gd name="connsiteY644" fmla="*/ 2659613 h 6412736"/>
              <a:gd name="connsiteX645" fmla="*/ 827466 w 2689189"/>
              <a:gd name="connsiteY645" fmla="*/ 2659613 h 6412736"/>
              <a:gd name="connsiteX646" fmla="*/ 827466 w 2689189"/>
              <a:gd name="connsiteY646" fmla="*/ 2689198 h 6412736"/>
              <a:gd name="connsiteX647" fmla="*/ 797881 w 2689189"/>
              <a:gd name="connsiteY647" fmla="*/ 2689198 h 6412736"/>
              <a:gd name="connsiteX648" fmla="*/ 531921 w 2689189"/>
              <a:gd name="connsiteY648" fmla="*/ 2659610 h 6412736"/>
              <a:gd name="connsiteX649" fmla="*/ 561507 w 2689189"/>
              <a:gd name="connsiteY649" fmla="*/ 2659610 h 6412736"/>
              <a:gd name="connsiteX650" fmla="*/ 561507 w 2689189"/>
              <a:gd name="connsiteY650" fmla="*/ 2689194 h 6412736"/>
              <a:gd name="connsiteX651" fmla="*/ 531921 w 2689189"/>
              <a:gd name="connsiteY651" fmla="*/ 2689194 h 6412736"/>
              <a:gd name="connsiteX652" fmla="*/ 265961 w 2689189"/>
              <a:gd name="connsiteY652" fmla="*/ 2659607 h 6412736"/>
              <a:gd name="connsiteX653" fmla="*/ 295546 w 2689189"/>
              <a:gd name="connsiteY653" fmla="*/ 2659607 h 6412736"/>
              <a:gd name="connsiteX654" fmla="*/ 295546 w 2689189"/>
              <a:gd name="connsiteY654" fmla="*/ 2689191 h 6412736"/>
              <a:gd name="connsiteX655" fmla="*/ 265961 w 2689189"/>
              <a:gd name="connsiteY655" fmla="*/ 2689191 h 6412736"/>
              <a:gd name="connsiteX656" fmla="*/ 0 w 2689189"/>
              <a:gd name="connsiteY656" fmla="*/ 2659603 h 6412736"/>
              <a:gd name="connsiteX657" fmla="*/ 29585 w 2689189"/>
              <a:gd name="connsiteY657" fmla="*/ 2659603 h 6412736"/>
              <a:gd name="connsiteX658" fmla="*/ 29585 w 2689189"/>
              <a:gd name="connsiteY658" fmla="*/ 2689188 h 6412736"/>
              <a:gd name="connsiteX659" fmla="*/ 0 w 2689189"/>
              <a:gd name="connsiteY659" fmla="*/ 2689188 h 6412736"/>
              <a:gd name="connsiteX660" fmla="*/ 2659604 w 2689189"/>
              <a:gd name="connsiteY660" fmla="*/ 2393677 h 6412736"/>
              <a:gd name="connsiteX661" fmla="*/ 2689189 w 2689189"/>
              <a:gd name="connsiteY661" fmla="*/ 2393677 h 6412736"/>
              <a:gd name="connsiteX662" fmla="*/ 2689189 w 2689189"/>
              <a:gd name="connsiteY662" fmla="*/ 2423276 h 6412736"/>
              <a:gd name="connsiteX663" fmla="*/ 2659604 w 2689189"/>
              <a:gd name="connsiteY663" fmla="*/ 2423276 h 6412736"/>
              <a:gd name="connsiteX664" fmla="*/ 2393644 w 2689189"/>
              <a:gd name="connsiteY664" fmla="*/ 2393674 h 6412736"/>
              <a:gd name="connsiteX665" fmla="*/ 2423230 w 2689189"/>
              <a:gd name="connsiteY665" fmla="*/ 2393674 h 6412736"/>
              <a:gd name="connsiteX666" fmla="*/ 2423230 w 2689189"/>
              <a:gd name="connsiteY666" fmla="*/ 2423273 h 6412736"/>
              <a:gd name="connsiteX667" fmla="*/ 2393644 w 2689189"/>
              <a:gd name="connsiteY667" fmla="*/ 2423273 h 6412736"/>
              <a:gd name="connsiteX668" fmla="*/ 2127683 w 2689189"/>
              <a:gd name="connsiteY668" fmla="*/ 2393671 h 6412736"/>
              <a:gd name="connsiteX669" fmla="*/ 2157268 w 2689189"/>
              <a:gd name="connsiteY669" fmla="*/ 2393671 h 6412736"/>
              <a:gd name="connsiteX670" fmla="*/ 2157268 w 2689189"/>
              <a:gd name="connsiteY670" fmla="*/ 2423267 h 6412736"/>
              <a:gd name="connsiteX671" fmla="*/ 2127683 w 2689189"/>
              <a:gd name="connsiteY671" fmla="*/ 2423267 h 6412736"/>
              <a:gd name="connsiteX672" fmla="*/ 1861723 w 2689189"/>
              <a:gd name="connsiteY672" fmla="*/ 2393668 h 6412736"/>
              <a:gd name="connsiteX673" fmla="*/ 1891309 w 2689189"/>
              <a:gd name="connsiteY673" fmla="*/ 2393668 h 6412736"/>
              <a:gd name="connsiteX674" fmla="*/ 1891309 w 2689189"/>
              <a:gd name="connsiteY674" fmla="*/ 2423263 h 6412736"/>
              <a:gd name="connsiteX675" fmla="*/ 1861723 w 2689189"/>
              <a:gd name="connsiteY675" fmla="*/ 2423263 h 6412736"/>
              <a:gd name="connsiteX676" fmla="*/ 1595763 w 2689189"/>
              <a:gd name="connsiteY676" fmla="*/ 2393665 h 6412736"/>
              <a:gd name="connsiteX677" fmla="*/ 1625348 w 2689189"/>
              <a:gd name="connsiteY677" fmla="*/ 2393665 h 6412736"/>
              <a:gd name="connsiteX678" fmla="*/ 1625348 w 2689189"/>
              <a:gd name="connsiteY678" fmla="*/ 2423258 h 6412736"/>
              <a:gd name="connsiteX679" fmla="*/ 1595763 w 2689189"/>
              <a:gd name="connsiteY679" fmla="*/ 2423258 h 6412736"/>
              <a:gd name="connsiteX680" fmla="*/ 1329802 w 2689189"/>
              <a:gd name="connsiteY680" fmla="*/ 2393662 h 6412736"/>
              <a:gd name="connsiteX681" fmla="*/ 1359387 w 2689189"/>
              <a:gd name="connsiteY681" fmla="*/ 2393662 h 6412736"/>
              <a:gd name="connsiteX682" fmla="*/ 1359387 w 2689189"/>
              <a:gd name="connsiteY682" fmla="*/ 2423252 h 6412736"/>
              <a:gd name="connsiteX683" fmla="*/ 1329802 w 2689189"/>
              <a:gd name="connsiteY683" fmla="*/ 2423252 h 6412736"/>
              <a:gd name="connsiteX684" fmla="*/ 1063842 w 2689189"/>
              <a:gd name="connsiteY684" fmla="*/ 2393659 h 6412736"/>
              <a:gd name="connsiteX685" fmla="*/ 1093428 w 2689189"/>
              <a:gd name="connsiteY685" fmla="*/ 2393659 h 6412736"/>
              <a:gd name="connsiteX686" fmla="*/ 1093428 w 2689189"/>
              <a:gd name="connsiteY686" fmla="*/ 2423248 h 6412736"/>
              <a:gd name="connsiteX687" fmla="*/ 1063842 w 2689189"/>
              <a:gd name="connsiteY687" fmla="*/ 2423248 h 6412736"/>
              <a:gd name="connsiteX688" fmla="*/ 797881 w 2689189"/>
              <a:gd name="connsiteY688" fmla="*/ 2393654 h 6412736"/>
              <a:gd name="connsiteX689" fmla="*/ 827466 w 2689189"/>
              <a:gd name="connsiteY689" fmla="*/ 2393654 h 6412736"/>
              <a:gd name="connsiteX690" fmla="*/ 827466 w 2689189"/>
              <a:gd name="connsiteY690" fmla="*/ 2423242 h 6412736"/>
              <a:gd name="connsiteX691" fmla="*/ 797881 w 2689189"/>
              <a:gd name="connsiteY691" fmla="*/ 2423242 h 6412736"/>
              <a:gd name="connsiteX692" fmla="*/ 531921 w 2689189"/>
              <a:gd name="connsiteY692" fmla="*/ 2393649 h 6412736"/>
              <a:gd name="connsiteX693" fmla="*/ 561507 w 2689189"/>
              <a:gd name="connsiteY693" fmla="*/ 2393649 h 6412736"/>
              <a:gd name="connsiteX694" fmla="*/ 561507 w 2689189"/>
              <a:gd name="connsiteY694" fmla="*/ 2423238 h 6412736"/>
              <a:gd name="connsiteX695" fmla="*/ 531921 w 2689189"/>
              <a:gd name="connsiteY695" fmla="*/ 2423238 h 6412736"/>
              <a:gd name="connsiteX696" fmla="*/ 265961 w 2689189"/>
              <a:gd name="connsiteY696" fmla="*/ 2393646 h 6412736"/>
              <a:gd name="connsiteX697" fmla="*/ 295546 w 2689189"/>
              <a:gd name="connsiteY697" fmla="*/ 2393646 h 6412736"/>
              <a:gd name="connsiteX698" fmla="*/ 295546 w 2689189"/>
              <a:gd name="connsiteY698" fmla="*/ 2423233 h 6412736"/>
              <a:gd name="connsiteX699" fmla="*/ 265961 w 2689189"/>
              <a:gd name="connsiteY699" fmla="*/ 2423233 h 6412736"/>
              <a:gd name="connsiteX700" fmla="*/ 0 w 2689189"/>
              <a:gd name="connsiteY700" fmla="*/ 2393643 h 6412736"/>
              <a:gd name="connsiteX701" fmla="*/ 29585 w 2689189"/>
              <a:gd name="connsiteY701" fmla="*/ 2393643 h 6412736"/>
              <a:gd name="connsiteX702" fmla="*/ 29585 w 2689189"/>
              <a:gd name="connsiteY702" fmla="*/ 2423227 h 6412736"/>
              <a:gd name="connsiteX703" fmla="*/ 0 w 2689189"/>
              <a:gd name="connsiteY703" fmla="*/ 2423227 h 6412736"/>
              <a:gd name="connsiteX704" fmla="*/ 2659604 w 2689189"/>
              <a:gd name="connsiteY704" fmla="*/ 2127710 h 6412736"/>
              <a:gd name="connsiteX705" fmla="*/ 2689189 w 2689189"/>
              <a:gd name="connsiteY705" fmla="*/ 2127710 h 6412736"/>
              <a:gd name="connsiteX706" fmla="*/ 2689189 w 2689189"/>
              <a:gd name="connsiteY706" fmla="*/ 2157299 h 6412736"/>
              <a:gd name="connsiteX707" fmla="*/ 2659604 w 2689189"/>
              <a:gd name="connsiteY707" fmla="*/ 2157299 h 6412736"/>
              <a:gd name="connsiteX708" fmla="*/ 2393644 w 2689189"/>
              <a:gd name="connsiteY708" fmla="*/ 2127709 h 6412736"/>
              <a:gd name="connsiteX709" fmla="*/ 2423230 w 2689189"/>
              <a:gd name="connsiteY709" fmla="*/ 2127709 h 6412736"/>
              <a:gd name="connsiteX710" fmla="*/ 2423230 w 2689189"/>
              <a:gd name="connsiteY710" fmla="*/ 2157298 h 6412736"/>
              <a:gd name="connsiteX711" fmla="*/ 2393644 w 2689189"/>
              <a:gd name="connsiteY711" fmla="*/ 2157298 h 6412736"/>
              <a:gd name="connsiteX712" fmla="*/ 2127683 w 2689189"/>
              <a:gd name="connsiteY712" fmla="*/ 2127705 h 6412736"/>
              <a:gd name="connsiteX713" fmla="*/ 2157268 w 2689189"/>
              <a:gd name="connsiteY713" fmla="*/ 2127705 h 6412736"/>
              <a:gd name="connsiteX714" fmla="*/ 2157268 w 2689189"/>
              <a:gd name="connsiteY714" fmla="*/ 2157294 h 6412736"/>
              <a:gd name="connsiteX715" fmla="*/ 2127683 w 2689189"/>
              <a:gd name="connsiteY715" fmla="*/ 2157294 h 6412736"/>
              <a:gd name="connsiteX716" fmla="*/ 1861723 w 2689189"/>
              <a:gd name="connsiteY716" fmla="*/ 2127702 h 6412736"/>
              <a:gd name="connsiteX717" fmla="*/ 1891309 w 2689189"/>
              <a:gd name="connsiteY717" fmla="*/ 2127702 h 6412736"/>
              <a:gd name="connsiteX718" fmla="*/ 1891309 w 2689189"/>
              <a:gd name="connsiteY718" fmla="*/ 2157291 h 6412736"/>
              <a:gd name="connsiteX719" fmla="*/ 1861723 w 2689189"/>
              <a:gd name="connsiteY719" fmla="*/ 2157291 h 6412736"/>
              <a:gd name="connsiteX720" fmla="*/ 1595763 w 2689189"/>
              <a:gd name="connsiteY720" fmla="*/ 2127699 h 6412736"/>
              <a:gd name="connsiteX721" fmla="*/ 1625348 w 2689189"/>
              <a:gd name="connsiteY721" fmla="*/ 2127699 h 6412736"/>
              <a:gd name="connsiteX722" fmla="*/ 1625348 w 2689189"/>
              <a:gd name="connsiteY722" fmla="*/ 2157288 h 6412736"/>
              <a:gd name="connsiteX723" fmla="*/ 1595763 w 2689189"/>
              <a:gd name="connsiteY723" fmla="*/ 2157288 h 6412736"/>
              <a:gd name="connsiteX724" fmla="*/ 1329802 w 2689189"/>
              <a:gd name="connsiteY724" fmla="*/ 2127696 h 6412736"/>
              <a:gd name="connsiteX725" fmla="*/ 1359387 w 2689189"/>
              <a:gd name="connsiteY725" fmla="*/ 2127696 h 6412736"/>
              <a:gd name="connsiteX726" fmla="*/ 1359387 w 2689189"/>
              <a:gd name="connsiteY726" fmla="*/ 2157284 h 6412736"/>
              <a:gd name="connsiteX727" fmla="*/ 1329802 w 2689189"/>
              <a:gd name="connsiteY727" fmla="*/ 2157284 h 6412736"/>
              <a:gd name="connsiteX728" fmla="*/ 1063842 w 2689189"/>
              <a:gd name="connsiteY728" fmla="*/ 2127692 h 6412736"/>
              <a:gd name="connsiteX729" fmla="*/ 1093428 w 2689189"/>
              <a:gd name="connsiteY729" fmla="*/ 2127692 h 6412736"/>
              <a:gd name="connsiteX730" fmla="*/ 1093428 w 2689189"/>
              <a:gd name="connsiteY730" fmla="*/ 2157281 h 6412736"/>
              <a:gd name="connsiteX731" fmla="*/ 1063842 w 2689189"/>
              <a:gd name="connsiteY731" fmla="*/ 2157281 h 6412736"/>
              <a:gd name="connsiteX732" fmla="*/ 797881 w 2689189"/>
              <a:gd name="connsiteY732" fmla="*/ 2127689 h 6412736"/>
              <a:gd name="connsiteX733" fmla="*/ 827466 w 2689189"/>
              <a:gd name="connsiteY733" fmla="*/ 2127689 h 6412736"/>
              <a:gd name="connsiteX734" fmla="*/ 827466 w 2689189"/>
              <a:gd name="connsiteY734" fmla="*/ 2157278 h 6412736"/>
              <a:gd name="connsiteX735" fmla="*/ 797881 w 2689189"/>
              <a:gd name="connsiteY735" fmla="*/ 2157278 h 6412736"/>
              <a:gd name="connsiteX736" fmla="*/ 531921 w 2689189"/>
              <a:gd name="connsiteY736" fmla="*/ 2127687 h 6412736"/>
              <a:gd name="connsiteX737" fmla="*/ 561507 w 2689189"/>
              <a:gd name="connsiteY737" fmla="*/ 2127687 h 6412736"/>
              <a:gd name="connsiteX738" fmla="*/ 561507 w 2689189"/>
              <a:gd name="connsiteY738" fmla="*/ 2157274 h 6412736"/>
              <a:gd name="connsiteX739" fmla="*/ 531921 w 2689189"/>
              <a:gd name="connsiteY739" fmla="*/ 2157274 h 6412736"/>
              <a:gd name="connsiteX740" fmla="*/ 265961 w 2689189"/>
              <a:gd name="connsiteY740" fmla="*/ 2127684 h 6412736"/>
              <a:gd name="connsiteX741" fmla="*/ 295546 w 2689189"/>
              <a:gd name="connsiteY741" fmla="*/ 2127684 h 6412736"/>
              <a:gd name="connsiteX742" fmla="*/ 295546 w 2689189"/>
              <a:gd name="connsiteY742" fmla="*/ 2157271 h 6412736"/>
              <a:gd name="connsiteX743" fmla="*/ 265961 w 2689189"/>
              <a:gd name="connsiteY743" fmla="*/ 2157271 h 6412736"/>
              <a:gd name="connsiteX744" fmla="*/ 0 w 2689189"/>
              <a:gd name="connsiteY744" fmla="*/ 2127682 h 6412736"/>
              <a:gd name="connsiteX745" fmla="*/ 29585 w 2689189"/>
              <a:gd name="connsiteY745" fmla="*/ 2127682 h 6412736"/>
              <a:gd name="connsiteX746" fmla="*/ 29585 w 2689189"/>
              <a:gd name="connsiteY746" fmla="*/ 2157268 h 6412736"/>
              <a:gd name="connsiteX747" fmla="*/ 0 w 2689189"/>
              <a:gd name="connsiteY747" fmla="*/ 2157268 h 6412736"/>
              <a:gd name="connsiteX748" fmla="*/ 2659604 w 2689189"/>
              <a:gd name="connsiteY748" fmla="*/ 1861747 h 6412736"/>
              <a:gd name="connsiteX749" fmla="*/ 2689189 w 2689189"/>
              <a:gd name="connsiteY749" fmla="*/ 1861747 h 6412736"/>
              <a:gd name="connsiteX750" fmla="*/ 2689189 w 2689189"/>
              <a:gd name="connsiteY750" fmla="*/ 1891324 h 6412736"/>
              <a:gd name="connsiteX751" fmla="*/ 2659604 w 2689189"/>
              <a:gd name="connsiteY751" fmla="*/ 1891324 h 6412736"/>
              <a:gd name="connsiteX752" fmla="*/ 2393644 w 2689189"/>
              <a:gd name="connsiteY752" fmla="*/ 1861744 h 6412736"/>
              <a:gd name="connsiteX753" fmla="*/ 2423230 w 2689189"/>
              <a:gd name="connsiteY753" fmla="*/ 1861744 h 6412736"/>
              <a:gd name="connsiteX754" fmla="*/ 2423230 w 2689189"/>
              <a:gd name="connsiteY754" fmla="*/ 1891322 h 6412736"/>
              <a:gd name="connsiteX755" fmla="*/ 2393644 w 2689189"/>
              <a:gd name="connsiteY755" fmla="*/ 1891322 h 6412736"/>
              <a:gd name="connsiteX756" fmla="*/ 2127683 w 2689189"/>
              <a:gd name="connsiteY756" fmla="*/ 1861742 h 6412736"/>
              <a:gd name="connsiteX757" fmla="*/ 2157268 w 2689189"/>
              <a:gd name="connsiteY757" fmla="*/ 1861742 h 6412736"/>
              <a:gd name="connsiteX758" fmla="*/ 2157268 w 2689189"/>
              <a:gd name="connsiteY758" fmla="*/ 1891320 h 6412736"/>
              <a:gd name="connsiteX759" fmla="*/ 2127683 w 2689189"/>
              <a:gd name="connsiteY759" fmla="*/ 1891320 h 6412736"/>
              <a:gd name="connsiteX760" fmla="*/ 1861723 w 2689189"/>
              <a:gd name="connsiteY760" fmla="*/ 1861739 h 6412736"/>
              <a:gd name="connsiteX761" fmla="*/ 1891309 w 2689189"/>
              <a:gd name="connsiteY761" fmla="*/ 1861739 h 6412736"/>
              <a:gd name="connsiteX762" fmla="*/ 1891309 w 2689189"/>
              <a:gd name="connsiteY762" fmla="*/ 1891319 h 6412736"/>
              <a:gd name="connsiteX763" fmla="*/ 1861723 w 2689189"/>
              <a:gd name="connsiteY763" fmla="*/ 1891319 h 6412736"/>
              <a:gd name="connsiteX764" fmla="*/ 1595763 w 2689189"/>
              <a:gd name="connsiteY764" fmla="*/ 1861737 h 6412736"/>
              <a:gd name="connsiteX765" fmla="*/ 1625348 w 2689189"/>
              <a:gd name="connsiteY765" fmla="*/ 1861737 h 6412736"/>
              <a:gd name="connsiteX766" fmla="*/ 1625348 w 2689189"/>
              <a:gd name="connsiteY766" fmla="*/ 1891317 h 6412736"/>
              <a:gd name="connsiteX767" fmla="*/ 1595763 w 2689189"/>
              <a:gd name="connsiteY767" fmla="*/ 1891317 h 6412736"/>
              <a:gd name="connsiteX768" fmla="*/ 1329802 w 2689189"/>
              <a:gd name="connsiteY768" fmla="*/ 1861734 h 6412736"/>
              <a:gd name="connsiteX769" fmla="*/ 1359387 w 2689189"/>
              <a:gd name="connsiteY769" fmla="*/ 1861734 h 6412736"/>
              <a:gd name="connsiteX770" fmla="*/ 1359387 w 2689189"/>
              <a:gd name="connsiteY770" fmla="*/ 1891315 h 6412736"/>
              <a:gd name="connsiteX771" fmla="*/ 1329802 w 2689189"/>
              <a:gd name="connsiteY771" fmla="*/ 1891315 h 6412736"/>
              <a:gd name="connsiteX772" fmla="*/ 1063842 w 2689189"/>
              <a:gd name="connsiteY772" fmla="*/ 1861732 h 6412736"/>
              <a:gd name="connsiteX773" fmla="*/ 1093428 w 2689189"/>
              <a:gd name="connsiteY773" fmla="*/ 1861732 h 6412736"/>
              <a:gd name="connsiteX774" fmla="*/ 1093428 w 2689189"/>
              <a:gd name="connsiteY774" fmla="*/ 1891314 h 6412736"/>
              <a:gd name="connsiteX775" fmla="*/ 1063842 w 2689189"/>
              <a:gd name="connsiteY775" fmla="*/ 1891314 h 6412736"/>
              <a:gd name="connsiteX776" fmla="*/ 797881 w 2689189"/>
              <a:gd name="connsiteY776" fmla="*/ 1861729 h 6412736"/>
              <a:gd name="connsiteX777" fmla="*/ 827466 w 2689189"/>
              <a:gd name="connsiteY777" fmla="*/ 1861729 h 6412736"/>
              <a:gd name="connsiteX778" fmla="*/ 827466 w 2689189"/>
              <a:gd name="connsiteY778" fmla="*/ 1891312 h 6412736"/>
              <a:gd name="connsiteX779" fmla="*/ 797881 w 2689189"/>
              <a:gd name="connsiteY779" fmla="*/ 1891312 h 6412736"/>
              <a:gd name="connsiteX780" fmla="*/ 531921 w 2689189"/>
              <a:gd name="connsiteY780" fmla="*/ 1861727 h 6412736"/>
              <a:gd name="connsiteX781" fmla="*/ 561507 w 2689189"/>
              <a:gd name="connsiteY781" fmla="*/ 1861727 h 6412736"/>
              <a:gd name="connsiteX782" fmla="*/ 561507 w 2689189"/>
              <a:gd name="connsiteY782" fmla="*/ 1891310 h 6412736"/>
              <a:gd name="connsiteX783" fmla="*/ 531921 w 2689189"/>
              <a:gd name="connsiteY783" fmla="*/ 1891310 h 6412736"/>
              <a:gd name="connsiteX784" fmla="*/ 265961 w 2689189"/>
              <a:gd name="connsiteY784" fmla="*/ 1861724 h 6412736"/>
              <a:gd name="connsiteX785" fmla="*/ 295546 w 2689189"/>
              <a:gd name="connsiteY785" fmla="*/ 1861724 h 6412736"/>
              <a:gd name="connsiteX786" fmla="*/ 295546 w 2689189"/>
              <a:gd name="connsiteY786" fmla="*/ 1891309 h 6412736"/>
              <a:gd name="connsiteX787" fmla="*/ 265961 w 2689189"/>
              <a:gd name="connsiteY787" fmla="*/ 1891309 h 6412736"/>
              <a:gd name="connsiteX788" fmla="*/ 0 w 2689189"/>
              <a:gd name="connsiteY788" fmla="*/ 1861722 h 6412736"/>
              <a:gd name="connsiteX789" fmla="*/ 29585 w 2689189"/>
              <a:gd name="connsiteY789" fmla="*/ 1861722 h 6412736"/>
              <a:gd name="connsiteX790" fmla="*/ 29585 w 2689189"/>
              <a:gd name="connsiteY790" fmla="*/ 1891307 h 6412736"/>
              <a:gd name="connsiteX791" fmla="*/ 0 w 2689189"/>
              <a:gd name="connsiteY791" fmla="*/ 1891307 h 6412736"/>
              <a:gd name="connsiteX792" fmla="*/ 2659604 w 2689189"/>
              <a:gd name="connsiteY792" fmla="*/ 1595785 h 6412736"/>
              <a:gd name="connsiteX793" fmla="*/ 2689189 w 2689189"/>
              <a:gd name="connsiteY793" fmla="*/ 1595785 h 6412736"/>
              <a:gd name="connsiteX794" fmla="*/ 2689189 w 2689189"/>
              <a:gd name="connsiteY794" fmla="*/ 1625371 h 6412736"/>
              <a:gd name="connsiteX795" fmla="*/ 2659604 w 2689189"/>
              <a:gd name="connsiteY795" fmla="*/ 1625371 h 6412736"/>
              <a:gd name="connsiteX796" fmla="*/ 2393644 w 2689189"/>
              <a:gd name="connsiteY796" fmla="*/ 1595782 h 6412736"/>
              <a:gd name="connsiteX797" fmla="*/ 2423230 w 2689189"/>
              <a:gd name="connsiteY797" fmla="*/ 1595782 h 6412736"/>
              <a:gd name="connsiteX798" fmla="*/ 2423230 w 2689189"/>
              <a:gd name="connsiteY798" fmla="*/ 1625368 h 6412736"/>
              <a:gd name="connsiteX799" fmla="*/ 2393644 w 2689189"/>
              <a:gd name="connsiteY799" fmla="*/ 1625368 h 6412736"/>
              <a:gd name="connsiteX800" fmla="*/ 2127683 w 2689189"/>
              <a:gd name="connsiteY800" fmla="*/ 1595780 h 6412736"/>
              <a:gd name="connsiteX801" fmla="*/ 2157268 w 2689189"/>
              <a:gd name="connsiteY801" fmla="*/ 1595780 h 6412736"/>
              <a:gd name="connsiteX802" fmla="*/ 2157268 w 2689189"/>
              <a:gd name="connsiteY802" fmla="*/ 1625366 h 6412736"/>
              <a:gd name="connsiteX803" fmla="*/ 2127683 w 2689189"/>
              <a:gd name="connsiteY803" fmla="*/ 1625366 h 6412736"/>
              <a:gd name="connsiteX804" fmla="*/ 1861723 w 2689189"/>
              <a:gd name="connsiteY804" fmla="*/ 1595777 h 6412736"/>
              <a:gd name="connsiteX805" fmla="*/ 1891309 w 2689189"/>
              <a:gd name="connsiteY805" fmla="*/ 1595777 h 6412736"/>
              <a:gd name="connsiteX806" fmla="*/ 1891309 w 2689189"/>
              <a:gd name="connsiteY806" fmla="*/ 1625363 h 6412736"/>
              <a:gd name="connsiteX807" fmla="*/ 1861723 w 2689189"/>
              <a:gd name="connsiteY807" fmla="*/ 1625363 h 6412736"/>
              <a:gd name="connsiteX808" fmla="*/ 1595763 w 2689189"/>
              <a:gd name="connsiteY808" fmla="*/ 1595775 h 6412736"/>
              <a:gd name="connsiteX809" fmla="*/ 1625348 w 2689189"/>
              <a:gd name="connsiteY809" fmla="*/ 1595775 h 6412736"/>
              <a:gd name="connsiteX810" fmla="*/ 1625348 w 2689189"/>
              <a:gd name="connsiteY810" fmla="*/ 1625360 h 6412736"/>
              <a:gd name="connsiteX811" fmla="*/ 1595763 w 2689189"/>
              <a:gd name="connsiteY811" fmla="*/ 1625360 h 6412736"/>
              <a:gd name="connsiteX812" fmla="*/ 1329802 w 2689189"/>
              <a:gd name="connsiteY812" fmla="*/ 1595773 h 6412736"/>
              <a:gd name="connsiteX813" fmla="*/ 1359387 w 2689189"/>
              <a:gd name="connsiteY813" fmla="*/ 1595773 h 6412736"/>
              <a:gd name="connsiteX814" fmla="*/ 1359387 w 2689189"/>
              <a:gd name="connsiteY814" fmla="*/ 1625358 h 6412736"/>
              <a:gd name="connsiteX815" fmla="*/ 1329802 w 2689189"/>
              <a:gd name="connsiteY815" fmla="*/ 1625358 h 6412736"/>
              <a:gd name="connsiteX816" fmla="*/ 1063842 w 2689189"/>
              <a:gd name="connsiteY816" fmla="*/ 1595770 h 6412736"/>
              <a:gd name="connsiteX817" fmla="*/ 1093428 w 2689189"/>
              <a:gd name="connsiteY817" fmla="*/ 1595770 h 6412736"/>
              <a:gd name="connsiteX818" fmla="*/ 1093428 w 2689189"/>
              <a:gd name="connsiteY818" fmla="*/ 1625355 h 6412736"/>
              <a:gd name="connsiteX819" fmla="*/ 1063842 w 2689189"/>
              <a:gd name="connsiteY819" fmla="*/ 1625355 h 6412736"/>
              <a:gd name="connsiteX820" fmla="*/ 797881 w 2689189"/>
              <a:gd name="connsiteY820" fmla="*/ 1595768 h 6412736"/>
              <a:gd name="connsiteX821" fmla="*/ 827466 w 2689189"/>
              <a:gd name="connsiteY821" fmla="*/ 1595768 h 6412736"/>
              <a:gd name="connsiteX822" fmla="*/ 827466 w 2689189"/>
              <a:gd name="connsiteY822" fmla="*/ 1625353 h 6412736"/>
              <a:gd name="connsiteX823" fmla="*/ 797881 w 2689189"/>
              <a:gd name="connsiteY823" fmla="*/ 1625353 h 6412736"/>
              <a:gd name="connsiteX824" fmla="*/ 531921 w 2689189"/>
              <a:gd name="connsiteY824" fmla="*/ 1595766 h 6412736"/>
              <a:gd name="connsiteX825" fmla="*/ 561507 w 2689189"/>
              <a:gd name="connsiteY825" fmla="*/ 1595766 h 6412736"/>
              <a:gd name="connsiteX826" fmla="*/ 561507 w 2689189"/>
              <a:gd name="connsiteY826" fmla="*/ 1625351 h 6412736"/>
              <a:gd name="connsiteX827" fmla="*/ 531921 w 2689189"/>
              <a:gd name="connsiteY827" fmla="*/ 1625351 h 6412736"/>
              <a:gd name="connsiteX828" fmla="*/ 265961 w 2689189"/>
              <a:gd name="connsiteY828" fmla="*/ 1595763 h 6412736"/>
              <a:gd name="connsiteX829" fmla="*/ 295546 w 2689189"/>
              <a:gd name="connsiteY829" fmla="*/ 1595763 h 6412736"/>
              <a:gd name="connsiteX830" fmla="*/ 295546 w 2689189"/>
              <a:gd name="connsiteY830" fmla="*/ 1625348 h 6412736"/>
              <a:gd name="connsiteX831" fmla="*/ 265961 w 2689189"/>
              <a:gd name="connsiteY831" fmla="*/ 1625348 h 6412736"/>
              <a:gd name="connsiteX832" fmla="*/ 0 w 2689189"/>
              <a:gd name="connsiteY832" fmla="*/ 1595761 h 6412736"/>
              <a:gd name="connsiteX833" fmla="*/ 29585 w 2689189"/>
              <a:gd name="connsiteY833" fmla="*/ 1595761 h 6412736"/>
              <a:gd name="connsiteX834" fmla="*/ 29585 w 2689189"/>
              <a:gd name="connsiteY834" fmla="*/ 1625346 h 6412736"/>
              <a:gd name="connsiteX835" fmla="*/ 0 w 2689189"/>
              <a:gd name="connsiteY835" fmla="*/ 1625346 h 6412736"/>
              <a:gd name="connsiteX836" fmla="*/ 2659604 w 2689189"/>
              <a:gd name="connsiteY836" fmla="*/ 1329827 h 6412736"/>
              <a:gd name="connsiteX837" fmla="*/ 2689189 w 2689189"/>
              <a:gd name="connsiteY837" fmla="*/ 1329827 h 6412736"/>
              <a:gd name="connsiteX838" fmla="*/ 2689189 w 2689189"/>
              <a:gd name="connsiteY838" fmla="*/ 1359412 h 6412736"/>
              <a:gd name="connsiteX839" fmla="*/ 2659604 w 2689189"/>
              <a:gd name="connsiteY839" fmla="*/ 1359412 h 6412736"/>
              <a:gd name="connsiteX840" fmla="*/ 2393644 w 2689189"/>
              <a:gd name="connsiteY840" fmla="*/ 1329825 h 6412736"/>
              <a:gd name="connsiteX841" fmla="*/ 2423230 w 2689189"/>
              <a:gd name="connsiteY841" fmla="*/ 1329825 h 6412736"/>
              <a:gd name="connsiteX842" fmla="*/ 2423230 w 2689189"/>
              <a:gd name="connsiteY842" fmla="*/ 1359409 h 6412736"/>
              <a:gd name="connsiteX843" fmla="*/ 2393644 w 2689189"/>
              <a:gd name="connsiteY843" fmla="*/ 1359409 h 6412736"/>
              <a:gd name="connsiteX844" fmla="*/ 2127683 w 2689189"/>
              <a:gd name="connsiteY844" fmla="*/ 1329822 h 6412736"/>
              <a:gd name="connsiteX845" fmla="*/ 2157268 w 2689189"/>
              <a:gd name="connsiteY845" fmla="*/ 1329822 h 6412736"/>
              <a:gd name="connsiteX846" fmla="*/ 2157268 w 2689189"/>
              <a:gd name="connsiteY846" fmla="*/ 1359407 h 6412736"/>
              <a:gd name="connsiteX847" fmla="*/ 2127683 w 2689189"/>
              <a:gd name="connsiteY847" fmla="*/ 1359407 h 6412736"/>
              <a:gd name="connsiteX848" fmla="*/ 1861723 w 2689189"/>
              <a:gd name="connsiteY848" fmla="*/ 1329819 h 6412736"/>
              <a:gd name="connsiteX849" fmla="*/ 1891309 w 2689189"/>
              <a:gd name="connsiteY849" fmla="*/ 1329819 h 6412736"/>
              <a:gd name="connsiteX850" fmla="*/ 1891309 w 2689189"/>
              <a:gd name="connsiteY850" fmla="*/ 1359404 h 6412736"/>
              <a:gd name="connsiteX851" fmla="*/ 1861723 w 2689189"/>
              <a:gd name="connsiteY851" fmla="*/ 1359404 h 6412736"/>
              <a:gd name="connsiteX852" fmla="*/ 1595763 w 2689189"/>
              <a:gd name="connsiteY852" fmla="*/ 1329817 h 6412736"/>
              <a:gd name="connsiteX853" fmla="*/ 1625348 w 2689189"/>
              <a:gd name="connsiteY853" fmla="*/ 1329817 h 6412736"/>
              <a:gd name="connsiteX854" fmla="*/ 1625348 w 2689189"/>
              <a:gd name="connsiteY854" fmla="*/ 1359401 h 6412736"/>
              <a:gd name="connsiteX855" fmla="*/ 1595763 w 2689189"/>
              <a:gd name="connsiteY855" fmla="*/ 1359401 h 6412736"/>
              <a:gd name="connsiteX856" fmla="*/ 1329802 w 2689189"/>
              <a:gd name="connsiteY856" fmla="*/ 1329814 h 6412736"/>
              <a:gd name="connsiteX857" fmla="*/ 1359387 w 2689189"/>
              <a:gd name="connsiteY857" fmla="*/ 1329814 h 6412736"/>
              <a:gd name="connsiteX858" fmla="*/ 1359387 w 2689189"/>
              <a:gd name="connsiteY858" fmla="*/ 1359399 h 6412736"/>
              <a:gd name="connsiteX859" fmla="*/ 1329802 w 2689189"/>
              <a:gd name="connsiteY859" fmla="*/ 1359399 h 6412736"/>
              <a:gd name="connsiteX860" fmla="*/ 1063842 w 2689189"/>
              <a:gd name="connsiteY860" fmla="*/ 1329811 h 6412736"/>
              <a:gd name="connsiteX861" fmla="*/ 1093428 w 2689189"/>
              <a:gd name="connsiteY861" fmla="*/ 1329811 h 6412736"/>
              <a:gd name="connsiteX862" fmla="*/ 1093428 w 2689189"/>
              <a:gd name="connsiteY862" fmla="*/ 1359396 h 6412736"/>
              <a:gd name="connsiteX863" fmla="*/ 1063842 w 2689189"/>
              <a:gd name="connsiteY863" fmla="*/ 1359396 h 6412736"/>
              <a:gd name="connsiteX864" fmla="*/ 797881 w 2689189"/>
              <a:gd name="connsiteY864" fmla="*/ 1329809 h 6412736"/>
              <a:gd name="connsiteX865" fmla="*/ 827466 w 2689189"/>
              <a:gd name="connsiteY865" fmla="*/ 1329809 h 6412736"/>
              <a:gd name="connsiteX866" fmla="*/ 827466 w 2689189"/>
              <a:gd name="connsiteY866" fmla="*/ 1359394 h 6412736"/>
              <a:gd name="connsiteX867" fmla="*/ 797881 w 2689189"/>
              <a:gd name="connsiteY867" fmla="*/ 1359394 h 6412736"/>
              <a:gd name="connsiteX868" fmla="*/ 531921 w 2689189"/>
              <a:gd name="connsiteY868" fmla="*/ 1329806 h 6412736"/>
              <a:gd name="connsiteX869" fmla="*/ 561507 w 2689189"/>
              <a:gd name="connsiteY869" fmla="*/ 1329806 h 6412736"/>
              <a:gd name="connsiteX870" fmla="*/ 561507 w 2689189"/>
              <a:gd name="connsiteY870" fmla="*/ 1359391 h 6412736"/>
              <a:gd name="connsiteX871" fmla="*/ 531921 w 2689189"/>
              <a:gd name="connsiteY871" fmla="*/ 1359391 h 6412736"/>
              <a:gd name="connsiteX872" fmla="*/ 265961 w 2689189"/>
              <a:gd name="connsiteY872" fmla="*/ 1329803 h 6412736"/>
              <a:gd name="connsiteX873" fmla="*/ 295546 w 2689189"/>
              <a:gd name="connsiteY873" fmla="*/ 1329803 h 6412736"/>
              <a:gd name="connsiteX874" fmla="*/ 295546 w 2689189"/>
              <a:gd name="connsiteY874" fmla="*/ 1359388 h 6412736"/>
              <a:gd name="connsiteX875" fmla="*/ 265961 w 2689189"/>
              <a:gd name="connsiteY875" fmla="*/ 1359388 h 6412736"/>
              <a:gd name="connsiteX876" fmla="*/ 0 w 2689189"/>
              <a:gd name="connsiteY876" fmla="*/ 1329801 h 6412736"/>
              <a:gd name="connsiteX877" fmla="*/ 29585 w 2689189"/>
              <a:gd name="connsiteY877" fmla="*/ 1329801 h 6412736"/>
              <a:gd name="connsiteX878" fmla="*/ 29585 w 2689189"/>
              <a:gd name="connsiteY878" fmla="*/ 1359386 h 6412736"/>
              <a:gd name="connsiteX879" fmla="*/ 0 w 2689189"/>
              <a:gd name="connsiteY879" fmla="*/ 1359386 h 6412736"/>
              <a:gd name="connsiteX880" fmla="*/ 2659604 w 2689189"/>
              <a:gd name="connsiteY880" fmla="*/ 1063871 h 6412736"/>
              <a:gd name="connsiteX881" fmla="*/ 2689189 w 2689189"/>
              <a:gd name="connsiteY881" fmla="*/ 1063871 h 6412736"/>
              <a:gd name="connsiteX882" fmla="*/ 2689189 w 2689189"/>
              <a:gd name="connsiteY882" fmla="*/ 1093457 h 6412736"/>
              <a:gd name="connsiteX883" fmla="*/ 2659604 w 2689189"/>
              <a:gd name="connsiteY883" fmla="*/ 1093457 h 6412736"/>
              <a:gd name="connsiteX884" fmla="*/ 2393644 w 2689189"/>
              <a:gd name="connsiteY884" fmla="*/ 1063868 h 6412736"/>
              <a:gd name="connsiteX885" fmla="*/ 2423230 w 2689189"/>
              <a:gd name="connsiteY885" fmla="*/ 1063868 h 6412736"/>
              <a:gd name="connsiteX886" fmla="*/ 2423230 w 2689189"/>
              <a:gd name="connsiteY886" fmla="*/ 1093454 h 6412736"/>
              <a:gd name="connsiteX887" fmla="*/ 2393644 w 2689189"/>
              <a:gd name="connsiteY887" fmla="*/ 1093454 h 6412736"/>
              <a:gd name="connsiteX888" fmla="*/ 2127683 w 2689189"/>
              <a:gd name="connsiteY888" fmla="*/ 1063865 h 6412736"/>
              <a:gd name="connsiteX889" fmla="*/ 2157268 w 2689189"/>
              <a:gd name="connsiteY889" fmla="*/ 1063865 h 6412736"/>
              <a:gd name="connsiteX890" fmla="*/ 2157268 w 2689189"/>
              <a:gd name="connsiteY890" fmla="*/ 1093451 h 6412736"/>
              <a:gd name="connsiteX891" fmla="*/ 2127683 w 2689189"/>
              <a:gd name="connsiteY891" fmla="*/ 1093451 h 6412736"/>
              <a:gd name="connsiteX892" fmla="*/ 1861723 w 2689189"/>
              <a:gd name="connsiteY892" fmla="*/ 1063862 h 6412736"/>
              <a:gd name="connsiteX893" fmla="*/ 1891309 w 2689189"/>
              <a:gd name="connsiteY893" fmla="*/ 1063862 h 6412736"/>
              <a:gd name="connsiteX894" fmla="*/ 1891309 w 2689189"/>
              <a:gd name="connsiteY894" fmla="*/ 1093448 h 6412736"/>
              <a:gd name="connsiteX895" fmla="*/ 1861723 w 2689189"/>
              <a:gd name="connsiteY895" fmla="*/ 1093448 h 6412736"/>
              <a:gd name="connsiteX896" fmla="*/ 1595763 w 2689189"/>
              <a:gd name="connsiteY896" fmla="*/ 1063859 h 6412736"/>
              <a:gd name="connsiteX897" fmla="*/ 1625348 w 2689189"/>
              <a:gd name="connsiteY897" fmla="*/ 1063859 h 6412736"/>
              <a:gd name="connsiteX898" fmla="*/ 1625348 w 2689189"/>
              <a:gd name="connsiteY898" fmla="*/ 1093445 h 6412736"/>
              <a:gd name="connsiteX899" fmla="*/ 1595763 w 2689189"/>
              <a:gd name="connsiteY899" fmla="*/ 1093445 h 6412736"/>
              <a:gd name="connsiteX900" fmla="*/ 1329802 w 2689189"/>
              <a:gd name="connsiteY900" fmla="*/ 1063856 h 6412736"/>
              <a:gd name="connsiteX901" fmla="*/ 1359387 w 2689189"/>
              <a:gd name="connsiteY901" fmla="*/ 1063856 h 6412736"/>
              <a:gd name="connsiteX902" fmla="*/ 1359387 w 2689189"/>
              <a:gd name="connsiteY902" fmla="*/ 1093442 h 6412736"/>
              <a:gd name="connsiteX903" fmla="*/ 1329802 w 2689189"/>
              <a:gd name="connsiteY903" fmla="*/ 1093442 h 6412736"/>
              <a:gd name="connsiteX904" fmla="*/ 1063842 w 2689189"/>
              <a:gd name="connsiteY904" fmla="*/ 1063853 h 6412736"/>
              <a:gd name="connsiteX905" fmla="*/ 1093428 w 2689189"/>
              <a:gd name="connsiteY905" fmla="*/ 1063853 h 6412736"/>
              <a:gd name="connsiteX906" fmla="*/ 1093428 w 2689189"/>
              <a:gd name="connsiteY906" fmla="*/ 1093439 h 6412736"/>
              <a:gd name="connsiteX907" fmla="*/ 1063842 w 2689189"/>
              <a:gd name="connsiteY907" fmla="*/ 1093439 h 6412736"/>
              <a:gd name="connsiteX908" fmla="*/ 797881 w 2689189"/>
              <a:gd name="connsiteY908" fmla="*/ 1063850 h 6412736"/>
              <a:gd name="connsiteX909" fmla="*/ 827466 w 2689189"/>
              <a:gd name="connsiteY909" fmla="*/ 1063850 h 6412736"/>
              <a:gd name="connsiteX910" fmla="*/ 827466 w 2689189"/>
              <a:gd name="connsiteY910" fmla="*/ 1093436 h 6412736"/>
              <a:gd name="connsiteX911" fmla="*/ 797881 w 2689189"/>
              <a:gd name="connsiteY911" fmla="*/ 1093436 h 6412736"/>
              <a:gd name="connsiteX912" fmla="*/ 531921 w 2689189"/>
              <a:gd name="connsiteY912" fmla="*/ 1063847 h 6412736"/>
              <a:gd name="connsiteX913" fmla="*/ 561507 w 2689189"/>
              <a:gd name="connsiteY913" fmla="*/ 1063847 h 6412736"/>
              <a:gd name="connsiteX914" fmla="*/ 561507 w 2689189"/>
              <a:gd name="connsiteY914" fmla="*/ 1093433 h 6412736"/>
              <a:gd name="connsiteX915" fmla="*/ 531921 w 2689189"/>
              <a:gd name="connsiteY915" fmla="*/ 1093433 h 6412736"/>
              <a:gd name="connsiteX916" fmla="*/ 265961 w 2689189"/>
              <a:gd name="connsiteY916" fmla="*/ 1063844 h 6412736"/>
              <a:gd name="connsiteX917" fmla="*/ 295546 w 2689189"/>
              <a:gd name="connsiteY917" fmla="*/ 1063844 h 6412736"/>
              <a:gd name="connsiteX918" fmla="*/ 295546 w 2689189"/>
              <a:gd name="connsiteY918" fmla="*/ 1093430 h 6412736"/>
              <a:gd name="connsiteX919" fmla="*/ 265961 w 2689189"/>
              <a:gd name="connsiteY919" fmla="*/ 1093430 h 6412736"/>
              <a:gd name="connsiteX920" fmla="*/ 0 w 2689189"/>
              <a:gd name="connsiteY920" fmla="*/ 1063841 h 6412736"/>
              <a:gd name="connsiteX921" fmla="*/ 29585 w 2689189"/>
              <a:gd name="connsiteY921" fmla="*/ 1063841 h 6412736"/>
              <a:gd name="connsiteX922" fmla="*/ 29585 w 2689189"/>
              <a:gd name="connsiteY922" fmla="*/ 1093427 h 6412736"/>
              <a:gd name="connsiteX923" fmla="*/ 0 w 2689189"/>
              <a:gd name="connsiteY923" fmla="*/ 1093427 h 6412736"/>
              <a:gd name="connsiteX924" fmla="*/ 2659604 w 2689189"/>
              <a:gd name="connsiteY924" fmla="*/ 797900 h 6412736"/>
              <a:gd name="connsiteX925" fmla="*/ 2689189 w 2689189"/>
              <a:gd name="connsiteY925" fmla="*/ 797900 h 6412736"/>
              <a:gd name="connsiteX926" fmla="*/ 2689189 w 2689189"/>
              <a:gd name="connsiteY926" fmla="*/ 827486 h 6412736"/>
              <a:gd name="connsiteX927" fmla="*/ 2659604 w 2689189"/>
              <a:gd name="connsiteY927" fmla="*/ 827486 h 6412736"/>
              <a:gd name="connsiteX928" fmla="*/ 2393644 w 2689189"/>
              <a:gd name="connsiteY928" fmla="*/ 797898 h 6412736"/>
              <a:gd name="connsiteX929" fmla="*/ 2423230 w 2689189"/>
              <a:gd name="connsiteY929" fmla="*/ 797898 h 6412736"/>
              <a:gd name="connsiteX930" fmla="*/ 2423230 w 2689189"/>
              <a:gd name="connsiteY930" fmla="*/ 827484 h 6412736"/>
              <a:gd name="connsiteX931" fmla="*/ 2393644 w 2689189"/>
              <a:gd name="connsiteY931" fmla="*/ 827484 h 6412736"/>
              <a:gd name="connsiteX932" fmla="*/ 2127683 w 2689189"/>
              <a:gd name="connsiteY932" fmla="*/ 797895 h 6412736"/>
              <a:gd name="connsiteX933" fmla="*/ 2157268 w 2689189"/>
              <a:gd name="connsiteY933" fmla="*/ 797895 h 6412736"/>
              <a:gd name="connsiteX934" fmla="*/ 2157268 w 2689189"/>
              <a:gd name="connsiteY934" fmla="*/ 827481 h 6412736"/>
              <a:gd name="connsiteX935" fmla="*/ 2127683 w 2689189"/>
              <a:gd name="connsiteY935" fmla="*/ 827481 h 6412736"/>
              <a:gd name="connsiteX936" fmla="*/ 1861723 w 2689189"/>
              <a:gd name="connsiteY936" fmla="*/ 797893 h 6412736"/>
              <a:gd name="connsiteX937" fmla="*/ 1891309 w 2689189"/>
              <a:gd name="connsiteY937" fmla="*/ 797893 h 6412736"/>
              <a:gd name="connsiteX938" fmla="*/ 1891309 w 2689189"/>
              <a:gd name="connsiteY938" fmla="*/ 827479 h 6412736"/>
              <a:gd name="connsiteX939" fmla="*/ 1861723 w 2689189"/>
              <a:gd name="connsiteY939" fmla="*/ 827479 h 6412736"/>
              <a:gd name="connsiteX940" fmla="*/ 1595763 w 2689189"/>
              <a:gd name="connsiteY940" fmla="*/ 797891 h 6412736"/>
              <a:gd name="connsiteX941" fmla="*/ 1625348 w 2689189"/>
              <a:gd name="connsiteY941" fmla="*/ 797891 h 6412736"/>
              <a:gd name="connsiteX942" fmla="*/ 1625348 w 2689189"/>
              <a:gd name="connsiteY942" fmla="*/ 827477 h 6412736"/>
              <a:gd name="connsiteX943" fmla="*/ 1595763 w 2689189"/>
              <a:gd name="connsiteY943" fmla="*/ 827477 h 6412736"/>
              <a:gd name="connsiteX944" fmla="*/ 1329802 w 2689189"/>
              <a:gd name="connsiteY944" fmla="*/ 797889 h 6412736"/>
              <a:gd name="connsiteX945" fmla="*/ 1359387 w 2689189"/>
              <a:gd name="connsiteY945" fmla="*/ 797889 h 6412736"/>
              <a:gd name="connsiteX946" fmla="*/ 1359387 w 2689189"/>
              <a:gd name="connsiteY946" fmla="*/ 827475 h 6412736"/>
              <a:gd name="connsiteX947" fmla="*/ 1329802 w 2689189"/>
              <a:gd name="connsiteY947" fmla="*/ 827475 h 6412736"/>
              <a:gd name="connsiteX948" fmla="*/ 1063842 w 2689189"/>
              <a:gd name="connsiteY948" fmla="*/ 797887 h 6412736"/>
              <a:gd name="connsiteX949" fmla="*/ 1093428 w 2689189"/>
              <a:gd name="connsiteY949" fmla="*/ 797887 h 6412736"/>
              <a:gd name="connsiteX950" fmla="*/ 1093428 w 2689189"/>
              <a:gd name="connsiteY950" fmla="*/ 827473 h 6412736"/>
              <a:gd name="connsiteX951" fmla="*/ 1063842 w 2689189"/>
              <a:gd name="connsiteY951" fmla="*/ 827473 h 6412736"/>
              <a:gd name="connsiteX952" fmla="*/ 797881 w 2689189"/>
              <a:gd name="connsiteY952" fmla="*/ 797885 h 6412736"/>
              <a:gd name="connsiteX953" fmla="*/ 827466 w 2689189"/>
              <a:gd name="connsiteY953" fmla="*/ 797885 h 6412736"/>
              <a:gd name="connsiteX954" fmla="*/ 827466 w 2689189"/>
              <a:gd name="connsiteY954" fmla="*/ 827471 h 6412736"/>
              <a:gd name="connsiteX955" fmla="*/ 797881 w 2689189"/>
              <a:gd name="connsiteY955" fmla="*/ 827471 h 6412736"/>
              <a:gd name="connsiteX956" fmla="*/ 531921 w 2689189"/>
              <a:gd name="connsiteY956" fmla="*/ 797883 h 6412736"/>
              <a:gd name="connsiteX957" fmla="*/ 561507 w 2689189"/>
              <a:gd name="connsiteY957" fmla="*/ 797883 h 6412736"/>
              <a:gd name="connsiteX958" fmla="*/ 561507 w 2689189"/>
              <a:gd name="connsiteY958" fmla="*/ 827469 h 6412736"/>
              <a:gd name="connsiteX959" fmla="*/ 531921 w 2689189"/>
              <a:gd name="connsiteY959" fmla="*/ 827469 h 6412736"/>
              <a:gd name="connsiteX960" fmla="*/ 265961 w 2689189"/>
              <a:gd name="connsiteY960" fmla="*/ 797881 h 6412736"/>
              <a:gd name="connsiteX961" fmla="*/ 295546 w 2689189"/>
              <a:gd name="connsiteY961" fmla="*/ 797881 h 6412736"/>
              <a:gd name="connsiteX962" fmla="*/ 295546 w 2689189"/>
              <a:gd name="connsiteY962" fmla="*/ 827467 h 6412736"/>
              <a:gd name="connsiteX963" fmla="*/ 265961 w 2689189"/>
              <a:gd name="connsiteY963" fmla="*/ 827467 h 6412736"/>
              <a:gd name="connsiteX964" fmla="*/ 0 w 2689189"/>
              <a:gd name="connsiteY964" fmla="*/ 797879 h 6412736"/>
              <a:gd name="connsiteX965" fmla="*/ 29585 w 2689189"/>
              <a:gd name="connsiteY965" fmla="*/ 797879 h 6412736"/>
              <a:gd name="connsiteX966" fmla="*/ 29585 w 2689189"/>
              <a:gd name="connsiteY966" fmla="*/ 827465 h 6412736"/>
              <a:gd name="connsiteX967" fmla="*/ 0 w 2689189"/>
              <a:gd name="connsiteY967" fmla="*/ 827465 h 6412736"/>
              <a:gd name="connsiteX968" fmla="*/ 2659604 w 2689189"/>
              <a:gd name="connsiteY968" fmla="*/ 531940 h 6412736"/>
              <a:gd name="connsiteX969" fmla="*/ 2689189 w 2689189"/>
              <a:gd name="connsiteY969" fmla="*/ 531940 h 6412736"/>
              <a:gd name="connsiteX970" fmla="*/ 2689189 w 2689189"/>
              <a:gd name="connsiteY970" fmla="*/ 561525 h 6412736"/>
              <a:gd name="connsiteX971" fmla="*/ 2659604 w 2689189"/>
              <a:gd name="connsiteY971" fmla="*/ 561525 h 6412736"/>
              <a:gd name="connsiteX972" fmla="*/ 2393644 w 2689189"/>
              <a:gd name="connsiteY972" fmla="*/ 531938 h 6412736"/>
              <a:gd name="connsiteX973" fmla="*/ 2423230 w 2689189"/>
              <a:gd name="connsiteY973" fmla="*/ 531938 h 6412736"/>
              <a:gd name="connsiteX974" fmla="*/ 2423230 w 2689189"/>
              <a:gd name="connsiteY974" fmla="*/ 561523 h 6412736"/>
              <a:gd name="connsiteX975" fmla="*/ 2393644 w 2689189"/>
              <a:gd name="connsiteY975" fmla="*/ 561523 h 6412736"/>
              <a:gd name="connsiteX976" fmla="*/ 2127683 w 2689189"/>
              <a:gd name="connsiteY976" fmla="*/ 531936 h 6412736"/>
              <a:gd name="connsiteX977" fmla="*/ 2157268 w 2689189"/>
              <a:gd name="connsiteY977" fmla="*/ 531936 h 6412736"/>
              <a:gd name="connsiteX978" fmla="*/ 2157268 w 2689189"/>
              <a:gd name="connsiteY978" fmla="*/ 561521 h 6412736"/>
              <a:gd name="connsiteX979" fmla="*/ 2127683 w 2689189"/>
              <a:gd name="connsiteY979" fmla="*/ 561521 h 6412736"/>
              <a:gd name="connsiteX980" fmla="*/ 1861723 w 2689189"/>
              <a:gd name="connsiteY980" fmla="*/ 531934 h 6412736"/>
              <a:gd name="connsiteX981" fmla="*/ 1891309 w 2689189"/>
              <a:gd name="connsiteY981" fmla="*/ 531934 h 6412736"/>
              <a:gd name="connsiteX982" fmla="*/ 1891309 w 2689189"/>
              <a:gd name="connsiteY982" fmla="*/ 561519 h 6412736"/>
              <a:gd name="connsiteX983" fmla="*/ 1861723 w 2689189"/>
              <a:gd name="connsiteY983" fmla="*/ 561519 h 6412736"/>
              <a:gd name="connsiteX984" fmla="*/ 1595763 w 2689189"/>
              <a:gd name="connsiteY984" fmla="*/ 531932 h 6412736"/>
              <a:gd name="connsiteX985" fmla="*/ 1625348 w 2689189"/>
              <a:gd name="connsiteY985" fmla="*/ 531932 h 6412736"/>
              <a:gd name="connsiteX986" fmla="*/ 1625348 w 2689189"/>
              <a:gd name="connsiteY986" fmla="*/ 561517 h 6412736"/>
              <a:gd name="connsiteX987" fmla="*/ 1595763 w 2689189"/>
              <a:gd name="connsiteY987" fmla="*/ 561517 h 6412736"/>
              <a:gd name="connsiteX988" fmla="*/ 1329802 w 2689189"/>
              <a:gd name="connsiteY988" fmla="*/ 531930 h 6412736"/>
              <a:gd name="connsiteX989" fmla="*/ 1359387 w 2689189"/>
              <a:gd name="connsiteY989" fmla="*/ 531930 h 6412736"/>
              <a:gd name="connsiteX990" fmla="*/ 1359387 w 2689189"/>
              <a:gd name="connsiteY990" fmla="*/ 561515 h 6412736"/>
              <a:gd name="connsiteX991" fmla="*/ 1329802 w 2689189"/>
              <a:gd name="connsiteY991" fmla="*/ 561515 h 6412736"/>
              <a:gd name="connsiteX992" fmla="*/ 1063842 w 2689189"/>
              <a:gd name="connsiteY992" fmla="*/ 531928 h 6412736"/>
              <a:gd name="connsiteX993" fmla="*/ 1093428 w 2689189"/>
              <a:gd name="connsiteY993" fmla="*/ 531928 h 6412736"/>
              <a:gd name="connsiteX994" fmla="*/ 1093428 w 2689189"/>
              <a:gd name="connsiteY994" fmla="*/ 561513 h 6412736"/>
              <a:gd name="connsiteX995" fmla="*/ 1063842 w 2689189"/>
              <a:gd name="connsiteY995" fmla="*/ 561513 h 6412736"/>
              <a:gd name="connsiteX996" fmla="*/ 797881 w 2689189"/>
              <a:gd name="connsiteY996" fmla="*/ 531925 h 6412736"/>
              <a:gd name="connsiteX997" fmla="*/ 827466 w 2689189"/>
              <a:gd name="connsiteY997" fmla="*/ 531925 h 6412736"/>
              <a:gd name="connsiteX998" fmla="*/ 827466 w 2689189"/>
              <a:gd name="connsiteY998" fmla="*/ 561511 h 6412736"/>
              <a:gd name="connsiteX999" fmla="*/ 797881 w 2689189"/>
              <a:gd name="connsiteY999" fmla="*/ 561511 h 6412736"/>
              <a:gd name="connsiteX1000" fmla="*/ 531921 w 2689189"/>
              <a:gd name="connsiteY1000" fmla="*/ 531923 h 6412736"/>
              <a:gd name="connsiteX1001" fmla="*/ 561507 w 2689189"/>
              <a:gd name="connsiteY1001" fmla="*/ 531923 h 6412736"/>
              <a:gd name="connsiteX1002" fmla="*/ 561507 w 2689189"/>
              <a:gd name="connsiteY1002" fmla="*/ 561508 h 6412736"/>
              <a:gd name="connsiteX1003" fmla="*/ 531921 w 2689189"/>
              <a:gd name="connsiteY1003" fmla="*/ 561508 h 6412736"/>
              <a:gd name="connsiteX1004" fmla="*/ 265961 w 2689189"/>
              <a:gd name="connsiteY1004" fmla="*/ 531921 h 6412736"/>
              <a:gd name="connsiteX1005" fmla="*/ 295546 w 2689189"/>
              <a:gd name="connsiteY1005" fmla="*/ 531921 h 6412736"/>
              <a:gd name="connsiteX1006" fmla="*/ 295546 w 2689189"/>
              <a:gd name="connsiteY1006" fmla="*/ 561506 h 6412736"/>
              <a:gd name="connsiteX1007" fmla="*/ 265961 w 2689189"/>
              <a:gd name="connsiteY1007" fmla="*/ 561506 h 6412736"/>
              <a:gd name="connsiteX1008" fmla="*/ 0 w 2689189"/>
              <a:gd name="connsiteY1008" fmla="*/ 531919 h 6412736"/>
              <a:gd name="connsiteX1009" fmla="*/ 29585 w 2689189"/>
              <a:gd name="connsiteY1009" fmla="*/ 531919 h 6412736"/>
              <a:gd name="connsiteX1010" fmla="*/ 29585 w 2689189"/>
              <a:gd name="connsiteY1010" fmla="*/ 561504 h 6412736"/>
              <a:gd name="connsiteX1011" fmla="*/ 0 w 2689189"/>
              <a:gd name="connsiteY1011" fmla="*/ 561504 h 6412736"/>
              <a:gd name="connsiteX1012" fmla="*/ 2659604 w 2689189"/>
              <a:gd name="connsiteY1012" fmla="*/ 265980 h 6412736"/>
              <a:gd name="connsiteX1013" fmla="*/ 2689189 w 2689189"/>
              <a:gd name="connsiteY1013" fmla="*/ 265980 h 6412736"/>
              <a:gd name="connsiteX1014" fmla="*/ 2689189 w 2689189"/>
              <a:gd name="connsiteY1014" fmla="*/ 295566 h 6412736"/>
              <a:gd name="connsiteX1015" fmla="*/ 2659604 w 2689189"/>
              <a:gd name="connsiteY1015" fmla="*/ 295566 h 6412736"/>
              <a:gd name="connsiteX1016" fmla="*/ 2393644 w 2689189"/>
              <a:gd name="connsiteY1016" fmla="*/ 265978 h 6412736"/>
              <a:gd name="connsiteX1017" fmla="*/ 2423230 w 2689189"/>
              <a:gd name="connsiteY1017" fmla="*/ 265978 h 6412736"/>
              <a:gd name="connsiteX1018" fmla="*/ 2423230 w 2689189"/>
              <a:gd name="connsiteY1018" fmla="*/ 295564 h 6412736"/>
              <a:gd name="connsiteX1019" fmla="*/ 2393644 w 2689189"/>
              <a:gd name="connsiteY1019" fmla="*/ 295564 h 6412736"/>
              <a:gd name="connsiteX1020" fmla="*/ 2127683 w 2689189"/>
              <a:gd name="connsiteY1020" fmla="*/ 265976 h 6412736"/>
              <a:gd name="connsiteX1021" fmla="*/ 2157268 w 2689189"/>
              <a:gd name="connsiteY1021" fmla="*/ 265976 h 6412736"/>
              <a:gd name="connsiteX1022" fmla="*/ 2157268 w 2689189"/>
              <a:gd name="connsiteY1022" fmla="*/ 295562 h 6412736"/>
              <a:gd name="connsiteX1023" fmla="*/ 2127683 w 2689189"/>
              <a:gd name="connsiteY1023" fmla="*/ 295562 h 6412736"/>
              <a:gd name="connsiteX1024" fmla="*/ 1861723 w 2689189"/>
              <a:gd name="connsiteY1024" fmla="*/ 265973 h 6412736"/>
              <a:gd name="connsiteX1025" fmla="*/ 1891309 w 2689189"/>
              <a:gd name="connsiteY1025" fmla="*/ 265973 h 6412736"/>
              <a:gd name="connsiteX1026" fmla="*/ 1891309 w 2689189"/>
              <a:gd name="connsiteY1026" fmla="*/ 295560 h 6412736"/>
              <a:gd name="connsiteX1027" fmla="*/ 1861723 w 2689189"/>
              <a:gd name="connsiteY1027" fmla="*/ 295560 h 6412736"/>
              <a:gd name="connsiteX1028" fmla="*/ 1595763 w 2689189"/>
              <a:gd name="connsiteY1028" fmla="*/ 265971 h 6412736"/>
              <a:gd name="connsiteX1029" fmla="*/ 1625348 w 2689189"/>
              <a:gd name="connsiteY1029" fmla="*/ 265971 h 6412736"/>
              <a:gd name="connsiteX1030" fmla="*/ 1625348 w 2689189"/>
              <a:gd name="connsiteY1030" fmla="*/ 295557 h 6412736"/>
              <a:gd name="connsiteX1031" fmla="*/ 1595763 w 2689189"/>
              <a:gd name="connsiteY1031" fmla="*/ 295557 h 6412736"/>
              <a:gd name="connsiteX1032" fmla="*/ 1329802 w 2689189"/>
              <a:gd name="connsiteY1032" fmla="*/ 265969 h 6412736"/>
              <a:gd name="connsiteX1033" fmla="*/ 1359387 w 2689189"/>
              <a:gd name="connsiteY1033" fmla="*/ 265969 h 6412736"/>
              <a:gd name="connsiteX1034" fmla="*/ 1359387 w 2689189"/>
              <a:gd name="connsiteY1034" fmla="*/ 295555 h 6412736"/>
              <a:gd name="connsiteX1035" fmla="*/ 1329802 w 2689189"/>
              <a:gd name="connsiteY1035" fmla="*/ 295555 h 6412736"/>
              <a:gd name="connsiteX1036" fmla="*/ 1063842 w 2689189"/>
              <a:gd name="connsiteY1036" fmla="*/ 265967 h 6412736"/>
              <a:gd name="connsiteX1037" fmla="*/ 1093428 w 2689189"/>
              <a:gd name="connsiteY1037" fmla="*/ 265967 h 6412736"/>
              <a:gd name="connsiteX1038" fmla="*/ 1093428 w 2689189"/>
              <a:gd name="connsiteY1038" fmla="*/ 295553 h 6412736"/>
              <a:gd name="connsiteX1039" fmla="*/ 1063842 w 2689189"/>
              <a:gd name="connsiteY1039" fmla="*/ 295553 h 6412736"/>
              <a:gd name="connsiteX1040" fmla="*/ 797881 w 2689189"/>
              <a:gd name="connsiteY1040" fmla="*/ 265965 h 6412736"/>
              <a:gd name="connsiteX1041" fmla="*/ 827466 w 2689189"/>
              <a:gd name="connsiteY1041" fmla="*/ 265965 h 6412736"/>
              <a:gd name="connsiteX1042" fmla="*/ 827466 w 2689189"/>
              <a:gd name="connsiteY1042" fmla="*/ 295551 h 6412736"/>
              <a:gd name="connsiteX1043" fmla="*/ 797881 w 2689189"/>
              <a:gd name="connsiteY1043" fmla="*/ 295551 h 6412736"/>
              <a:gd name="connsiteX1044" fmla="*/ 531921 w 2689189"/>
              <a:gd name="connsiteY1044" fmla="*/ 265963 h 6412736"/>
              <a:gd name="connsiteX1045" fmla="*/ 561507 w 2689189"/>
              <a:gd name="connsiteY1045" fmla="*/ 265963 h 6412736"/>
              <a:gd name="connsiteX1046" fmla="*/ 561507 w 2689189"/>
              <a:gd name="connsiteY1046" fmla="*/ 295549 h 6412736"/>
              <a:gd name="connsiteX1047" fmla="*/ 531921 w 2689189"/>
              <a:gd name="connsiteY1047" fmla="*/ 295549 h 6412736"/>
              <a:gd name="connsiteX1048" fmla="*/ 265961 w 2689189"/>
              <a:gd name="connsiteY1048" fmla="*/ 265960 h 6412736"/>
              <a:gd name="connsiteX1049" fmla="*/ 295546 w 2689189"/>
              <a:gd name="connsiteY1049" fmla="*/ 265960 h 6412736"/>
              <a:gd name="connsiteX1050" fmla="*/ 295546 w 2689189"/>
              <a:gd name="connsiteY1050" fmla="*/ 295546 h 6412736"/>
              <a:gd name="connsiteX1051" fmla="*/ 265961 w 2689189"/>
              <a:gd name="connsiteY1051" fmla="*/ 295546 h 6412736"/>
              <a:gd name="connsiteX1052" fmla="*/ 0 w 2689189"/>
              <a:gd name="connsiteY1052" fmla="*/ 265958 h 6412736"/>
              <a:gd name="connsiteX1053" fmla="*/ 29585 w 2689189"/>
              <a:gd name="connsiteY1053" fmla="*/ 265958 h 6412736"/>
              <a:gd name="connsiteX1054" fmla="*/ 29585 w 2689189"/>
              <a:gd name="connsiteY1054" fmla="*/ 295544 h 6412736"/>
              <a:gd name="connsiteX1055" fmla="*/ 0 w 2689189"/>
              <a:gd name="connsiteY1055" fmla="*/ 295544 h 6412736"/>
              <a:gd name="connsiteX1056" fmla="*/ 0 w 2689189"/>
              <a:gd name="connsiteY1056" fmla="*/ 23 h 6412736"/>
              <a:gd name="connsiteX1057" fmla="*/ 29585 w 2689189"/>
              <a:gd name="connsiteY1057" fmla="*/ 23 h 6412736"/>
              <a:gd name="connsiteX1058" fmla="*/ 29585 w 2689189"/>
              <a:gd name="connsiteY1058" fmla="*/ 29609 h 6412736"/>
              <a:gd name="connsiteX1059" fmla="*/ 0 w 2689189"/>
              <a:gd name="connsiteY1059" fmla="*/ 29609 h 6412736"/>
              <a:gd name="connsiteX1060" fmla="*/ 2659604 w 2689189"/>
              <a:gd name="connsiteY1060" fmla="*/ 21 h 6412736"/>
              <a:gd name="connsiteX1061" fmla="*/ 2689189 w 2689189"/>
              <a:gd name="connsiteY1061" fmla="*/ 21 h 6412736"/>
              <a:gd name="connsiteX1062" fmla="*/ 2689189 w 2689189"/>
              <a:gd name="connsiteY1062" fmla="*/ 29607 h 6412736"/>
              <a:gd name="connsiteX1063" fmla="*/ 2659604 w 2689189"/>
              <a:gd name="connsiteY1063" fmla="*/ 29607 h 6412736"/>
              <a:gd name="connsiteX1064" fmla="*/ 2393644 w 2689189"/>
              <a:gd name="connsiteY1064" fmla="*/ 19 h 6412736"/>
              <a:gd name="connsiteX1065" fmla="*/ 2423230 w 2689189"/>
              <a:gd name="connsiteY1065" fmla="*/ 19 h 6412736"/>
              <a:gd name="connsiteX1066" fmla="*/ 2423230 w 2689189"/>
              <a:gd name="connsiteY1066" fmla="*/ 29605 h 6412736"/>
              <a:gd name="connsiteX1067" fmla="*/ 2393644 w 2689189"/>
              <a:gd name="connsiteY1067" fmla="*/ 29605 h 6412736"/>
              <a:gd name="connsiteX1068" fmla="*/ 2127683 w 2689189"/>
              <a:gd name="connsiteY1068" fmla="*/ 16 h 6412736"/>
              <a:gd name="connsiteX1069" fmla="*/ 2157268 w 2689189"/>
              <a:gd name="connsiteY1069" fmla="*/ 16 h 6412736"/>
              <a:gd name="connsiteX1070" fmla="*/ 2157268 w 2689189"/>
              <a:gd name="connsiteY1070" fmla="*/ 29602 h 6412736"/>
              <a:gd name="connsiteX1071" fmla="*/ 2127683 w 2689189"/>
              <a:gd name="connsiteY1071" fmla="*/ 29602 h 6412736"/>
              <a:gd name="connsiteX1072" fmla="*/ 1861723 w 2689189"/>
              <a:gd name="connsiteY1072" fmla="*/ 14 h 6412736"/>
              <a:gd name="connsiteX1073" fmla="*/ 1891309 w 2689189"/>
              <a:gd name="connsiteY1073" fmla="*/ 14 h 6412736"/>
              <a:gd name="connsiteX1074" fmla="*/ 1891309 w 2689189"/>
              <a:gd name="connsiteY1074" fmla="*/ 29600 h 6412736"/>
              <a:gd name="connsiteX1075" fmla="*/ 1861723 w 2689189"/>
              <a:gd name="connsiteY1075" fmla="*/ 29600 h 6412736"/>
              <a:gd name="connsiteX1076" fmla="*/ 1595763 w 2689189"/>
              <a:gd name="connsiteY1076" fmla="*/ 12 h 6412736"/>
              <a:gd name="connsiteX1077" fmla="*/ 1625348 w 2689189"/>
              <a:gd name="connsiteY1077" fmla="*/ 12 h 6412736"/>
              <a:gd name="connsiteX1078" fmla="*/ 1625348 w 2689189"/>
              <a:gd name="connsiteY1078" fmla="*/ 29598 h 6412736"/>
              <a:gd name="connsiteX1079" fmla="*/ 1595763 w 2689189"/>
              <a:gd name="connsiteY1079" fmla="*/ 29598 h 6412736"/>
              <a:gd name="connsiteX1080" fmla="*/ 1329802 w 2689189"/>
              <a:gd name="connsiteY1080" fmla="*/ 9 h 6412736"/>
              <a:gd name="connsiteX1081" fmla="*/ 1359387 w 2689189"/>
              <a:gd name="connsiteY1081" fmla="*/ 9 h 6412736"/>
              <a:gd name="connsiteX1082" fmla="*/ 1359387 w 2689189"/>
              <a:gd name="connsiteY1082" fmla="*/ 29595 h 6412736"/>
              <a:gd name="connsiteX1083" fmla="*/ 1329802 w 2689189"/>
              <a:gd name="connsiteY1083" fmla="*/ 29595 h 6412736"/>
              <a:gd name="connsiteX1084" fmla="*/ 1063842 w 2689189"/>
              <a:gd name="connsiteY1084" fmla="*/ 7 h 6412736"/>
              <a:gd name="connsiteX1085" fmla="*/ 1093428 w 2689189"/>
              <a:gd name="connsiteY1085" fmla="*/ 7 h 6412736"/>
              <a:gd name="connsiteX1086" fmla="*/ 1093428 w 2689189"/>
              <a:gd name="connsiteY1086" fmla="*/ 29593 h 6412736"/>
              <a:gd name="connsiteX1087" fmla="*/ 1063842 w 2689189"/>
              <a:gd name="connsiteY1087" fmla="*/ 29593 h 6412736"/>
              <a:gd name="connsiteX1088" fmla="*/ 797881 w 2689189"/>
              <a:gd name="connsiteY1088" fmla="*/ 5 h 6412736"/>
              <a:gd name="connsiteX1089" fmla="*/ 827466 w 2689189"/>
              <a:gd name="connsiteY1089" fmla="*/ 5 h 6412736"/>
              <a:gd name="connsiteX1090" fmla="*/ 827466 w 2689189"/>
              <a:gd name="connsiteY1090" fmla="*/ 29591 h 6412736"/>
              <a:gd name="connsiteX1091" fmla="*/ 797881 w 2689189"/>
              <a:gd name="connsiteY1091" fmla="*/ 29591 h 6412736"/>
              <a:gd name="connsiteX1092" fmla="*/ 531921 w 2689189"/>
              <a:gd name="connsiteY1092" fmla="*/ 3 h 6412736"/>
              <a:gd name="connsiteX1093" fmla="*/ 561507 w 2689189"/>
              <a:gd name="connsiteY1093" fmla="*/ 3 h 6412736"/>
              <a:gd name="connsiteX1094" fmla="*/ 561507 w 2689189"/>
              <a:gd name="connsiteY1094" fmla="*/ 29589 h 6412736"/>
              <a:gd name="connsiteX1095" fmla="*/ 531921 w 2689189"/>
              <a:gd name="connsiteY1095" fmla="*/ 29589 h 6412736"/>
              <a:gd name="connsiteX1096" fmla="*/ 265961 w 2689189"/>
              <a:gd name="connsiteY1096" fmla="*/ 0 h 6412736"/>
              <a:gd name="connsiteX1097" fmla="*/ 295546 w 2689189"/>
              <a:gd name="connsiteY1097" fmla="*/ 0 h 6412736"/>
              <a:gd name="connsiteX1098" fmla="*/ 295546 w 2689189"/>
              <a:gd name="connsiteY1098" fmla="*/ 29586 h 6412736"/>
              <a:gd name="connsiteX1099" fmla="*/ 265961 w 2689189"/>
              <a:gd name="connsiteY1099" fmla="*/ 29586 h 6412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Lst>
            <a:rect l="l" t="t" r="r" b="b"/>
            <a:pathLst>
              <a:path w="2689189" h="6412736">
                <a:moveTo>
                  <a:pt x="2659604" y="6383150"/>
                </a:moveTo>
                <a:lnTo>
                  <a:pt x="2689189" y="6383150"/>
                </a:lnTo>
                <a:lnTo>
                  <a:pt x="2689189" y="6412736"/>
                </a:lnTo>
                <a:lnTo>
                  <a:pt x="2659604" y="6412736"/>
                </a:lnTo>
                <a:close/>
                <a:moveTo>
                  <a:pt x="2393644" y="6383150"/>
                </a:moveTo>
                <a:lnTo>
                  <a:pt x="2423230" y="6383150"/>
                </a:lnTo>
                <a:lnTo>
                  <a:pt x="2423230" y="6412736"/>
                </a:lnTo>
                <a:lnTo>
                  <a:pt x="2393644" y="6412736"/>
                </a:lnTo>
                <a:close/>
                <a:moveTo>
                  <a:pt x="2127683" y="6383150"/>
                </a:moveTo>
                <a:lnTo>
                  <a:pt x="2157268" y="6383150"/>
                </a:lnTo>
                <a:lnTo>
                  <a:pt x="2157268" y="6412736"/>
                </a:lnTo>
                <a:lnTo>
                  <a:pt x="2127683" y="6412736"/>
                </a:lnTo>
                <a:close/>
                <a:moveTo>
                  <a:pt x="1861723" y="6383150"/>
                </a:moveTo>
                <a:lnTo>
                  <a:pt x="1891309" y="6383150"/>
                </a:lnTo>
                <a:lnTo>
                  <a:pt x="1891309" y="6412736"/>
                </a:lnTo>
                <a:lnTo>
                  <a:pt x="1861723" y="6412736"/>
                </a:lnTo>
                <a:close/>
                <a:moveTo>
                  <a:pt x="1595763" y="6383150"/>
                </a:moveTo>
                <a:lnTo>
                  <a:pt x="1625348" y="6383150"/>
                </a:lnTo>
                <a:lnTo>
                  <a:pt x="1625348" y="6412736"/>
                </a:lnTo>
                <a:lnTo>
                  <a:pt x="1595763" y="6412736"/>
                </a:lnTo>
                <a:close/>
                <a:moveTo>
                  <a:pt x="1329802" y="6383150"/>
                </a:moveTo>
                <a:lnTo>
                  <a:pt x="1359387" y="6383150"/>
                </a:lnTo>
                <a:lnTo>
                  <a:pt x="1359387" y="6412736"/>
                </a:lnTo>
                <a:lnTo>
                  <a:pt x="1329802" y="6412736"/>
                </a:lnTo>
                <a:close/>
                <a:moveTo>
                  <a:pt x="1063842" y="6383150"/>
                </a:moveTo>
                <a:lnTo>
                  <a:pt x="1093428" y="6383150"/>
                </a:lnTo>
                <a:lnTo>
                  <a:pt x="1093428" y="6412736"/>
                </a:lnTo>
                <a:lnTo>
                  <a:pt x="1063842" y="6412736"/>
                </a:lnTo>
                <a:close/>
                <a:moveTo>
                  <a:pt x="797881" y="6383150"/>
                </a:moveTo>
                <a:lnTo>
                  <a:pt x="827466" y="6383150"/>
                </a:lnTo>
                <a:lnTo>
                  <a:pt x="827466" y="6412736"/>
                </a:lnTo>
                <a:lnTo>
                  <a:pt x="797881" y="6412736"/>
                </a:lnTo>
                <a:close/>
                <a:moveTo>
                  <a:pt x="531921" y="6383150"/>
                </a:moveTo>
                <a:lnTo>
                  <a:pt x="561507" y="6383150"/>
                </a:lnTo>
                <a:lnTo>
                  <a:pt x="561507" y="6412736"/>
                </a:lnTo>
                <a:lnTo>
                  <a:pt x="531921" y="6412736"/>
                </a:lnTo>
                <a:close/>
                <a:moveTo>
                  <a:pt x="265961" y="6383150"/>
                </a:moveTo>
                <a:lnTo>
                  <a:pt x="295546" y="6383150"/>
                </a:lnTo>
                <a:lnTo>
                  <a:pt x="295546" y="6412736"/>
                </a:lnTo>
                <a:lnTo>
                  <a:pt x="265961" y="6412736"/>
                </a:lnTo>
                <a:close/>
                <a:moveTo>
                  <a:pt x="0" y="6383150"/>
                </a:moveTo>
                <a:lnTo>
                  <a:pt x="29585" y="6383150"/>
                </a:lnTo>
                <a:lnTo>
                  <a:pt x="29585" y="6412736"/>
                </a:lnTo>
                <a:lnTo>
                  <a:pt x="0" y="6412736"/>
                </a:lnTo>
                <a:close/>
                <a:moveTo>
                  <a:pt x="2659604" y="6117190"/>
                </a:moveTo>
                <a:lnTo>
                  <a:pt x="2689189" y="6117190"/>
                </a:lnTo>
                <a:lnTo>
                  <a:pt x="2689189" y="6146775"/>
                </a:lnTo>
                <a:lnTo>
                  <a:pt x="2659604" y="6146775"/>
                </a:lnTo>
                <a:close/>
                <a:moveTo>
                  <a:pt x="2393644" y="6117190"/>
                </a:moveTo>
                <a:lnTo>
                  <a:pt x="2423230" y="6117190"/>
                </a:lnTo>
                <a:lnTo>
                  <a:pt x="2423230" y="6146775"/>
                </a:lnTo>
                <a:lnTo>
                  <a:pt x="2393644" y="6146775"/>
                </a:lnTo>
                <a:close/>
                <a:moveTo>
                  <a:pt x="2127683" y="6117190"/>
                </a:moveTo>
                <a:lnTo>
                  <a:pt x="2157268" y="6117190"/>
                </a:lnTo>
                <a:lnTo>
                  <a:pt x="2157268" y="6146775"/>
                </a:lnTo>
                <a:lnTo>
                  <a:pt x="2127683" y="6146775"/>
                </a:lnTo>
                <a:close/>
                <a:moveTo>
                  <a:pt x="1861723" y="6117190"/>
                </a:moveTo>
                <a:lnTo>
                  <a:pt x="1891309" y="6117190"/>
                </a:lnTo>
                <a:lnTo>
                  <a:pt x="1891309" y="6146775"/>
                </a:lnTo>
                <a:lnTo>
                  <a:pt x="1861723" y="6146775"/>
                </a:lnTo>
                <a:close/>
                <a:moveTo>
                  <a:pt x="1595763" y="6117190"/>
                </a:moveTo>
                <a:lnTo>
                  <a:pt x="1625348" y="6117190"/>
                </a:lnTo>
                <a:lnTo>
                  <a:pt x="1625348" y="6146775"/>
                </a:lnTo>
                <a:lnTo>
                  <a:pt x="1595763" y="6146775"/>
                </a:lnTo>
                <a:close/>
                <a:moveTo>
                  <a:pt x="1329802" y="6117190"/>
                </a:moveTo>
                <a:lnTo>
                  <a:pt x="1359387" y="6117190"/>
                </a:lnTo>
                <a:lnTo>
                  <a:pt x="1359387" y="6146775"/>
                </a:lnTo>
                <a:lnTo>
                  <a:pt x="1329802" y="6146775"/>
                </a:lnTo>
                <a:close/>
                <a:moveTo>
                  <a:pt x="1063842" y="6117190"/>
                </a:moveTo>
                <a:lnTo>
                  <a:pt x="1093428" y="6117190"/>
                </a:lnTo>
                <a:lnTo>
                  <a:pt x="1093428" y="6146775"/>
                </a:lnTo>
                <a:lnTo>
                  <a:pt x="1063842" y="6146775"/>
                </a:lnTo>
                <a:close/>
                <a:moveTo>
                  <a:pt x="797881" y="6117190"/>
                </a:moveTo>
                <a:lnTo>
                  <a:pt x="827466" y="6117190"/>
                </a:lnTo>
                <a:lnTo>
                  <a:pt x="827466" y="6146775"/>
                </a:lnTo>
                <a:lnTo>
                  <a:pt x="797881" y="6146775"/>
                </a:lnTo>
                <a:close/>
                <a:moveTo>
                  <a:pt x="531921" y="6117190"/>
                </a:moveTo>
                <a:lnTo>
                  <a:pt x="561507" y="6117190"/>
                </a:lnTo>
                <a:lnTo>
                  <a:pt x="561507" y="6146775"/>
                </a:lnTo>
                <a:lnTo>
                  <a:pt x="531921" y="6146775"/>
                </a:lnTo>
                <a:close/>
                <a:moveTo>
                  <a:pt x="265961" y="6117190"/>
                </a:moveTo>
                <a:lnTo>
                  <a:pt x="295546" y="6117190"/>
                </a:lnTo>
                <a:lnTo>
                  <a:pt x="295546" y="6146775"/>
                </a:lnTo>
                <a:lnTo>
                  <a:pt x="265961" y="6146775"/>
                </a:lnTo>
                <a:close/>
                <a:moveTo>
                  <a:pt x="0" y="6117190"/>
                </a:moveTo>
                <a:lnTo>
                  <a:pt x="29585" y="6117190"/>
                </a:lnTo>
                <a:lnTo>
                  <a:pt x="29585" y="6146775"/>
                </a:lnTo>
                <a:lnTo>
                  <a:pt x="0" y="6146775"/>
                </a:lnTo>
                <a:close/>
                <a:moveTo>
                  <a:pt x="2659604" y="5851229"/>
                </a:moveTo>
                <a:lnTo>
                  <a:pt x="2689189" y="5851229"/>
                </a:lnTo>
                <a:lnTo>
                  <a:pt x="2689189" y="5880814"/>
                </a:lnTo>
                <a:lnTo>
                  <a:pt x="2659604" y="5880814"/>
                </a:lnTo>
                <a:close/>
                <a:moveTo>
                  <a:pt x="2393644" y="5851229"/>
                </a:moveTo>
                <a:lnTo>
                  <a:pt x="2423230" y="5851229"/>
                </a:lnTo>
                <a:lnTo>
                  <a:pt x="2423230" y="5880814"/>
                </a:lnTo>
                <a:lnTo>
                  <a:pt x="2393644" y="5880814"/>
                </a:lnTo>
                <a:close/>
                <a:moveTo>
                  <a:pt x="2127683" y="5851229"/>
                </a:moveTo>
                <a:lnTo>
                  <a:pt x="2157268" y="5851229"/>
                </a:lnTo>
                <a:lnTo>
                  <a:pt x="2157268" y="5880814"/>
                </a:lnTo>
                <a:lnTo>
                  <a:pt x="2127683" y="5880814"/>
                </a:lnTo>
                <a:close/>
                <a:moveTo>
                  <a:pt x="1861723" y="5851229"/>
                </a:moveTo>
                <a:lnTo>
                  <a:pt x="1891309" y="5851229"/>
                </a:lnTo>
                <a:lnTo>
                  <a:pt x="1891309" y="5880814"/>
                </a:lnTo>
                <a:lnTo>
                  <a:pt x="1861723" y="5880814"/>
                </a:lnTo>
                <a:close/>
                <a:moveTo>
                  <a:pt x="1595763" y="5851229"/>
                </a:moveTo>
                <a:lnTo>
                  <a:pt x="1625348" y="5851229"/>
                </a:lnTo>
                <a:lnTo>
                  <a:pt x="1625348" y="5880814"/>
                </a:lnTo>
                <a:lnTo>
                  <a:pt x="1595763" y="5880814"/>
                </a:lnTo>
                <a:close/>
                <a:moveTo>
                  <a:pt x="1329802" y="5851229"/>
                </a:moveTo>
                <a:lnTo>
                  <a:pt x="1359387" y="5851229"/>
                </a:lnTo>
                <a:lnTo>
                  <a:pt x="1359387" y="5880814"/>
                </a:lnTo>
                <a:lnTo>
                  <a:pt x="1329802" y="5880814"/>
                </a:lnTo>
                <a:close/>
                <a:moveTo>
                  <a:pt x="1063842" y="5851229"/>
                </a:moveTo>
                <a:lnTo>
                  <a:pt x="1093428" y="5851229"/>
                </a:lnTo>
                <a:lnTo>
                  <a:pt x="1093428" y="5880814"/>
                </a:lnTo>
                <a:lnTo>
                  <a:pt x="1063842" y="5880814"/>
                </a:lnTo>
                <a:close/>
                <a:moveTo>
                  <a:pt x="797881" y="5851229"/>
                </a:moveTo>
                <a:lnTo>
                  <a:pt x="827466" y="5851229"/>
                </a:lnTo>
                <a:lnTo>
                  <a:pt x="827466" y="5880814"/>
                </a:lnTo>
                <a:lnTo>
                  <a:pt x="797881" y="5880814"/>
                </a:lnTo>
                <a:close/>
                <a:moveTo>
                  <a:pt x="531921" y="5851229"/>
                </a:moveTo>
                <a:lnTo>
                  <a:pt x="561507" y="5851229"/>
                </a:lnTo>
                <a:lnTo>
                  <a:pt x="561507" y="5880814"/>
                </a:lnTo>
                <a:lnTo>
                  <a:pt x="531921" y="5880814"/>
                </a:lnTo>
                <a:close/>
                <a:moveTo>
                  <a:pt x="265961" y="5851229"/>
                </a:moveTo>
                <a:lnTo>
                  <a:pt x="295546" y="5851229"/>
                </a:lnTo>
                <a:lnTo>
                  <a:pt x="295546" y="5880814"/>
                </a:lnTo>
                <a:lnTo>
                  <a:pt x="265961" y="5880814"/>
                </a:lnTo>
                <a:close/>
                <a:moveTo>
                  <a:pt x="0" y="5851229"/>
                </a:moveTo>
                <a:lnTo>
                  <a:pt x="29585" y="5851229"/>
                </a:lnTo>
                <a:lnTo>
                  <a:pt x="29585" y="5880814"/>
                </a:lnTo>
                <a:lnTo>
                  <a:pt x="0" y="5880814"/>
                </a:lnTo>
                <a:close/>
                <a:moveTo>
                  <a:pt x="2659604" y="5585269"/>
                </a:moveTo>
                <a:lnTo>
                  <a:pt x="2689189" y="5585269"/>
                </a:lnTo>
                <a:lnTo>
                  <a:pt x="2689189" y="5614854"/>
                </a:lnTo>
                <a:lnTo>
                  <a:pt x="2659604" y="5614854"/>
                </a:lnTo>
                <a:close/>
                <a:moveTo>
                  <a:pt x="2393644" y="5585269"/>
                </a:moveTo>
                <a:lnTo>
                  <a:pt x="2423230" y="5585269"/>
                </a:lnTo>
                <a:lnTo>
                  <a:pt x="2423230" y="5614854"/>
                </a:lnTo>
                <a:lnTo>
                  <a:pt x="2393644" y="5614854"/>
                </a:lnTo>
                <a:close/>
                <a:moveTo>
                  <a:pt x="2127683" y="5585269"/>
                </a:moveTo>
                <a:lnTo>
                  <a:pt x="2157268" y="5585269"/>
                </a:lnTo>
                <a:lnTo>
                  <a:pt x="2157268" y="5614854"/>
                </a:lnTo>
                <a:lnTo>
                  <a:pt x="2127683" y="5614854"/>
                </a:lnTo>
                <a:close/>
                <a:moveTo>
                  <a:pt x="1861723" y="5585269"/>
                </a:moveTo>
                <a:lnTo>
                  <a:pt x="1891309" y="5585269"/>
                </a:lnTo>
                <a:lnTo>
                  <a:pt x="1891309" y="5614854"/>
                </a:lnTo>
                <a:lnTo>
                  <a:pt x="1861723" y="5614854"/>
                </a:lnTo>
                <a:close/>
                <a:moveTo>
                  <a:pt x="1595763" y="5585269"/>
                </a:moveTo>
                <a:lnTo>
                  <a:pt x="1625348" y="5585269"/>
                </a:lnTo>
                <a:lnTo>
                  <a:pt x="1625348" y="5614854"/>
                </a:lnTo>
                <a:lnTo>
                  <a:pt x="1595763" y="5614854"/>
                </a:lnTo>
                <a:close/>
                <a:moveTo>
                  <a:pt x="1329802" y="5585269"/>
                </a:moveTo>
                <a:lnTo>
                  <a:pt x="1359387" y="5585269"/>
                </a:lnTo>
                <a:lnTo>
                  <a:pt x="1359387" y="5614854"/>
                </a:lnTo>
                <a:lnTo>
                  <a:pt x="1329802" y="5614854"/>
                </a:lnTo>
                <a:close/>
                <a:moveTo>
                  <a:pt x="1063842" y="5585269"/>
                </a:moveTo>
                <a:lnTo>
                  <a:pt x="1093428" y="5585269"/>
                </a:lnTo>
                <a:lnTo>
                  <a:pt x="1093428" y="5614854"/>
                </a:lnTo>
                <a:lnTo>
                  <a:pt x="1063842" y="5614854"/>
                </a:lnTo>
                <a:close/>
                <a:moveTo>
                  <a:pt x="797881" y="5585269"/>
                </a:moveTo>
                <a:lnTo>
                  <a:pt x="827466" y="5585269"/>
                </a:lnTo>
                <a:lnTo>
                  <a:pt x="827466" y="5614854"/>
                </a:lnTo>
                <a:lnTo>
                  <a:pt x="797881" y="5614854"/>
                </a:lnTo>
                <a:close/>
                <a:moveTo>
                  <a:pt x="531921" y="5585269"/>
                </a:moveTo>
                <a:lnTo>
                  <a:pt x="561507" y="5585269"/>
                </a:lnTo>
                <a:lnTo>
                  <a:pt x="561507" y="5614854"/>
                </a:lnTo>
                <a:lnTo>
                  <a:pt x="531921" y="5614854"/>
                </a:lnTo>
                <a:close/>
                <a:moveTo>
                  <a:pt x="265961" y="5585269"/>
                </a:moveTo>
                <a:lnTo>
                  <a:pt x="295546" y="5585269"/>
                </a:lnTo>
                <a:lnTo>
                  <a:pt x="295546" y="5614854"/>
                </a:lnTo>
                <a:lnTo>
                  <a:pt x="265961" y="5614854"/>
                </a:lnTo>
                <a:close/>
                <a:moveTo>
                  <a:pt x="0" y="5585269"/>
                </a:moveTo>
                <a:lnTo>
                  <a:pt x="29585" y="5585269"/>
                </a:lnTo>
                <a:lnTo>
                  <a:pt x="29585" y="5614854"/>
                </a:lnTo>
                <a:lnTo>
                  <a:pt x="0" y="5614854"/>
                </a:lnTo>
                <a:close/>
                <a:moveTo>
                  <a:pt x="2659604" y="5319309"/>
                </a:moveTo>
                <a:lnTo>
                  <a:pt x="2689189" y="5319309"/>
                </a:lnTo>
                <a:lnTo>
                  <a:pt x="2689189" y="5348895"/>
                </a:lnTo>
                <a:lnTo>
                  <a:pt x="2659604" y="5348895"/>
                </a:lnTo>
                <a:close/>
                <a:moveTo>
                  <a:pt x="2393644" y="5319309"/>
                </a:moveTo>
                <a:lnTo>
                  <a:pt x="2423230" y="5319309"/>
                </a:lnTo>
                <a:lnTo>
                  <a:pt x="2423230" y="5348895"/>
                </a:lnTo>
                <a:lnTo>
                  <a:pt x="2393644" y="5348895"/>
                </a:lnTo>
                <a:close/>
                <a:moveTo>
                  <a:pt x="2127683" y="5319309"/>
                </a:moveTo>
                <a:lnTo>
                  <a:pt x="2157268" y="5319309"/>
                </a:lnTo>
                <a:lnTo>
                  <a:pt x="2157268" y="5348895"/>
                </a:lnTo>
                <a:lnTo>
                  <a:pt x="2127683" y="5348895"/>
                </a:lnTo>
                <a:close/>
                <a:moveTo>
                  <a:pt x="1861723" y="5319309"/>
                </a:moveTo>
                <a:lnTo>
                  <a:pt x="1891309" y="5319309"/>
                </a:lnTo>
                <a:lnTo>
                  <a:pt x="1891309" y="5348895"/>
                </a:lnTo>
                <a:lnTo>
                  <a:pt x="1861723" y="5348895"/>
                </a:lnTo>
                <a:close/>
                <a:moveTo>
                  <a:pt x="1595763" y="5319309"/>
                </a:moveTo>
                <a:lnTo>
                  <a:pt x="1625348" y="5319309"/>
                </a:lnTo>
                <a:lnTo>
                  <a:pt x="1625348" y="5348895"/>
                </a:lnTo>
                <a:lnTo>
                  <a:pt x="1595763" y="5348895"/>
                </a:lnTo>
                <a:close/>
                <a:moveTo>
                  <a:pt x="1329802" y="5319309"/>
                </a:moveTo>
                <a:lnTo>
                  <a:pt x="1359387" y="5319309"/>
                </a:lnTo>
                <a:lnTo>
                  <a:pt x="1359387" y="5348895"/>
                </a:lnTo>
                <a:lnTo>
                  <a:pt x="1329802" y="5348895"/>
                </a:lnTo>
                <a:close/>
                <a:moveTo>
                  <a:pt x="1063842" y="5319309"/>
                </a:moveTo>
                <a:lnTo>
                  <a:pt x="1093428" y="5319309"/>
                </a:lnTo>
                <a:lnTo>
                  <a:pt x="1093428" y="5348895"/>
                </a:lnTo>
                <a:lnTo>
                  <a:pt x="1063842" y="5348895"/>
                </a:lnTo>
                <a:close/>
                <a:moveTo>
                  <a:pt x="797881" y="5319309"/>
                </a:moveTo>
                <a:lnTo>
                  <a:pt x="827466" y="5319309"/>
                </a:lnTo>
                <a:lnTo>
                  <a:pt x="827466" y="5348895"/>
                </a:lnTo>
                <a:lnTo>
                  <a:pt x="797881" y="5348895"/>
                </a:lnTo>
                <a:close/>
                <a:moveTo>
                  <a:pt x="531921" y="5319309"/>
                </a:moveTo>
                <a:lnTo>
                  <a:pt x="561507" y="5319309"/>
                </a:lnTo>
                <a:lnTo>
                  <a:pt x="561507" y="5348895"/>
                </a:lnTo>
                <a:lnTo>
                  <a:pt x="531921" y="5348895"/>
                </a:lnTo>
                <a:close/>
                <a:moveTo>
                  <a:pt x="265961" y="5319309"/>
                </a:moveTo>
                <a:lnTo>
                  <a:pt x="295546" y="5319309"/>
                </a:lnTo>
                <a:lnTo>
                  <a:pt x="295546" y="5348895"/>
                </a:lnTo>
                <a:lnTo>
                  <a:pt x="265961" y="5348895"/>
                </a:lnTo>
                <a:close/>
                <a:moveTo>
                  <a:pt x="0" y="5319309"/>
                </a:moveTo>
                <a:lnTo>
                  <a:pt x="29585" y="5319309"/>
                </a:lnTo>
                <a:lnTo>
                  <a:pt x="29585" y="5348895"/>
                </a:lnTo>
                <a:lnTo>
                  <a:pt x="0" y="5348895"/>
                </a:lnTo>
                <a:close/>
                <a:moveTo>
                  <a:pt x="2659604" y="5053348"/>
                </a:moveTo>
                <a:lnTo>
                  <a:pt x="2689189" y="5053348"/>
                </a:lnTo>
                <a:lnTo>
                  <a:pt x="2689189" y="5082933"/>
                </a:lnTo>
                <a:lnTo>
                  <a:pt x="2659604" y="5082933"/>
                </a:lnTo>
                <a:close/>
                <a:moveTo>
                  <a:pt x="2393644" y="5053348"/>
                </a:moveTo>
                <a:lnTo>
                  <a:pt x="2423230" y="5053348"/>
                </a:lnTo>
                <a:lnTo>
                  <a:pt x="2423230" y="5082933"/>
                </a:lnTo>
                <a:lnTo>
                  <a:pt x="2393644" y="5082933"/>
                </a:lnTo>
                <a:close/>
                <a:moveTo>
                  <a:pt x="2127683" y="5053348"/>
                </a:moveTo>
                <a:lnTo>
                  <a:pt x="2157268" y="5053348"/>
                </a:lnTo>
                <a:lnTo>
                  <a:pt x="2157268" y="5082933"/>
                </a:lnTo>
                <a:lnTo>
                  <a:pt x="2127683" y="5082933"/>
                </a:lnTo>
                <a:close/>
                <a:moveTo>
                  <a:pt x="1861723" y="5053348"/>
                </a:moveTo>
                <a:lnTo>
                  <a:pt x="1891309" y="5053348"/>
                </a:lnTo>
                <a:lnTo>
                  <a:pt x="1891309" y="5082933"/>
                </a:lnTo>
                <a:lnTo>
                  <a:pt x="1861723" y="5082933"/>
                </a:lnTo>
                <a:close/>
                <a:moveTo>
                  <a:pt x="1595763" y="5053348"/>
                </a:moveTo>
                <a:lnTo>
                  <a:pt x="1625348" y="5053348"/>
                </a:lnTo>
                <a:lnTo>
                  <a:pt x="1625348" y="5082933"/>
                </a:lnTo>
                <a:lnTo>
                  <a:pt x="1595763" y="5082933"/>
                </a:lnTo>
                <a:close/>
                <a:moveTo>
                  <a:pt x="1329802" y="5053348"/>
                </a:moveTo>
                <a:lnTo>
                  <a:pt x="1359387" y="5053348"/>
                </a:lnTo>
                <a:lnTo>
                  <a:pt x="1359387" y="5082933"/>
                </a:lnTo>
                <a:lnTo>
                  <a:pt x="1329802" y="5082933"/>
                </a:lnTo>
                <a:close/>
                <a:moveTo>
                  <a:pt x="1063842" y="5053348"/>
                </a:moveTo>
                <a:lnTo>
                  <a:pt x="1093428" y="5053348"/>
                </a:lnTo>
                <a:lnTo>
                  <a:pt x="1093428" y="5082933"/>
                </a:lnTo>
                <a:lnTo>
                  <a:pt x="1063842" y="5082933"/>
                </a:lnTo>
                <a:close/>
                <a:moveTo>
                  <a:pt x="797881" y="5053348"/>
                </a:moveTo>
                <a:lnTo>
                  <a:pt x="827466" y="5053348"/>
                </a:lnTo>
                <a:lnTo>
                  <a:pt x="827466" y="5082933"/>
                </a:lnTo>
                <a:lnTo>
                  <a:pt x="797881" y="5082933"/>
                </a:lnTo>
                <a:close/>
                <a:moveTo>
                  <a:pt x="531921" y="5053348"/>
                </a:moveTo>
                <a:lnTo>
                  <a:pt x="561507" y="5053348"/>
                </a:lnTo>
                <a:lnTo>
                  <a:pt x="561507" y="5082933"/>
                </a:lnTo>
                <a:lnTo>
                  <a:pt x="531921" y="5082933"/>
                </a:lnTo>
                <a:close/>
                <a:moveTo>
                  <a:pt x="265961" y="5053348"/>
                </a:moveTo>
                <a:lnTo>
                  <a:pt x="295546" y="5053348"/>
                </a:lnTo>
                <a:lnTo>
                  <a:pt x="295546" y="5082933"/>
                </a:lnTo>
                <a:lnTo>
                  <a:pt x="265961" y="5082933"/>
                </a:lnTo>
                <a:close/>
                <a:moveTo>
                  <a:pt x="0" y="5053348"/>
                </a:moveTo>
                <a:lnTo>
                  <a:pt x="29585" y="5053348"/>
                </a:lnTo>
                <a:lnTo>
                  <a:pt x="29585" y="5082933"/>
                </a:lnTo>
                <a:lnTo>
                  <a:pt x="0" y="5082933"/>
                </a:lnTo>
                <a:close/>
                <a:moveTo>
                  <a:pt x="2659604" y="4787388"/>
                </a:moveTo>
                <a:lnTo>
                  <a:pt x="2689189" y="4787388"/>
                </a:lnTo>
                <a:lnTo>
                  <a:pt x="2689189" y="4816974"/>
                </a:lnTo>
                <a:lnTo>
                  <a:pt x="2659604" y="4816974"/>
                </a:lnTo>
                <a:close/>
                <a:moveTo>
                  <a:pt x="2393644" y="4787388"/>
                </a:moveTo>
                <a:lnTo>
                  <a:pt x="2423230" y="4787388"/>
                </a:lnTo>
                <a:lnTo>
                  <a:pt x="2423230" y="4816974"/>
                </a:lnTo>
                <a:lnTo>
                  <a:pt x="2393644" y="4816974"/>
                </a:lnTo>
                <a:close/>
                <a:moveTo>
                  <a:pt x="2127683" y="4787388"/>
                </a:moveTo>
                <a:lnTo>
                  <a:pt x="2157268" y="4787388"/>
                </a:lnTo>
                <a:lnTo>
                  <a:pt x="2157268" y="4816974"/>
                </a:lnTo>
                <a:lnTo>
                  <a:pt x="2127683" y="4816974"/>
                </a:lnTo>
                <a:close/>
                <a:moveTo>
                  <a:pt x="1861723" y="4787388"/>
                </a:moveTo>
                <a:lnTo>
                  <a:pt x="1891309" y="4787388"/>
                </a:lnTo>
                <a:lnTo>
                  <a:pt x="1891309" y="4816974"/>
                </a:lnTo>
                <a:lnTo>
                  <a:pt x="1861723" y="4816974"/>
                </a:lnTo>
                <a:close/>
                <a:moveTo>
                  <a:pt x="1595763" y="4787388"/>
                </a:moveTo>
                <a:lnTo>
                  <a:pt x="1625348" y="4787388"/>
                </a:lnTo>
                <a:lnTo>
                  <a:pt x="1625348" y="4816974"/>
                </a:lnTo>
                <a:lnTo>
                  <a:pt x="1595763" y="4816974"/>
                </a:lnTo>
                <a:close/>
                <a:moveTo>
                  <a:pt x="1329802" y="4787388"/>
                </a:moveTo>
                <a:lnTo>
                  <a:pt x="1359387" y="4787388"/>
                </a:lnTo>
                <a:lnTo>
                  <a:pt x="1359387" y="4816974"/>
                </a:lnTo>
                <a:lnTo>
                  <a:pt x="1329802" y="4816974"/>
                </a:lnTo>
                <a:close/>
                <a:moveTo>
                  <a:pt x="1063842" y="4787388"/>
                </a:moveTo>
                <a:lnTo>
                  <a:pt x="1093428" y="4787388"/>
                </a:lnTo>
                <a:lnTo>
                  <a:pt x="1093428" y="4816974"/>
                </a:lnTo>
                <a:lnTo>
                  <a:pt x="1063842" y="4816974"/>
                </a:lnTo>
                <a:close/>
                <a:moveTo>
                  <a:pt x="797881" y="4787388"/>
                </a:moveTo>
                <a:lnTo>
                  <a:pt x="827466" y="4787388"/>
                </a:lnTo>
                <a:lnTo>
                  <a:pt x="827466" y="4816974"/>
                </a:lnTo>
                <a:lnTo>
                  <a:pt x="797881" y="4816974"/>
                </a:lnTo>
                <a:close/>
                <a:moveTo>
                  <a:pt x="531921" y="4787388"/>
                </a:moveTo>
                <a:lnTo>
                  <a:pt x="561507" y="4787388"/>
                </a:lnTo>
                <a:lnTo>
                  <a:pt x="561507" y="4816974"/>
                </a:lnTo>
                <a:lnTo>
                  <a:pt x="531921" y="4816974"/>
                </a:lnTo>
                <a:close/>
                <a:moveTo>
                  <a:pt x="265961" y="4787388"/>
                </a:moveTo>
                <a:lnTo>
                  <a:pt x="295546" y="4787388"/>
                </a:lnTo>
                <a:lnTo>
                  <a:pt x="295546" y="4816974"/>
                </a:lnTo>
                <a:lnTo>
                  <a:pt x="265961" y="4816974"/>
                </a:lnTo>
                <a:close/>
                <a:moveTo>
                  <a:pt x="0" y="4787388"/>
                </a:moveTo>
                <a:lnTo>
                  <a:pt x="29585" y="4787388"/>
                </a:lnTo>
                <a:lnTo>
                  <a:pt x="29585" y="4816974"/>
                </a:lnTo>
                <a:lnTo>
                  <a:pt x="0" y="4816974"/>
                </a:lnTo>
                <a:close/>
                <a:moveTo>
                  <a:pt x="2659604" y="4521428"/>
                </a:moveTo>
                <a:lnTo>
                  <a:pt x="2689189" y="4521428"/>
                </a:lnTo>
                <a:lnTo>
                  <a:pt x="2689189" y="4551013"/>
                </a:lnTo>
                <a:lnTo>
                  <a:pt x="2659604" y="4551013"/>
                </a:lnTo>
                <a:close/>
                <a:moveTo>
                  <a:pt x="2393644" y="4521428"/>
                </a:moveTo>
                <a:lnTo>
                  <a:pt x="2423230" y="4521428"/>
                </a:lnTo>
                <a:lnTo>
                  <a:pt x="2423230" y="4551013"/>
                </a:lnTo>
                <a:lnTo>
                  <a:pt x="2393644" y="4551013"/>
                </a:lnTo>
                <a:close/>
                <a:moveTo>
                  <a:pt x="2127683" y="4521428"/>
                </a:moveTo>
                <a:lnTo>
                  <a:pt x="2157268" y="4521428"/>
                </a:lnTo>
                <a:lnTo>
                  <a:pt x="2157268" y="4551013"/>
                </a:lnTo>
                <a:lnTo>
                  <a:pt x="2127683" y="4551013"/>
                </a:lnTo>
                <a:close/>
                <a:moveTo>
                  <a:pt x="1861723" y="4521428"/>
                </a:moveTo>
                <a:lnTo>
                  <a:pt x="1891309" y="4521428"/>
                </a:lnTo>
                <a:lnTo>
                  <a:pt x="1891309" y="4551013"/>
                </a:lnTo>
                <a:lnTo>
                  <a:pt x="1861723" y="4551013"/>
                </a:lnTo>
                <a:close/>
                <a:moveTo>
                  <a:pt x="1595763" y="4521428"/>
                </a:moveTo>
                <a:lnTo>
                  <a:pt x="1625348" y="4521428"/>
                </a:lnTo>
                <a:lnTo>
                  <a:pt x="1625348" y="4551013"/>
                </a:lnTo>
                <a:lnTo>
                  <a:pt x="1595763" y="4551013"/>
                </a:lnTo>
                <a:close/>
                <a:moveTo>
                  <a:pt x="1329802" y="4521428"/>
                </a:moveTo>
                <a:lnTo>
                  <a:pt x="1359387" y="4521428"/>
                </a:lnTo>
                <a:lnTo>
                  <a:pt x="1359387" y="4551013"/>
                </a:lnTo>
                <a:lnTo>
                  <a:pt x="1329802" y="4551013"/>
                </a:lnTo>
                <a:close/>
                <a:moveTo>
                  <a:pt x="1063842" y="4521428"/>
                </a:moveTo>
                <a:lnTo>
                  <a:pt x="1093428" y="4521428"/>
                </a:lnTo>
                <a:lnTo>
                  <a:pt x="1093428" y="4551013"/>
                </a:lnTo>
                <a:lnTo>
                  <a:pt x="1063842" y="4551013"/>
                </a:lnTo>
                <a:close/>
                <a:moveTo>
                  <a:pt x="797881" y="4521428"/>
                </a:moveTo>
                <a:lnTo>
                  <a:pt x="827466" y="4521428"/>
                </a:lnTo>
                <a:lnTo>
                  <a:pt x="827466" y="4551013"/>
                </a:lnTo>
                <a:lnTo>
                  <a:pt x="797881" y="4551013"/>
                </a:lnTo>
                <a:close/>
                <a:moveTo>
                  <a:pt x="531921" y="4521428"/>
                </a:moveTo>
                <a:lnTo>
                  <a:pt x="561507" y="4521428"/>
                </a:lnTo>
                <a:lnTo>
                  <a:pt x="561507" y="4551013"/>
                </a:lnTo>
                <a:lnTo>
                  <a:pt x="531921" y="4551013"/>
                </a:lnTo>
                <a:close/>
                <a:moveTo>
                  <a:pt x="265961" y="4521428"/>
                </a:moveTo>
                <a:lnTo>
                  <a:pt x="295546" y="4521428"/>
                </a:lnTo>
                <a:lnTo>
                  <a:pt x="295546" y="4551013"/>
                </a:lnTo>
                <a:lnTo>
                  <a:pt x="265961" y="4551013"/>
                </a:lnTo>
                <a:close/>
                <a:moveTo>
                  <a:pt x="0" y="4521428"/>
                </a:moveTo>
                <a:lnTo>
                  <a:pt x="29585" y="4521428"/>
                </a:lnTo>
                <a:lnTo>
                  <a:pt x="29585" y="4551013"/>
                </a:lnTo>
                <a:lnTo>
                  <a:pt x="0" y="4551013"/>
                </a:lnTo>
                <a:close/>
                <a:moveTo>
                  <a:pt x="2659604" y="4255467"/>
                </a:moveTo>
                <a:lnTo>
                  <a:pt x="2689189" y="4255467"/>
                </a:lnTo>
                <a:lnTo>
                  <a:pt x="2689189" y="4285052"/>
                </a:lnTo>
                <a:lnTo>
                  <a:pt x="2659604" y="4285052"/>
                </a:lnTo>
                <a:close/>
                <a:moveTo>
                  <a:pt x="2393644" y="4255467"/>
                </a:moveTo>
                <a:lnTo>
                  <a:pt x="2423230" y="4255467"/>
                </a:lnTo>
                <a:lnTo>
                  <a:pt x="2423230" y="4285052"/>
                </a:lnTo>
                <a:lnTo>
                  <a:pt x="2393644" y="4285052"/>
                </a:lnTo>
                <a:close/>
                <a:moveTo>
                  <a:pt x="2127683" y="4255467"/>
                </a:moveTo>
                <a:lnTo>
                  <a:pt x="2157268" y="4255467"/>
                </a:lnTo>
                <a:lnTo>
                  <a:pt x="2157268" y="4285052"/>
                </a:lnTo>
                <a:lnTo>
                  <a:pt x="2127683" y="4285052"/>
                </a:lnTo>
                <a:close/>
                <a:moveTo>
                  <a:pt x="1861723" y="4255467"/>
                </a:moveTo>
                <a:lnTo>
                  <a:pt x="1891309" y="4255467"/>
                </a:lnTo>
                <a:lnTo>
                  <a:pt x="1891309" y="4285052"/>
                </a:lnTo>
                <a:lnTo>
                  <a:pt x="1861723" y="4285052"/>
                </a:lnTo>
                <a:close/>
                <a:moveTo>
                  <a:pt x="1595763" y="4255467"/>
                </a:moveTo>
                <a:lnTo>
                  <a:pt x="1625348" y="4255467"/>
                </a:lnTo>
                <a:lnTo>
                  <a:pt x="1625348" y="4285052"/>
                </a:lnTo>
                <a:lnTo>
                  <a:pt x="1595763" y="4285052"/>
                </a:lnTo>
                <a:close/>
                <a:moveTo>
                  <a:pt x="1329802" y="4255467"/>
                </a:moveTo>
                <a:lnTo>
                  <a:pt x="1359387" y="4255467"/>
                </a:lnTo>
                <a:lnTo>
                  <a:pt x="1359387" y="4285052"/>
                </a:lnTo>
                <a:lnTo>
                  <a:pt x="1329802" y="4285052"/>
                </a:lnTo>
                <a:close/>
                <a:moveTo>
                  <a:pt x="1063842" y="4255467"/>
                </a:moveTo>
                <a:lnTo>
                  <a:pt x="1093428" y="4255467"/>
                </a:lnTo>
                <a:lnTo>
                  <a:pt x="1093428" y="4285052"/>
                </a:lnTo>
                <a:lnTo>
                  <a:pt x="1063842" y="4285052"/>
                </a:lnTo>
                <a:close/>
                <a:moveTo>
                  <a:pt x="797881" y="4255467"/>
                </a:moveTo>
                <a:lnTo>
                  <a:pt x="827466" y="4255467"/>
                </a:lnTo>
                <a:lnTo>
                  <a:pt x="827466" y="4285052"/>
                </a:lnTo>
                <a:lnTo>
                  <a:pt x="797881" y="4285052"/>
                </a:lnTo>
                <a:close/>
                <a:moveTo>
                  <a:pt x="531921" y="4255467"/>
                </a:moveTo>
                <a:lnTo>
                  <a:pt x="561507" y="4255467"/>
                </a:lnTo>
                <a:lnTo>
                  <a:pt x="561507" y="4285052"/>
                </a:lnTo>
                <a:lnTo>
                  <a:pt x="531921" y="4285052"/>
                </a:lnTo>
                <a:close/>
                <a:moveTo>
                  <a:pt x="265961" y="4255467"/>
                </a:moveTo>
                <a:lnTo>
                  <a:pt x="295546" y="4255467"/>
                </a:lnTo>
                <a:lnTo>
                  <a:pt x="295546" y="4285052"/>
                </a:lnTo>
                <a:lnTo>
                  <a:pt x="265961" y="4285052"/>
                </a:lnTo>
                <a:close/>
                <a:moveTo>
                  <a:pt x="0" y="4255467"/>
                </a:moveTo>
                <a:lnTo>
                  <a:pt x="29585" y="4255467"/>
                </a:lnTo>
                <a:lnTo>
                  <a:pt x="29585" y="4285052"/>
                </a:lnTo>
                <a:lnTo>
                  <a:pt x="0" y="4285052"/>
                </a:lnTo>
                <a:close/>
                <a:moveTo>
                  <a:pt x="2659604" y="3989507"/>
                </a:moveTo>
                <a:lnTo>
                  <a:pt x="2689189" y="3989507"/>
                </a:lnTo>
                <a:lnTo>
                  <a:pt x="2689189" y="4019093"/>
                </a:lnTo>
                <a:lnTo>
                  <a:pt x="2659604" y="4019093"/>
                </a:lnTo>
                <a:close/>
                <a:moveTo>
                  <a:pt x="2393644" y="3989507"/>
                </a:moveTo>
                <a:lnTo>
                  <a:pt x="2423230" y="3989507"/>
                </a:lnTo>
                <a:lnTo>
                  <a:pt x="2423230" y="4019093"/>
                </a:lnTo>
                <a:lnTo>
                  <a:pt x="2393644" y="4019093"/>
                </a:lnTo>
                <a:close/>
                <a:moveTo>
                  <a:pt x="2127683" y="3989507"/>
                </a:moveTo>
                <a:lnTo>
                  <a:pt x="2157268" y="3989507"/>
                </a:lnTo>
                <a:lnTo>
                  <a:pt x="2157268" y="4019093"/>
                </a:lnTo>
                <a:lnTo>
                  <a:pt x="2127683" y="4019093"/>
                </a:lnTo>
                <a:close/>
                <a:moveTo>
                  <a:pt x="1861723" y="3989507"/>
                </a:moveTo>
                <a:lnTo>
                  <a:pt x="1891309" y="3989507"/>
                </a:lnTo>
                <a:lnTo>
                  <a:pt x="1891309" y="4019093"/>
                </a:lnTo>
                <a:lnTo>
                  <a:pt x="1861723" y="4019093"/>
                </a:lnTo>
                <a:close/>
                <a:moveTo>
                  <a:pt x="1595763" y="3989507"/>
                </a:moveTo>
                <a:lnTo>
                  <a:pt x="1625348" y="3989507"/>
                </a:lnTo>
                <a:lnTo>
                  <a:pt x="1625348" y="4019093"/>
                </a:lnTo>
                <a:lnTo>
                  <a:pt x="1595763" y="4019093"/>
                </a:lnTo>
                <a:close/>
                <a:moveTo>
                  <a:pt x="1329802" y="3989507"/>
                </a:moveTo>
                <a:lnTo>
                  <a:pt x="1359387" y="3989507"/>
                </a:lnTo>
                <a:lnTo>
                  <a:pt x="1359387" y="4019093"/>
                </a:lnTo>
                <a:lnTo>
                  <a:pt x="1329802" y="4019093"/>
                </a:lnTo>
                <a:close/>
                <a:moveTo>
                  <a:pt x="1063842" y="3989507"/>
                </a:moveTo>
                <a:lnTo>
                  <a:pt x="1093428" y="3989507"/>
                </a:lnTo>
                <a:lnTo>
                  <a:pt x="1093428" y="4019093"/>
                </a:lnTo>
                <a:lnTo>
                  <a:pt x="1063842" y="4019093"/>
                </a:lnTo>
                <a:close/>
                <a:moveTo>
                  <a:pt x="797881" y="3989507"/>
                </a:moveTo>
                <a:lnTo>
                  <a:pt x="827466" y="3989507"/>
                </a:lnTo>
                <a:lnTo>
                  <a:pt x="827466" y="4019093"/>
                </a:lnTo>
                <a:lnTo>
                  <a:pt x="797881" y="4019093"/>
                </a:lnTo>
                <a:close/>
                <a:moveTo>
                  <a:pt x="531921" y="3989507"/>
                </a:moveTo>
                <a:lnTo>
                  <a:pt x="561507" y="3989507"/>
                </a:lnTo>
                <a:lnTo>
                  <a:pt x="561507" y="4019093"/>
                </a:lnTo>
                <a:lnTo>
                  <a:pt x="531921" y="4019093"/>
                </a:lnTo>
                <a:close/>
                <a:moveTo>
                  <a:pt x="265961" y="3989507"/>
                </a:moveTo>
                <a:lnTo>
                  <a:pt x="295546" y="3989507"/>
                </a:lnTo>
                <a:lnTo>
                  <a:pt x="295546" y="4019093"/>
                </a:lnTo>
                <a:lnTo>
                  <a:pt x="265961" y="4019093"/>
                </a:lnTo>
                <a:close/>
                <a:moveTo>
                  <a:pt x="0" y="3989507"/>
                </a:moveTo>
                <a:lnTo>
                  <a:pt x="29585" y="3989507"/>
                </a:lnTo>
                <a:lnTo>
                  <a:pt x="29585" y="4019093"/>
                </a:lnTo>
                <a:lnTo>
                  <a:pt x="0" y="4019093"/>
                </a:lnTo>
                <a:close/>
                <a:moveTo>
                  <a:pt x="2659604" y="3723546"/>
                </a:moveTo>
                <a:lnTo>
                  <a:pt x="2689189" y="3723546"/>
                </a:lnTo>
                <a:lnTo>
                  <a:pt x="2689189" y="3753131"/>
                </a:lnTo>
                <a:lnTo>
                  <a:pt x="2659604" y="3753131"/>
                </a:lnTo>
                <a:close/>
                <a:moveTo>
                  <a:pt x="2393644" y="3723546"/>
                </a:moveTo>
                <a:lnTo>
                  <a:pt x="2423230" y="3723546"/>
                </a:lnTo>
                <a:lnTo>
                  <a:pt x="2423230" y="3753131"/>
                </a:lnTo>
                <a:lnTo>
                  <a:pt x="2393644" y="3753131"/>
                </a:lnTo>
                <a:close/>
                <a:moveTo>
                  <a:pt x="2127683" y="3723546"/>
                </a:moveTo>
                <a:lnTo>
                  <a:pt x="2157268" y="3723546"/>
                </a:lnTo>
                <a:lnTo>
                  <a:pt x="2157268" y="3753131"/>
                </a:lnTo>
                <a:lnTo>
                  <a:pt x="2127683" y="3753131"/>
                </a:lnTo>
                <a:close/>
                <a:moveTo>
                  <a:pt x="1861723" y="3723546"/>
                </a:moveTo>
                <a:lnTo>
                  <a:pt x="1891309" y="3723546"/>
                </a:lnTo>
                <a:lnTo>
                  <a:pt x="1891309" y="3753131"/>
                </a:lnTo>
                <a:lnTo>
                  <a:pt x="1861723" y="3753131"/>
                </a:lnTo>
                <a:close/>
                <a:moveTo>
                  <a:pt x="1595763" y="3723546"/>
                </a:moveTo>
                <a:lnTo>
                  <a:pt x="1625348" y="3723546"/>
                </a:lnTo>
                <a:lnTo>
                  <a:pt x="1625348" y="3753131"/>
                </a:lnTo>
                <a:lnTo>
                  <a:pt x="1595763" y="3753131"/>
                </a:lnTo>
                <a:close/>
                <a:moveTo>
                  <a:pt x="1329802" y="3723546"/>
                </a:moveTo>
                <a:lnTo>
                  <a:pt x="1359387" y="3723546"/>
                </a:lnTo>
                <a:lnTo>
                  <a:pt x="1359387" y="3753131"/>
                </a:lnTo>
                <a:lnTo>
                  <a:pt x="1329802" y="3753131"/>
                </a:lnTo>
                <a:close/>
                <a:moveTo>
                  <a:pt x="1063842" y="3723546"/>
                </a:moveTo>
                <a:lnTo>
                  <a:pt x="1093428" y="3723546"/>
                </a:lnTo>
                <a:lnTo>
                  <a:pt x="1093428" y="3753131"/>
                </a:lnTo>
                <a:lnTo>
                  <a:pt x="1063842" y="3753131"/>
                </a:lnTo>
                <a:close/>
                <a:moveTo>
                  <a:pt x="797881" y="3723546"/>
                </a:moveTo>
                <a:lnTo>
                  <a:pt x="827466" y="3723546"/>
                </a:lnTo>
                <a:lnTo>
                  <a:pt x="827466" y="3753131"/>
                </a:lnTo>
                <a:lnTo>
                  <a:pt x="797881" y="3753131"/>
                </a:lnTo>
                <a:close/>
                <a:moveTo>
                  <a:pt x="531921" y="3723546"/>
                </a:moveTo>
                <a:lnTo>
                  <a:pt x="561507" y="3723546"/>
                </a:lnTo>
                <a:lnTo>
                  <a:pt x="561507" y="3753131"/>
                </a:lnTo>
                <a:lnTo>
                  <a:pt x="531921" y="3753131"/>
                </a:lnTo>
                <a:close/>
                <a:moveTo>
                  <a:pt x="265961" y="3723546"/>
                </a:moveTo>
                <a:lnTo>
                  <a:pt x="295546" y="3723546"/>
                </a:lnTo>
                <a:lnTo>
                  <a:pt x="295546" y="3753131"/>
                </a:lnTo>
                <a:lnTo>
                  <a:pt x="265961" y="3753131"/>
                </a:lnTo>
                <a:close/>
                <a:moveTo>
                  <a:pt x="0" y="3723546"/>
                </a:moveTo>
                <a:lnTo>
                  <a:pt x="29585" y="3723546"/>
                </a:lnTo>
                <a:lnTo>
                  <a:pt x="29585" y="3753131"/>
                </a:lnTo>
                <a:lnTo>
                  <a:pt x="0" y="3753131"/>
                </a:lnTo>
                <a:close/>
                <a:moveTo>
                  <a:pt x="2659604" y="3457586"/>
                </a:moveTo>
                <a:lnTo>
                  <a:pt x="2689189" y="3457586"/>
                </a:lnTo>
                <a:lnTo>
                  <a:pt x="2689189" y="3487172"/>
                </a:lnTo>
                <a:lnTo>
                  <a:pt x="2659604" y="3487172"/>
                </a:lnTo>
                <a:close/>
                <a:moveTo>
                  <a:pt x="2393644" y="3457586"/>
                </a:moveTo>
                <a:lnTo>
                  <a:pt x="2423230" y="3457586"/>
                </a:lnTo>
                <a:lnTo>
                  <a:pt x="2423230" y="3487172"/>
                </a:lnTo>
                <a:lnTo>
                  <a:pt x="2393644" y="3487172"/>
                </a:lnTo>
                <a:close/>
                <a:moveTo>
                  <a:pt x="2127683" y="3457586"/>
                </a:moveTo>
                <a:lnTo>
                  <a:pt x="2157268" y="3457586"/>
                </a:lnTo>
                <a:lnTo>
                  <a:pt x="2157268" y="3487172"/>
                </a:lnTo>
                <a:lnTo>
                  <a:pt x="2127683" y="3487172"/>
                </a:lnTo>
                <a:close/>
                <a:moveTo>
                  <a:pt x="1861723" y="3457586"/>
                </a:moveTo>
                <a:lnTo>
                  <a:pt x="1891309" y="3457586"/>
                </a:lnTo>
                <a:lnTo>
                  <a:pt x="1891309" y="3487172"/>
                </a:lnTo>
                <a:lnTo>
                  <a:pt x="1861723" y="3487172"/>
                </a:lnTo>
                <a:close/>
                <a:moveTo>
                  <a:pt x="1595763" y="3457586"/>
                </a:moveTo>
                <a:lnTo>
                  <a:pt x="1625348" y="3457586"/>
                </a:lnTo>
                <a:lnTo>
                  <a:pt x="1625348" y="3487172"/>
                </a:lnTo>
                <a:lnTo>
                  <a:pt x="1595763" y="3487172"/>
                </a:lnTo>
                <a:close/>
                <a:moveTo>
                  <a:pt x="1329802" y="3457586"/>
                </a:moveTo>
                <a:lnTo>
                  <a:pt x="1359387" y="3457586"/>
                </a:lnTo>
                <a:lnTo>
                  <a:pt x="1359387" y="3487172"/>
                </a:lnTo>
                <a:lnTo>
                  <a:pt x="1329802" y="3487172"/>
                </a:lnTo>
                <a:close/>
                <a:moveTo>
                  <a:pt x="1063842" y="3457586"/>
                </a:moveTo>
                <a:lnTo>
                  <a:pt x="1093428" y="3457586"/>
                </a:lnTo>
                <a:lnTo>
                  <a:pt x="1093428" y="3487172"/>
                </a:lnTo>
                <a:lnTo>
                  <a:pt x="1063842" y="3487172"/>
                </a:lnTo>
                <a:close/>
                <a:moveTo>
                  <a:pt x="797881" y="3457586"/>
                </a:moveTo>
                <a:lnTo>
                  <a:pt x="827466" y="3457586"/>
                </a:lnTo>
                <a:lnTo>
                  <a:pt x="827466" y="3487172"/>
                </a:lnTo>
                <a:lnTo>
                  <a:pt x="797881" y="3487172"/>
                </a:lnTo>
                <a:close/>
                <a:moveTo>
                  <a:pt x="531921" y="3457586"/>
                </a:moveTo>
                <a:lnTo>
                  <a:pt x="561507" y="3457586"/>
                </a:lnTo>
                <a:lnTo>
                  <a:pt x="561507" y="3487172"/>
                </a:lnTo>
                <a:lnTo>
                  <a:pt x="531921" y="3487172"/>
                </a:lnTo>
                <a:close/>
                <a:moveTo>
                  <a:pt x="265961" y="3457586"/>
                </a:moveTo>
                <a:lnTo>
                  <a:pt x="295546" y="3457586"/>
                </a:lnTo>
                <a:lnTo>
                  <a:pt x="295546" y="3487172"/>
                </a:lnTo>
                <a:lnTo>
                  <a:pt x="265961" y="3487172"/>
                </a:lnTo>
                <a:close/>
                <a:moveTo>
                  <a:pt x="0" y="3457586"/>
                </a:moveTo>
                <a:lnTo>
                  <a:pt x="29585" y="3457586"/>
                </a:lnTo>
                <a:lnTo>
                  <a:pt x="29585" y="3487172"/>
                </a:lnTo>
                <a:lnTo>
                  <a:pt x="0" y="3487172"/>
                </a:lnTo>
                <a:close/>
                <a:moveTo>
                  <a:pt x="2659604" y="3191634"/>
                </a:moveTo>
                <a:lnTo>
                  <a:pt x="2689189" y="3191634"/>
                </a:lnTo>
                <a:lnTo>
                  <a:pt x="2689189" y="3221211"/>
                </a:lnTo>
                <a:lnTo>
                  <a:pt x="2659604" y="3221211"/>
                </a:lnTo>
                <a:close/>
                <a:moveTo>
                  <a:pt x="2393644" y="3191634"/>
                </a:moveTo>
                <a:lnTo>
                  <a:pt x="2423230" y="3191634"/>
                </a:lnTo>
                <a:lnTo>
                  <a:pt x="2423230" y="3221211"/>
                </a:lnTo>
                <a:lnTo>
                  <a:pt x="2393644" y="3221211"/>
                </a:lnTo>
                <a:close/>
                <a:moveTo>
                  <a:pt x="2127683" y="3191633"/>
                </a:moveTo>
                <a:lnTo>
                  <a:pt x="2157268" y="3191633"/>
                </a:lnTo>
                <a:lnTo>
                  <a:pt x="2157268" y="3221211"/>
                </a:lnTo>
                <a:lnTo>
                  <a:pt x="2127683" y="3221211"/>
                </a:lnTo>
                <a:close/>
                <a:moveTo>
                  <a:pt x="1861723" y="3191632"/>
                </a:moveTo>
                <a:lnTo>
                  <a:pt x="1891309" y="3191632"/>
                </a:lnTo>
                <a:lnTo>
                  <a:pt x="1891309" y="3221211"/>
                </a:lnTo>
                <a:lnTo>
                  <a:pt x="1861723" y="3221211"/>
                </a:lnTo>
                <a:close/>
                <a:moveTo>
                  <a:pt x="1595763" y="3191631"/>
                </a:moveTo>
                <a:lnTo>
                  <a:pt x="1625348" y="3191631"/>
                </a:lnTo>
                <a:lnTo>
                  <a:pt x="1625348" y="3221211"/>
                </a:lnTo>
                <a:lnTo>
                  <a:pt x="1595763" y="3221211"/>
                </a:lnTo>
                <a:close/>
                <a:moveTo>
                  <a:pt x="1329802" y="3191630"/>
                </a:moveTo>
                <a:lnTo>
                  <a:pt x="1359387" y="3191630"/>
                </a:lnTo>
                <a:lnTo>
                  <a:pt x="1359387" y="3221211"/>
                </a:lnTo>
                <a:lnTo>
                  <a:pt x="1329802" y="3221211"/>
                </a:lnTo>
                <a:close/>
                <a:moveTo>
                  <a:pt x="1063842" y="3191629"/>
                </a:moveTo>
                <a:lnTo>
                  <a:pt x="1093428" y="3191629"/>
                </a:lnTo>
                <a:lnTo>
                  <a:pt x="1093428" y="3221211"/>
                </a:lnTo>
                <a:lnTo>
                  <a:pt x="1063842" y="3221211"/>
                </a:lnTo>
                <a:close/>
                <a:moveTo>
                  <a:pt x="797881" y="3191628"/>
                </a:moveTo>
                <a:lnTo>
                  <a:pt x="827466" y="3191628"/>
                </a:lnTo>
                <a:lnTo>
                  <a:pt x="827466" y="3221211"/>
                </a:lnTo>
                <a:lnTo>
                  <a:pt x="797881" y="3221211"/>
                </a:lnTo>
                <a:close/>
                <a:moveTo>
                  <a:pt x="531921" y="3191628"/>
                </a:moveTo>
                <a:lnTo>
                  <a:pt x="561507" y="3191628"/>
                </a:lnTo>
                <a:lnTo>
                  <a:pt x="561507" y="3221211"/>
                </a:lnTo>
                <a:lnTo>
                  <a:pt x="531921" y="3221211"/>
                </a:lnTo>
                <a:close/>
                <a:moveTo>
                  <a:pt x="265961" y="3191627"/>
                </a:moveTo>
                <a:lnTo>
                  <a:pt x="295546" y="3191627"/>
                </a:lnTo>
                <a:lnTo>
                  <a:pt x="295546" y="3221211"/>
                </a:lnTo>
                <a:lnTo>
                  <a:pt x="265961" y="3221211"/>
                </a:lnTo>
                <a:close/>
                <a:moveTo>
                  <a:pt x="0" y="3191626"/>
                </a:moveTo>
                <a:lnTo>
                  <a:pt x="29585" y="3191626"/>
                </a:lnTo>
                <a:lnTo>
                  <a:pt x="29585" y="3221211"/>
                </a:lnTo>
                <a:lnTo>
                  <a:pt x="0" y="3221211"/>
                </a:lnTo>
                <a:close/>
                <a:moveTo>
                  <a:pt x="2659604" y="2925676"/>
                </a:moveTo>
                <a:lnTo>
                  <a:pt x="2689189" y="2925676"/>
                </a:lnTo>
                <a:lnTo>
                  <a:pt x="2689189" y="2955262"/>
                </a:lnTo>
                <a:lnTo>
                  <a:pt x="2659604" y="2955262"/>
                </a:lnTo>
                <a:close/>
                <a:moveTo>
                  <a:pt x="2393644" y="2925675"/>
                </a:moveTo>
                <a:lnTo>
                  <a:pt x="2423230" y="2925675"/>
                </a:lnTo>
                <a:lnTo>
                  <a:pt x="2423230" y="2955261"/>
                </a:lnTo>
                <a:lnTo>
                  <a:pt x="2393644" y="2955261"/>
                </a:lnTo>
                <a:close/>
                <a:moveTo>
                  <a:pt x="2127683" y="2925674"/>
                </a:moveTo>
                <a:lnTo>
                  <a:pt x="2157268" y="2925674"/>
                </a:lnTo>
                <a:lnTo>
                  <a:pt x="2157268" y="2955260"/>
                </a:lnTo>
                <a:lnTo>
                  <a:pt x="2127683" y="2955260"/>
                </a:lnTo>
                <a:close/>
                <a:moveTo>
                  <a:pt x="1861723" y="2925673"/>
                </a:moveTo>
                <a:lnTo>
                  <a:pt x="1891309" y="2925673"/>
                </a:lnTo>
                <a:lnTo>
                  <a:pt x="1891309" y="2955259"/>
                </a:lnTo>
                <a:lnTo>
                  <a:pt x="1861723" y="2955259"/>
                </a:lnTo>
                <a:close/>
                <a:moveTo>
                  <a:pt x="1595763" y="2925672"/>
                </a:moveTo>
                <a:lnTo>
                  <a:pt x="1625348" y="2925672"/>
                </a:lnTo>
                <a:lnTo>
                  <a:pt x="1625348" y="2955258"/>
                </a:lnTo>
                <a:lnTo>
                  <a:pt x="1595763" y="2955258"/>
                </a:lnTo>
                <a:close/>
                <a:moveTo>
                  <a:pt x="1329802" y="2925671"/>
                </a:moveTo>
                <a:lnTo>
                  <a:pt x="1359387" y="2925671"/>
                </a:lnTo>
                <a:lnTo>
                  <a:pt x="1359387" y="2955256"/>
                </a:lnTo>
                <a:lnTo>
                  <a:pt x="1329802" y="2955256"/>
                </a:lnTo>
                <a:close/>
                <a:moveTo>
                  <a:pt x="1063842" y="2925670"/>
                </a:moveTo>
                <a:lnTo>
                  <a:pt x="1093428" y="2925670"/>
                </a:lnTo>
                <a:lnTo>
                  <a:pt x="1093428" y="2955255"/>
                </a:lnTo>
                <a:lnTo>
                  <a:pt x="1063842" y="2955255"/>
                </a:lnTo>
                <a:close/>
                <a:moveTo>
                  <a:pt x="797881" y="2925668"/>
                </a:moveTo>
                <a:lnTo>
                  <a:pt x="827466" y="2925668"/>
                </a:lnTo>
                <a:lnTo>
                  <a:pt x="827466" y="2955254"/>
                </a:lnTo>
                <a:lnTo>
                  <a:pt x="797881" y="2955254"/>
                </a:lnTo>
                <a:close/>
                <a:moveTo>
                  <a:pt x="531921" y="2925667"/>
                </a:moveTo>
                <a:lnTo>
                  <a:pt x="561507" y="2925667"/>
                </a:lnTo>
                <a:lnTo>
                  <a:pt x="561507" y="2955253"/>
                </a:lnTo>
                <a:lnTo>
                  <a:pt x="531921" y="2955253"/>
                </a:lnTo>
                <a:close/>
                <a:moveTo>
                  <a:pt x="265961" y="2925666"/>
                </a:moveTo>
                <a:lnTo>
                  <a:pt x="295546" y="2925666"/>
                </a:lnTo>
                <a:lnTo>
                  <a:pt x="295546" y="2955252"/>
                </a:lnTo>
                <a:lnTo>
                  <a:pt x="265961" y="2955252"/>
                </a:lnTo>
                <a:close/>
                <a:moveTo>
                  <a:pt x="0" y="2925665"/>
                </a:moveTo>
                <a:lnTo>
                  <a:pt x="29585" y="2925665"/>
                </a:lnTo>
                <a:lnTo>
                  <a:pt x="29585" y="2955251"/>
                </a:lnTo>
                <a:lnTo>
                  <a:pt x="0" y="2955251"/>
                </a:lnTo>
                <a:close/>
                <a:moveTo>
                  <a:pt x="2659604" y="2659636"/>
                </a:moveTo>
                <a:lnTo>
                  <a:pt x="2689189" y="2659636"/>
                </a:lnTo>
                <a:lnTo>
                  <a:pt x="2689189" y="2689220"/>
                </a:lnTo>
                <a:lnTo>
                  <a:pt x="2659604" y="2689220"/>
                </a:lnTo>
                <a:close/>
                <a:moveTo>
                  <a:pt x="2393644" y="2659632"/>
                </a:moveTo>
                <a:lnTo>
                  <a:pt x="2423230" y="2659632"/>
                </a:lnTo>
                <a:lnTo>
                  <a:pt x="2423230" y="2689217"/>
                </a:lnTo>
                <a:lnTo>
                  <a:pt x="2393644" y="2689217"/>
                </a:lnTo>
                <a:close/>
                <a:moveTo>
                  <a:pt x="2127683" y="2659629"/>
                </a:moveTo>
                <a:lnTo>
                  <a:pt x="2157268" y="2659629"/>
                </a:lnTo>
                <a:lnTo>
                  <a:pt x="2157268" y="2689214"/>
                </a:lnTo>
                <a:lnTo>
                  <a:pt x="2127683" y="2689214"/>
                </a:lnTo>
                <a:close/>
                <a:moveTo>
                  <a:pt x="1861723" y="2659626"/>
                </a:moveTo>
                <a:lnTo>
                  <a:pt x="1891309" y="2659626"/>
                </a:lnTo>
                <a:lnTo>
                  <a:pt x="1891309" y="2689211"/>
                </a:lnTo>
                <a:lnTo>
                  <a:pt x="1861723" y="2689211"/>
                </a:lnTo>
                <a:close/>
                <a:moveTo>
                  <a:pt x="1595763" y="2659623"/>
                </a:moveTo>
                <a:lnTo>
                  <a:pt x="1625348" y="2659623"/>
                </a:lnTo>
                <a:lnTo>
                  <a:pt x="1625348" y="2689207"/>
                </a:lnTo>
                <a:lnTo>
                  <a:pt x="1595763" y="2689207"/>
                </a:lnTo>
                <a:close/>
                <a:moveTo>
                  <a:pt x="1329802" y="2659620"/>
                </a:moveTo>
                <a:lnTo>
                  <a:pt x="1359387" y="2659620"/>
                </a:lnTo>
                <a:lnTo>
                  <a:pt x="1359387" y="2689204"/>
                </a:lnTo>
                <a:lnTo>
                  <a:pt x="1329802" y="2689204"/>
                </a:lnTo>
                <a:close/>
                <a:moveTo>
                  <a:pt x="1063842" y="2659616"/>
                </a:moveTo>
                <a:lnTo>
                  <a:pt x="1093428" y="2659616"/>
                </a:lnTo>
                <a:lnTo>
                  <a:pt x="1093428" y="2689201"/>
                </a:lnTo>
                <a:lnTo>
                  <a:pt x="1063842" y="2689201"/>
                </a:lnTo>
                <a:close/>
                <a:moveTo>
                  <a:pt x="797881" y="2659613"/>
                </a:moveTo>
                <a:lnTo>
                  <a:pt x="827466" y="2659613"/>
                </a:lnTo>
                <a:lnTo>
                  <a:pt x="827466" y="2689198"/>
                </a:lnTo>
                <a:lnTo>
                  <a:pt x="797881" y="2689198"/>
                </a:lnTo>
                <a:close/>
                <a:moveTo>
                  <a:pt x="531921" y="2659610"/>
                </a:moveTo>
                <a:lnTo>
                  <a:pt x="561507" y="2659610"/>
                </a:lnTo>
                <a:lnTo>
                  <a:pt x="561507" y="2689194"/>
                </a:lnTo>
                <a:lnTo>
                  <a:pt x="531921" y="2689194"/>
                </a:lnTo>
                <a:close/>
                <a:moveTo>
                  <a:pt x="265961" y="2659607"/>
                </a:moveTo>
                <a:lnTo>
                  <a:pt x="295546" y="2659607"/>
                </a:lnTo>
                <a:lnTo>
                  <a:pt x="295546" y="2689191"/>
                </a:lnTo>
                <a:lnTo>
                  <a:pt x="265961" y="2689191"/>
                </a:lnTo>
                <a:close/>
                <a:moveTo>
                  <a:pt x="0" y="2659603"/>
                </a:moveTo>
                <a:lnTo>
                  <a:pt x="29585" y="2659603"/>
                </a:lnTo>
                <a:lnTo>
                  <a:pt x="29585" y="2689188"/>
                </a:lnTo>
                <a:lnTo>
                  <a:pt x="0" y="2689188"/>
                </a:lnTo>
                <a:close/>
                <a:moveTo>
                  <a:pt x="2659604" y="2393677"/>
                </a:moveTo>
                <a:lnTo>
                  <a:pt x="2689189" y="2393677"/>
                </a:lnTo>
                <a:lnTo>
                  <a:pt x="2689189" y="2423276"/>
                </a:lnTo>
                <a:lnTo>
                  <a:pt x="2659604" y="2423276"/>
                </a:lnTo>
                <a:close/>
                <a:moveTo>
                  <a:pt x="2393644" y="2393674"/>
                </a:moveTo>
                <a:lnTo>
                  <a:pt x="2423230" y="2393674"/>
                </a:lnTo>
                <a:lnTo>
                  <a:pt x="2423230" y="2423273"/>
                </a:lnTo>
                <a:lnTo>
                  <a:pt x="2393644" y="2423273"/>
                </a:lnTo>
                <a:close/>
                <a:moveTo>
                  <a:pt x="2127683" y="2393671"/>
                </a:moveTo>
                <a:lnTo>
                  <a:pt x="2157268" y="2393671"/>
                </a:lnTo>
                <a:lnTo>
                  <a:pt x="2157268" y="2423267"/>
                </a:lnTo>
                <a:lnTo>
                  <a:pt x="2127683" y="2423267"/>
                </a:lnTo>
                <a:close/>
                <a:moveTo>
                  <a:pt x="1861723" y="2393668"/>
                </a:moveTo>
                <a:lnTo>
                  <a:pt x="1891309" y="2393668"/>
                </a:lnTo>
                <a:lnTo>
                  <a:pt x="1891309" y="2423263"/>
                </a:lnTo>
                <a:lnTo>
                  <a:pt x="1861723" y="2423263"/>
                </a:lnTo>
                <a:close/>
                <a:moveTo>
                  <a:pt x="1595763" y="2393665"/>
                </a:moveTo>
                <a:lnTo>
                  <a:pt x="1625348" y="2393665"/>
                </a:lnTo>
                <a:lnTo>
                  <a:pt x="1625348" y="2423258"/>
                </a:lnTo>
                <a:lnTo>
                  <a:pt x="1595763" y="2423258"/>
                </a:lnTo>
                <a:close/>
                <a:moveTo>
                  <a:pt x="1329802" y="2393662"/>
                </a:moveTo>
                <a:lnTo>
                  <a:pt x="1359387" y="2393662"/>
                </a:lnTo>
                <a:lnTo>
                  <a:pt x="1359387" y="2423252"/>
                </a:lnTo>
                <a:lnTo>
                  <a:pt x="1329802" y="2423252"/>
                </a:lnTo>
                <a:close/>
                <a:moveTo>
                  <a:pt x="1063842" y="2393659"/>
                </a:moveTo>
                <a:lnTo>
                  <a:pt x="1093428" y="2393659"/>
                </a:lnTo>
                <a:lnTo>
                  <a:pt x="1093428" y="2423248"/>
                </a:lnTo>
                <a:lnTo>
                  <a:pt x="1063842" y="2423248"/>
                </a:lnTo>
                <a:close/>
                <a:moveTo>
                  <a:pt x="797881" y="2393654"/>
                </a:moveTo>
                <a:lnTo>
                  <a:pt x="827466" y="2393654"/>
                </a:lnTo>
                <a:lnTo>
                  <a:pt x="827466" y="2423242"/>
                </a:lnTo>
                <a:lnTo>
                  <a:pt x="797881" y="2423242"/>
                </a:lnTo>
                <a:close/>
                <a:moveTo>
                  <a:pt x="531921" y="2393649"/>
                </a:moveTo>
                <a:lnTo>
                  <a:pt x="561507" y="2393649"/>
                </a:lnTo>
                <a:lnTo>
                  <a:pt x="561507" y="2423238"/>
                </a:lnTo>
                <a:lnTo>
                  <a:pt x="531921" y="2423238"/>
                </a:lnTo>
                <a:close/>
                <a:moveTo>
                  <a:pt x="265961" y="2393646"/>
                </a:moveTo>
                <a:lnTo>
                  <a:pt x="295546" y="2393646"/>
                </a:lnTo>
                <a:lnTo>
                  <a:pt x="295546" y="2423233"/>
                </a:lnTo>
                <a:lnTo>
                  <a:pt x="265961" y="2423233"/>
                </a:lnTo>
                <a:close/>
                <a:moveTo>
                  <a:pt x="0" y="2393643"/>
                </a:moveTo>
                <a:lnTo>
                  <a:pt x="29585" y="2393643"/>
                </a:lnTo>
                <a:lnTo>
                  <a:pt x="29585" y="2423227"/>
                </a:lnTo>
                <a:lnTo>
                  <a:pt x="0" y="2423227"/>
                </a:lnTo>
                <a:close/>
                <a:moveTo>
                  <a:pt x="2659604" y="2127710"/>
                </a:moveTo>
                <a:lnTo>
                  <a:pt x="2689189" y="2127710"/>
                </a:lnTo>
                <a:lnTo>
                  <a:pt x="2689189" y="2157299"/>
                </a:lnTo>
                <a:lnTo>
                  <a:pt x="2659604" y="2157299"/>
                </a:lnTo>
                <a:close/>
                <a:moveTo>
                  <a:pt x="2393644" y="2127709"/>
                </a:moveTo>
                <a:lnTo>
                  <a:pt x="2423230" y="2127709"/>
                </a:lnTo>
                <a:lnTo>
                  <a:pt x="2423230" y="2157298"/>
                </a:lnTo>
                <a:lnTo>
                  <a:pt x="2393644" y="2157298"/>
                </a:lnTo>
                <a:close/>
                <a:moveTo>
                  <a:pt x="2127683" y="2127705"/>
                </a:moveTo>
                <a:lnTo>
                  <a:pt x="2157268" y="2127705"/>
                </a:lnTo>
                <a:lnTo>
                  <a:pt x="2157268" y="2157294"/>
                </a:lnTo>
                <a:lnTo>
                  <a:pt x="2127683" y="2157294"/>
                </a:lnTo>
                <a:close/>
                <a:moveTo>
                  <a:pt x="1861723" y="2127702"/>
                </a:moveTo>
                <a:lnTo>
                  <a:pt x="1891309" y="2127702"/>
                </a:lnTo>
                <a:lnTo>
                  <a:pt x="1891309" y="2157291"/>
                </a:lnTo>
                <a:lnTo>
                  <a:pt x="1861723" y="2157291"/>
                </a:lnTo>
                <a:close/>
                <a:moveTo>
                  <a:pt x="1595763" y="2127699"/>
                </a:moveTo>
                <a:lnTo>
                  <a:pt x="1625348" y="2127699"/>
                </a:lnTo>
                <a:lnTo>
                  <a:pt x="1625348" y="2157288"/>
                </a:lnTo>
                <a:lnTo>
                  <a:pt x="1595763" y="2157288"/>
                </a:lnTo>
                <a:close/>
                <a:moveTo>
                  <a:pt x="1329802" y="2127696"/>
                </a:moveTo>
                <a:lnTo>
                  <a:pt x="1359387" y="2127696"/>
                </a:lnTo>
                <a:lnTo>
                  <a:pt x="1359387" y="2157284"/>
                </a:lnTo>
                <a:lnTo>
                  <a:pt x="1329802" y="2157284"/>
                </a:lnTo>
                <a:close/>
                <a:moveTo>
                  <a:pt x="1063842" y="2127692"/>
                </a:moveTo>
                <a:lnTo>
                  <a:pt x="1093428" y="2127692"/>
                </a:lnTo>
                <a:lnTo>
                  <a:pt x="1093428" y="2157281"/>
                </a:lnTo>
                <a:lnTo>
                  <a:pt x="1063842" y="2157281"/>
                </a:lnTo>
                <a:close/>
                <a:moveTo>
                  <a:pt x="797881" y="2127689"/>
                </a:moveTo>
                <a:lnTo>
                  <a:pt x="827466" y="2127689"/>
                </a:lnTo>
                <a:lnTo>
                  <a:pt x="827466" y="2157278"/>
                </a:lnTo>
                <a:lnTo>
                  <a:pt x="797881" y="2157278"/>
                </a:lnTo>
                <a:close/>
                <a:moveTo>
                  <a:pt x="531921" y="2127687"/>
                </a:moveTo>
                <a:lnTo>
                  <a:pt x="561507" y="2127687"/>
                </a:lnTo>
                <a:lnTo>
                  <a:pt x="561507" y="2157274"/>
                </a:lnTo>
                <a:lnTo>
                  <a:pt x="531921" y="2157274"/>
                </a:lnTo>
                <a:close/>
                <a:moveTo>
                  <a:pt x="265961" y="2127684"/>
                </a:moveTo>
                <a:lnTo>
                  <a:pt x="295546" y="2127684"/>
                </a:lnTo>
                <a:lnTo>
                  <a:pt x="295546" y="2157271"/>
                </a:lnTo>
                <a:lnTo>
                  <a:pt x="265961" y="2157271"/>
                </a:lnTo>
                <a:close/>
                <a:moveTo>
                  <a:pt x="0" y="2127682"/>
                </a:moveTo>
                <a:lnTo>
                  <a:pt x="29585" y="2127682"/>
                </a:lnTo>
                <a:lnTo>
                  <a:pt x="29585" y="2157268"/>
                </a:lnTo>
                <a:lnTo>
                  <a:pt x="0" y="2157268"/>
                </a:lnTo>
                <a:close/>
                <a:moveTo>
                  <a:pt x="2659604" y="1861747"/>
                </a:moveTo>
                <a:lnTo>
                  <a:pt x="2689189" y="1861747"/>
                </a:lnTo>
                <a:lnTo>
                  <a:pt x="2689189" y="1891324"/>
                </a:lnTo>
                <a:lnTo>
                  <a:pt x="2659604" y="1891324"/>
                </a:lnTo>
                <a:close/>
                <a:moveTo>
                  <a:pt x="2393644" y="1861744"/>
                </a:moveTo>
                <a:lnTo>
                  <a:pt x="2423230" y="1861744"/>
                </a:lnTo>
                <a:lnTo>
                  <a:pt x="2423230" y="1891322"/>
                </a:lnTo>
                <a:lnTo>
                  <a:pt x="2393644" y="1891322"/>
                </a:lnTo>
                <a:close/>
                <a:moveTo>
                  <a:pt x="2127683" y="1861742"/>
                </a:moveTo>
                <a:lnTo>
                  <a:pt x="2157268" y="1861742"/>
                </a:lnTo>
                <a:lnTo>
                  <a:pt x="2157268" y="1891320"/>
                </a:lnTo>
                <a:lnTo>
                  <a:pt x="2127683" y="1891320"/>
                </a:lnTo>
                <a:close/>
                <a:moveTo>
                  <a:pt x="1861723" y="1861739"/>
                </a:moveTo>
                <a:lnTo>
                  <a:pt x="1891309" y="1861739"/>
                </a:lnTo>
                <a:lnTo>
                  <a:pt x="1891309" y="1891319"/>
                </a:lnTo>
                <a:lnTo>
                  <a:pt x="1861723" y="1891319"/>
                </a:lnTo>
                <a:close/>
                <a:moveTo>
                  <a:pt x="1595763" y="1861737"/>
                </a:moveTo>
                <a:lnTo>
                  <a:pt x="1625348" y="1861737"/>
                </a:lnTo>
                <a:lnTo>
                  <a:pt x="1625348" y="1891317"/>
                </a:lnTo>
                <a:lnTo>
                  <a:pt x="1595763" y="1891317"/>
                </a:lnTo>
                <a:close/>
                <a:moveTo>
                  <a:pt x="1329802" y="1861734"/>
                </a:moveTo>
                <a:lnTo>
                  <a:pt x="1359387" y="1861734"/>
                </a:lnTo>
                <a:lnTo>
                  <a:pt x="1359387" y="1891315"/>
                </a:lnTo>
                <a:lnTo>
                  <a:pt x="1329802" y="1891315"/>
                </a:lnTo>
                <a:close/>
                <a:moveTo>
                  <a:pt x="1063842" y="1861732"/>
                </a:moveTo>
                <a:lnTo>
                  <a:pt x="1093428" y="1861732"/>
                </a:lnTo>
                <a:lnTo>
                  <a:pt x="1093428" y="1891314"/>
                </a:lnTo>
                <a:lnTo>
                  <a:pt x="1063842" y="1891314"/>
                </a:lnTo>
                <a:close/>
                <a:moveTo>
                  <a:pt x="797881" y="1861729"/>
                </a:moveTo>
                <a:lnTo>
                  <a:pt x="827466" y="1861729"/>
                </a:lnTo>
                <a:lnTo>
                  <a:pt x="827466" y="1891312"/>
                </a:lnTo>
                <a:lnTo>
                  <a:pt x="797881" y="1891312"/>
                </a:lnTo>
                <a:close/>
                <a:moveTo>
                  <a:pt x="531921" y="1861727"/>
                </a:moveTo>
                <a:lnTo>
                  <a:pt x="561507" y="1861727"/>
                </a:lnTo>
                <a:lnTo>
                  <a:pt x="561507" y="1891310"/>
                </a:lnTo>
                <a:lnTo>
                  <a:pt x="531921" y="1891310"/>
                </a:lnTo>
                <a:close/>
                <a:moveTo>
                  <a:pt x="265961" y="1861724"/>
                </a:moveTo>
                <a:lnTo>
                  <a:pt x="295546" y="1861724"/>
                </a:lnTo>
                <a:lnTo>
                  <a:pt x="295546" y="1891309"/>
                </a:lnTo>
                <a:lnTo>
                  <a:pt x="265961" y="1891309"/>
                </a:lnTo>
                <a:close/>
                <a:moveTo>
                  <a:pt x="0" y="1861722"/>
                </a:moveTo>
                <a:lnTo>
                  <a:pt x="29585" y="1861722"/>
                </a:lnTo>
                <a:lnTo>
                  <a:pt x="29585" y="1891307"/>
                </a:lnTo>
                <a:lnTo>
                  <a:pt x="0" y="1891307"/>
                </a:lnTo>
                <a:close/>
                <a:moveTo>
                  <a:pt x="2659604" y="1595785"/>
                </a:moveTo>
                <a:lnTo>
                  <a:pt x="2689189" y="1595785"/>
                </a:lnTo>
                <a:lnTo>
                  <a:pt x="2689189" y="1625371"/>
                </a:lnTo>
                <a:lnTo>
                  <a:pt x="2659604" y="1625371"/>
                </a:lnTo>
                <a:close/>
                <a:moveTo>
                  <a:pt x="2393644" y="1595782"/>
                </a:moveTo>
                <a:lnTo>
                  <a:pt x="2423230" y="1595782"/>
                </a:lnTo>
                <a:lnTo>
                  <a:pt x="2423230" y="1625368"/>
                </a:lnTo>
                <a:lnTo>
                  <a:pt x="2393644" y="1625368"/>
                </a:lnTo>
                <a:close/>
                <a:moveTo>
                  <a:pt x="2127683" y="1595780"/>
                </a:moveTo>
                <a:lnTo>
                  <a:pt x="2157268" y="1595780"/>
                </a:lnTo>
                <a:lnTo>
                  <a:pt x="2157268" y="1625366"/>
                </a:lnTo>
                <a:lnTo>
                  <a:pt x="2127683" y="1625366"/>
                </a:lnTo>
                <a:close/>
                <a:moveTo>
                  <a:pt x="1861723" y="1595777"/>
                </a:moveTo>
                <a:lnTo>
                  <a:pt x="1891309" y="1595777"/>
                </a:lnTo>
                <a:lnTo>
                  <a:pt x="1891309" y="1625363"/>
                </a:lnTo>
                <a:lnTo>
                  <a:pt x="1861723" y="1625363"/>
                </a:lnTo>
                <a:close/>
                <a:moveTo>
                  <a:pt x="1595763" y="1595775"/>
                </a:moveTo>
                <a:lnTo>
                  <a:pt x="1625348" y="1595775"/>
                </a:lnTo>
                <a:lnTo>
                  <a:pt x="1625348" y="1625360"/>
                </a:lnTo>
                <a:lnTo>
                  <a:pt x="1595763" y="1625360"/>
                </a:lnTo>
                <a:close/>
                <a:moveTo>
                  <a:pt x="1329802" y="1595773"/>
                </a:moveTo>
                <a:lnTo>
                  <a:pt x="1359387" y="1595773"/>
                </a:lnTo>
                <a:lnTo>
                  <a:pt x="1359387" y="1625358"/>
                </a:lnTo>
                <a:lnTo>
                  <a:pt x="1329802" y="1625358"/>
                </a:lnTo>
                <a:close/>
                <a:moveTo>
                  <a:pt x="1063842" y="1595770"/>
                </a:moveTo>
                <a:lnTo>
                  <a:pt x="1093428" y="1595770"/>
                </a:lnTo>
                <a:lnTo>
                  <a:pt x="1093428" y="1625355"/>
                </a:lnTo>
                <a:lnTo>
                  <a:pt x="1063842" y="1625355"/>
                </a:lnTo>
                <a:close/>
                <a:moveTo>
                  <a:pt x="797881" y="1595768"/>
                </a:moveTo>
                <a:lnTo>
                  <a:pt x="827466" y="1595768"/>
                </a:lnTo>
                <a:lnTo>
                  <a:pt x="827466" y="1625353"/>
                </a:lnTo>
                <a:lnTo>
                  <a:pt x="797881" y="1625353"/>
                </a:lnTo>
                <a:close/>
                <a:moveTo>
                  <a:pt x="531921" y="1595766"/>
                </a:moveTo>
                <a:lnTo>
                  <a:pt x="561507" y="1595766"/>
                </a:lnTo>
                <a:lnTo>
                  <a:pt x="561507" y="1625351"/>
                </a:lnTo>
                <a:lnTo>
                  <a:pt x="531921" y="1625351"/>
                </a:lnTo>
                <a:close/>
                <a:moveTo>
                  <a:pt x="265961" y="1595763"/>
                </a:moveTo>
                <a:lnTo>
                  <a:pt x="295546" y="1595763"/>
                </a:lnTo>
                <a:lnTo>
                  <a:pt x="295546" y="1625348"/>
                </a:lnTo>
                <a:lnTo>
                  <a:pt x="265961" y="1625348"/>
                </a:lnTo>
                <a:close/>
                <a:moveTo>
                  <a:pt x="0" y="1595761"/>
                </a:moveTo>
                <a:lnTo>
                  <a:pt x="29585" y="1595761"/>
                </a:lnTo>
                <a:lnTo>
                  <a:pt x="29585" y="1625346"/>
                </a:lnTo>
                <a:lnTo>
                  <a:pt x="0" y="1625346"/>
                </a:lnTo>
                <a:close/>
                <a:moveTo>
                  <a:pt x="2659604" y="1329827"/>
                </a:moveTo>
                <a:lnTo>
                  <a:pt x="2689189" y="1329827"/>
                </a:lnTo>
                <a:lnTo>
                  <a:pt x="2689189" y="1359412"/>
                </a:lnTo>
                <a:lnTo>
                  <a:pt x="2659604" y="1359412"/>
                </a:lnTo>
                <a:close/>
                <a:moveTo>
                  <a:pt x="2393644" y="1329825"/>
                </a:moveTo>
                <a:lnTo>
                  <a:pt x="2423230" y="1329825"/>
                </a:lnTo>
                <a:lnTo>
                  <a:pt x="2423230" y="1359409"/>
                </a:lnTo>
                <a:lnTo>
                  <a:pt x="2393644" y="1359409"/>
                </a:lnTo>
                <a:close/>
                <a:moveTo>
                  <a:pt x="2127683" y="1329822"/>
                </a:moveTo>
                <a:lnTo>
                  <a:pt x="2157268" y="1329822"/>
                </a:lnTo>
                <a:lnTo>
                  <a:pt x="2157268" y="1359407"/>
                </a:lnTo>
                <a:lnTo>
                  <a:pt x="2127683" y="1359407"/>
                </a:lnTo>
                <a:close/>
                <a:moveTo>
                  <a:pt x="1861723" y="1329819"/>
                </a:moveTo>
                <a:lnTo>
                  <a:pt x="1891309" y="1329819"/>
                </a:lnTo>
                <a:lnTo>
                  <a:pt x="1891309" y="1359404"/>
                </a:lnTo>
                <a:lnTo>
                  <a:pt x="1861723" y="1359404"/>
                </a:lnTo>
                <a:close/>
                <a:moveTo>
                  <a:pt x="1595763" y="1329817"/>
                </a:moveTo>
                <a:lnTo>
                  <a:pt x="1625348" y="1329817"/>
                </a:lnTo>
                <a:lnTo>
                  <a:pt x="1625348" y="1359401"/>
                </a:lnTo>
                <a:lnTo>
                  <a:pt x="1595763" y="1359401"/>
                </a:lnTo>
                <a:close/>
                <a:moveTo>
                  <a:pt x="1329802" y="1329814"/>
                </a:moveTo>
                <a:lnTo>
                  <a:pt x="1359387" y="1329814"/>
                </a:lnTo>
                <a:lnTo>
                  <a:pt x="1359387" y="1359399"/>
                </a:lnTo>
                <a:lnTo>
                  <a:pt x="1329802" y="1359399"/>
                </a:lnTo>
                <a:close/>
                <a:moveTo>
                  <a:pt x="1063842" y="1329811"/>
                </a:moveTo>
                <a:lnTo>
                  <a:pt x="1093428" y="1329811"/>
                </a:lnTo>
                <a:lnTo>
                  <a:pt x="1093428" y="1359396"/>
                </a:lnTo>
                <a:lnTo>
                  <a:pt x="1063842" y="1359396"/>
                </a:lnTo>
                <a:close/>
                <a:moveTo>
                  <a:pt x="797881" y="1329809"/>
                </a:moveTo>
                <a:lnTo>
                  <a:pt x="827466" y="1329809"/>
                </a:lnTo>
                <a:lnTo>
                  <a:pt x="827466" y="1359394"/>
                </a:lnTo>
                <a:lnTo>
                  <a:pt x="797881" y="1359394"/>
                </a:lnTo>
                <a:close/>
                <a:moveTo>
                  <a:pt x="531921" y="1329806"/>
                </a:moveTo>
                <a:lnTo>
                  <a:pt x="561507" y="1329806"/>
                </a:lnTo>
                <a:lnTo>
                  <a:pt x="561507" y="1359391"/>
                </a:lnTo>
                <a:lnTo>
                  <a:pt x="531921" y="1359391"/>
                </a:lnTo>
                <a:close/>
                <a:moveTo>
                  <a:pt x="265961" y="1329803"/>
                </a:moveTo>
                <a:lnTo>
                  <a:pt x="295546" y="1329803"/>
                </a:lnTo>
                <a:lnTo>
                  <a:pt x="295546" y="1359388"/>
                </a:lnTo>
                <a:lnTo>
                  <a:pt x="265961" y="1359388"/>
                </a:lnTo>
                <a:close/>
                <a:moveTo>
                  <a:pt x="0" y="1329801"/>
                </a:moveTo>
                <a:lnTo>
                  <a:pt x="29585" y="1329801"/>
                </a:lnTo>
                <a:lnTo>
                  <a:pt x="29585" y="1359386"/>
                </a:lnTo>
                <a:lnTo>
                  <a:pt x="0" y="1359386"/>
                </a:lnTo>
                <a:close/>
                <a:moveTo>
                  <a:pt x="2659604" y="1063871"/>
                </a:moveTo>
                <a:lnTo>
                  <a:pt x="2689189" y="1063871"/>
                </a:lnTo>
                <a:lnTo>
                  <a:pt x="2689189" y="1093457"/>
                </a:lnTo>
                <a:lnTo>
                  <a:pt x="2659604" y="1093457"/>
                </a:lnTo>
                <a:close/>
                <a:moveTo>
                  <a:pt x="2393644" y="1063868"/>
                </a:moveTo>
                <a:lnTo>
                  <a:pt x="2423230" y="1063868"/>
                </a:lnTo>
                <a:lnTo>
                  <a:pt x="2423230" y="1093454"/>
                </a:lnTo>
                <a:lnTo>
                  <a:pt x="2393644" y="1093454"/>
                </a:lnTo>
                <a:close/>
                <a:moveTo>
                  <a:pt x="2127683" y="1063865"/>
                </a:moveTo>
                <a:lnTo>
                  <a:pt x="2157268" y="1063865"/>
                </a:lnTo>
                <a:lnTo>
                  <a:pt x="2157268" y="1093451"/>
                </a:lnTo>
                <a:lnTo>
                  <a:pt x="2127683" y="1093451"/>
                </a:lnTo>
                <a:close/>
                <a:moveTo>
                  <a:pt x="1861723" y="1063862"/>
                </a:moveTo>
                <a:lnTo>
                  <a:pt x="1891309" y="1063862"/>
                </a:lnTo>
                <a:lnTo>
                  <a:pt x="1891309" y="1093448"/>
                </a:lnTo>
                <a:lnTo>
                  <a:pt x="1861723" y="1093448"/>
                </a:lnTo>
                <a:close/>
                <a:moveTo>
                  <a:pt x="1595763" y="1063859"/>
                </a:moveTo>
                <a:lnTo>
                  <a:pt x="1625348" y="1063859"/>
                </a:lnTo>
                <a:lnTo>
                  <a:pt x="1625348" y="1093445"/>
                </a:lnTo>
                <a:lnTo>
                  <a:pt x="1595763" y="1093445"/>
                </a:lnTo>
                <a:close/>
                <a:moveTo>
                  <a:pt x="1329802" y="1063856"/>
                </a:moveTo>
                <a:lnTo>
                  <a:pt x="1359387" y="1063856"/>
                </a:lnTo>
                <a:lnTo>
                  <a:pt x="1359387" y="1093442"/>
                </a:lnTo>
                <a:lnTo>
                  <a:pt x="1329802" y="1093442"/>
                </a:lnTo>
                <a:close/>
                <a:moveTo>
                  <a:pt x="1063842" y="1063853"/>
                </a:moveTo>
                <a:lnTo>
                  <a:pt x="1093428" y="1063853"/>
                </a:lnTo>
                <a:lnTo>
                  <a:pt x="1093428" y="1093439"/>
                </a:lnTo>
                <a:lnTo>
                  <a:pt x="1063842" y="1093439"/>
                </a:lnTo>
                <a:close/>
                <a:moveTo>
                  <a:pt x="797881" y="1063850"/>
                </a:moveTo>
                <a:lnTo>
                  <a:pt x="827466" y="1063850"/>
                </a:lnTo>
                <a:lnTo>
                  <a:pt x="827466" y="1093436"/>
                </a:lnTo>
                <a:lnTo>
                  <a:pt x="797881" y="1093436"/>
                </a:lnTo>
                <a:close/>
                <a:moveTo>
                  <a:pt x="531921" y="1063847"/>
                </a:moveTo>
                <a:lnTo>
                  <a:pt x="561507" y="1063847"/>
                </a:lnTo>
                <a:lnTo>
                  <a:pt x="561507" y="1093433"/>
                </a:lnTo>
                <a:lnTo>
                  <a:pt x="531921" y="1093433"/>
                </a:lnTo>
                <a:close/>
                <a:moveTo>
                  <a:pt x="265961" y="1063844"/>
                </a:moveTo>
                <a:lnTo>
                  <a:pt x="295546" y="1063844"/>
                </a:lnTo>
                <a:lnTo>
                  <a:pt x="295546" y="1093430"/>
                </a:lnTo>
                <a:lnTo>
                  <a:pt x="265961" y="1093430"/>
                </a:lnTo>
                <a:close/>
                <a:moveTo>
                  <a:pt x="0" y="1063841"/>
                </a:moveTo>
                <a:lnTo>
                  <a:pt x="29585" y="1063841"/>
                </a:lnTo>
                <a:lnTo>
                  <a:pt x="29585" y="1093427"/>
                </a:lnTo>
                <a:lnTo>
                  <a:pt x="0" y="1093427"/>
                </a:lnTo>
                <a:close/>
                <a:moveTo>
                  <a:pt x="2659604" y="797900"/>
                </a:moveTo>
                <a:lnTo>
                  <a:pt x="2689189" y="797900"/>
                </a:lnTo>
                <a:lnTo>
                  <a:pt x="2689189" y="827486"/>
                </a:lnTo>
                <a:lnTo>
                  <a:pt x="2659604" y="827486"/>
                </a:lnTo>
                <a:close/>
                <a:moveTo>
                  <a:pt x="2393644" y="797898"/>
                </a:moveTo>
                <a:lnTo>
                  <a:pt x="2423230" y="797898"/>
                </a:lnTo>
                <a:lnTo>
                  <a:pt x="2423230" y="827484"/>
                </a:lnTo>
                <a:lnTo>
                  <a:pt x="2393644" y="827484"/>
                </a:lnTo>
                <a:close/>
                <a:moveTo>
                  <a:pt x="2127683" y="797895"/>
                </a:moveTo>
                <a:lnTo>
                  <a:pt x="2157268" y="797895"/>
                </a:lnTo>
                <a:lnTo>
                  <a:pt x="2157268" y="827481"/>
                </a:lnTo>
                <a:lnTo>
                  <a:pt x="2127683" y="827481"/>
                </a:lnTo>
                <a:close/>
                <a:moveTo>
                  <a:pt x="1861723" y="797893"/>
                </a:moveTo>
                <a:lnTo>
                  <a:pt x="1891309" y="797893"/>
                </a:lnTo>
                <a:lnTo>
                  <a:pt x="1891309" y="827479"/>
                </a:lnTo>
                <a:lnTo>
                  <a:pt x="1861723" y="827479"/>
                </a:lnTo>
                <a:close/>
                <a:moveTo>
                  <a:pt x="1595763" y="797891"/>
                </a:moveTo>
                <a:lnTo>
                  <a:pt x="1625348" y="797891"/>
                </a:lnTo>
                <a:lnTo>
                  <a:pt x="1625348" y="827477"/>
                </a:lnTo>
                <a:lnTo>
                  <a:pt x="1595763" y="827477"/>
                </a:lnTo>
                <a:close/>
                <a:moveTo>
                  <a:pt x="1329802" y="797889"/>
                </a:moveTo>
                <a:lnTo>
                  <a:pt x="1359387" y="797889"/>
                </a:lnTo>
                <a:lnTo>
                  <a:pt x="1359387" y="827475"/>
                </a:lnTo>
                <a:lnTo>
                  <a:pt x="1329802" y="827475"/>
                </a:lnTo>
                <a:close/>
                <a:moveTo>
                  <a:pt x="1063842" y="797887"/>
                </a:moveTo>
                <a:lnTo>
                  <a:pt x="1093428" y="797887"/>
                </a:lnTo>
                <a:lnTo>
                  <a:pt x="1093428" y="827473"/>
                </a:lnTo>
                <a:lnTo>
                  <a:pt x="1063842" y="827473"/>
                </a:lnTo>
                <a:close/>
                <a:moveTo>
                  <a:pt x="797881" y="797885"/>
                </a:moveTo>
                <a:lnTo>
                  <a:pt x="827466" y="797885"/>
                </a:lnTo>
                <a:lnTo>
                  <a:pt x="827466" y="827471"/>
                </a:lnTo>
                <a:lnTo>
                  <a:pt x="797881" y="827471"/>
                </a:lnTo>
                <a:close/>
                <a:moveTo>
                  <a:pt x="531921" y="797883"/>
                </a:moveTo>
                <a:lnTo>
                  <a:pt x="561507" y="797883"/>
                </a:lnTo>
                <a:lnTo>
                  <a:pt x="561507" y="827469"/>
                </a:lnTo>
                <a:lnTo>
                  <a:pt x="531921" y="827469"/>
                </a:lnTo>
                <a:close/>
                <a:moveTo>
                  <a:pt x="265961" y="797881"/>
                </a:moveTo>
                <a:lnTo>
                  <a:pt x="295546" y="797881"/>
                </a:lnTo>
                <a:lnTo>
                  <a:pt x="295546" y="827467"/>
                </a:lnTo>
                <a:lnTo>
                  <a:pt x="265961" y="827467"/>
                </a:lnTo>
                <a:close/>
                <a:moveTo>
                  <a:pt x="0" y="797879"/>
                </a:moveTo>
                <a:lnTo>
                  <a:pt x="29585" y="797879"/>
                </a:lnTo>
                <a:lnTo>
                  <a:pt x="29585" y="827465"/>
                </a:lnTo>
                <a:lnTo>
                  <a:pt x="0" y="827465"/>
                </a:lnTo>
                <a:close/>
                <a:moveTo>
                  <a:pt x="2659604" y="531940"/>
                </a:moveTo>
                <a:lnTo>
                  <a:pt x="2689189" y="531940"/>
                </a:lnTo>
                <a:lnTo>
                  <a:pt x="2689189" y="561525"/>
                </a:lnTo>
                <a:lnTo>
                  <a:pt x="2659604" y="561525"/>
                </a:lnTo>
                <a:close/>
                <a:moveTo>
                  <a:pt x="2393644" y="531938"/>
                </a:moveTo>
                <a:lnTo>
                  <a:pt x="2423230" y="531938"/>
                </a:lnTo>
                <a:lnTo>
                  <a:pt x="2423230" y="561523"/>
                </a:lnTo>
                <a:lnTo>
                  <a:pt x="2393644" y="561523"/>
                </a:lnTo>
                <a:close/>
                <a:moveTo>
                  <a:pt x="2127683" y="531936"/>
                </a:moveTo>
                <a:lnTo>
                  <a:pt x="2157268" y="531936"/>
                </a:lnTo>
                <a:lnTo>
                  <a:pt x="2157268" y="561521"/>
                </a:lnTo>
                <a:lnTo>
                  <a:pt x="2127683" y="561521"/>
                </a:lnTo>
                <a:close/>
                <a:moveTo>
                  <a:pt x="1861723" y="531934"/>
                </a:moveTo>
                <a:lnTo>
                  <a:pt x="1891309" y="531934"/>
                </a:lnTo>
                <a:lnTo>
                  <a:pt x="1891309" y="561519"/>
                </a:lnTo>
                <a:lnTo>
                  <a:pt x="1861723" y="561519"/>
                </a:lnTo>
                <a:close/>
                <a:moveTo>
                  <a:pt x="1595763" y="531932"/>
                </a:moveTo>
                <a:lnTo>
                  <a:pt x="1625348" y="531932"/>
                </a:lnTo>
                <a:lnTo>
                  <a:pt x="1625348" y="561517"/>
                </a:lnTo>
                <a:lnTo>
                  <a:pt x="1595763" y="561517"/>
                </a:lnTo>
                <a:close/>
                <a:moveTo>
                  <a:pt x="1329802" y="531930"/>
                </a:moveTo>
                <a:lnTo>
                  <a:pt x="1359387" y="531930"/>
                </a:lnTo>
                <a:lnTo>
                  <a:pt x="1359387" y="561515"/>
                </a:lnTo>
                <a:lnTo>
                  <a:pt x="1329802" y="561515"/>
                </a:lnTo>
                <a:close/>
                <a:moveTo>
                  <a:pt x="1063842" y="531928"/>
                </a:moveTo>
                <a:lnTo>
                  <a:pt x="1093428" y="531928"/>
                </a:lnTo>
                <a:lnTo>
                  <a:pt x="1093428" y="561513"/>
                </a:lnTo>
                <a:lnTo>
                  <a:pt x="1063842" y="561513"/>
                </a:lnTo>
                <a:close/>
                <a:moveTo>
                  <a:pt x="797881" y="531925"/>
                </a:moveTo>
                <a:lnTo>
                  <a:pt x="827466" y="531925"/>
                </a:lnTo>
                <a:lnTo>
                  <a:pt x="827466" y="561511"/>
                </a:lnTo>
                <a:lnTo>
                  <a:pt x="797881" y="561511"/>
                </a:lnTo>
                <a:close/>
                <a:moveTo>
                  <a:pt x="531921" y="531923"/>
                </a:moveTo>
                <a:lnTo>
                  <a:pt x="561507" y="531923"/>
                </a:lnTo>
                <a:lnTo>
                  <a:pt x="561507" y="561508"/>
                </a:lnTo>
                <a:lnTo>
                  <a:pt x="531921" y="561508"/>
                </a:lnTo>
                <a:close/>
                <a:moveTo>
                  <a:pt x="265961" y="531921"/>
                </a:moveTo>
                <a:lnTo>
                  <a:pt x="295546" y="531921"/>
                </a:lnTo>
                <a:lnTo>
                  <a:pt x="295546" y="561506"/>
                </a:lnTo>
                <a:lnTo>
                  <a:pt x="265961" y="561506"/>
                </a:lnTo>
                <a:close/>
                <a:moveTo>
                  <a:pt x="0" y="531919"/>
                </a:moveTo>
                <a:lnTo>
                  <a:pt x="29585" y="531919"/>
                </a:lnTo>
                <a:lnTo>
                  <a:pt x="29585" y="561504"/>
                </a:lnTo>
                <a:lnTo>
                  <a:pt x="0" y="561504"/>
                </a:lnTo>
                <a:close/>
                <a:moveTo>
                  <a:pt x="2659604" y="265980"/>
                </a:moveTo>
                <a:lnTo>
                  <a:pt x="2689189" y="265980"/>
                </a:lnTo>
                <a:lnTo>
                  <a:pt x="2689189" y="295566"/>
                </a:lnTo>
                <a:lnTo>
                  <a:pt x="2659604" y="295566"/>
                </a:lnTo>
                <a:close/>
                <a:moveTo>
                  <a:pt x="2393644" y="265978"/>
                </a:moveTo>
                <a:lnTo>
                  <a:pt x="2423230" y="265978"/>
                </a:lnTo>
                <a:lnTo>
                  <a:pt x="2423230" y="295564"/>
                </a:lnTo>
                <a:lnTo>
                  <a:pt x="2393644" y="295564"/>
                </a:lnTo>
                <a:close/>
                <a:moveTo>
                  <a:pt x="2127683" y="265976"/>
                </a:moveTo>
                <a:lnTo>
                  <a:pt x="2157268" y="265976"/>
                </a:lnTo>
                <a:lnTo>
                  <a:pt x="2157268" y="295562"/>
                </a:lnTo>
                <a:lnTo>
                  <a:pt x="2127683" y="295562"/>
                </a:lnTo>
                <a:close/>
                <a:moveTo>
                  <a:pt x="1861723" y="265973"/>
                </a:moveTo>
                <a:lnTo>
                  <a:pt x="1891309" y="265973"/>
                </a:lnTo>
                <a:lnTo>
                  <a:pt x="1891309" y="295560"/>
                </a:lnTo>
                <a:lnTo>
                  <a:pt x="1861723" y="295560"/>
                </a:lnTo>
                <a:close/>
                <a:moveTo>
                  <a:pt x="1595763" y="265971"/>
                </a:moveTo>
                <a:lnTo>
                  <a:pt x="1625348" y="265971"/>
                </a:lnTo>
                <a:lnTo>
                  <a:pt x="1625348" y="295557"/>
                </a:lnTo>
                <a:lnTo>
                  <a:pt x="1595763" y="295557"/>
                </a:lnTo>
                <a:close/>
                <a:moveTo>
                  <a:pt x="1329802" y="265969"/>
                </a:moveTo>
                <a:lnTo>
                  <a:pt x="1359387" y="265969"/>
                </a:lnTo>
                <a:lnTo>
                  <a:pt x="1359387" y="295555"/>
                </a:lnTo>
                <a:lnTo>
                  <a:pt x="1329802" y="295555"/>
                </a:lnTo>
                <a:close/>
                <a:moveTo>
                  <a:pt x="1063842" y="265967"/>
                </a:moveTo>
                <a:lnTo>
                  <a:pt x="1093428" y="265967"/>
                </a:lnTo>
                <a:lnTo>
                  <a:pt x="1093428" y="295553"/>
                </a:lnTo>
                <a:lnTo>
                  <a:pt x="1063842" y="295553"/>
                </a:lnTo>
                <a:close/>
                <a:moveTo>
                  <a:pt x="797881" y="265965"/>
                </a:moveTo>
                <a:lnTo>
                  <a:pt x="827466" y="265965"/>
                </a:lnTo>
                <a:lnTo>
                  <a:pt x="827466" y="295551"/>
                </a:lnTo>
                <a:lnTo>
                  <a:pt x="797881" y="295551"/>
                </a:lnTo>
                <a:close/>
                <a:moveTo>
                  <a:pt x="531921" y="265963"/>
                </a:moveTo>
                <a:lnTo>
                  <a:pt x="561507" y="265963"/>
                </a:lnTo>
                <a:lnTo>
                  <a:pt x="561507" y="295549"/>
                </a:lnTo>
                <a:lnTo>
                  <a:pt x="531921" y="295549"/>
                </a:lnTo>
                <a:close/>
                <a:moveTo>
                  <a:pt x="265961" y="265960"/>
                </a:moveTo>
                <a:lnTo>
                  <a:pt x="295546" y="265960"/>
                </a:lnTo>
                <a:lnTo>
                  <a:pt x="295546" y="295546"/>
                </a:lnTo>
                <a:lnTo>
                  <a:pt x="265961" y="295546"/>
                </a:lnTo>
                <a:close/>
                <a:moveTo>
                  <a:pt x="0" y="265958"/>
                </a:moveTo>
                <a:lnTo>
                  <a:pt x="29585" y="265958"/>
                </a:lnTo>
                <a:lnTo>
                  <a:pt x="29585" y="295544"/>
                </a:lnTo>
                <a:lnTo>
                  <a:pt x="0" y="295544"/>
                </a:lnTo>
                <a:close/>
                <a:moveTo>
                  <a:pt x="0" y="23"/>
                </a:moveTo>
                <a:lnTo>
                  <a:pt x="29585" y="23"/>
                </a:lnTo>
                <a:lnTo>
                  <a:pt x="29585" y="29609"/>
                </a:lnTo>
                <a:lnTo>
                  <a:pt x="0" y="29609"/>
                </a:lnTo>
                <a:close/>
                <a:moveTo>
                  <a:pt x="2659604" y="21"/>
                </a:moveTo>
                <a:lnTo>
                  <a:pt x="2689189" y="21"/>
                </a:lnTo>
                <a:lnTo>
                  <a:pt x="2689189" y="29607"/>
                </a:lnTo>
                <a:lnTo>
                  <a:pt x="2659604" y="29607"/>
                </a:lnTo>
                <a:close/>
                <a:moveTo>
                  <a:pt x="2393644" y="19"/>
                </a:moveTo>
                <a:lnTo>
                  <a:pt x="2423230" y="19"/>
                </a:lnTo>
                <a:lnTo>
                  <a:pt x="2423230" y="29605"/>
                </a:lnTo>
                <a:lnTo>
                  <a:pt x="2393644" y="29605"/>
                </a:lnTo>
                <a:close/>
                <a:moveTo>
                  <a:pt x="2127683" y="16"/>
                </a:moveTo>
                <a:lnTo>
                  <a:pt x="2157268" y="16"/>
                </a:lnTo>
                <a:lnTo>
                  <a:pt x="2157268" y="29602"/>
                </a:lnTo>
                <a:lnTo>
                  <a:pt x="2127683" y="29602"/>
                </a:lnTo>
                <a:close/>
                <a:moveTo>
                  <a:pt x="1861723" y="14"/>
                </a:moveTo>
                <a:lnTo>
                  <a:pt x="1891309" y="14"/>
                </a:lnTo>
                <a:lnTo>
                  <a:pt x="1891309" y="29600"/>
                </a:lnTo>
                <a:lnTo>
                  <a:pt x="1861723" y="29600"/>
                </a:lnTo>
                <a:close/>
                <a:moveTo>
                  <a:pt x="1595763" y="12"/>
                </a:moveTo>
                <a:lnTo>
                  <a:pt x="1625348" y="12"/>
                </a:lnTo>
                <a:lnTo>
                  <a:pt x="1625348" y="29598"/>
                </a:lnTo>
                <a:lnTo>
                  <a:pt x="1595763" y="29598"/>
                </a:lnTo>
                <a:close/>
                <a:moveTo>
                  <a:pt x="1329802" y="9"/>
                </a:moveTo>
                <a:lnTo>
                  <a:pt x="1359387" y="9"/>
                </a:lnTo>
                <a:lnTo>
                  <a:pt x="1359387" y="29595"/>
                </a:lnTo>
                <a:lnTo>
                  <a:pt x="1329802" y="29595"/>
                </a:lnTo>
                <a:close/>
                <a:moveTo>
                  <a:pt x="1063842" y="7"/>
                </a:moveTo>
                <a:lnTo>
                  <a:pt x="1093428" y="7"/>
                </a:lnTo>
                <a:lnTo>
                  <a:pt x="1093428" y="29593"/>
                </a:lnTo>
                <a:lnTo>
                  <a:pt x="1063842" y="29593"/>
                </a:lnTo>
                <a:close/>
                <a:moveTo>
                  <a:pt x="797881" y="5"/>
                </a:moveTo>
                <a:lnTo>
                  <a:pt x="827466" y="5"/>
                </a:lnTo>
                <a:lnTo>
                  <a:pt x="827466" y="29591"/>
                </a:lnTo>
                <a:lnTo>
                  <a:pt x="797881" y="29591"/>
                </a:lnTo>
                <a:close/>
                <a:moveTo>
                  <a:pt x="531921" y="3"/>
                </a:moveTo>
                <a:lnTo>
                  <a:pt x="561507" y="3"/>
                </a:lnTo>
                <a:lnTo>
                  <a:pt x="561507" y="29589"/>
                </a:lnTo>
                <a:lnTo>
                  <a:pt x="531921" y="29589"/>
                </a:lnTo>
                <a:close/>
                <a:moveTo>
                  <a:pt x="265961" y="0"/>
                </a:moveTo>
                <a:lnTo>
                  <a:pt x="295546" y="0"/>
                </a:lnTo>
                <a:lnTo>
                  <a:pt x="295546" y="29586"/>
                </a:lnTo>
                <a:lnTo>
                  <a:pt x="265961" y="29586"/>
                </a:lnTo>
                <a:close/>
              </a:path>
            </a:pathLst>
          </a:custGeom>
          <a:solidFill>
            <a:schemeClr val="tx2">
              <a:alpha val="20000"/>
            </a:schemeClr>
          </a:solidFill>
          <a:ln w="10294" cap="flat">
            <a:noFill/>
            <a:prstDash val="solid"/>
            <a:miter/>
          </a:ln>
        </p:spPr>
        <p:txBody>
          <a:bodyPr rtlCol="0" anchor="ctr"/>
          <a:lstStyle/>
          <a:p>
            <a:endParaRPr lang="en-US"/>
          </a:p>
        </p:txBody>
      </p:sp>
    </p:spTree>
    <p:extLst>
      <p:ext uri="{BB962C8B-B14F-4D97-AF65-F5344CB8AC3E}">
        <p14:creationId xmlns:p14="http://schemas.microsoft.com/office/powerpoint/2010/main" val="18912828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 Dark Grid Ba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C769E4-F1F0-410E-8A65-B7BA27B4B88A}"/>
              </a:ext>
            </a:extLst>
          </p:cNvPr>
          <p:cNvSpPr>
            <a:spLocks noGrp="1"/>
          </p:cNvSpPr>
          <p:nvPr>
            <p:ph type="title"/>
          </p:nvPr>
        </p:nvSpPr>
        <p:spPr>
          <a:xfrm>
            <a:off x="1941525" y="912309"/>
            <a:ext cx="9866528" cy="916491"/>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94C30CE9-D26C-43F4-8C71-DDC8B8D2AEC5}"/>
              </a:ext>
            </a:extLst>
          </p:cNvPr>
          <p:cNvSpPr>
            <a:spLocks noGrp="1"/>
          </p:cNvSpPr>
          <p:nvPr>
            <p:ph idx="1"/>
          </p:nvPr>
        </p:nvSpPr>
        <p:spPr>
          <a:xfrm>
            <a:off x="1941513" y="1828800"/>
            <a:ext cx="9867900" cy="4343400"/>
          </a:xfrm>
        </p:spPr>
        <p:txBody>
          <a:bodyPr tIns="0"/>
          <a:lstStyle>
            <a:lvl1pPr>
              <a:defRPr sz="2000"/>
            </a:lvl1pPr>
            <a:lvl2pPr>
              <a:buClr>
                <a:schemeClr val="accent1"/>
              </a:buClr>
              <a:defRPr sz="2000" baseline="0"/>
            </a:lvl2pPr>
            <a:lvl3pPr>
              <a:buClr>
                <a:schemeClr val="accent1"/>
              </a:buClr>
              <a:defRPr sz="2000"/>
            </a:lvl3pPr>
            <a:lvl4pPr>
              <a:buClr>
                <a:schemeClr val="accent1"/>
              </a:buClr>
              <a:defRPr sz="2000"/>
            </a:lvl4pPr>
            <a:lvl5pPr>
              <a:buClr>
                <a:schemeClr val="accent1"/>
              </a:buCl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3D5A7D88-ECAB-4F73-89A2-AC9423470703}"/>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215188240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41513" y="2438400"/>
            <a:ext cx="9867900"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1941524" y="1828800"/>
            <a:ext cx="9866527"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84FE0C4B-577E-476F-8514-EB0D3377CAC7}"/>
              </a:ext>
            </a:extLst>
          </p:cNvPr>
          <p:cNvSpPr>
            <a:spLocks noGrp="1"/>
          </p:cNvSpPr>
          <p:nvPr>
            <p:ph type="title"/>
          </p:nvPr>
        </p:nvSpPr>
        <p:spPr/>
        <p:txBody>
          <a:bodyPr/>
          <a:lstStyle/>
          <a:p>
            <a:r>
              <a:rPr lang="en-US"/>
              <a:t>Click to edit Master title style</a:t>
            </a:r>
          </a:p>
        </p:txBody>
      </p:sp>
      <p:sp>
        <p:nvSpPr>
          <p:cNvPr id="7" name="Text Placeholder 12">
            <a:extLst>
              <a:ext uri="{FF2B5EF4-FFF2-40B4-BE49-F238E27FC236}">
                <a16:creationId xmlns:a16="http://schemas.microsoft.com/office/drawing/2014/main" id="{C7CE1EDB-E666-46C3-BEAA-69A5D79F2A3D}"/>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342300960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1941635" y="1828800"/>
            <a:ext cx="4776748"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Title 4">
            <a:extLst>
              <a:ext uri="{FF2B5EF4-FFF2-40B4-BE49-F238E27FC236}">
                <a16:creationId xmlns:a16="http://schemas.microsoft.com/office/drawing/2014/main" id="{B874BDDF-B18F-449D-8C14-5B8A7E52141B}"/>
              </a:ext>
            </a:extLst>
          </p:cNvPr>
          <p:cNvSpPr>
            <a:spLocks noGrp="1"/>
          </p:cNvSpPr>
          <p:nvPr>
            <p:ph type="title"/>
          </p:nvPr>
        </p:nvSpPr>
        <p:spPr>
          <a:xfrm>
            <a:off x="1941513" y="912309"/>
            <a:ext cx="9867901" cy="916491"/>
          </a:xfrm>
        </p:spPr>
        <p:txBody>
          <a:bodyPr/>
          <a:lstStyle/>
          <a:p>
            <a:r>
              <a:rPr lang="en-US"/>
              <a:t>Click to edit Master title style</a:t>
            </a:r>
          </a:p>
        </p:txBody>
      </p:sp>
      <p:sp>
        <p:nvSpPr>
          <p:cNvPr id="16" name="Content Placeholder 2">
            <a:extLst>
              <a:ext uri="{FF2B5EF4-FFF2-40B4-BE49-F238E27FC236}">
                <a16:creationId xmlns:a16="http://schemas.microsoft.com/office/drawing/2014/main" id="{87FBBD91-6EF3-4443-88E1-EE3BE74A464F}"/>
              </a:ext>
            </a:extLst>
          </p:cNvPr>
          <p:cNvSpPr>
            <a:spLocks noGrp="1"/>
          </p:cNvSpPr>
          <p:nvPr>
            <p:ph idx="1"/>
          </p:nvPr>
        </p:nvSpPr>
        <p:spPr>
          <a:xfrm>
            <a:off x="1941513" y="2438400"/>
            <a:ext cx="4784321"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4">
            <a:extLst>
              <a:ext uri="{FF2B5EF4-FFF2-40B4-BE49-F238E27FC236}">
                <a16:creationId xmlns:a16="http://schemas.microsoft.com/office/drawing/2014/main" id="{FC87A2B8-793B-48E0-8B4B-AA0027B572C9}"/>
              </a:ext>
            </a:extLst>
          </p:cNvPr>
          <p:cNvSpPr>
            <a:spLocks noGrp="1"/>
          </p:cNvSpPr>
          <p:nvPr>
            <p:ph type="body" sz="quarter" idx="15" hasCustomPrompt="1"/>
          </p:nvPr>
        </p:nvSpPr>
        <p:spPr>
          <a:xfrm>
            <a:off x="7026206" y="1828800"/>
            <a:ext cx="478570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8" name="Content Placeholder 2">
            <a:extLst>
              <a:ext uri="{FF2B5EF4-FFF2-40B4-BE49-F238E27FC236}">
                <a16:creationId xmlns:a16="http://schemas.microsoft.com/office/drawing/2014/main" id="{EB317CEF-C8D6-4DCB-8D2E-7BF6D9AA878B}"/>
              </a:ext>
            </a:extLst>
          </p:cNvPr>
          <p:cNvSpPr>
            <a:spLocks noGrp="1"/>
          </p:cNvSpPr>
          <p:nvPr>
            <p:ph idx="16"/>
          </p:nvPr>
        </p:nvSpPr>
        <p:spPr>
          <a:xfrm>
            <a:off x="7026228" y="2438400"/>
            <a:ext cx="4784321"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D998B8-C8C3-4086-95AC-E7EAFC3012FD}"/>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4212116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0BEEAA-0C73-4EFB-9081-414B3B7A61D9}"/>
              </a:ext>
            </a:extLst>
          </p:cNvPr>
          <p:cNvSpPr>
            <a:spLocks noGrp="1"/>
          </p:cNvSpPr>
          <p:nvPr>
            <p:ph type="title"/>
          </p:nvPr>
        </p:nvSpPr>
        <p:spPr>
          <a:xfrm>
            <a:off x="1941514" y="912309"/>
            <a:ext cx="9867900" cy="916491"/>
          </a:xfrm>
        </p:spPr>
        <p:txBody>
          <a:bodyPr/>
          <a:lstStyle/>
          <a:p>
            <a:r>
              <a:rPr lang="en-US"/>
              <a:t>Click to edit Master title style</a:t>
            </a:r>
          </a:p>
        </p:txBody>
      </p:sp>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1941634" y="1828800"/>
            <a:ext cx="3111035"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1941513" y="2438400"/>
            <a:ext cx="3115967"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5317890" y="1828800"/>
            <a:ext cx="3111035"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5314960" y="2438400"/>
            <a:ext cx="3115967"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694145" y="1828800"/>
            <a:ext cx="3111035"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8688408" y="2438400"/>
            <a:ext cx="3115967"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2">
            <a:extLst>
              <a:ext uri="{FF2B5EF4-FFF2-40B4-BE49-F238E27FC236}">
                <a16:creationId xmlns:a16="http://schemas.microsoft.com/office/drawing/2014/main" id="{0CE34B49-A630-4F1D-9AB3-38F516C3AAC7}"/>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1810767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Grid Dark">
    <p:bg>
      <p:bgPr>
        <a:solidFill>
          <a:schemeClr val="tx2"/>
        </a:solidFill>
        <a:effectLst/>
      </p:bgPr>
    </p:bg>
    <p:spTree>
      <p:nvGrpSpPr>
        <p:cNvPr id="1" name=""/>
        <p:cNvGrpSpPr/>
        <p:nvPr/>
      </p:nvGrpSpPr>
      <p:grpSpPr>
        <a:xfrm>
          <a:off x="0" y="0"/>
          <a:ext cx="0" cy="0"/>
          <a:chOff x="0" y="0"/>
          <a:chExt cx="0" cy="0"/>
        </a:xfrm>
      </p:grpSpPr>
      <p:sp>
        <p:nvSpPr>
          <p:cNvPr id="2443" name="Freeform: Shape 2442">
            <a:extLst>
              <a:ext uri="{FF2B5EF4-FFF2-40B4-BE49-F238E27FC236}">
                <a16:creationId xmlns:a16="http://schemas.microsoft.com/office/drawing/2014/main" id="{E8FEADB5-2655-4BB8-AAE4-1B87200EA56F}"/>
              </a:ext>
            </a:extLst>
          </p:cNvPr>
          <p:cNvSpPr/>
          <p:nvPr/>
        </p:nvSpPr>
        <p:spPr>
          <a:xfrm>
            <a:off x="252826" y="222349"/>
            <a:ext cx="11701760" cy="6407421"/>
          </a:xfrm>
          <a:custGeom>
            <a:avLst/>
            <a:gdLst>
              <a:gd name="connsiteX0" fmla="*/ 11672158 w 11701760"/>
              <a:gd name="connsiteY0" fmla="*/ 6377925 h 6407421"/>
              <a:gd name="connsiteX1" fmla="*/ 11701760 w 11701760"/>
              <a:gd name="connsiteY1" fmla="*/ 6377925 h 6407421"/>
              <a:gd name="connsiteX2" fmla="*/ 11701760 w 11701760"/>
              <a:gd name="connsiteY2" fmla="*/ 6407421 h 6407421"/>
              <a:gd name="connsiteX3" fmla="*/ 11672158 w 11701760"/>
              <a:gd name="connsiteY3" fmla="*/ 6407421 h 6407421"/>
              <a:gd name="connsiteX4" fmla="*/ 11405961 w 11701760"/>
              <a:gd name="connsiteY4" fmla="*/ 6377925 h 6407421"/>
              <a:gd name="connsiteX5" fmla="*/ 11435563 w 11701760"/>
              <a:gd name="connsiteY5" fmla="*/ 6377925 h 6407421"/>
              <a:gd name="connsiteX6" fmla="*/ 11435563 w 11701760"/>
              <a:gd name="connsiteY6" fmla="*/ 6407421 h 6407421"/>
              <a:gd name="connsiteX7" fmla="*/ 11405961 w 11701760"/>
              <a:gd name="connsiteY7" fmla="*/ 6407421 h 6407421"/>
              <a:gd name="connsiteX8" fmla="*/ 11139872 w 11701760"/>
              <a:gd name="connsiteY8" fmla="*/ 6377925 h 6407421"/>
              <a:gd name="connsiteX9" fmla="*/ 11169474 w 11701760"/>
              <a:gd name="connsiteY9" fmla="*/ 6377925 h 6407421"/>
              <a:gd name="connsiteX10" fmla="*/ 11169474 w 11701760"/>
              <a:gd name="connsiteY10" fmla="*/ 6407421 h 6407421"/>
              <a:gd name="connsiteX11" fmla="*/ 11139872 w 11701760"/>
              <a:gd name="connsiteY11" fmla="*/ 6407421 h 6407421"/>
              <a:gd name="connsiteX12" fmla="*/ 10873675 w 11701760"/>
              <a:gd name="connsiteY12" fmla="*/ 6377925 h 6407421"/>
              <a:gd name="connsiteX13" fmla="*/ 10903277 w 11701760"/>
              <a:gd name="connsiteY13" fmla="*/ 6377925 h 6407421"/>
              <a:gd name="connsiteX14" fmla="*/ 10903277 w 11701760"/>
              <a:gd name="connsiteY14" fmla="*/ 6407421 h 6407421"/>
              <a:gd name="connsiteX15" fmla="*/ 10873675 w 11701760"/>
              <a:gd name="connsiteY15" fmla="*/ 6407421 h 6407421"/>
              <a:gd name="connsiteX16" fmla="*/ 10607478 w 11701760"/>
              <a:gd name="connsiteY16" fmla="*/ 6377925 h 6407421"/>
              <a:gd name="connsiteX17" fmla="*/ 10637188 w 11701760"/>
              <a:gd name="connsiteY17" fmla="*/ 6377925 h 6407421"/>
              <a:gd name="connsiteX18" fmla="*/ 10637188 w 11701760"/>
              <a:gd name="connsiteY18" fmla="*/ 6407421 h 6407421"/>
              <a:gd name="connsiteX19" fmla="*/ 10607478 w 11701760"/>
              <a:gd name="connsiteY19" fmla="*/ 6407421 h 6407421"/>
              <a:gd name="connsiteX20" fmla="*/ 10341389 w 11701760"/>
              <a:gd name="connsiteY20" fmla="*/ 6377925 h 6407421"/>
              <a:gd name="connsiteX21" fmla="*/ 10370992 w 11701760"/>
              <a:gd name="connsiteY21" fmla="*/ 6377925 h 6407421"/>
              <a:gd name="connsiteX22" fmla="*/ 10370992 w 11701760"/>
              <a:gd name="connsiteY22" fmla="*/ 6407421 h 6407421"/>
              <a:gd name="connsiteX23" fmla="*/ 10341389 w 11701760"/>
              <a:gd name="connsiteY23" fmla="*/ 6407421 h 6407421"/>
              <a:gd name="connsiteX24" fmla="*/ 10075192 w 11701760"/>
              <a:gd name="connsiteY24" fmla="*/ 6377925 h 6407421"/>
              <a:gd name="connsiteX25" fmla="*/ 10104794 w 11701760"/>
              <a:gd name="connsiteY25" fmla="*/ 6377925 h 6407421"/>
              <a:gd name="connsiteX26" fmla="*/ 10104794 w 11701760"/>
              <a:gd name="connsiteY26" fmla="*/ 6407421 h 6407421"/>
              <a:gd name="connsiteX27" fmla="*/ 10075192 w 11701760"/>
              <a:gd name="connsiteY27" fmla="*/ 6407421 h 6407421"/>
              <a:gd name="connsiteX28" fmla="*/ 9809103 w 11701760"/>
              <a:gd name="connsiteY28" fmla="*/ 6377925 h 6407421"/>
              <a:gd name="connsiteX29" fmla="*/ 9838705 w 11701760"/>
              <a:gd name="connsiteY29" fmla="*/ 6377925 h 6407421"/>
              <a:gd name="connsiteX30" fmla="*/ 9838705 w 11701760"/>
              <a:gd name="connsiteY30" fmla="*/ 6407421 h 6407421"/>
              <a:gd name="connsiteX31" fmla="*/ 9809103 w 11701760"/>
              <a:gd name="connsiteY31" fmla="*/ 6407421 h 6407421"/>
              <a:gd name="connsiteX32" fmla="*/ 9542906 w 11701760"/>
              <a:gd name="connsiteY32" fmla="*/ 6377925 h 6407421"/>
              <a:gd name="connsiteX33" fmla="*/ 9572509 w 11701760"/>
              <a:gd name="connsiteY33" fmla="*/ 6377925 h 6407421"/>
              <a:gd name="connsiteX34" fmla="*/ 9572509 w 11701760"/>
              <a:gd name="connsiteY34" fmla="*/ 6407421 h 6407421"/>
              <a:gd name="connsiteX35" fmla="*/ 9542906 w 11701760"/>
              <a:gd name="connsiteY35" fmla="*/ 6407421 h 6407421"/>
              <a:gd name="connsiteX36" fmla="*/ 9276817 w 11701760"/>
              <a:gd name="connsiteY36" fmla="*/ 6377925 h 6407421"/>
              <a:gd name="connsiteX37" fmla="*/ 9306420 w 11701760"/>
              <a:gd name="connsiteY37" fmla="*/ 6377925 h 6407421"/>
              <a:gd name="connsiteX38" fmla="*/ 9306420 w 11701760"/>
              <a:gd name="connsiteY38" fmla="*/ 6407421 h 6407421"/>
              <a:gd name="connsiteX39" fmla="*/ 9276817 w 11701760"/>
              <a:gd name="connsiteY39" fmla="*/ 6407421 h 6407421"/>
              <a:gd name="connsiteX40" fmla="*/ 9010620 w 11701760"/>
              <a:gd name="connsiteY40" fmla="*/ 6377925 h 6407421"/>
              <a:gd name="connsiteX41" fmla="*/ 9040222 w 11701760"/>
              <a:gd name="connsiteY41" fmla="*/ 6377925 h 6407421"/>
              <a:gd name="connsiteX42" fmla="*/ 9040222 w 11701760"/>
              <a:gd name="connsiteY42" fmla="*/ 6407421 h 6407421"/>
              <a:gd name="connsiteX43" fmla="*/ 9010620 w 11701760"/>
              <a:gd name="connsiteY43" fmla="*/ 6407421 h 6407421"/>
              <a:gd name="connsiteX44" fmla="*/ 8744423 w 11701760"/>
              <a:gd name="connsiteY44" fmla="*/ 6377925 h 6407421"/>
              <a:gd name="connsiteX45" fmla="*/ 8774026 w 11701760"/>
              <a:gd name="connsiteY45" fmla="*/ 6377925 h 6407421"/>
              <a:gd name="connsiteX46" fmla="*/ 8774026 w 11701760"/>
              <a:gd name="connsiteY46" fmla="*/ 6407421 h 6407421"/>
              <a:gd name="connsiteX47" fmla="*/ 8744423 w 11701760"/>
              <a:gd name="connsiteY47" fmla="*/ 6407421 h 6407421"/>
              <a:gd name="connsiteX48" fmla="*/ 8478226 w 11701760"/>
              <a:gd name="connsiteY48" fmla="*/ 6377925 h 6407421"/>
              <a:gd name="connsiteX49" fmla="*/ 8507828 w 11701760"/>
              <a:gd name="connsiteY49" fmla="*/ 6377925 h 6407421"/>
              <a:gd name="connsiteX50" fmla="*/ 8507828 w 11701760"/>
              <a:gd name="connsiteY50" fmla="*/ 6407421 h 6407421"/>
              <a:gd name="connsiteX51" fmla="*/ 8478226 w 11701760"/>
              <a:gd name="connsiteY51" fmla="*/ 6407421 h 6407421"/>
              <a:gd name="connsiteX52" fmla="*/ 8212137 w 11701760"/>
              <a:gd name="connsiteY52" fmla="*/ 6377925 h 6407421"/>
              <a:gd name="connsiteX53" fmla="*/ 8241740 w 11701760"/>
              <a:gd name="connsiteY53" fmla="*/ 6377925 h 6407421"/>
              <a:gd name="connsiteX54" fmla="*/ 8241740 w 11701760"/>
              <a:gd name="connsiteY54" fmla="*/ 6407421 h 6407421"/>
              <a:gd name="connsiteX55" fmla="*/ 8212137 w 11701760"/>
              <a:gd name="connsiteY55" fmla="*/ 6407421 h 6407421"/>
              <a:gd name="connsiteX56" fmla="*/ 7945940 w 11701760"/>
              <a:gd name="connsiteY56" fmla="*/ 6377925 h 6407421"/>
              <a:gd name="connsiteX57" fmla="*/ 7975543 w 11701760"/>
              <a:gd name="connsiteY57" fmla="*/ 6377925 h 6407421"/>
              <a:gd name="connsiteX58" fmla="*/ 7975543 w 11701760"/>
              <a:gd name="connsiteY58" fmla="*/ 6407421 h 6407421"/>
              <a:gd name="connsiteX59" fmla="*/ 7945940 w 11701760"/>
              <a:gd name="connsiteY59" fmla="*/ 6407421 h 6407421"/>
              <a:gd name="connsiteX60" fmla="*/ 7679743 w 11701760"/>
              <a:gd name="connsiteY60" fmla="*/ 6377925 h 6407421"/>
              <a:gd name="connsiteX61" fmla="*/ 7709346 w 11701760"/>
              <a:gd name="connsiteY61" fmla="*/ 6377925 h 6407421"/>
              <a:gd name="connsiteX62" fmla="*/ 7709346 w 11701760"/>
              <a:gd name="connsiteY62" fmla="*/ 6407421 h 6407421"/>
              <a:gd name="connsiteX63" fmla="*/ 7679743 w 11701760"/>
              <a:gd name="connsiteY63" fmla="*/ 6407421 h 6407421"/>
              <a:gd name="connsiteX64" fmla="*/ 7413653 w 11701760"/>
              <a:gd name="connsiteY64" fmla="*/ 6377925 h 6407421"/>
              <a:gd name="connsiteX65" fmla="*/ 7443256 w 11701760"/>
              <a:gd name="connsiteY65" fmla="*/ 6377925 h 6407421"/>
              <a:gd name="connsiteX66" fmla="*/ 7443256 w 11701760"/>
              <a:gd name="connsiteY66" fmla="*/ 6407421 h 6407421"/>
              <a:gd name="connsiteX67" fmla="*/ 7413653 w 11701760"/>
              <a:gd name="connsiteY67" fmla="*/ 6407421 h 6407421"/>
              <a:gd name="connsiteX68" fmla="*/ 7147456 w 11701760"/>
              <a:gd name="connsiteY68" fmla="*/ 6377925 h 6407421"/>
              <a:gd name="connsiteX69" fmla="*/ 7177058 w 11701760"/>
              <a:gd name="connsiteY69" fmla="*/ 6377925 h 6407421"/>
              <a:gd name="connsiteX70" fmla="*/ 7177058 w 11701760"/>
              <a:gd name="connsiteY70" fmla="*/ 6407421 h 6407421"/>
              <a:gd name="connsiteX71" fmla="*/ 7147456 w 11701760"/>
              <a:gd name="connsiteY71" fmla="*/ 6407421 h 6407421"/>
              <a:gd name="connsiteX72" fmla="*/ 6881367 w 11701760"/>
              <a:gd name="connsiteY72" fmla="*/ 6377925 h 6407421"/>
              <a:gd name="connsiteX73" fmla="*/ 6910970 w 11701760"/>
              <a:gd name="connsiteY73" fmla="*/ 6377925 h 6407421"/>
              <a:gd name="connsiteX74" fmla="*/ 6910970 w 11701760"/>
              <a:gd name="connsiteY74" fmla="*/ 6407421 h 6407421"/>
              <a:gd name="connsiteX75" fmla="*/ 6881367 w 11701760"/>
              <a:gd name="connsiteY75" fmla="*/ 6407421 h 6407421"/>
              <a:gd name="connsiteX76" fmla="*/ 6615170 w 11701760"/>
              <a:gd name="connsiteY76" fmla="*/ 6377925 h 6407421"/>
              <a:gd name="connsiteX77" fmla="*/ 6644773 w 11701760"/>
              <a:gd name="connsiteY77" fmla="*/ 6377925 h 6407421"/>
              <a:gd name="connsiteX78" fmla="*/ 6644773 w 11701760"/>
              <a:gd name="connsiteY78" fmla="*/ 6407421 h 6407421"/>
              <a:gd name="connsiteX79" fmla="*/ 6615170 w 11701760"/>
              <a:gd name="connsiteY79" fmla="*/ 6407421 h 6407421"/>
              <a:gd name="connsiteX80" fmla="*/ 6349081 w 11701760"/>
              <a:gd name="connsiteY80" fmla="*/ 6377925 h 6407421"/>
              <a:gd name="connsiteX81" fmla="*/ 6378683 w 11701760"/>
              <a:gd name="connsiteY81" fmla="*/ 6377925 h 6407421"/>
              <a:gd name="connsiteX82" fmla="*/ 6378683 w 11701760"/>
              <a:gd name="connsiteY82" fmla="*/ 6407421 h 6407421"/>
              <a:gd name="connsiteX83" fmla="*/ 6349081 w 11701760"/>
              <a:gd name="connsiteY83" fmla="*/ 6407421 h 6407421"/>
              <a:gd name="connsiteX84" fmla="*/ 6082884 w 11701760"/>
              <a:gd name="connsiteY84" fmla="*/ 6377925 h 6407421"/>
              <a:gd name="connsiteX85" fmla="*/ 6112486 w 11701760"/>
              <a:gd name="connsiteY85" fmla="*/ 6377925 h 6407421"/>
              <a:gd name="connsiteX86" fmla="*/ 6112486 w 11701760"/>
              <a:gd name="connsiteY86" fmla="*/ 6407421 h 6407421"/>
              <a:gd name="connsiteX87" fmla="*/ 6082884 w 11701760"/>
              <a:gd name="connsiteY87" fmla="*/ 6407421 h 6407421"/>
              <a:gd name="connsiteX88" fmla="*/ 5825310 w 11701760"/>
              <a:gd name="connsiteY88" fmla="*/ 6377925 h 6407421"/>
              <a:gd name="connsiteX89" fmla="*/ 5854913 w 11701760"/>
              <a:gd name="connsiteY89" fmla="*/ 6377925 h 6407421"/>
              <a:gd name="connsiteX90" fmla="*/ 5854913 w 11701760"/>
              <a:gd name="connsiteY90" fmla="*/ 6407421 h 6407421"/>
              <a:gd name="connsiteX91" fmla="*/ 5825310 w 11701760"/>
              <a:gd name="connsiteY91" fmla="*/ 6407421 h 6407421"/>
              <a:gd name="connsiteX92" fmla="*/ 5559113 w 11701760"/>
              <a:gd name="connsiteY92" fmla="*/ 6377925 h 6407421"/>
              <a:gd name="connsiteX93" fmla="*/ 5588715 w 11701760"/>
              <a:gd name="connsiteY93" fmla="*/ 6377925 h 6407421"/>
              <a:gd name="connsiteX94" fmla="*/ 5588715 w 11701760"/>
              <a:gd name="connsiteY94" fmla="*/ 6407421 h 6407421"/>
              <a:gd name="connsiteX95" fmla="*/ 5559113 w 11701760"/>
              <a:gd name="connsiteY95" fmla="*/ 6407421 h 6407421"/>
              <a:gd name="connsiteX96" fmla="*/ 5293024 w 11701760"/>
              <a:gd name="connsiteY96" fmla="*/ 6377925 h 6407421"/>
              <a:gd name="connsiteX97" fmla="*/ 5322626 w 11701760"/>
              <a:gd name="connsiteY97" fmla="*/ 6377925 h 6407421"/>
              <a:gd name="connsiteX98" fmla="*/ 5322626 w 11701760"/>
              <a:gd name="connsiteY98" fmla="*/ 6407421 h 6407421"/>
              <a:gd name="connsiteX99" fmla="*/ 5293024 w 11701760"/>
              <a:gd name="connsiteY99" fmla="*/ 6407421 h 6407421"/>
              <a:gd name="connsiteX100" fmla="*/ 5026827 w 11701760"/>
              <a:gd name="connsiteY100" fmla="*/ 6377925 h 6407421"/>
              <a:gd name="connsiteX101" fmla="*/ 5056429 w 11701760"/>
              <a:gd name="connsiteY101" fmla="*/ 6377925 h 6407421"/>
              <a:gd name="connsiteX102" fmla="*/ 5056429 w 11701760"/>
              <a:gd name="connsiteY102" fmla="*/ 6407421 h 6407421"/>
              <a:gd name="connsiteX103" fmla="*/ 5026827 w 11701760"/>
              <a:gd name="connsiteY103" fmla="*/ 6407421 h 6407421"/>
              <a:gd name="connsiteX104" fmla="*/ 4760630 w 11701760"/>
              <a:gd name="connsiteY104" fmla="*/ 6377925 h 6407421"/>
              <a:gd name="connsiteX105" fmla="*/ 4790340 w 11701760"/>
              <a:gd name="connsiteY105" fmla="*/ 6377925 h 6407421"/>
              <a:gd name="connsiteX106" fmla="*/ 4790340 w 11701760"/>
              <a:gd name="connsiteY106" fmla="*/ 6407421 h 6407421"/>
              <a:gd name="connsiteX107" fmla="*/ 4760630 w 11701760"/>
              <a:gd name="connsiteY107" fmla="*/ 6407421 h 6407421"/>
              <a:gd name="connsiteX108" fmla="*/ 4494541 w 11701760"/>
              <a:gd name="connsiteY108" fmla="*/ 6377925 h 6407421"/>
              <a:gd name="connsiteX109" fmla="*/ 4524144 w 11701760"/>
              <a:gd name="connsiteY109" fmla="*/ 6377925 h 6407421"/>
              <a:gd name="connsiteX110" fmla="*/ 4524144 w 11701760"/>
              <a:gd name="connsiteY110" fmla="*/ 6407421 h 6407421"/>
              <a:gd name="connsiteX111" fmla="*/ 4494541 w 11701760"/>
              <a:gd name="connsiteY111" fmla="*/ 6407421 h 6407421"/>
              <a:gd name="connsiteX112" fmla="*/ 4228344 w 11701760"/>
              <a:gd name="connsiteY112" fmla="*/ 6377925 h 6407421"/>
              <a:gd name="connsiteX113" fmla="*/ 4257946 w 11701760"/>
              <a:gd name="connsiteY113" fmla="*/ 6377925 h 6407421"/>
              <a:gd name="connsiteX114" fmla="*/ 4257946 w 11701760"/>
              <a:gd name="connsiteY114" fmla="*/ 6407421 h 6407421"/>
              <a:gd name="connsiteX115" fmla="*/ 4228344 w 11701760"/>
              <a:gd name="connsiteY115" fmla="*/ 6407421 h 6407421"/>
              <a:gd name="connsiteX116" fmla="*/ 3962255 w 11701760"/>
              <a:gd name="connsiteY116" fmla="*/ 6377925 h 6407421"/>
              <a:gd name="connsiteX117" fmla="*/ 3991857 w 11701760"/>
              <a:gd name="connsiteY117" fmla="*/ 6377925 h 6407421"/>
              <a:gd name="connsiteX118" fmla="*/ 3991857 w 11701760"/>
              <a:gd name="connsiteY118" fmla="*/ 6407421 h 6407421"/>
              <a:gd name="connsiteX119" fmla="*/ 3962255 w 11701760"/>
              <a:gd name="connsiteY119" fmla="*/ 6407421 h 6407421"/>
              <a:gd name="connsiteX120" fmla="*/ 3696058 w 11701760"/>
              <a:gd name="connsiteY120" fmla="*/ 6377925 h 6407421"/>
              <a:gd name="connsiteX121" fmla="*/ 3725661 w 11701760"/>
              <a:gd name="connsiteY121" fmla="*/ 6377925 h 6407421"/>
              <a:gd name="connsiteX122" fmla="*/ 3725661 w 11701760"/>
              <a:gd name="connsiteY122" fmla="*/ 6407421 h 6407421"/>
              <a:gd name="connsiteX123" fmla="*/ 3696058 w 11701760"/>
              <a:gd name="connsiteY123" fmla="*/ 6407421 h 6407421"/>
              <a:gd name="connsiteX124" fmla="*/ 3429969 w 11701760"/>
              <a:gd name="connsiteY124" fmla="*/ 6377925 h 6407421"/>
              <a:gd name="connsiteX125" fmla="*/ 3459572 w 11701760"/>
              <a:gd name="connsiteY125" fmla="*/ 6377925 h 6407421"/>
              <a:gd name="connsiteX126" fmla="*/ 3459572 w 11701760"/>
              <a:gd name="connsiteY126" fmla="*/ 6407421 h 6407421"/>
              <a:gd name="connsiteX127" fmla="*/ 3429969 w 11701760"/>
              <a:gd name="connsiteY127" fmla="*/ 6407421 h 6407421"/>
              <a:gd name="connsiteX128" fmla="*/ 3163772 w 11701760"/>
              <a:gd name="connsiteY128" fmla="*/ 6377925 h 6407421"/>
              <a:gd name="connsiteX129" fmla="*/ 3193374 w 11701760"/>
              <a:gd name="connsiteY129" fmla="*/ 6377925 h 6407421"/>
              <a:gd name="connsiteX130" fmla="*/ 3193374 w 11701760"/>
              <a:gd name="connsiteY130" fmla="*/ 6407421 h 6407421"/>
              <a:gd name="connsiteX131" fmla="*/ 3163772 w 11701760"/>
              <a:gd name="connsiteY131" fmla="*/ 6407421 h 6407421"/>
              <a:gd name="connsiteX132" fmla="*/ 2897575 w 11701760"/>
              <a:gd name="connsiteY132" fmla="*/ 6377925 h 6407421"/>
              <a:gd name="connsiteX133" fmla="*/ 2927178 w 11701760"/>
              <a:gd name="connsiteY133" fmla="*/ 6377925 h 6407421"/>
              <a:gd name="connsiteX134" fmla="*/ 2927178 w 11701760"/>
              <a:gd name="connsiteY134" fmla="*/ 6407421 h 6407421"/>
              <a:gd name="connsiteX135" fmla="*/ 2897575 w 11701760"/>
              <a:gd name="connsiteY135" fmla="*/ 6407421 h 6407421"/>
              <a:gd name="connsiteX136" fmla="*/ 2631378 w 11701760"/>
              <a:gd name="connsiteY136" fmla="*/ 6377925 h 6407421"/>
              <a:gd name="connsiteX137" fmla="*/ 2660980 w 11701760"/>
              <a:gd name="connsiteY137" fmla="*/ 6377925 h 6407421"/>
              <a:gd name="connsiteX138" fmla="*/ 2660980 w 11701760"/>
              <a:gd name="connsiteY138" fmla="*/ 6407421 h 6407421"/>
              <a:gd name="connsiteX139" fmla="*/ 2631378 w 11701760"/>
              <a:gd name="connsiteY139" fmla="*/ 6407421 h 6407421"/>
              <a:gd name="connsiteX140" fmla="*/ 2365289 w 11701760"/>
              <a:gd name="connsiteY140" fmla="*/ 6377925 h 6407421"/>
              <a:gd name="connsiteX141" fmla="*/ 2394892 w 11701760"/>
              <a:gd name="connsiteY141" fmla="*/ 6377925 h 6407421"/>
              <a:gd name="connsiteX142" fmla="*/ 2394892 w 11701760"/>
              <a:gd name="connsiteY142" fmla="*/ 6407421 h 6407421"/>
              <a:gd name="connsiteX143" fmla="*/ 2365289 w 11701760"/>
              <a:gd name="connsiteY143" fmla="*/ 6407421 h 6407421"/>
              <a:gd name="connsiteX144" fmla="*/ 2099092 w 11701760"/>
              <a:gd name="connsiteY144" fmla="*/ 6377925 h 6407421"/>
              <a:gd name="connsiteX145" fmla="*/ 2128695 w 11701760"/>
              <a:gd name="connsiteY145" fmla="*/ 6377925 h 6407421"/>
              <a:gd name="connsiteX146" fmla="*/ 2128695 w 11701760"/>
              <a:gd name="connsiteY146" fmla="*/ 6407421 h 6407421"/>
              <a:gd name="connsiteX147" fmla="*/ 2099092 w 11701760"/>
              <a:gd name="connsiteY147" fmla="*/ 6407421 h 6407421"/>
              <a:gd name="connsiteX148" fmla="*/ 1832898 w 11701760"/>
              <a:gd name="connsiteY148" fmla="*/ 6377925 h 6407421"/>
              <a:gd name="connsiteX149" fmla="*/ 1862498 w 11701760"/>
              <a:gd name="connsiteY149" fmla="*/ 6377925 h 6407421"/>
              <a:gd name="connsiteX150" fmla="*/ 1862498 w 11701760"/>
              <a:gd name="connsiteY150" fmla="*/ 6407421 h 6407421"/>
              <a:gd name="connsiteX151" fmla="*/ 1832898 w 11701760"/>
              <a:gd name="connsiteY151" fmla="*/ 6407421 h 6407421"/>
              <a:gd name="connsiteX152" fmla="*/ 1566808 w 11701760"/>
              <a:gd name="connsiteY152" fmla="*/ 6377925 h 6407421"/>
              <a:gd name="connsiteX153" fmla="*/ 1596409 w 11701760"/>
              <a:gd name="connsiteY153" fmla="*/ 6377925 h 6407421"/>
              <a:gd name="connsiteX154" fmla="*/ 1596409 w 11701760"/>
              <a:gd name="connsiteY154" fmla="*/ 6407421 h 6407421"/>
              <a:gd name="connsiteX155" fmla="*/ 1566808 w 11701760"/>
              <a:gd name="connsiteY155" fmla="*/ 6407421 h 6407421"/>
              <a:gd name="connsiteX156" fmla="*/ 1300611 w 11701760"/>
              <a:gd name="connsiteY156" fmla="*/ 6377925 h 6407421"/>
              <a:gd name="connsiteX157" fmla="*/ 1330213 w 11701760"/>
              <a:gd name="connsiteY157" fmla="*/ 6377925 h 6407421"/>
              <a:gd name="connsiteX158" fmla="*/ 1330213 w 11701760"/>
              <a:gd name="connsiteY158" fmla="*/ 6407421 h 6407421"/>
              <a:gd name="connsiteX159" fmla="*/ 1300611 w 11701760"/>
              <a:gd name="connsiteY159" fmla="*/ 6407421 h 6407421"/>
              <a:gd name="connsiteX160" fmla="*/ 1034520 w 11701760"/>
              <a:gd name="connsiteY160" fmla="*/ 6377925 h 6407421"/>
              <a:gd name="connsiteX161" fmla="*/ 1064123 w 11701760"/>
              <a:gd name="connsiteY161" fmla="*/ 6377925 h 6407421"/>
              <a:gd name="connsiteX162" fmla="*/ 1064123 w 11701760"/>
              <a:gd name="connsiteY162" fmla="*/ 6407421 h 6407421"/>
              <a:gd name="connsiteX163" fmla="*/ 1034520 w 11701760"/>
              <a:gd name="connsiteY163" fmla="*/ 6407421 h 6407421"/>
              <a:gd name="connsiteX164" fmla="*/ 768328 w 11701760"/>
              <a:gd name="connsiteY164" fmla="*/ 6377925 h 6407421"/>
              <a:gd name="connsiteX165" fmla="*/ 797926 w 11701760"/>
              <a:gd name="connsiteY165" fmla="*/ 6377925 h 6407421"/>
              <a:gd name="connsiteX166" fmla="*/ 797926 w 11701760"/>
              <a:gd name="connsiteY166" fmla="*/ 6407421 h 6407421"/>
              <a:gd name="connsiteX167" fmla="*/ 768328 w 11701760"/>
              <a:gd name="connsiteY167" fmla="*/ 6407421 h 6407421"/>
              <a:gd name="connsiteX168" fmla="*/ 502237 w 11701760"/>
              <a:gd name="connsiteY168" fmla="*/ 6377925 h 6407421"/>
              <a:gd name="connsiteX169" fmla="*/ 531839 w 11701760"/>
              <a:gd name="connsiteY169" fmla="*/ 6377925 h 6407421"/>
              <a:gd name="connsiteX170" fmla="*/ 531839 w 11701760"/>
              <a:gd name="connsiteY170" fmla="*/ 6407421 h 6407421"/>
              <a:gd name="connsiteX171" fmla="*/ 502237 w 11701760"/>
              <a:gd name="connsiteY171" fmla="*/ 6407421 h 6407421"/>
              <a:gd name="connsiteX172" fmla="*/ 236038 w 11701760"/>
              <a:gd name="connsiteY172" fmla="*/ 6377925 h 6407421"/>
              <a:gd name="connsiteX173" fmla="*/ 265640 w 11701760"/>
              <a:gd name="connsiteY173" fmla="*/ 6377925 h 6407421"/>
              <a:gd name="connsiteX174" fmla="*/ 265640 w 11701760"/>
              <a:gd name="connsiteY174" fmla="*/ 6407421 h 6407421"/>
              <a:gd name="connsiteX175" fmla="*/ 236038 w 11701760"/>
              <a:gd name="connsiteY175" fmla="*/ 6407421 h 6407421"/>
              <a:gd name="connsiteX176" fmla="*/ 2 w 11701760"/>
              <a:gd name="connsiteY176" fmla="*/ 6377925 h 6407421"/>
              <a:gd name="connsiteX177" fmla="*/ 29604 w 11701760"/>
              <a:gd name="connsiteY177" fmla="*/ 6377925 h 6407421"/>
              <a:gd name="connsiteX178" fmla="*/ 29604 w 11701760"/>
              <a:gd name="connsiteY178" fmla="*/ 6407421 h 6407421"/>
              <a:gd name="connsiteX179" fmla="*/ 2 w 11701760"/>
              <a:gd name="connsiteY179" fmla="*/ 6407421 h 6407421"/>
              <a:gd name="connsiteX180" fmla="*/ 11672158 w 11701760"/>
              <a:gd name="connsiteY180" fmla="*/ 6112161 h 6407421"/>
              <a:gd name="connsiteX181" fmla="*/ 11701760 w 11701760"/>
              <a:gd name="connsiteY181" fmla="*/ 6112161 h 6407421"/>
              <a:gd name="connsiteX182" fmla="*/ 11701760 w 11701760"/>
              <a:gd name="connsiteY182" fmla="*/ 6141763 h 6407421"/>
              <a:gd name="connsiteX183" fmla="*/ 11672158 w 11701760"/>
              <a:gd name="connsiteY183" fmla="*/ 6141763 h 6407421"/>
              <a:gd name="connsiteX184" fmla="*/ 11405961 w 11701760"/>
              <a:gd name="connsiteY184" fmla="*/ 6112161 h 6407421"/>
              <a:gd name="connsiteX185" fmla="*/ 11435563 w 11701760"/>
              <a:gd name="connsiteY185" fmla="*/ 6112161 h 6407421"/>
              <a:gd name="connsiteX186" fmla="*/ 11435563 w 11701760"/>
              <a:gd name="connsiteY186" fmla="*/ 6141763 h 6407421"/>
              <a:gd name="connsiteX187" fmla="*/ 11405961 w 11701760"/>
              <a:gd name="connsiteY187" fmla="*/ 6141763 h 6407421"/>
              <a:gd name="connsiteX188" fmla="*/ 11139872 w 11701760"/>
              <a:gd name="connsiteY188" fmla="*/ 6112161 h 6407421"/>
              <a:gd name="connsiteX189" fmla="*/ 11169474 w 11701760"/>
              <a:gd name="connsiteY189" fmla="*/ 6112161 h 6407421"/>
              <a:gd name="connsiteX190" fmla="*/ 11169474 w 11701760"/>
              <a:gd name="connsiteY190" fmla="*/ 6141763 h 6407421"/>
              <a:gd name="connsiteX191" fmla="*/ 11139872 w 11701760"/>
              <a:gd name="connsiteY191" fmla="*/ 6141763 h 6407421"/>
              <a:gd name="connsiteX192" fmla="*/ 10873675 w 11701760"/>
              <a:gd name="connsiteY192" fmla="*/ 6112161 h 6407421"/>
              <a:gd name="connsiteX193" fmla="*/ 10903277 w 11701760"/>
              <a:gd name="connsiteY193" fmla="*/ 6112161 h 6407421"/>
              <a:gd name="connsiteX194" fmla="*/ 10903277 w 11701760"/>
              <a:gd name="connsiteY194" fmla="*/ 6141763 h 6407421"/>
              <a:gd name="connsiteX195" fmla="*/ 10873675 w 11701760"/>
              <a:gd name="connsiteY195" fmla="*/ 6141763 h 6407421"/>
              <a:gd name="connsiteX196" fmla="*/ 10607478 w 11701760"/>
              <a:gd name="connsiteY196" fmla="*/ 6112161 h 6407421"/>
              <a:gd name="connsiteX197" fmla="*/ 10637188 w 11701760"/>
              <a:gd name="connsiteY197" fmla="*/ 6112161 h 6407421"/>
              <a:gd name="connsiteX198" fmla="*/ 10637188 w 11701760"/>
              <a:gd name="connsiteY198" fmla="*/ 6141763 h 6407421"/>
              <a:gd name="connsiteX199" fmla="*/ 10607478 w 11701760"/>
              <a:gd name="connsiteY199" fmla="*/ 6141763 h 6407421"/>
              <a:gd name="connsiteX200" fmla="*/ 10341389 w 11701760"/>
              <a:gd name="connsiteY200" fmla="*/ 6112161 h 6407421"/>
              <a:gd name="connsiteX201" fmla="*/ 10370992 w 11701760"/>
              <a:gd name="connsiteY201" fmla="*/ 6112161 h 6407421"/>
              <a:gd name="connsiteX202" fmla="*/ 10370992 w 11701760"/>
              <a:gd name="connsiteY202" fmla="*/ 6141763 h 6407421"/>
              <a:gd name="connsiteX203" fmla="*/ 10341389 w 11701760"/>
              <a:gd name="connsiteY203" fmla="*/ 6141763 h 6407421"/>
              <a:gd name="connsiteX204" fmla="*/ 10075192 w 11701760"/>
              <a:gd name="connsiteY204" fmla="*/ 6112161 h 6407421"/>
              <a:gd name="connsiteX205" fmla="*/ 10104794 w 11701760"/>
              <a:gd name="connsiteY205" fmla="*/ 6112161 h 6407421"/>
              <a:gd name="connsiteX206" fmla="*/ 10104794 w 11701760"/>
              <a:gd name="connsiteY206" fmla="*/ 6141763 h 6407421"/>
              <a:gd name="connsiteX207" fmla="*/ 10075192 w 11701760"/>
              <a:gd name="connsiteY207" fmla="*/ 6141763 h 6407421"/>
              <a:gd name="connsiteX208" fmla="*/ 9809103 w 11701760"/>
              <a:gd name="connsiteY208" fmla="*/ 6112161 h 6407421"/>
              <a:gd name="connsiteX209" fmla="*/ 9838705 w 11701760"/>
              <a:gd name="connsiteY209" fmla="*/ 6112161 h 6407421"/>
              <a:gd name="connsiteX210" fmla="*/ 9838705 w 11701760"/>
              <a:gd name="connsiteY210" fmla="*/ 6141763 h 6407421"/>
              <a:gd name="connsiteX211" fmla="*/ 9809103 w 11701760"/>
              <a:gd name="connsiteY211" fmla="*/ 6141763 h 6407421"/>
              <a:gd name="connsiteX212" fmla="*/ 9542906 w 11701760"/>
              <a:gd name="connsiteY212" fmla="*/ 6112161 h 6407421"/>
              <a:gd name="connsiteX213" fmla="*/ 9572509 w 11701760"/>
              <a:gd name="connsiteY213" fmla="*/ 6112161 h 6407421"/>
              <a:gd name="connsiteX214" fmla="*/ 9572509 w 11701760"/>
              <a:gd name="connsiteY214" fmla="*/ 6141763 h 6407421"/>
              <a:gd name="connsiteX215" fmla="*/ 9542906 w 11701760"/>
              <a:gd name="connsiteY215" fmla="*/ 6141763 h 6407421"/>
              <a:gd name="connsiteX216" fmla="*/ 9276817 w 11701760"/>
              <a:gd name="connsiteY216" fmla="*/ 6112161 h 6407421"/>
              <a:gd name="connsiteX217" fmla="*/ 9306420 w 11701760"/>
              <a:gd name="connsiteY217" fmla="*/ 6112161 h 6407421"/>
              <a:gd name="connsiteX218" fmla="*/ 9306420 w 11701760"/>
              <a:gd name="connsiteY218" fmla="*/ 6141763 h 6407421"/>
              <a:gd name="connsiteX219" fmla="*/ 9276817 w 11701760"/>
              <a:gd name="connsiteY219" fmla="*/ 6141763 h 6407421"/>
              <a:gd name="connsiteX220" fmla="*/ 9010620 w 11701760"/>
              <a:gd name="connsiteY220" fmla="*/ 6112161 h 6407421"/>
              <a:gd name="connsiteX221" fmla="*/ 9040222 w 11701760"/>
              <a:gd name="connsiteY221" fmla="*/ 6112161 h 6407421"/>
              <a:gd name="connsiteX222" fmla="*/ 9040222 w 11701760"/>
              <a:gd name="connsiteY222" fmla="*/ 6141763 h 6407421"/>
              <a:gd name="connsiteX223" fmla="*/ 9010620 w 11701760"/>
              <a:gd name="connsiteY223" fmla="*/ 6141763 h 6407421"/>
              <a:gd name="connsiteX224" fmla="*/ 8744423 w 11701760"/>
              <a:gd name="connsiteY224" fmla="*/ 6112161 h 6407421"/>
              <a:gd name="connsiteX225" fmla="*/ 8774026 w 11701760"/>
              <a:gd name="connsiteY225" fmla="*/ 6112161 h 6407421"/>
              <a:gd name="connsiteX226" fmla="*/ 8774026 w 11701760"/>
              <a:gd name="connsiteY226" fmla="*/ 6141763 h 6407421"/>
              <a:gd name="connsiteX227" fmla="*/ 8744423 w 11701760"/>
              <a:gd name="connsiteY227" fmla="*/ 6141763 h 6407421"/>
              <a:gd name="connsiteX228" fmla="*/ 8478226 w 11701760"/>
              <a:gd name="connsiteY228" fmla="*/ 6112161 h 6407421"/>
              <a:gd name="connsiteX229" fmla="*/ 8507828 w 11701760"/>
              <a:gd name="connsiteY229" fmla="*/ 6112161 h 6407421"/>
              <a:gd name="connsiteX230" fmla="*/ 8507828 w 11701760"/>
              <a:gd name="connsiteY230" fmla="*/ 6141763 h 6407421"/>
              <a:gd name="connsiteX231" fmla="*/ 8478226 w 11701760"/>
              <a:gd name="connsiteY231" fmla="*/ 6141763 h 6407421"/>
              <a:gd name="connsiteX232" fmla="*/ 8212137 w 11701760"/>
              <a:gd name="connsiteY232" fmla="*/ 6112161 h 6407421"/>
              <a:gd name="connsiteX233" fmla="*/ 8241740 w 11701760"/>
              <a:gd name="connsiteY233" fmla="*/ 6112161 h 6407421"/>
              <a:gd name="connsiteX234" fmla="*/ 8241740 w 11701760"/>
              <a:gd name="connsiteY234" fmla="*/ 6141763 h 6407421"/>
              <a:gd name="connsiteX235" fmla="*/ 8212137 w 11701760"/>
              <a:gd name="connsiteY235" fmla="*/ 6141763 h 6407421"/>
              <a:gd name="connsiteX236" fmla="*/ 7945940 w 11701760"/>
              <a:gd name="connsiteY236" fmla="*/ 6112161 h 6407421"/>
              <a:gd name="connsiteX237" fmla="*/ 7975543 w 11701760"/>
              <a:gd name="connsiteY237" fmla="*/ 6112161 h 6407421"/>
              <a:gd name="connsiteX238" fmla="*/ 7975543 w 11701760"/>
              <a:gd name="connsiteY238" fmla="*/ 6141763 h 6407421"/>
              <a:gd name="connsiteX239" fmla="*/ 7945940 w 11701760"/>
              <a:gd name="connsiteY239" fmla="*/ 6141763 h 6407421"/>
              <a:gd name="connsiteX240" fmla="*/ 7679743 w 11701760"/>
              <a:gd name="connsiteY240" fmla="*/ 6112161 h 6407421"/>
              <a:gd name="connsiteX241" fmla="*/ 7709346 w 11701760"/>
              <a:gd name="connsiteY241" fmla="*/ 6112161 h 6407421"/>
              <a:gd name="connsiteX242" fmla="*/ 7709346 w 11701760"/>
              <a:gd name="connsiteY242" fmla="*/ 6141763 h 6407421"/>
              <a:gd name="connsiteX243" fmla="*/ 7679743 w 11701760"/>
              <a:gd name="connsiteY243" fmla="*/ 6141763 h 6407421"/>
              <a:gd name="connsiteX244" fmla="*/ 7413653 w 11701760"/>
              <a:gd name="connsiteY244" fmla="*/ 6112161 h 6407421"/>
              <a:gd name="connsiteX245" fmla="*/ 7443256 w 11701760"/>
              <a:gd name="connsiteY245" fmla="*/ 6112161 h 6407421"/>
              <a:gd name="connsiteX246" fmla="*/ 7443256 w 11701760"/>
              <a:gd name="connsiteY246" fmla="*/ 6141763 h 6407421"/>
              <a:gd name="connsiteX247" fmla="*/ 7413653 w 11701760"/>
              <a:gd name="connsiteY247" fmla="*/ 6141763 h 6407421"/>
              <a:gd name="connsiteX248" fmla="*/ 7147456 w 11701760"/>
              <a:gd name="connsiteY248" fmla="*/ 6112161 h 6407421"/>
              <a:gd name="connsiteX249" fmla="*/ 7177058 w 11701760"/>
              <a:gd name="connsiteY249" fmla="*/ 6112161 h 6407421"/>
              <a:gd name="connsiteX250" fmla="*/ 7177058 w 11701760"/>
              <a:gd name="connsiteY250" fmla="*/ 6141763 h 6407421"/>
              <a:gd name="connsiteX251" fmla="*/ 7147456 w 11701760"/>
              <a:gd name="connsiteY251" fmla="*/ 6141763 h 6407421"/>
              <a:gd name="connsiteX252" fmla="*/ 6881367 w 11701760"/>
              <a:gd name="connsiteY252" fmla="*/ 6112161 h 6407421"/>
              <a:gd name="connsiteX253" fmla="*/ 6910970 w 11701760"/>
              <a:gd name="connsiteY253" fmla="*/ 6112161 h 6407421"/>
              <a:gd name="connsiteX254" fmla="*/ 6910970 w 11701760"/>
              <a:gd name="connsiteY254" fmla="*/ 6141763 h 6407421"/>
              <a:gd name="connsiteX255" fmla="*/ 6881367 w 11701760"/>
              <a:gd name="connsiteY255" fmla="*/ 6141763 h 6407421"/>
              <a:gd name="connsiteX256" fmla="*/ 6615170 w 11701760"/>
              <a:gd name="connsiteY256" fmla="*/ 6112161 h 6407421"/>
              <a:gd name="connsiteX257" fmla="*/ 6644773 w 11701760"/>
              <a:gd name="connsiteY257" fmla="*/ 6112161 h 6407421"/>
              <a:gd name="connsiteX258" fmla="*/ 6644773 w 11701760"/>
              <a:gd name="connsiteY258" fmla="*/ 6141763 h 6407421"/>
              <a:gd name="connsiteX259" fmla="*/ 6615170 w 11701760"/>
              <a:gd name="connsiteY259" fmla="*/ 6141763 h 6407421"/>
              <a:gd name="connsiteX260" fmla="*/ 6349081 w 11701760"/>
              <a:gd name="connsiteY260" fmla="*/ 6112161 h 6407421"/>
              <a:gd name="connsiteX261" fmla="*/ 6378683 w 11701760"/>
              <a:gd name="connsiteY261" fmla="*/ 6112161 h 6407421"/>
              <a:gd name="connsiteX262" fmla="*/ 6378683 w 11701760"/>
              <a:gd name="connsiteY262" fmla="*/ 6141763 h 6407421"/>
              <a:gd name="connsiteX263" fmla="*/ 6349081 w 11701760"/>
              <a:gd name="connsiteY263" fmla="*/ 6141763 h 6407421"/>
              <a:gd name="connsiteX264" fmla="*/ 6082884 w 11701760"/>
              <a:gd name="connsiteY264" fmla="*/ 6112161 h 6407421"/>
              <a:gd name="connsiteX265" fmla="*/ 6112486 w 11701760"/>
              <a:gd name="connsiteY265" fmla="*/ 6112161 h 6407421"/>
              <a:gd name="connsiteX266" fmla="*/ 6112486 w 11701760"/>
              <a:gd name="connsiteY266" fmla="*/ 6141763 h 6407421"/>
              <a:gd name="connsiteX267" fmla="*/ 6082884 w 11701760"/>
              <a:gd name="connsiteY267" fmla="*/ 6141763 h 6407421"/>
              <a:gd name="connsiteX268" fmla="*/ 5825310 w 11701760"/>
              <a:gd name="connsiteY268" fmla="*/ 6112161 h 6407421"/>
              <a:gd name="connsiteX269" fmla="*/ 5854913 w 11701760"/>
              <a:gd name="connsiteY269" fmla="*/ 6112161 h 6407421"/>
              <a:gd name="connsiteX270" fmla="*/ 5854913 w 11701760"/>
              <a:gd name="connsiteY270" fmla="*/ 6141763 h 6407421"/>
              <a:gd name="connsiteX271" fmla="*/ 5825310 w 11701760"/>
              <a:gd name="connsiteY271" fmla="*/ 6141763 h 6407421"/>
              <a:gd name="connsiteX272" fmla="*/ 5559113 w 11701760"/>
              <a:gd name="connsiteY272" fmla="*/ 6112161 h 6407421"/>
              <a:gd name="connsiteX273" fmla="*/ 5588715 w 11701760"/>
              <a:gd name="connsiteY273" fmla="*/ 6112161 h 6407421"/>
              <a:gd name="connsiteX274" fmla="*/ 5588715 w 11701760"/>
              <a:gd name="connsiteY274" fmla="*/ 6141763 h 6407421"/>
              <a:gd name="connsiteX275" fmla="*/ 5559113 w 11701760"/>
              <a:gd name="connsiteY275" fmla="*/ 6141763 h 6407421"/>
              <a:gd name="connsiteX276" fmla="*/ 5293024 w 11701760"/>
              <a:gd name="connsiteY276" fmla="*/ 6112161 h 6407421"/>
              <a:gd name="connsiteX277" fmla="*/ 5322626 w 11701760"/>
              <a:gd name="connsiteY277" fmla="*/ 6112161 h 6407421"/>
              <a:gd name="connsiteX278" fmla="*/ 5322626 w 11701760"/>
              <a:gd name="connsiteY278" fmla="*/ 6141763 h 6407421"/>
              <a:gd name="connsiteX279" fmla="*/ 5293024 w 11701760"/>
              <a:gd name="connsiteY279" fmla="*/ 6141763 h 6407421"/>
              <a:gd name="connsiteX280" fmla="*/ 5026827 w 11701760"/>
              <a:gd name="connsiteY280" fmla="*/ 6112161 h 6407421"/>
              <a:gd name="connsiteX281" fmla="*/ 5056429 w 11701760"/>
              <a:gd name="connsiteY281" fmla="*/ 6112161 h 6407421"/>
              <a:gd name="connsiteX282" fmla="*/ 5056429 w 11701760"/>
              <a:gd name="connsiteY282" fmla="*/ 6141763 h 6407421"/>
              <a:gd name="connsiteX283" fmla="*/ 5026827 w 11701760"/>
              <a:gd name="connsiteY283" fmla="*/ 6141763 h 6407421"/>
              <a:gd name="connsiteX284" fmla="*/ 4760630 w 11701760"/>
              <a:gd name="connsiteY284" fmla="*/ 6112161 h 6407421"/>
              <a:gd name="connsiteX285" fmla="*/ 4790340 w 11701760"/>
              <a:gd name="connsiteY285" fmla="*/ 6112161 h 6407421"/>
              <a:gd name="connsiteX286" fmla="*/ 4790340 w 11701760"/>
              <a:gd name="connsiteY286" fmla="*/ 6141763 h 6407421"/>
              <a:gd name="connsiteX287" fmla="*/ 4760630 w 11701760"/>
              <a:gd name="connsiteY287" fmla="*/ 6141763 h 6407421"/>
              <a:gd name="connsiteX288" fmla="*/ 4494541 w 11701760"/>
              <a:gd name="connsiteY288" fmla="*/ 6112161 h 6407421"/>
              <a:gd name="connsiteX289" fmla="*/ 4524144 w 11701760"/>
              <a:gd name="connsiteY289" fmla="*/ 6112161 h 6407421"/>
              <a:gd name="connsiteX290" fmla="*/ 4524144 w 11701760"/>
              <a:gd name="connsiteY290" fmla="*/ 6141763 h 6407421"/>
              <a:gd name="connsiteX291" fmla="*/ 4494541 w 11701760"/>
              <a:gd name="connsiteY291" fmla="*/ 6141763 h 6407421"/>
              <a:gd name="connsiteX292" fmla="*/ 4228344 w 11701760"/>
              <a:gd name="connsiteY292" fmla="*/ 6112161 h 6407421"/>
              <a:gd name="connsiteX293" fmla="*/ 4257946 w 11701760"/>
              <a:gd name="connsiteY293" fmla="*/ 6112161 h 6407421"/>
              <a:gd name="connsiteX294" fmla="*/ 4257946 w 11701760"/>
              <a:gd name="connsiteY294" fmla="*/ 6141763 h 6407421"/>
              <a:gd name="connsiteX295" fmla="*/ 4228344 w 11701760"/>
              <a:gd name="connsiteY295" fmla="*/ 6141763 h 6407421"/>
              <a:gd name="connsiteX296" fmla="*/ 3962255 w 11701760"/>
              <a:gd name="connsiteY296" fmla="*/ 6112161 h 6407421"/>
              <a:gd name="connsiteX297" fmla="*/ 3991857 w 11701760"/>
              <a:gd name="connsiteY297" fmla="*/ 6112161 h 6407421"/>
              <a:gd name="connsiteX298" fmla="*/ 3991857 w 11701760"/>
              <a:gd name="connsiteY298" fmla="*/ 6141763 h 6407421"/>
              <a:gd name="connsiteX299" fmla="*/ 3962255 w 11701760"/>
              <a:gd name="connsiteY299" fmla="*/ 6141763 h 6407421"/>
              <a:gd name="connsiteX300" fmla="*/ 3696058 w 11701760"/>
              <a:gd name="connsiteY300" fmla="*/ 6112161 h 6407421"/>
              <a:gd name="connsiteX301" fmla="*/ 3725661 w 11701760"/>
              <a:gd name="connsiteY301" fmla="*/ 6112161 h 6407421"/>
              <a:gd name="connsiteX302" fmla="*/ 3725661 w 11701760"/>
              <a:gd name="connsiteY302" fmla="*/ 6141763 h 6407421"/>
              <a:gd name="connsiteX303" fmla="*/ 3696058 w 11701760"/>
              <a:gd name="connsiteY303" fmla="*/ 6141763 h 6407421"/>
              <a:gd name="connsiteX304" fmla="*/ 3429969 w 11701760"/>
              <a:gd name="connsiteY304" fmla="*/ 6112161 h 6407421"/>
              <a:gd name="connsiteX305" fmla="*/ 3459572 w 11701760"/>
              <a:gd name="connsiteY305" fmla="*/ 6112161 h 6407421"/>
              <a:gd name="connsiteX306" fmla="*/ 3459572 w 11701760"/>
              <a:gd name="connsiteY306" fmla="*/ 6141763 h 6407421"/>
              <a:gd name="connsiteX307" fmla="*/ 3429969 w 11701760"/>
              <a:gd name="connsiteY307" fmla="*/ 6141763 h 6407421"/>
              <a:gd name="connsiteX308" fmla="*/ 3163772 w 11701760"/>
              <a:gd name="connsiteY308" fmla="*/ 6112161 h 6407421"/>
              <a:gd name="connsiteX309" fmla="*/ 3193374 w 11701760"/>
              <a:gd name="connsiteY309" fmla="*/ 6112161 h 6407421"/>
              <a:gd name="connsiteX310" fmla="*/ 3193374 w 11701760"/>
              <a:gd name="connsiteY310" fmla="*/ 6141763 h 6407421"/>
              <a:gd name="connsiteX311" fmla="*/ 3163772 w 11701760"/>
              <a:gd name="connsiteY311" fmla="*/ 6141763 h 6407421"/>
              <a:gd name="connsiteX312" fmla="*/ 2897575 w 11701760"/>
              <a:gd name="connsiteY312" fmla="*/ 6112161 h 6407421"/>
              <a:gd name="connsiteX313" fmla="*/ 2927178 w 11701760"/>
              <a:gd name="connsiteY313" fmla="*/ 6112161 h 6407421"/>
              <a:gd name="connsiteX314" fmla="*/ 2927178 w 11701760"/>
              <a:gd name="connsiteY314" fmla="*/ 6141763 h 6407421"/>
              <a:gd name="connsiteX315" fmla="*/ 2897575 w 11701760"/>
              <a:gd name="connsiteY315" fmla="*/ 6141763 h 6407421"/>
              <a:gd name="connsiteX316" fmla="*/ 2631378 w 11701760"/>
              <a:gd name="connsiteY316" fmla="*/ 6112161 h 6407421"/>
              <a:gd name="connsiteX317" fmla="*/ 2660980 w 11701760"/>
              <a:gd name="connsiteY317" fmla="*/ 6112161 h 6407421"/>
              <a:gd name="connsiteX318" fmla="*/ 2660980 w 11701760"/>
              <a:gd name="connsiteY318" fmla="*/ 6141763 h 6407421"/>
              <a:gd name="connsiteX319" fmla="*/ 2631378 w 11701760"/>
              <a:gd name="connsiteY319" fmla="*/ 6141763 h 6407421"/>
              <a:gd name="connsiteX320" fmla="*/ 2365289 w 11701760"/>
              <a:gd name="connsiteY320" fmla="*/ 6112161 h 6407421"/>
              <a:gd name="connsiteX321" fmla="*/ 2394892 w 11701760"/>
              <a:gd name="connsiteY321" fmla="*/ 6112161 h 6407421"/>
              <a:gd name="connsiteX322" fmla="*/ 2394892 w 11701760"/>
              <a:gd name="connsiteY322" fmla="*/ 6141763 h 6407421"/>
              <a:gd name="connsiteX323" fmla="*/ 2365289 w 11701760"/>
              <a:gd name="connsiteY323" fmla="*/ 6141763 h 6407421"/>
              <a:gd name="connsiteX324" fmla="*/ 2099092 w 11701760"/>
              <a:gd name="connsiteY324" fmla="*/ 6112161 h 6407421"/>
              <a:gd name="connsiteX325" fmla="*/ 2128695 w 11701760"/>
              <a:gd name="connsiteY325" fmla="*/ 6112161 h 6407421"/>
              <a:gd name="connsiteX326" fmla="*/ 2128695 w 11701760"/>
              <a:gd name="connsiteY326" fmla="*/ 6141763 h 6407421"/>
              <a:gd name="connsiteX327" fmla="*/ 2099092 w 11701760"/>
              <a:gd name="connsiteY327" fmla="*/ 6141763 h 6407421"/>
              <a:gd name="connsiteX328" fmla="*/ 1832898 w 11701760"/>
              <a:gd name="connsiteY328" fmla="*/ 6112161 h 6407421"/>
              <a:gd name="connsiteX329" fmla="*/ 1862498 w 11701760"/>
              <a:gd name="connsiteY329" fmla="*/ 6112161 h 6407421"/>
              <a:gd name="connsiteX330" fmla="*/ 1862498 w 11701760"/>
              <a:gd name="connsiteY330" fmla="*/ 6141763 h 6407421"/>
              <a:gd name="connsiteX331" fmla="*/ 1832898 w 11701760"/>
              <a:gd name="connsiteY331" fmla="*/ 6141763 h 6407421"/>
              <a:gd name="connsiteX332" fmla="*/ 1566808 w 11701760"/>
              <a:gd name="connsiteY332" fmla="*/ 6112161 h 6407421"/>
              <a:gd name="connsiteX333" fmla="*/ 1596409 w 11701760"/>
              <a:gd name="connsiteY333" fmla="*/ 6112161 h 6407421"/>
              <a:gd name="connsiteX334" fmla="*/ 1596409 w 11701760"/>
              <a:gd name="connsiteY334" fmla="*/ 6141763 h 6407421"/>
              <a:gd name="connsiteX335" fmla="*/ 1566808 w 11701760"/>
              <a:gd name="connsiteY335" fmla="*/ 6141763 h 6407421"/>
              <a:gd name="connsiteX336" fmla="*/ 1300611 w 11701760"/>
              <a:gd name="connsiteY336" fmla="*/ 6112161 h 6407421"/>
              <a:gd name="connsiteX337" fmla="*/ 1330213 w 11701760"/>
              <a:gd name="connsiteY337" fmla="*/ 6112161 h 6407421"/>
              <a:gd name="connsiteX338" fmla="*/ 1330213 w 11701760"/>
              <a:gd name="connsiteY338" fmla="*/ 6141763 h 6407421"/>
              <a:gd name="connsiteX339" fmla="*/ 1300611 w 11701760"/>
              <a:gd name="connsiteY339" fmla="*/ 6141763 h 6407421"/>
              <a:gd name="connsiteX340" fmla="*/ 1034520 w 11701760"/>
              <a:gd name="connsiteY340" fmla="*/ 6112161 h 6407421"/>
              <a:gd name="connsiteX341" fmla="*/ 1064123 w 11701760"/>
              <a:gd name="connsiteY341" fmla="*/ 6112161 h 6407421"/>
              <a:gd name="connsiteX342" fmla="*/ 1064123 w 11701760"/>
              <a:gd name="connsiteY342" fmla="*/ 6141763 h 6407421"/>
              <a:gd name="connsiteX343" fmla="*/ 1034520 w 11701760"/>
              <a:gd name="connsiteY343" fmla="*/ 6141763 h 6407421"/>
              <a:gd name="connsiteX344" fmla="*/ 768328 w 11701760"/>
              <a:gd name="connsiteY344" fmla="*/ 6112161 h 6407421"/>
              <a:gd name="connsiteX345" fmla="*/ 797926 w 11701760"/>
              <a:gd name="connsiteY345" fmla="*/ 6112161 h 6407421"/>
              <a:gd name="connsiteX346" fmla="*/ 797926 w 11701760"/>
              <a:gd name="connsiteY346" fmla="*/ 6141763 h 6407421"/>
              <a:gd name="connsiteX347" fmla="*/ 768328 w 11701760"/>
              <a:gd name="connsiteY347" fmla="*/ 6141763 h 6407421"/>
              <a:gd name="connsiteX348" fmla="*/ 502237 w 11701760"/>
              <a:gd name="connsiteY348" fmla="*/ 6112161 h 6407421"/>
              <a:gd name="connsiteX349" fmla="*/ 531839 w 11701760"/>
              <a:gd name="connsiteY349" fmla="*/ 6112161 h 6407421"/>
              <a:gd name="connsiteX350" fmla="*/ 531839 w 11701760"/>
              <a:gd name="connsiteY350" fmla="*/ 6141763 h 6407421"/>
              <a:gd name="connsiteX351" fmla="*/ 502237 w 11701760"/>
              <a:gd name="connsiteY351" fmla="*/ 6141763 h 6407421"/>
              <a:gd name="connsiteX352" fmla="*/ 236038 w 11701760"/>
              <a:gd name="connsiteY352" fmla="*/ 6112161 h 6407421"/>
              <a:gd name="connsiteX353" fmla="*/ 265640 w 11701760"/>
              <a:gd name="connsiteY353" fmla="*/ 6112161 h 6407421"/>
              <a:gd name="connsiteX354" fmla="*/ 265640 w 11701760"/>
              <a:gd name="connsiteY354" fmla="*/ 6141763 h 6407421"/>
              <a:gd name="connsiteX355" fmla="*/ 236038 w 11701760"/>
              <a:gd name="connsiteY355" fmla="*/ 6141763 h 6407421"/>
              <a:gd name="connsiteX356" fmla="*/ 2 w 11701760"/>
              <a:gd name="connsiteY356" fmla="*/ 6112161 h 6407421"/>
              <a:gd name="connsiteX357" fmla="*/ 29604 w 11701760"/>
              <a:gd name="connsiteY357" fmla="*/ 6112161 h 6407421"/>
              <a:gd name="connsiteX358" fmla="*/ 29604 w 11701760"/>
              <a:gd name="connsiteY358" fmla="*/ 6141763 h 6407421"/>
              <a:gd name="connsiteX359" fmla="*/ 2 w 11701760"/>
              <a:gd name="connsiteY359" fmla="*/ 6141763 h 6407421"/>
              <a:gd name="connsiteX360" fmla="*/ 11672158 w 11701760"/>
              <a:gd name="connsiteY360" fmla="*/ 5846396 h 6407421"/>
              <a:gd name="connsiteX361" fmla="*/ 11701760 w 11701760"/>
              <a:gd name="connsiteY361" fmla="*/ 5846396 h 6407421"/>
              <a:gd name="connsiteX362" fmla="*/ 11701760 w 11701760"/>
              <a:gd name="connsiteY362" fmla="*/ 5875998 h 6407421"/>
              <a:gd name="connsiteX363" fmla="*/ 11672158 w 11701760"/>
              <a:gd name="connsiteY363" fmla="*/ 5875998 h 6407421"/>
              <a:gd name="connsiteX364" fmla="*/ 11405961 w 11701760"/>
              <a:gd name="connsiteY364" fmla="*/ 5846396 h 6407421"/>
              <a:gd name="connsiteX365" fmla="*/ 11435563 w 11701760"/>
              <a:gd name="connsiteY365" fmla="*/ 5846396 h 6407421"/>
              <a:gd name="connsiteX366" fmla="*/ 11435563 w 11701760"/>
              <a:gd name="connsiteY366" fmla="*/ 5875998 h 6407421"/>
              <a:gd name="connsiteX367" fmla="*/ 11405961 w 11701760"/>
              <a:gd name="connsiteY367" fmla="*/ 5875998 h 6407421"/>
              <a:gd name="connsiteX368" fmla="*/ 11139872 w 11701760"/>
              <a:gd name="connsiteY368" fmla="*/ 5846396 h 6407421"/>
              <a:gd name="connsiteX369" fmla="*/ 11169474 w 11701760"/>
              <a:gd name="connsiteY369" fmla="*/ 5846396 h 6407421"/>
              <a:gd name="connsiteX370" fmla="*/ 11169474 w 11701760"/>
              <a:gd name="connsiteY370" fmla="*/ 5875998 h 6407421"/>
              <a:gd name="connsiteX371" fmla="*/ 11139872 w 11701760"/>
              <a:gd name="connsiteY371" fmla="*/ 5875998 h 6407421"/>
              <a:gd name="connsiteX372" fmla="*/ 10873675 w 11701760"/>
              <a:gd name="connsiteY372" fmla="*/ 5846396 h 6407421"/>
              <a:gd name="connsiteX373" fmla="*/ 10903277 w 11701760"/>
              <a:gd name="connsiteY373" fmla="*/ 5846396 h 6407421"/>
              <a:gd name="connsiteX374" fmla="*/ 10903277 w 11701760"/>
              <a:gd name="connsiteY374" fmla="*/ 5875998 h 6407421"/>
              <a:gd name="connsiteX375" fmla="*/ 10873675 w 11701760"/>
              <a:gd name="connsiteY375" fmla="*/ 5875998 h 6407421"/>
              <a:gd name="connsiteX376" fmla="*/ 10607478 w 11701760"/>
              <a:gd name="connsiteY376" fmla="*/ 5846396 h 6407421"/>
              <a:gd name="connsiteX377" fmla="*/ 10637188 w 11701760"/>
              <a:gd name="connsiteY377" fmla="*/ 5846396 h 6407421"/>
              <a:gd name="connsiteX378" fmla="*/ 10637188 w 11701760"/>
              <a:gd name="connsiteY378" fmla="*/ 5875998 h 6407421"/>
              <a:gd name="connsiteX379" fmla="*/ 10607478 w 11701760"/>
              <a:gd name="connsiteY379" fmla="*/ 5875998 h 6407421"/>
              <a:gd name="connsiteX380" fmla="*/ 10341389 w 11701760"/>
              <a:gd name="connsiteY380" fmla="*/ 5846396 h 6407421"/>
              <a:gd name="connsiteX381" fmla="*/ 10370992 w 11701760"/>
              <a:gd name="connsiteY381" fmla="*/ 5846396 h 6407421"/>
              <a:gd name="connsiteX382" fmla="*/ 10370992 w 11701760"/>
              <a:gd name="connsiteY382" fmla="*/ 5875998 h 6407421"/>
              <a:gd name="connsiteX383" fmla="*/ 10341389 w 11701760"/>
              <a:gd name="connsiteY383" fmla="*/ 5875998 h 6407421"/>
              <a:gd name="connsiteX384" fmla="*/ 10075192 w 11701760"/>
              <a:gd name="connsiteY384" fmla="*/ 5846396 h 6407421"/>
              <a:gd name="connsiteX385" fmla="*/ 10104794 w 11701760"/>
              <a:gd name="connsiteY385" fmla="*/ 5846396 h 6407421"/>
              <a:gd name="connsiteX386" fmla="*/ 10104794 w 11701760"/>
              <a:gd name="connsiteY386" fmla="*/ 5875998 h 6407421"/>
              <a:gd name="connsiteX387" fmla="*/ 10075192 w 11701760"/>
              <a:gd name="connsiteY387" fmla="*/ 5875998 h 6407421"/>
              <a:gd name="connsiteX388" fmla="*/ 9809103 w 11701760"/>
              <a:gd name="connsiteY388" fmla="*/ 5846396 h 6407421"/>
              <a:gd name="connsiteX389" fmla="*/ 9838705 w 11701760"/>
              <a:gd name="connsiteY389" fmla="*/ 5846396 h 6407421"/>
              <a:gd name="connsiteX390" fmla="*/ 9838705 w 11701760"/>
              <a:gd name="connsiteY390" fmla="*/ 5875998 h 6407421"/>
              <a:gd name="connsiteX391" fmla="*/ 9809103 w 11701760"/>
              <a:gd name="connsiteY391" fmla="*/ 5875998 h 6407421"/>
              <a:gd name="connsiteX392" fmla="*/ 9542906 w 11701760"/>
              <a:gd name="connsiteY392" fmla="*/ 5846396 h 6407421"/>
              <a:gd name="connsiteX393" fmla="*/ 9572509 w 11701760"/>
              <a:gd name="connsiteY393" fmla="*/ 5846396 h 6407421"/>
              <a:gd name="connsiteX394" fmla="*/ 9572509 w 11701760"/>
              <a:gd name="connsiteY394" fmla="*/ 5875998 h 6407421"/>
              <a:gd name="connsiteX395" fmla="*/ 9542906 w 11701760"/>
              <a:gd name="connsiteY395" fmla="*/ 5875998 h 6407421"/>
              <a:gd name="connsiteX396" fmla="*/ 9276817 w 11701760"/>
              <a:gd name="connsiteY396" fmla="*/ 5846396 h 6407421"/>
              <a:gd name="connsiteX397" fmla="*/ 9306420 w 11701760"/>
              <a:gd name="connsiteY397" fmla="*/ 5846396 h 6407421"/>
              <a:gd name="connsiteX398" fmla="*/ 9306420 w 11701760"/>
              <a:gd name="connsiteY398" fmla="*/ 5875998 h 6407421"/>
              <a:gd name="connsiteX399" fmla="*/ 9276817 w 11701760"/>
              <a:gd name="connsiteY399" fmla="*/ 5875998 h 6407421"/>
              <a:gd name="connsiteX400" fmla="*/ 9010620 w 11701760"/>
              <a:gd name="connsiteY400" fmla="*/ 5846396 h 6407421"/>
              <a:gd name="connsiteX401" fmla="*/ 9040222 w 11701760"/>
              <a:gd name="connsiteY401" fmla="*/ 5846396 h 6407421"/>
              <a:gd name="connsiteX402" fmla="*/ 9040222 w 11701760"/>
              <a:gd name="connsiteY402" fmla="*/ 5875998 h 6407421"/>
              <a:gd name="connsiteX403" fmla="*/ 9010620 w 11701760"/>
              <a:gd name="connsiteY403" fmla="*/ 5875998 h 6407421"/>
              <a:gd name="connsiteX404" fmla="*/ 8744423 w 11701760"/>
              <a:gd name="connsiteY404" fmla="*/ 5846396 h 6407421"/>
              <a:gd name="connsiteX405" fmla="*/ 8774026 w 11701760"/>
              <a:gd name="connsiteY405" fmla="*/ 5846396 h 6407421"/>
              <a:gd name="connsiteX406" fmla="*/ 8774026 w 11701760"/>
              <a:gd name="connsiteY406" fmla="*/ 5875998 h 6407421"/>
              <a:gd name="connsiteX407" fmla="*/ 8744423 w 11701760"/>
              <a:gd name="connsiteY407" fmla="*/ 5875998 h 6407421"/>
              <a:gd name="connsiteX408" fmla="*/ 8478226 w 11701760"/>
              <a:gd name="connsiteY408" fmla="*/ 5846396 h 6407421"/>
              <a:gd name="connsiteX409" fmla="*/ 8507828 w 11701760"/>
              <a:gd name="connsiteY409" fmla="*/ 5846396 h 6407421"/>
              <a:gd name="connsiteX410" fmla="*/ 8507828 w 11701760"/>
              <a:gd name="connsiteY410" fmla="*/ 5875998 h 6407421"/>
              <a:gd name="connsiteX411" fmla="*/ 8478226 w 11701760"/>
              <a:gd name="connsiteY411" fmla="*/ 5875998 h 6407421"/>
              <a:gd name="connsiteX412" fmla="*/ 8212137 w 11701760"/>
              <a:gd name="connsiteY412" fmla="*/ 5846396 h 6407421"/>
              <a:gd name="connsiteX413" fmla="*/ 8241740 w 11701760"/>
              <a:gd name="connsiteY413" fmla="*/ 5846396 h 6407421"/>
              <a:gd name="connsiteX414" fmla="*/ 8241740 w 11701760"/>
              <a:gd name="connsiteY414" fmla="*/ 5875998 h 6407421"/>
              <a:gd name="connsiteX415" fmla="*/ 8212137 w 11701760"/>
              <a:gd name="connsiteY415" fmla="*/ 5875998 h 6407421"/>
              <a:gd name="connsiteX416" fmla="*/ 7945940 w 11701760"/>
              <a:gd name="connsiteY416" fmla="*/ 5846396 h 6407421"/>
              <a:gd name="connsiteX417" fmla="*/ 7975543 w 11701760"/>
              <a:gd name="connsiteY417" fmla="*/ 5846396 h 6407421"/>
              <a:gd name="connsiteX418" fmla="*/ 7975543 w 11701760"/>
              <a:gd name="connsiteY418" fmla="*/ 5875998 h 6407421"/>
              <a:gd name="connsiteX419" fmla="*/ 7945940 w 11701760"/>
              <a:gd name="connsiteY419" fmla="*/ 5875998 h 6407421"/>
              <a:gd name="connsiteX420" fmla="*/ 7679743 w 11701760"/>
              <a:gd name="connsiteY420" fmla="*/ 5846396 h 6407421"/>
              <a:gd name="connsiteX421" fmla="*/ 7709346 w 11701760"/>
              <a:gd name="connsiteY421" fmla="*/ 5846396 h 6407421"/>
              <a:gd name="connsiteX422" fmla="*/ 7709346 w 11701760"/>
              <a:gd name="connsiteY422" fmla="*/ 5875998 h 6407421"/>
              <a:gd name="connsiteX423" fmla="*/ 7679743 w 11701760"/>
              <a:gd name="connsiteY423" fmla="*/ 5875998 h 6407421"/>
              <a:gd name="connsiteX424" fmla="*/ 7413653 w 11701760"/>
              <a:gd name="connsiteY424" fmla="*/ 5846396 h 6407421"/>
              <a:gd name="connsiteX425" fmla="*/ 7443256 w 11701760"/>
              <a:gd name="connsiteY425" fmla="*/ 5846396 h 6407421"/>
              <a:gd name="connsiteX426" fmla="*/ 7443256 w 11701760"/>
              <a:gd name="connsiteY426" fmla="*/ 5875998 h 6407421"/>
              <a:gd name="connsiteX427" fmla="*/ 7413653 w 11701760"/>
              <a:gd name="connsiteY427" fmla="*/ 5875998 h 6407421"/>
              <a:gd name="connsiteX428" fmla="*/ 7147456 w 11701760"/>
              <a:gd name="connsiteY428" fmla="*/ 5846396 h 6407421"/>
              <a:gd name="connsiteX429" fmla="*/ 7177058 w 11701760"/>
              <a:gd name="connsiteY429" fmla="*/ 5846396 h 6407421"/>
              <a:gd name="connsiteX430" fmla="*/ 7177058 w 11701760"/>
              <a:gd name="connsiteY430" fmla="*/ 5875998 h 6407421"/>
              <a:gd name="connsiteX431" fmla="*/ 7147456 w 11701760"/>
              <a:gd name="connsiteY431" fmla="*/ 5875998 h 6407421"/>
              <a:gd name="connsiteX432" fmla="*/ 6881367 w 11701760"/>
              <a:gd name="connsiteY432" fmla="*/ 5846396 h 6407421"/>
              <a:gd name="connsiteX433" fmla="*/ 6910970 w 11701760"/>
              <a:gd name="connsiteY433" fmla="*/ 5846396 h 6407421"/>
              <a:gd name="connsiteX434" fmla="*/ 6910970 w 11701760"/>
              <a:gd name="connsiteY434" fmla="*/ 5875998 h 6407421"/>
              <a:gd name="connsiteX435" fmla="*/ 6881367 w 11701760"/>
              <a:gd name="connsiteY435" fmla="*/ 5875998 h 6407421"/>
              <a:gd name="connsiteX436" fmla="*/ 6615170 w 11701760"/>
              <a:gd name="connsiteY436" fmla="*/ 5846396 h 6407421"/>
              <a:gd name="connsiteX437" fmla="*/ 6644773 w 11701760"/>
              <a:gd name="connsiteY437" fmla="*/ 5846396 h 6407421"/>
              <a:gd name="connsiteX438" fmla="*/ 6644773 w 11701760"/>
              <a:gd name="connsiteY438" fmla="*/ 5875998 h 6407421"/>
              <a:gd name="connsiteX439" fmla="*/ 6615170 w 11701760"/>
              <a:gd name="connsiteY439" fmla="*/ 5875998 h 6407421"/>
              <a:gd name="connsiteX440" fmla="*/ 6349081 w 11701760"/>
              <a:gd name="connsiteY440" fmla="*/ 5846396 h 6407421"/>
              <a:gd name="connsiteX441" fmla="*/ 6378683 w 11701760"/>
              <a:gd name="connsiteY441" fmla="*/ 5846396 h 6407421"/>
              <a:gd name="connsiteX442" fmla="*/ 6378683 w 11701760"/>
              <a:gd name="connsiteY442" fmla="*/ 5875998 h 6407421"/>
              <a:gd name="connsiteX443" fmla="*/ 6349081 w 11701760"/>
              <a:gd name="connsiteY443" fmla="*/ 5875998 h 6407421"/>
              <a:gd name="connsiteX444" fmla="*/ 6082884 w 11701760"/>
              <a:gd name="connsiteY444" fmla="*/ 5846396 h 6407421"/>
              <a:gd name="connsiteX445" fmla="*/ 6112486 w 11701760"/>
              <a:gd name="connsiteY445" fmla="*/ 5846396 h 6407421"/>
              <a:gd name="connsiteX446" fmla="*/ 6112486 w 11701760"/>
              <a:gd name="connsiteY446" fmla="*/ 5875998 h 6407421"/>
              <a:gd name="connsiteX447" fmla="*/ 6082884 w 11701760"/>
              <a:gd name="connsiteY447" fmla="*/ 5875998 h 6407421"/>
              <a:gd name="connsiteX448" fmla="*/ 5825310 w 11701760"/>
              <a:gd name="connsiteY448" fmla="*/ 5846396 h 6407421"/>
              <a:gd name="connsiteX449" fmla="*/ 5854913 w 11701760"/>
              <a:gd name="connsiteY449" fmla="*/ 5846396 h 6407421"/>
              <a:gd name="connsiteX450" fmla="*/ 5854913 w 11701760"/>
              <a:gd name="connsiteY450" fmla="*/ 5875998 h 6407421"/>
              <a:gd name="connsiteX451" fmla="*/ 5825310 w 11701760"/>
              <a:gd name="connsiteY451" fmla="*/ 5875998 h 6407421"/>
              <a:gd name="connsiteX452" fmla="*/ 5559113 w 11701760"/>
              <a:gd name="connsiteY452" fmla="*/ 5846396 h 6407421"/>
              <a:gd name="connsiteX453" fmla="*/ 5588715 w 11701760"/>
              <a:gd name="connsiteY453" fmla="*/ 5846396 h 6407421"/>
              <a:gd name="connsiteX454" fmla="*/ 5588715 w 11701760"/>
              <a:gd name="connsiteY454" fmla="*/ 5875998 h 6407421"/>
              <a:gd name="connsiteX455" fmla="*/ 5559113 w 11701760"/>
              <a:gd name="connsiteY455" fmla="*/ 5875998 h 6407421"/>
              <a:gd name="connsiteX456" fmla="*/ 5293024 w 11701760"/>
              <a:gd name="connsiteY456" fmla="*/ 5846396 h 6407421"/>
              <a:gd name="connsiteX457" fmla="*/ 5322626 w 11701760"/>
              <a:gd name="connsiteY457" fmla="*/ 5846396 h 6407421"/>
              <a:gd name="connsiteX458" fmla="*/ 5322626 w 11701760"/>
              <a:gd name="connsiteY458" fmla="*/ 5875998 h 6407421"/>
              <a:gd name="connsiteX459" fmla="*/ 5293024 w 11701760"/>
              <a:gd name="connsiteY459" fmla="*/ 5875998 h 6407421"/>
              <a:gd name="connsiteX460" fmla="*/ 5026827 w 11701760"/>
              <a:gd name="connsiteY460" fmla="*/ 5846396 h 6407421"/>
              <a:gd name="connsiteX461" fmla="*/ 5056429 w 11701760"/>
              <a:gd name="connsiteY461" fmla="*/ 5846396 h 6407421"/>
              <a:gd name="connsiteX462" fmla="*/ 5056429 w 11701760"/>
              <a:gd name="connsiteY462" fmla="*/ 5875998 h 6407421"/>
              <a:gd name="connsiteX463" fmla="*/ 5026827 w 11701760"/>
              <a:gd name="connsiteY463" fmla="*/ 5875998 h 6407421"/>
              <a:gd name="connsiteX464" fmla="*/ 4760630 w 11701760"/>
              <a:gd name="connsiteY464" fmla="*/ 5846396 h 6407421"/>
              <a:gd name="connsiteX465" fmla="*/ 4790340 w 11701760"/>
              <a:gd name="connsiteY465" fmla="*/ 5846396 h 6407421"/>
              <a:gd name="connsiteX466" fmla="*/ 4790340 w 11701760"/>
              <a:gd name="connsiteY466" fmla="*/ 5875998 h 6407421"/>
              <a:gd name="connsiteX467" fmla="*/ 4760630 w 11701760"/>
              <a:gd name="connsiteY467" fmla="*/ 5875998 h 6407421"/>
              <a:gd name="connsiteX468" fmla="*/ 4494541 w 11701760"/>
              <a:gd name="connsiteY468" fmla="*/ 5846396 h 6407421"/>
              <a:gd name="connsiteX469" fmla="*/ 4524144 w 11701760"/>
              <a:gd name="connsiteY469" fmla="*/ 5846396 h 6407421"/>
              <a:gd name="connsiteX470" fmla="*/ 4524144 w 11701760"/>
              <a:gd name="connsiteY470" fmla="*/ 5875998 h 6407421"/>
              <a:gd name="connsiteX471" fmla="*/ 4494541 w 11701760"/>
              <a:gd name="connsiteY471" fmla="*/ 5875998 h 6407421"/>
              <a:gd name="connsiteX472" fmla="*/ 4228344 w 11701760"/>
              <a:gd name="connsiteY472" fmla="*/ 5846396 h 6407421"/>
              <a:gd name="connsiteX473" fmla="*/ 4257946 w 11701760"/>
              <a:gd name="connsiteY473" fmla="*/ 5846396 h 6407421"/>
              <a:gd name="connsiteX474" fmla="*/ 4257946 w 11701760"/>
              <a:gd name="connsiteY474" fmla="*/ 5875998 h 6407421"/>
              <a:gd name="connsiteX475" fmla="*/ 4228344 w 11701760"/>
              <a:gd name="connsiteY475" fmla="*/ 5875998 h 6407421"/>
              <a:gd name="connsiteX476" fmla="*/ 3962255 w 11701760"/>
              <a:gd name="connsiteY476" fmla="*/ 5846396 h 6407421"/>
              <a:gd name="connsiteX477" fmla="*/ 3991857 w 11701760"/>
              <a:gd name="connsiteY477" fmla="*/ 5846396 h 6407421"/>
              <a:gd name="connsiteX478" fmla="*/ 3991857 w 11701760"/>
              <a:gd name="connsiteY478" fmla="*/ 5875998 h 6407421"/>
              <a:gd name="connsiteX479" fmla="*/ 3962255 w 11701760"/>
              <a:gd name="connsiteY479" fmla="*/ 5875998 h 6407421"/>
              <a:gd name="connsiteX480" fmla="*/ 3696058 w 11701760"/>
              <a:gd name="connsiteY480" fmla="*/ 5846396 h 6407421"/>
              <a:gd name="connsiteX481" fmla="*/ 3725661 w 11701760"/>
              <a:gd name="connsiteY481" fmla="*/ 5846396 h 6407421"/>
              <a:gd name="connsiteX482" fmla="*/ 3725661 w 11701760"/>
              <a:gd name="connsiteY482" fmla="*/ 5875998 h 6407421"/>
              <a:gd name="connsiteX483" fmla="*/ 3696058 w 11701760"/>
              <a:gd name="connsiteY483" fmla="*/ 5875998 h 6407421"/>
              <a:gd name="connsiteX484" fmla="*/ 3429969 w 11701760"/>
              <a:gd name="connsiteY484" fmla="*/ 5846396 h 6407421"/>
              <a:gd name="connsiteX485" fmla="*/ 3459572 w 11701760"/>
              <a:gd name="connsiteY485" fmla="*/ 5846396 h 6407421"/>
              <a:gd name="connsiteX486" fmla="*/ 3459572 w 11701760"/>
              <a:gd name="connsiteY486" fmla="*/ 5875998 h 6407421"/>
              <a:gd name="connsiteX487" fmla="*/ 3429969 w 11701760"/>
              <a:gd name="connsiteY487" fmla="*/ 5875998 h 6407421"/>
              <a:gd name="connsiteX488" fmla="*/ 3163772 w 11701760"/>
              <a:gd name="connsiteY488" fmla="*/ 5846396 h 6407421"/>
              <a:gd name="connsiteX489" fmla="*/ 3193374 w 11701760"/>
              <a:gd name="connsiteY489" fmla="*/ 5846396 h 6407421"/>
              <a:gd name="connsiteX490" fmla="*/ 3193374 w 11701760"/>
              <a:gd name="connsiteY490" fmla="*/ 5875998 h 6407421"/>
              <a:gd name="connsiteX491" fmla="*/ 3163772 w 11701760"/>
              <a:gd name="connsiteY491" fmla="*/ 5875998 h 6407421"/>
              <a:gd name="connsiteX492" fmla="*/ 2897575 w 11701760"/>
              <a:gd name="connsiteY492" fmla="*/ 5846396 h 6407421"/>
              <a:gd name="connsiteX493" fmla="*/ 2927178 w 11701760"/>
              <a:gd name="connsiteY493" fmla="*/ 5846396 h 6407421"/>
              <a:gd name="connsiteX494" fmla="*/ 2927178 w 11701760"/>
              <a:gd name="connsiteY494" fmla="*/ 5875998 h 6407421"/>
              <a:gd name="connsiteX495" fmla="*/ 2897575 w 11701760"/>
              <a:gd name="connsiteY495" fmla="*/ 5875998 h 6407421"/>
              <a:gd name="connsiteX496" fmla="*/ 2631378 w 11701760"/>
              <a:gd name="connsiteY496" fmla="*/ 5846396 h 6407421"/>
              <a:gd name="connsiteX497" fmla="*/ 2660980 w 11701760"/>
              <a:gd name="connsiteY497" fmla="*/ 5846396 h 6407421"/>
              <a:gd name="connsiteX498" fmla="*/ 2660980 w 11701760"/>
              <a:gd name="connsiteY498" fmla="*/ 5875998 h 6407421"/>
              <a:gd name="connsiteX499" fmla="*/ 2631378 w 11701760"/>
              <a:gd name="connsiteY499" fmla="*/ 5875998 h 6407421"/>
              <a:gd name="connsiteX500" fmla="*/ 2365289 w 11701760"/>
              <a:gd name="connsiteY500" fmla="*/ 5846396 h 6407421"/>
              <a:gd name="connsiteX501" fmla="*/ 2394892 w 11701760"/>
              <a:gd name="connsiteY501" fmla="*/ 5846396 h 6407421"/>
              <a:gd name="connsiteX502" fmla="*/ 2394892 w 11701760"/>
              <a:gd name="connsiteY502" fmla="*/ 5875998 h 6407421"/>
              <a:gd name="connsiteX503" fmla="*/ 2365289 w 11701760"/>
              <a:gd name="connsiteY503" fmla="*/ 5875998 h 6407421"/>
              <a:gd name="connsiteX504" fmla="*/ 2099092 w 11701760"/>
              <a:gd name="connsiteY504" fmla="*/ 5846396 h 6407421"/>
              <a:gd name="connsiteX505" fmla="*/ 2128695 w 11701760"/>
              <a:gd name="connsiteY505" fmla="*/ 5846396 h 6407421"/>
              <a:gd name="connsiteX506" fmla="*/ 2128695 w 11701760"/>
              <a:gd name="connsiteY506" fmla="*/ 5875998 h 6407421"/>
              <a:gd name="connsiteX507" fmla="*/ 2099092 w 11701760"/>
              <a:gd name="connsiteY507" fmla="*/ 5875998 h 6407421"/>
              <a:gd name="connsiteX508" fmla="*/ 1832898 w 11701760"/>
              <a:gd name="connsiteY508" fmla="*/ 5846396 h 6407421"/>
              <a:gd name="connsiteX509" fmla="*/ 1862498 w 11701760"/>
              <a:gd name="connsiteY509" fmla="*/ 5846396 h 6407421"/>
              <a:gd name="connsiteX510" fmla="*/ 1862498 w 11701760"/>
              <a:gd name="connsiteY510" fmla="*/ 5875998 h 6407421"/>
              <a:gd name="connsiteX511" fmla="*/ 1832898 w 11701760"/>
              <a:gd name="connsiteY511" fmla="*/ 5875998 h 6407421"/>
              <a:gd name="connsiteX512" fmla="*/ 1566808 w 11701760"/>
              <a:gd name="connsiteY512" fmla="*/ 5846396 h 6407421"/>
              <a:gd name="connsiteX513" fmla="*/ 1596409 w 11701760"/>
              <a:gd name="connsiteY513" fmla="*/ 5846396 h 6407421"/>
              <a:gd name="connsiteX514" fmla="*/ 1596409 w 11701760"/>
              <a:gd name="connsiteY514" fmla="*/ 5875998 h 6407421"/>
              <a:gd name="connsiteX515" fmla="*/ 1566808 w 11701760"/>
              <a:gd name="connsiteY515" fmla="*/ 5875998 h 6407421"/>
              <a:gd name="connsiteX516" fmla="*/ 1300611 w 11701760"/>
              <a:gd name="connsiteY516" fmla="*/ 5846396 h 6407421"/>
              <a:gd name="connsiteX517" fmla="*/ 1330213 w 11701760"/>
              <a:gd name="connsiteY517" fmla="*/ 5846396 h 6407421"/>
              <a:gd name="connsiteX518" fmla="*/ 1330213 w 11701760"/>
              <a:gd name="connsiteY518" fmla="*/ 5875998 h 6407421"/>
              <a:gd name="connsiteX519" fmla="*/ 1300611 w 11701760"/>
              <a:gd name="connsiteY519" fmla="*/ 5875998 h 6407421"/>
              <a:gd name="connsiteX520" fmla="*/ 1034520 w 11701760"/>
              <a:gd name="connsiteY520" fmla="*/ 5846396 h 6407421"/>
              <a:gd name="connsiteX521" fmla="*/ 1064123 w 11701760"/>
              <a:gd name="connsiteY521" fmla="*/ 5846396 h 6407421"/>
              <a:gd name="connsiteX522" fmla="*/ 1064123 w 11701760"/>
              <a:gd name="connsiteY522" fmla="*/ 5875998 h 6407421"/>
              <a:gd name="connsiteX523" fmla="*/ 1034520 w 11701760"/>
              <a:gd name="connsiteY523" fmla="*/ 5875998 h 6407421"/>
              <a:gd name="connsiteX524" fmla="*/ 768328 w 11701760"/>
              <a:gd name="connsiteY524" fmla="*/ 5846396 h 6407421"/>
              <a:gd name="connsiteX525" fmla="*/ 797926 w 11701760"/>
              <a:gd name="connsiteY525" fmla="*/ 5846396 h 6407421"/>
              <a:gd name="connsiteX526" fmla="*/ 797926 w 11701760"/>
              <a:gd name="connsiteY526" fmla="*/ 5875998 h 6407421"/>
              <a:gd name="connsiteX527" fmla="*/ 768328 w 11701760"/>
              <a:gd name="connsiteY527" fmla="*/ 5875998 h 6407421"/>
              <a:gd name="connsiteX528" fmla="*/ 502237 w 11701760"/>
              <a:gd name="connsiteY528" fmla="*/ 5846396 h 6407421"/>
              <a:gd name="connsiteX529" fmla="*/ 531839 w 11701760"/>
              <a:gd name="connsiteY529" fmla="*/ 5846396 h 6407421"/>
              <a:gd name="connsiteX530" fmla="*/ 531839 w 11701760"/>
              <a:gd name="connsiteY530" fmla="*/ 5875998 h 6407421"/>
              <a:gd name="connsiteX531" fmla="*/ 502237 w 11701760"/>
              <a:gd name="connsiteY531" fmla="*/ 5875998 h 6407421"/>
              <a:gd name="connsiteX532" fmla="*/ 236038 w 11701760"/>
              <a:gd name="connsiteY532" fmla="*/ 5846396 h 6407421"/>
              <a:gd name="connsiteX533" fmla="*/ 265640 w 11701760"/>
              <a:gd name="connsiteY533" fmla="*/ 5846396 h 6407421"/>
              <a:gd name="connsiteX534" fmla="*/ 265640 w 11701760"/>
              <a:gd name="connsiteY534" fmla="*/ 5875998 h 6407421"/>
              <a:gd name="connsiteX535" fmla="*/ 236038 w 11701760"/>
              <a:gd name="connsiteY535" fmla="*/ 5875998 h 6407421"/>
              <a:gd name="connsiteX536" fmla="*/ 2 w 11701760"/>
              <a:gd name="connsiteY536" fmla="*/ 5846396 h 6407421"/>
              <a:gd name="connsiteX537" fmla="*/ 29604 w 11701760"/>
              <a:gd name="connsiteY537" fmla="*/ 5846396 h 6407421"/>
              <a:gd name="connsiteX538" fmla="*/ 29604 w 11701760"/>
              <a:gd name="connsiteY538" fmla="*/ 5875998 h 6407421"/>
              <a:gd name="connsiteX539" fmla="*/ 2 w 11701760"/>
              <a:gd name="connsiteY539" fmla="*/ 5875998 h 6407421"/>
              <a:gd name="connsiteX540" fmla="*/ 11672158 w 11701760"/>
              <a:gd name="connsiteY540" fmla="*/ 5580631 h 6407421"/>
              <a:gd name="connsiteX541" fmla="*/ 11701760 w 11701760"/>
              <a:gd name="connsiteY541" fmla="*/ 5580631 h 6407421"/>
              <a:gd name="connsiteX542" fmla="*/ 11701760 w 11701760"/>
              <a:gd name="connsiteY542" fmla="*/ 5610233 h 6407421"/>
              <a:gd name="connsiteX543" fmla="*/ 11672158 w 11701760"/>
              <a:gd name="connsiteY543" fmla="*/ 5610233 h 6407421"/>
              <a:gd name="connsiteX544" fmla="*/ 11405961 w 11701760"/>
              <a:gd name="connsiteY544" fmla="*/ 5580631 h 6407421"/>
              <a:gd name="connsiteX545" fmla="*/ 11435563 w 11701760"/>
              <a:gd name="connsiteY545" fmla="*/ 5580631 h 6407421"/>
              <a:gd name="connsiteX546" fmla="*/ 11435563 w 11701760"/>
              <a:gd name="connsiteY546" fmla="*/ 5610233 h 6407421"/>
              <a:gd name="connsiteX547" fmla="*/ 11405961 w 11701760"/>
              <a:gd name="connsiteY547" fmla="*/ 5610233 h 6407421"/>
              <a:gd name="connsiteX548" fmla="*/ 11139872 w 11701760"/>
              <a:gd name="connsiteY548" fmla="*/ 5580631 h 6407421"/>
              <a:gd name="connsiteX549" fmla="*/ 11169474 w 11701760"/>
              <a:gd name="connsiteY549" fmla="*/ 5580631 h 6407421"/>
              <a:gd name="connsiteX550" fmla="*/ 11169474 w 11701760"/>
              <a:gd name="connsiteY550" fmla="*/ 5610233 h 6407421"/>
              <a:gd name="connsiteX551" fmla="*/ 11139872 w 11701760"/>
              <a:gd name="connsiteY551" fmla="*/ 5610233 h 6407421"/>
              <a:gd name="connsiteX552" fmla="*/ 10873675 w 11701760"/>
              <a:gd name="connsiteY552" fmla="*/ 5580631 h 6407421"/>
              <a:gd name="connsiteX553" fmla="*/ 10903277 w 11701760"/>
              <a:gd name="connsiteY553" fmla="*/ 5580631 h 6407421"/>
              <a:gd name="connsiteX554" fmla="*/ 10903277 w 11701760"/>
              <a:gd name="connsiteY554" fmla="*/ 5610233 h 6407421"/>
              <a:gd name="connsiteX555" fmla="*/ 10873675 w 11701760"/>
              <a:gd name="connsiteY555" fmla="*/ 5610233 h 6407421"/>
              <a:gd name="connsiteX556" fmla="*/ 10607478 w 11701760"/>
              <a:gd name="connsiteY556" fmla="*/ 5580631 h 6407421"/>
              <a:gd name="connsiteX557" fmla="*/ 10637188 w 11701760"/>
              <a:gd name="connsiteY557" fmla="*/ 5580631 h 6407421"/>
              <a:gd name="connsiteX558" fmla="*/ 10637188 w 11701760"/>
              <a:gd name="connsiteY558" fmla="*/ 5610233 h 6407421"/>
              <a:gd name="connsiteX559" fmla="*/ 10607478 w 11701760"/>
              <a:gd name="connsiteY559" fmla="*/ 5610233 h 6407421"/>
              <a:gd name="connsiteX560" fmla="*/ 10341389 w 11701760"/>
              <a:gd name="connsiteY560" fmla="*/ 5580631 h 6407421"/>
              <a:gd name="connsiteX561" fmla="*/ 10370992 w 11701760"/>
              <a:gd name="connsiteY561" fmla="*/ 5580631 h 6407421"/>
              <a:gd name="connsiteX562" fmla="*/ 10370992 w 11701760"/>
              <a:gd name="connsiteY562" fmla="*/ 5610233 h 6407421"/>
              <a:gd name="connsiteX563" fmla="*/ 10341389 w 11701760"/>
              <a:gd name="connsiteY563" fmla="*/ 5610233 h 6407421"/>
              <a:gd name="connsiteX564" fmla="*/ 10075192 w 11701760"/>
              <a:gd name="connsiteY564" fmla="*/ 5580631 h 6407421"/>
              <a:gd name="connsiteX565" fmla="*/ 10104794 w 11701760"/>
              <a:gd name="connsiteY565" fmla="*/ 5580631 h 6407421"/>
              <a:gd name="connsiteX566" fmla="*/ 10104794 w 11701760"/>
              <a:gd name="connsiteY566" fmla="*/ 5610233 h 6407421"/>
              <a:gd name="connsiteX567" fmla="*/ 10075192 w 11701760"/>
              <a:gd name="connsiteY567" fmla="*/ 5610233 h 6407421"/>
              <a:gd name="connsiteX568" fmla="*/ 9809103 w 11701760"/>
              <a:gd name="connsiteY568" fmla="*/ 5580631 h 6407421"/>
              <a:gd name="connsiteX569" fmla="*/ 9838705 w 11701760"/>
              <a:gd name="connsiteY569" fmla="*/ 5580631 h 6407421"/>
              <a:gd name="connsiteX570" fmla="*/ 9838705 w 11701760"/>
              <a:gd name="connsiteY570" fmla="*/ 5610233 h 6407421"/>
              <a:gd name="connsiteX571" fmla="*/ 9809103 w 11701760"/>
              <a:gd name="connsiteY571" fmla="*/ 5610233 h 6407421"/>
              <a:gd name="connsiteX572" fmla="*/ 9542906 w 11701760"/>
              <a:gd name="connsiteY572" fmla="*/ 5580631 h 6407421"/>
              <a:gd name="connsiteX573" fmla="*/ 9572509 w 11701760"/>
              <a:gd name="connsiteY573" fmla="*/ 5580631 h 6407421"/>
              <a:gd name="connsiteX574" fmla="*/ 9572509 w 11701760"/>
              <a:gd name="connsiteY574" fmla="*/ 5610233 h 6407421"/>
              <a:gd name="connsiteX575" fmla="*/ 9542906 w 11701760"/>
              <a:gd name="connsiteY575" fmla="*/ 5610233 h 6407421"/>
              <a:gd name="connsiteX576" fmla="*/ 9276817 w 11701760"/>
              <a:gd name="connsiteY576" fmla="*/ 5580631 h 6407421"/>
              <a:gd name="connsiteX577" fmla="*/ 9306420 w 11701760"/>
              <a:gd name="connsiteY577" fmla="*/ 5580631 h 6407421"/>
              <a:gd name="connsiteX578" fmla="*/ 9306420 w 11701760"/>
              <a:gd name="connsiteY578" fmla="*/ 5610233 h 6407421"/>
              <a:gd name="connsiteX579" fmla="*/ 9276817 w 11701760"/>
              <a:gd name="connsiteY579" fmla="*/ 5610233 h 6407421"/>
              <a:gd name="connsiteX580" fmla="*/ 9010620 w 11701760"/>
              <a:gd name="connsiteY580" fmla="*/ 5580631 h 6407421"/>
              <a:gd name="connsiteX581" fmla="*/ 9040222 w 11701760"/>
              <a:gd name="connsiteY581" fmla="*/ 5580631 h 6407421"/>
              <a:gd name="connsiteX582" fmla="*/ 9040222 w 11701760"/>
              <a:gd name="connsiteY582" fmla="*/ 5610233 h 6407421"/>
              <a:gd name="connsiteX583" fmla="*/ 9010620 w 11701760"/>
              <a:gd name="connsiteY583" fmla="*/ 5610233 h 6407421"/>
              <a:gd name="connsiteX584" fmla="*/ 8744423 w 11701760"/>
              <a:gd name="connsiteY584" fmla="*/ 5580631 h 6407421"/>
              <a:gd name="connsiteX585" fmla="*/ 8774026 w 11701760"/>
              <a:gd name="connsiteY585" fmla="*/ 5580631 h 6407421"/>
              <a:gd name="connsiteX586" fmla="*/ 8774026 w 11701760"/>
              <a:gd name="connsiteY586" fmla="*/ 5610233 h 6407421"/>
              <a:gd name="connsiteX587" fmla="*/ 8744423 w 11701760"/>
              <a:gd name="connsiteY587" fmla="*/ 5610233 h 6407421"/>
              <a:gd name="connsiteX588" fmla="*/ 8478226 w 11701760"/>
              <a:gd name="connsiteY588" fmla="*/ 5580631 h 6407421"/>
              <a:gd name="connsiteX589" fmla="*/ 8507828 w 11701760"/>
              <a:gd name="connsiteY589" fmla="*/ 5580631 h 6407421"/>
              <a:gd name="connsiteX590" fmla="*/ 8507828 w 11701760"/>
              <a:gd name="connsiteY590" fmla="*/ 5610233 h 6407421"/>
              <a:gd name="connsiteX591" fmla="*/ 8478226 w 11701760"/>
              <a:gd name="connsiteY591" fmla="*/ 5610233 h 6407421"/>
              <a:gd name="connsiteX592" fmla="*/ 8212137 w 11701760"/>
              <a:gd name="connsiteY592" fmla="*/ 5580631 h 6407421"/>
              <a:gd name="connsiteX593" fmla="*/ 8241740 w 11701760"/>
              <a:gd name="connsiteY593" fmla="*/ 5580631 h 6407421"/>
              <a:gd name="connsiteX594" fmla="*/ 8241740 w 11701760"/>
              <a:gd name="connsiteY594" fmla="*/ 5610233 h 6407421"/>
              <a:gd name="connsiteX595" fmla="*/ 8212137 w 11701760"/>
              <a:gd name="connsiteY595" fmla="*/ 5610233 h 6407421"/>
              <a:gd name="connsiteX596" fmla="*/ 7945940 w 11701760"/>
              <a:gd name="connsiteY596" fmla="*/ 5580631 h 6407421"/>
              <a:gd name="connsiteX597" fmla="*/ 7975543 w 11701760"/>
              <a:gd name="connsiteY597" fmla="*/ 5580631 h 6407421"/>
              <a:gd name="connsiteX598" fmla="*/ 7975543 w 11701760"/>
              <a:gd name="connsiteY598" fmla="*/ 5610233 h 6407421"/>
              <a:gd name="connsiteX599" fmla="*/ 7945940 w 11701760"/>
              <a:gd name="connsiteY599" fmla="*/ 5610233 h 6407421"/>
              <a:gd name="connsiteX600" fmla="*/ 7679743 w 11701760"/>
              <a:gd name="connsiteY600" fmla="*/ 5580631 h 6407421"/>
              <a:gd name="connsiteX601" fmla="*/ 7709346 w 11701760"/>
              <a:gd name="connsiteY601" fmla="*/ 5580631 h 6407421"/>
              <a:gd name="connsiteX602" fmla="*/ 7709346 w 11701760"/>
              <a:gd name="connsiteY602" fmla="*/ 5610233 h 6407421"/>
              <a:gd name="connsiteX603" fmla="*/ 7679743 w 11701760"/>
              <a:gd name="connsiteY603" fmla="*/ 5610233 h 6407421"/>
              <a:gd name="connsiteX604" fmla="*/ 7413653 w 11701760"/>
              <a:gd name="connsiteY604" fmla="*/ 5580631 h 6407421"/>
              <a:gd name="connsiteX605" fmla="*/ 7443256 w 11701760"/>
              <a:gd name="connsiteY605" fmla="*/ 5580631 h 6407421"/>
              <a:gd name="connsiteX606" fmla="*/ 7443256 w 11701760"/>
              <a:gd name="connsiteY606" fmla="*/ 5610233 h 6407421"/>
              <a:gd name="connsiteX607" fmla="*/ 7413653 w 11701760"/>
              <a:gd name="connsiteY607" fmla="*/ 5610233 h 6407421"/>
              <a:gd name="connsiteX608" fmla="*/ 7147456 w 11701760"/>
              <a:gd name="connsiteY608" fmla="*/ 5580631 h 6407421"/>
              <a:gd name="connsiteX609" fmla="*/ 7177058 w 11701760"/>
              <a:gd name="connsiteY609" fmla="*/ 5580631 h 6407421"/>
              <a:gd name="connsiteX610" fmla="*/ 7177058 w 11701760"/>
              <a:gd name="connsiteY610" fmla="*/ 5610233 h 6407421"/>
              <a:gd name="connsiteX611" fmla="*/ 7147456 w 11701760"/>
              <a:gd name="connsiteY611" fmla="*/ 5610233 h 6407421"/>
              <a:gd name="connsiteX612" fmla="*/ 6881367 w 11701760"/>
              <a:gd name="connsiteY612" fmla="*/ 5580631 h 6407421"/>
              <a:gd name="connsiteX613" fmla="*/ 6910970 w 11701760"/>
              <a:gd name="connsiteY613" fmla="*/ 5580631 h 6407421"/>
              <a:gd name="connsiteX614" fmla="*/ 6910970 w 11701760"/>
              <a:gd name="connsiteY614" fmla="*/ 5610233 h 6407421"/>
              <a:gd name="connsiteX615" fmla="*/ 6881367 w 11701760"/>
              <a:gd name="connsiteY615" fmla="*/ 5610233 h 6407421"/>
              <a:gd name="connsiteX616" fmla="*/ 6615170 w 11701760"/>
              <a:gd name="connsiteY616" fmla="*/ 5580631 h 6407421"/>
              <a:gd name="connsiteX617" fmla="*/ 6644773 w 11701760"/>
              <a:gd name="connsiteY617" fmla="*/ 5580631 h 6407421"/>
              <a:gd name="connsiteX618" fmla="*/ 6644773 w 11701760"/>
              <a:gd name="connsiteY618" fmla="*/ 5610233 h 6407421"/>
              <a:gd name="connsiteX619" fmla="*/ 6615170 w 11701760"/>
              <a:gd name="connsiteY619" fmla="*/ 5610233 h 6407421"/>
              <a:gd name="connsiteX620" fmla="*/ 6349081 w 11701760"/>
              <a:gd name="connsiteY620" fmla="*/ 5580631 h 6407421"/>
              <a:gd name="connsiteX621" fmla="*/ 6378683 w 11701760"/>
              <a:gd name="connsiteY621" fmla="*/ 5580631 h 6407421"/>
              <a:gd name="connsiteX622" fmla="*/ 6378683 w 11701760"/>
              <a:gd name="connsiteY622" fmla="*/ 5610233 h 6407421"/>
              <a:gd name="connsiteX623" fmla="*/ 6349081 w 11701760"/>
              <a:gd name="connsiteY623" fmla="*/ 5610233 h 6407421"/>
              <a:gd name="connsiteX624" fmla="*/ 6082884 w 11701760"/>
              <a:gd name="connsiteY624" fmla="*/ 5580631 h 6407421"/>
              <a:gd name="connsiteX625" fmla="*/ 6112486 w 11701760"/>
              <a:gd name="connsiteY625" fmla="*/ 5580631 h 6407421"/>
              <a:gd name="connsiteX626" fmla="*/ 6112486 w 11701760"/>
              <a:gd name="connsiteY626" fmla="*/ 5610233 h 6407421"/>
              <a:gd name="connsiteX627" fmla="*/ 6082884 w 11701760"/>
              <a:gd name="connsiteY627" fmla="*/ 5610233 h 6407421"/>
              <a:gd name="connsiteX628" fmla="*/ 5825310 w 11701760"/>
              <a:gd name="connsiteY628" fmla="*/ 5580631 h 6407421"/>
              <a:gd name="connsiteX629" fmla="*/ 5854913 w 11701760"/>
              <a:gd name="connsiteY629" fmla="*/ 5580631 h 6407421"/>
              <a:gd name="connsiteX630" fmla="*/ 5854913 w 11701760"/>
              <a:gd name="connsiteY630" fmla="*/ 5610233 h 6407421"/>
              <a:gd name="connsiteX631" fmla="*/ 5825310 w 11701760"/>
              <a:gd name="connsiteY631" fmla="*/ 5610233 h 6407421"/>
              <a:gd name="connsiteX632" fmla="*/ 5559113 w 11701760"/>
              <a:gd name="connsiteY632" fmla="*/ 5580631 h 6407421"/>
              <a:gd name="connsiteX633" fmla="*/ 5588715 w 11701760"/>
              <a:gd name="connsiteY633" fmla="*/ 5580631 h 6407421"/>
              <a:gd name="connsiteX634" fmla="*/ 5588715 w 11701760"/>
              <a:gd name="connsiteY634" fmla="*/ 5610233 h 6407421"/>
              <a:gd name="connsiteX635" fmla="*/ 5559113 w 11701760"/>
              <a:gd name="connsiteY635" fmla="*/ 5610233 h 6407421"/>
              <a:gd name="connsiteX636" fmla="*/ 5293024 w 11701760"/>
              <a:gd name="connsiteY636" fmla="*/ 5580631 h 6407421"/>
              <a:gd name="connsiteX637" fmla="*/ 5322626 w 11701760"/>
              <a:gd name="connsiteY637" fmla="*/ 5580631 h 6407421"/>
              <a:gd name="connsiteX638" fmla="*/ 5322626 w 11701760"/>
              <a:gd name="connsiteY638" fmla="*/ 5610233 h 6407421"/>
              <a:gd name="connsiteX639" fmla="*/ 5293024 w 11701760"/>
              <a:gd name="connsiteY639" fmla="*/ 5610233 h 6407421"/>
              <a:gd name="connsiteX640" fmla="*/ 5026827 w 11701760"/>
              <a:gd name="connsiteY640" fmla="*/ 5580631 h 6407421"/>
              <a:gd name="connsiteX641" fmla="*/ 5056429 w 11701760"/>
              <a:gd name="connsiteY641" fmla="*/ 5580631 h 6407421"/>
              <a:gd name="connsiteX642" fmla="*/ 5056429 w 11701760"/>
              <a:gd name="connsiteY642" fmla="*/ 5610233 h 6407421"/>
              <a:gd name="connsiteX643" fmla="*/ 5026827 w 11701760"/>
              <a:gd name="connsiteY643" fmla="*/ 5610233 h 6407421"/>
              <a:gd name="connsiteX644" fmla="*/ 4760630 w 11701760"/>
              <a:gd name="connsiteY644" fmla="*/ 5580631 h 6407421"/>
              <a:gd name="connsiteX645" fmla="*/ 4790340 w 11701760"/>
              <a:gd name="connsiteY645" fmla="*/ 5580631 h 6407421"/>
              <a:gd name="connsiteX646" fmla="*/ 4790340 w 11701760"/>
              <a:gd name="connsiteY646" fmla="*/ 5610233 h 6407421"/>
              <a:gd name="connsiteX647" fmla="*/ 4760630 w 11701760"/>
              <a:gd name="connsiteY647" fmla="*/ 5610233 h 6407421"/>
              <a:gd name="connsiteX648" fmla="*/ 4494541 w 11701760"/>
              <a:gd name="connsiteY648" fmla="*/ 5580631 h 6407421"/>
              <a:gd name="connsiteX649" fmla="*/ 4524144 w 11701760"/>
              <a:gd name="connsiteY649" fmla="*/ 5580631 h 6407421"/>
              <a:gd name="connsiteX650" fmla="*/ 4524144 w 11701760"/>
              <a:gd name="connsiteY650" fmla="*/ 5610233 h 6407421"/>
              <a:gd name="connsiteX651" fmla="*/ 4494541 w 11701760"/>
              <a:gd name="connsiteY651" fmla="*/ 5610233 h 6407421"/>
              <a:gd name="connsiteX652" fmla="*/ 4228344 w 11701760"/>
              <a:gd name="connsiteY652" fmla="*/ 5580631 h 6407421"/>
              <a:gd name="connsiteX653" fmla="*/ 4257946 w 11701760"/>
              <a:gd name="connsiteY653" fmla="*/ 5580631 h 6407421"/>
              <a:gd name="connsiteX654" fmla="*/ 4257946 w 11701760"/>
              <a:gd name="connsiteY654" fmla="*/ 5610233 h 6407421"/>
              <a:gd name="connsiteX655" fmla="*/ 4228344 w 11701760"/>
              <a:gd name="connsiteY655" fmla="*/ 5610233 h 6407421"/>
              <a:gd name="connsiteX656" fmla="*/ 3962255 w 11701760"/>
              <a:gd name="connsiteY656" fmla="*/ 5580631 h 6407421"/>
              <a:gd name="connsiteX657" fmla="*/ 3991857 w 11701760"/>
              <a:gd name="connsiteY657" fmla="*/ 5580631 h 6407421"/>
              <a:gd name="connsiteX658" fmla="*/ 3991857 w 11701760"/>
              <a:gd name="connsiteY658" fmla="*/ 5610233 h 6407421"/>
              <a:gd name="connsiteX659" fmla="*/ 3962255 w 11701760"/>
              <a:gd name="connsiteY659" fmla="*/ 5610233 h 6407421"/>
              <a:gd name="connsiteX660" fmla="*/ 3696058 w 11701760"/>
              <a:gd name="connsiteY660" fmla="*/ 5580631 h 6407421"/>
              <a:gd name="connsiteX661" fmla="*/ 3725661 w 11701760"/>
              <a:gd name="connsiteY661" fmla="*/ 5580631 h 6407421"/>
              <a:gd name="connsiteX662" fmla="*/ 3725661 w 11701760"/>
              <a:gd name="connsiteY662" fmla="*/ 5610233 h 6407421"/>
              <a:gd name="connsiteX663" fmla="*/ 3696058 w 11701760"/>
              <a:gd name="connsiteY663" fmla="*/ 5610233 h 6407421"/>
              <a:gd name="connsiteX664" fmla="*/ 3429969 w 11701760"/>
              <a:gd name="connsiteY664" fmla="*/ 5580631 h 6407421"/>
              <a:gd name="connsiteX665" fmla="*/ 3459572 w 11701760"/>
              <a:gd name="connsiteY665" fmla="*/ 5580631 h 6407421"/>
              <a:gd name="connsiteX666" fmla="*/ 3459572 w 11701760"/>
              <a:gd name="connsiteY666" fmla="*/ 5610233 h 6407421"/>
              <a:gd name="connsiteX667" fmla="*/ 3429969 w 11701760"/>
              <a:gd name="connsiteY667" fmla="*/ 5610233 h 6407421"/>
              <a:gd name="connsiteX668" fmla="*/ 3163772 w 11701760"/>
              <a:gd name="connsiteY668" fmla="*/ 5580631 h 6407421"/>
              <a:gd name="connsiteX669" fmla="*/ 3193374 w 11701760"/>
              <a:gd name="connsiteY669" fmla="*/ 5580631 h 6407421"/>
              <a:gd name="connsiteX670" fmla="*/ 3193374 w 11701760"/>
              <a:gd name="connsiteY670" fmla="*/ 5610233 h 6407421"/>
              <a:gd name="connsiteX671" fmla="*/ 3163772 w 11701760"/>
              <a:gd name="connsiteY671" fmla="*/ 5610233 h 6407421"/>
              <a:gd name="connsiteX672" fmla="*/ 2897575 w 11701760"/>
              <a:gd name="connsiteY672" fmla="*/ 5580631 h 6407421"/>
              <a:gd name="connsiteX673" fmla="*/ 2927178 w 11701760"/>
              <a:gd name="connsiteY673" fmla="*/ 5580631 h 6407421"/>
              <a:gd name="connsiteX674" fmla="*/ 2927178 w 11701760"/>
              <a:gd name="connsiteY674" fmla="*/ 5610233 h 6407421"/>
              <a:gd name="connsiteX675" fmla="*/ 2897575 w 11701760"/>
              <a:gd name="connsiteY675" fmla="*/ 5610233 h 6407421"/>
              <a:gd name="connsiteX676" fmla="*/ 2631378 w 11701760"/>
              <a:gd name="connsiteY676" fmla="*/ 5580631 h 6407421"/>
              <a:gd name="connsiteX677" fmla="*/ 2660980 w 11701760"/>
              <a:gd name="connsiteY677" fmla="*/ 5580631 h 6407421"/>
              <a:gd name="connsiteX678" fmla="*/ 2660980 w 11701760"/>
              <a:gd name="connsiteY678" fmla="*/ 5610233 h 6407421"/>
              <a:gd name="connsiteX679" fmla="*/ 2631378 w 11701760"/>
              <a:gd name="connsiteY679" fmla="*/ 5610233 h 6407421"/>
              <a:gd name="connsiteX680" fmla="*/ 2365289 w 11701760"/>
              <a:gd name="connsiteY680" fmla="*/ 5580631 h 6407421"/>
              <a:gd name="connsiteX681" fmla="*/ 2394892 w 11701760"/>
              <a:gd name="connsiteY681" fmla="*/ 5580631 h 6407421"/>
              <a:gd name="connsiteX682" fmla="*/ 2394892 w 11701760"/>
              <a:gd name="connsiteY682" fmla="*/ 5610233 h 6407421"/>
              <a:gd name="connsiteX683" fmla="*/ 2365289 w 11701760"/>
              <a:gd name="connsiteY683" fmla="*/ 5610233 h 6407421"/>
              <a:gd name="connsiteX684" fmla="*/ 2099092 w 11701760"/>
              <a:gd name="connsiteY684" fmla="*/ 5580631 h 6407421"/>
              <a:gd name="connsiteX685" fmla="*/ 2128695 w 11701760"/>
              <a:gd name="connsiteY685" fmla="*/ 5580631 h 6407421"/>
              <a:gd name="connsiteX686" fmla="*/ 2128695 w 11701760"/>
              <a:gd name="connsiteY686" fmla="*/ 5610233 h 6407421"/>
              <a:gd name="connsiteX687" fmla="*/ 2099092 w 11701760"/>
              <a:gd name="connsiteY687" fmla="*/ 5610233 h 6407421"/>
              <a:gd name="connsiteX688" fmla="*/ 1832898 w 11701760"/>
              <a:gd name="connsiteY688" fmla="*/ 5580631 h 6407421"/>
              <a:gd name="connsiteX689" fmla="*/ 1862498 w 11701760"/>
              <a:gd name="connsiteY689" fmla="*/ 5580631 h 6407421"/>
              <a:gd name="connsiteX690" fmla="*/ 1862498 w 11701760"/>
              <a:gd name="connsiteY690" fmla="*/ 5610233 h 6407421"/>
              <a:gd name="connsiteX691" fmla="*/ 1832898 w 11701760"/>
              <a:gd name="connsiteY691" fmla="*/ 5610233 h 6407421"/>
              <a:gd name="connsiteX692" fmla="*/ 1566808 w 11701760"/>
              <a:gd name="connsiteY692" fmla="*/ 5580631 h 6407421"/>
              <a:gd name="connsiteX693" fmla="*/ 1596409 w 11701760"/>
              <a:gd name="connsiteY693" fmla="*/ 5580631 h 6407421"/>
              <a:gd name="connsiteX694" fmla="*/ 1596409 w 11701760"/>
              <a:gd name="connsiteY694" fmla="*/ 5610233 h 6407421"/>
              <a:gd name="connsiteX695" fmla="*/ 1566808 w 11701760"/>
              <a:gd name="connsiteY695" fmla="*/ 5610233 h 6407421"/>
              <a:gd name="connsiteX696" fmla="*/ 1300611 w 11701760"/>
              <a:gd name="connsiteY696" fmla="*/ 5580631 h 6407421"/>
              <a:gd name="connsiteX697" fmla="*/ 1330213 w 11701760"/>
              <a:gd name="connsiteY697" fmla="*/ 5580631 h 6407421"/>
              <a:gd name="connsiteX698" fmla="*/ 1330213 w 11701760"/>
              <a:gd name="connsiteY698" fmla="*/ 5610233 h 6407421"/>
              <a:gd name="connsiteX699" fmla="*/ 1300611 w 11701760"/>
              <a:gd name="connsiteY699" fmla="*/ 5610233 h 6407421"/>
              <a:gd name="connsiteX700" fmla="*/ 1034520 w 11701760"/>
              <a:gd name="connsiteY700" fmla="*/ 5580631 h 6407421"/>
              <a:gd name="connsiteX701" fmla="*/ 1064123 w 11701760"/>
              <a:gd name="connsiteY701" fmla="*/ 5580631 h 6407421"/>
              <a:gd name="connsiteX702" fmla="*/ 1064123 w 11701760"/>
              <a:gd name="connsiteY702" fmla="*/ 5610233 h 6407421"/>
              <a:gd name="connsiteX703" fmla="*/ 1034520 w 11701760"/>
              <a:gd name="connsiteY703" fmla="*/ 5610233 h 6407421"/>
              <a:gd name="connsiteX704" fmla="*/ 768328 w 11701760"/>
              <a:gd name="connsiteY704" fmla="*/ 5580631 h 6407421"/>
              <a:gd name="connsiteX705" fmla="*/ 797926 w 11701760"/>
              <a:gd name="connsiteY705" fmla="*/ 5580631 h 6407421"/>
              <a:gd name="connsiteX706" fmla="*/ 797926 w 11701760"/>
              <a:gd name="connsiteY706" fmla="*/ 5610233 h 6407421"/>
              <a:gd name="connsiteX707" fmla="*/ 768328 w 11701760"/>
              <a:gd name="connsiteY707" fmla="*/ 5610233 h 6407421"/>
              <a:gd name="connsiteX708" fmla="*/ 502237 w 11701760"/>
              <a:gd name="connsiteY708" fmla="*/ 5580631 h 6407421"/>
              <a:gd name="connsiteX709" fmla="*/ 531839 w 11701760"/>
              <a:gd name="connsiteY709" fmla="*/ 5580631 h 6407421"/>
              <a:gd name="connsiteX710" fmla="*/ 531839 w 11701760"/>
              <a:gd name="connsiteY710" fmla="*/ 5610233 h 6407421"/>
              <a:gd name="connsiteX711" fmla="*/ 502237 w 11701760"/>
              <a:gd name="connsiteY711" fmla="*/ 5610233 h 6407421"/>
              <a:gd name="connsiteX712" fmla="*/ 236038 w 11701760"/>
              <a:gd name="connsiteY712" fmla="*/ 5580631 h 6407421"/>
              <a:gd name="connsiteX713" fmla="*/ 265640 w 11701760"/>
              <a:gd name="connsiteY713" fmla="*/ 5580631 h 6407421"/>
              <a:gd name="connsiteX714" fmla="*/ 265640 w 11701760"/>
              <a:gd name="connsiteY714" fmla="*/ 5610233 h 6407421"/>
              <a:gd name="connsiteX715" fmla="*/ 236038 w 11701760"/>
              <a:gd name="connsiteY715" fmla="*/ 5610233 h 6407421"/>
              <a:gd name="connsiteX716" fmla="*/ 2 w 11701760"/>
              <a:gd name="connsiteY716" fmla="*/ 5580631 h 6407421"/>
              <a:gd name="connsiteX717" fmla="*/ 29604 w 11701760"/>
              <a:gd name="connsiteY717" fmla="*/ 5580631 h 6407421"/>
              <a:gd name="connsiteX718" fmla="*/ 29604 w 11701760"/>
              <a:gd name="connsiteY718" fmla="*/ 5610233 h 6407421"/>
              <a:gd name="connsiteX719" fmla="*/ 2 w 11701760"/>
              <a:gd name="connsiteY719" fmla="*/ 5610233 h 6407421"/>
              <a:gd name="connsiteX720" fmla="*/ 11672158 w 11701760"/>
              <a:gd name="connsiteY720" fmla="*/ 5314974 h 6407421"/>
              <a:gd name="connsiteX721" fmla="*/ 11701760 w 11701760"/>
              <a:gd name="connsiteY721" fmla="*/ 5314974 h 6407421"/>
              <a:gd name="connsiteX722" fmla="*/ 11701760 w 11701760"/>
              <a:gd name="connsiteY722" fmla="*/ 5344468 h 6407421"/>
              <a:gd name="connsiteX723" fmla="*/ 11672158 w 11701760"/>
              <a:gd name="connsiteY723" fmla="*/ 5344468 h 6407421"/>
              <a:gd name="connsiteX724" fmla="*/ 11405961 w 11701760"/>
              <a:gd name="connsiteY724" fmla="*/ 5314974 h 6407421"/>
              <a:gd name="connsiteX725" fmla="*/ 11435563 w 11701760"/>
              <a:gd name="connsiteY725" fmla="*/ 5314974 h 6407421"/>
              <a:gd name="connsiteX726" fmla="*/ 11435563 w 11701760"/>
              <a:gd name="connsiteY726" fmla="*/ 5344468 h 6407421"/>
              <a:gd name="connsiteX727" fmla="*/ 11405961 w 11701760"/>
              <a:gd name="connsiteY727" fmla="*/ 5344468 h 6407421"/>
              <a:gd name="connsiteX728" fmla="*/ 11139872 w 11701760"/>
              <a:gd name="connsiteY728" fmla="*/ 5314974 h 6407421"/>
              <a:gd name="connsiteX729" fmla="*/ 11169474 w 11701760"/>
              <a:gd name="connsiteY729" fmla="*/ 5314974 h 6407421"/>
              <a:gd name="connsiteX730" fmla="*/ 11169474 w 11701760"/>
              <a:gd name="connsiteY730" fmla="*/ 5344468 h 6407421"/>
              <a:gd name="connsiteX731" fmla="*/ 11139872 w 11701760"/>
              <a:gd name="connsiteY731" fmla="*/ 5344468 h 6407421"/>
              <a:gd name="connsiteX732" fmla="*/ 10873675 w 11701760"/>
              <a:gd name="connsiteY732" fmla="*/ 5314974 h 6407421"/>
              <a:gd name="connsiteX733" fmla="*/ 10903277 w 11701760"/>
              <a:gd name="connsiteY733" fmla="*/ 5314974 h 6407421"/>
              <a:gd name="connsiteX734" fmla="*/ 10903277 w 11701760"/>
              <a:gd name="connsiteY734" fmla="*/ 5344468 h 6407421"/>
              <a:gd name="connsiteX735" fmla="*/ 10873675 w 11701760"/>
              <a:gd name="connsiteY735" fmla="*/ 5344468 h 6407421"/>
              <a:gd name="connsiteX736" fmla="*/ 10607478 w 11701760"/>
              <a:gd name="connsiteY736" fmla="*/ 5314974 h 6407421"/>
              <a:gd name="connsiteX737" fmla="*/ 10637188 w 11701760"/>
              <a:gd name="connsiteY737" fmla="*/ 5314974 h 6407421"/>
              <a:gd name="connsiteX738" fmla="*/ 10637188 w 11701760"/>
              <a:gd name="connsiteY738" fmla="*/ 5344468 h 6407421"/>
              <a:gd name="connsiteX739" fmla="*/ 10607478 w 11701760"/>
              <a:gd name="connsiteY739" fmla="*/ 5344468 h 6407421"/>
              <a:gd name="connsiteX740" fmla="*/ 10341389 w 11701760"/>
              <a:gd name="connsiteY740" fmla="*/ 5314974 h 6407421"/>
              <a:gd name="connsiteX741" fmla="*/ 10370992 w 11701760"/>
              <a:gd name="connsiteY741" fmla="*/ 5314974 h 6407421"/>
              <a:gd name="connsiteX742" fmla="*/ 10370992 w 11701760"/>
              <a:gd name="connsiteY742" fmla="*/ 5344468 h 6407421"/>
              <a:gd name="connsiteX743" fmla="*/ 10341389 w 11701760"/>
              <a:gd name="connsiteY743" fmla="*/ 5344468 h 6407421"/>
              <a:gd name="connsiteX744" fmla="*/ 10075192 w 11701760"/>
              <a:gd name="connsiteY744" fmla="*/ 5314974 h 6407421"/>
              <a:gd name="connsiteX745" fmla="*/ 10104794 w 11701760"/>
              <a:gd name="connsiteY745" fmla="*/ 5314974 h 6407421"/>
              <a:gd name="connsiteX746" fmla="*/ 10104794 w 11701760"/>
              <a:gd name="connsiteY746" fmla="*/ 5344468 h 6407421"/>
              <a:gd name="connsiteX747" fmla="*/ 10075192 w 11701760"/>
              <a:gd name="connsiteY747" fmla="*/ 5344468 h 6407421"/>
              <a:gd name="connsiteX748" fmla="*/ 9809103 w 11701760"/>
              <a:gd name="connsiteY748" fmla="*/ 5314974 h 6407421"/>
              <a:gd name="connsiteX749" fmla="*/ 9838705 w 11701760"/>
              <a:gd name="connsiteY749" fmla="*/ 5314974 h 6407421"/>
              <a:gd name="connsiteX750" fmla="*/ 9838705 w 11701760"/>
              <a:gd name="connsiteY750" fmla="*/ 5344468 h 6407421"/>
              <a:gd name="connsiteX751" fmla="*/ 9809103 w 11701760"/>
              <a:gd name="connsiteY751" fmla="*/ 5344468 h 6407421"/>
              <a:gd name="connsiteX752" fmla="*/ 9542906 w 11701760"/>
              <a:gd name="connsiteY752" fmla="*/ 5314974 h 6407421"/>
              <a:gd name="connsiteX753" fmla="*/ 9572509 w 11701760"/>
              <a:gd name="connsiteY753" fmla="*/ 5314974 h 6407421"/>
              <a:gd name="connsiteX754" fmla="*/ 9572509 w 11701760"/>
              <a:gd name="connsiteY754" fmla="*/ 5344468 h 6407421"/>
              <a:gd name="connsiteX755" fmla="*/ 9542906 w 11701760"/>
              <a:gd name="connsiteY755" fmla="*/ 5344468 h 6407421"/>
              <a:gd name="connsiteX756" fmla="*/ 9276817 w 11701760"/>
              <a:gd name="connsiteY756" fmla="*/ 5314974 h 6407421"/>
              <a:gd name="connsiteX757" fmla="*/ 9306420 w 11701760"/>
              <a:gd name="connsiteY757" fmla="*/ 5314974 h 6407421"/>
              <a:gd name="connsiteX758" fmla="*/ 9306420 w 11701760"/>
              <a:gd name="connsiteY758" fmla="*/ 5344468 h 6407421"/>
              <a:gd name="connsiteX759" fmla="*/ 9276817 w 11701760"/>
              <a:gd name="connsiteY759" fmla="*/ 5344468 h 6407421"/>
              <a:gd name="connsiteX760" fmla="*/ 9010620 w 11701760"/>
              <a:gd name="connsiteY760" fmla="*/ 5314974 h 6407421"/>
              <a:gd name="connsiteX761" fmla="*/ 9040222 w 11701760"/>
              <a:gd name="connsiteY761" fmla="*/ 5314974 h 6407421"/>
              <a:gd name="connsiteX762" fmla="*/ 9040222 w 11701760"/>
              <a:gd name="connsiteY762" fmla="*/ 5344468 h 6407421"/>
              <a:gd name="connsiteX763" fmla="*/ 9010620 w 11701760"/>
              <a:gd name="connsiteY763" fmla="*/ 5344468 h 6407421"/>
              <a:gd name="connsiteX764" fmla="*/ 8744423 w 11701760"/>
              <a:gd name="connsiteY764" fmla="*/ 5314974 h 6407421"/>
              <a:gd name="connsiteX765" fmla="*/ 8774026 w 11701760"/>
              <a:gd name="connsiteY765" fmla="*/ 5314974 h 6407421"/>
              <a:gd name="connsiteX766" fmla="*/ 8774026 w 11701760"/>
              <a:gd name="connsiteY766" fmla="*/ 5344468 h 6407421"/>
              <a:gd name="connsiteX767" fmla="*/ 8744423 w 11701760"/>
              <a:gd name="connsiteY767" fmla="*/ 5344468 h 6407421"/>
              <a:gd name="connsiteX768" fmla="*/ 8478226 w 11701760"/>
              <a:gd name="connsiteY768" fmla="*/ 5314974 h 6407421"/>
              <a:gd name="connsiteX769" fmla="*/ 8507828 w 11701760"/>
              <a:gd name="connsiteY769" fmla="*/ 5314974 h 6407421"/>
              <a:gd name="connsiteX770" fmla="*/ 8507828 w 11701760"/>
              <a:gd name="connsiteY770" fmla="*/ 5344468 h 6407421"/>
              <a:gd name="connsiteX771" fmla="*/ 8478226 w 11701760"/>
              <a:gd name="connsiteY771" fmla="*/ 5344468 h 6407421"/>
              <a:gd name="connsiteX772" fmla="*/ 8212137 w 11701760"/>
              <a:gd name="connsiteY772" fmla="*/ 5314974 h 6407421"/>
              <a:gd name="connsiteX773" fmla="*/ 8241740 w 11701760"/>
              <a:gd name="connsiteY773" fmla="*/ 5314974 h 6407421"/>
              <a:gd name="connsiteX774" fmla="*/ 8241740 w 11701760"/>
              <a:gd name="connsiteY774" fmla="*/ 5344468 h 6407421"/>
              <a:gd name="connsiteX775" fmla="*/ 8212137 w 11701760"/>
              <a:gd name="connsiteY775" fmla="*/ 5344468 h 6407421"/>
              <a:gd name="connsiteX776" fmla="*/ 7945940 w 11701760"/>
              <a:gd name="connsiteY776" fmla="*/ 5314974 h 6407421"/>
              <a:gd name="connsiteX777" fmla="*/ 7975543 w 11701760"/>
              <a:gd name="connsiteY777" fmla="*/ 5314974 h 6407421"/>
              <a:gd name="connsiteX778" fmla="*/ 7975543 w 11701760"/>
              <a:gd name="connsiteY778" fmla="*/ 5344468 h 6407421"/>
              <a:gd name="connsiteX779" fmla="*/ 7945940 w 11701760"/>
              <a:gd name="connsiteY779" fmla="*/ 5344468 h 6407421"/>
              <a:gd name="connsiteX780" fmla="*/ 7679743 w 11701760"/>
              <a:gd name="connsiteY780" fmla="*/ 5314974 h 6407421"/>
              <a:gd name="connsiteX781" fmla="*/ 7709346 w 11701760"/>
              <a:gd name="connsiteY781" fmla="*/ 5314974 h 6407421"/>
              <a:gd name="connsiteX782" fmla="*/ 7709346 w 11701760"/>
              <a:gd name="connsiteY782" fmla="*/ 5344468 h 6407421"/>
              <a:gd name="connsiteX783" fmla="*/ 7679743 w 11701760"/>
              <a:gd name="connsiteY783" fmla="*/ 5344468 h 6407421"/>
              <a:gd name="connsiteX784" fmla="*/ 7413653 w 11701760"/>
              <a:gd name="connsiteY784" fmla="*/ 5314974 h 6407421"/>
              <a:gd name="connsiteX785" fmla="*/ 7443256 w 11701760"/>
              <a:gd name="connsiteY785" fmla="*/ 5314974 h 6407421"/>
              <a:gd name="connsiteX786" fmla="*/ 7443256 w 11701760"/>
              <a:gd name="connsiteY786" fmla="*/ 5344468 h 6407421"/>
              <a:gd name="connsiteX787" fmla="*/ 7413653 w 11701760"/>
              <a:gd name="connsiteY787" fmla="*/ 5344468 h 6407421"/>
              <a:gd name="connsiteX788" fmla="*/ 7147456 w 11701760"/>
              <a:gd name="connsiteY788" fmla="*/ 5314974 h 6407421"/>
              <a:gd name="connsiteX789" fmla="*/ 7177058 w 11701760"/>
              <a:gd name="connsiteY789" fmla="*/ 5314974 h 6407421"/>
              <a:gd name="connsiteX790" fmla="*/ 7177058 w 11701760"/>
              <a:gd name="connsiteY790" fmla="*/ 5344468 h 6407421"/>
              <a:gd name="connsiteX791" fmla="*/ 7147456 w 11701760"/>
              <a:gd name="connsiteY791" fmla="*/ 5344468 h 6407421"/>
              <a:gd name="connsiteX792" fmla="*/ 6881367 w 11701760"/>
              <a:gd name="connsiteY792" fmla="*/ 5314974 h 6407421"/>
              <a:gd name="connsiteX793" fmla="*/ 6910970 w 11701760"/>
              <a:gd name="connsiteY793" fmla="*/ 5314974 h 6407421"/>
              <a:gd name="connsiteX794" fmla="*/ 6910970 w 11701760"/>
              <a:gd name="connsiteY794" fmla="*/ 5344468 h 6407421"/>
              <a:gd name="connsiteX795" fmla="*/ 6881367 w 11701760"/>
              <a:gd name="connsiteY795" fmla="*/ 5344468 h 6407421"/>
              <a:gd name="connsiteX796" fmla="*/ 6615170 w 11701760"/>
              <a:gd name="connsiteY796" fmla="*/ 5314974 h 6407421"/>
              <a:gd name="connsiteX797" fmla="*/ 6644773 w 11701760"/>
              <a:gd name="connsiteY797" fmla="*/ 5314974 h 6407421"/>
              <a:gd name="connsiteX798" fmla="*/ 6644773 w 11701760"/>
              <a:gd name="connsiteY798" fmla="*/ 5344468 h 6407421"/>
              <a:gd name="connsiteX799" fmla="*/ 6615170 w 11701760"/>
              <a:gd name="connsiteY799" fmla="*/ 5344468 h 6407421"/>
              <a:gd name="connsiteX800" fmla="*/ 6349081 w 11701760"/>
              <a:gd name="connsiteY800" fmla="*/ 5314974 h 6407421"/>
              <a:gd name="connsiteX801" fmla="*/ 6378683 w 11701760"/>
              <a:gd name="connsiteY801" fmla="*/ 5314974 h 6407421"/>
              <a:gd name="connsiteX802" fmla="*/ 6378683 w 11701760"/>
              <a:gd name="connsiteY802" fmla="*/ 5344468 h 6407421"/>
              <a:gd name="connsiteX803" fmla="*/ 6349081 w 11701760"/>
              <a:gd name="connsiteY803" fmla="*/ 5344468 h 6407421"/>
              <a:gd name="connsiteX804" fmla="*/ 6082884 w 11701760"/>
              <a:gd name="connsiteY804" fmla="*/ 5314974 h 6407421"/>
              <a:gd name="connsiteX805" fmla="*/ 6112486 w 11701760"/>
              <a:gd name="connsiteY805" fmla="*/ 5314974 h 6407421"/>
              <a:gd name="connsiteX806" fmla="*/ 6112486 w 11701760"/>
              <a:gd name="connsiteY806" fmla="*/ 5344468 h 6407421"/>
              <a:gd name="connsiteX807" fmla="*/ 6082884 w 11701760"/>
              <a:gd name="connsiteY807" fmla="*/ 5344468 h 6407421"/>
              <a:gd name="connsiteX808" fmla="*/ 5825310 w 11701760"/>
              <a:gd name="connsiteY808" fmla="*/ 5314974 h 6407421"/>
              <a:gd name="connsiteX809" fmla="*/ 5854913 w 11701760"/>
              <a:gd name="connsiteY809" fmla="*/ 5314974 h 6407421"/>
              <a:gd name="connsiteX810" fmla="*/ 5854913 w 11701760"/>
              <a:gd name="connsiteY810" fmla="*/ 5344468 h 6407421"/>
              <a:gd name="connsiteX811" fmla="*/ 5825310 w 11701760"/>
              <a:gd name="connsiteY811" fmla="*/ 5344468 h 6407421"/>
              <a:gd name="connsiteX812" fmla="*/ 5559113 w 11701760"/>
              <a:gd name="connsiteY812" fmla="*/ 5314974 h 6407421"/>
              <a:gd name="connsiteX813" fmla="*/ 5588715 w 11701760"/>
              <a:gd name="connsiteY813" fmla="*/ 5314974 h 6407421"/>
              <a:gd name="connsiteX814" fmla="*/ 5588715 w 11701760"/>
              <a:gd name="connsiteY814" fmla="*/ 5344468 h 6407421"/>
              <a:gd name="connsiteX815" fmla="*/ 5559113 w 11701760"/>
              <a:gd name="connsiteY815" fmla="*/ 5344468 h 6407421"/>
              <a:gd name="connsiteX816" fmla="*/ 5293024 w 11701760"/>
              <a:gd name="connsiteY816" fmla="*/ 5314974 h 6407421"/>
              <a:gd name="connsiteX817" fmla="*/ 5322626 w 11701760"/>
              <a:gd name="connsiteY817" fmla="*/ 5314974 h 6407421"/>
              <a:gd name="connsiteX818" fmla="*/ 5322626 w 11701760"/>
              <a:gd name="connsiteY818" fmla="*/ 5344468 h 6407421"/>
              <a:gd name="connsiteX819" fmla="*/ 5293024 w 11701760"/>
              <a:gd name="connsiteY819" fmla="*/ 5344468 h 6407421"/>
              <a:gd name="connsiteX820" fmla="*/ 5026827 w 11701760"/>
              <a:gd name="connsiteY820" fmla="*/ 5314974 h 6407421"/>
              <a:gd name="connsiteX821" fmla="*/ 5056429 w 11701760"/>
              <a:gd name="connsiteY821" fmla="*/ 5314974 h 6407421"/>
              <a:gd name="connsiteX822" fmla="*/ 5056429 w 11701760"/>
              <a:gd name="connsiteY822" fmla="*/ 5344468 h 6407421"/>
              <a:gd name="connsiteX823" fmla="*/ 5026827 w 11701760"/>
              <a:gd name="connsiteY823" fmla="*/ 5344468 h 6407421"/>
              <a:gd name="connsiteX824" fmla="*/ 4760630 w 11701760"/>
              <a:gd name="connsiteY824" fmla="*/ 5314974 h 6407421"/>
              <a:gd name="connsiteX825" fmla="*/ 4790340 w 11701760"/>
              <a:gd name="connsiteY825" fmla="*/ 5314974 h 6407421"/>
              <a:gd name="connsiteX826" fmla="*/ 4790340 w 11701760"/>
              <a:gd name="connsiteY826" fmla="*/ 5344468 h 6407421"/>
              <a:gd name="connsiteX827" fmla="*/ 4760630 w 11701760"/>
              <a:gd name="connsiteY827" fmla="*/ 5344468 h 6407421"/>
              <a:gd name="connsiteX828" fmla="*/ 4494541 w 11701760"/>
              <a:gd name="connsiteY828" fmla="*/ 5314974 h 6407421"/>
              <a:gd name="connsiteX829" fmla="*/ 4524144 w 11701760"/>
              <a:gd name="connsiteY829" fmla="*/ 5314974 h 6407421"/>
              <a:gd name="connsiteX830" fmla="*/ 4524144 w 11701760"/>
              <a:gd name="connsiteY830" fmla="*/ 5344468 h 6407421"/>
              <a:gd name="connsiteX831" fmla="*/ 4494541 w 11701760"/>
              <a:gd name="connsiteY831" fmla="*/ 5344468 h 6407421"/>
              <a:gd name="connsiteX832" fmla="*/ 4228344 w 11701760"/>
              <a:gd name="connsiteY832" fmla="*/ 5314974 h 6407421"/>
              <a:gd name="connsiteX833" fmla="*/ 4257946 w 11701760"/>
              <a:gd name="connsiteY833" fmla="*/ 5314974 h 6407421"/>
              <a:gd name="connsiteX834" fmla="*/ 4257946 w 11701760"/>
              <a:gd name="connsiteY834" fmla="*/ 5344468 h 6407421"/>
              <a:gd name="connsiteX835" fmla="*/ 4228344 w 11701760"/>
              <a:gd name="connsiteY835" fmla="*/ 5344468 h 6407421"/>
              <a:gd name="connsiteX836" fmla="*/ 3962255 w 11701760"/>
              <a:gd name="connsiteY836" fmla="*/ 5314974 h 6407421"/>
              <a:gd name="connsiteX837" fmla="*/ 3991857 w 11701760"/>
              <a:gd name="connsiteY837" fmla="*/ 5314974 h 6407421"/>
              <a:gd name="connsiteX838" fmla="*/ 3991857 w 11701760"/>
              <a:gd name="connsiteY838" fmla="*/ 5344468 h 6407421"/>
              <a:gd name="connsiteX839" fmla="*/ 3962255 w 11701760"/>
              <a:gd name="connsiteY839" fmla="*/ 5344468 h 6407421"/>
              <a:gd name="connsiteX840" fmla="*/ 3696058 w 11701760"/>
              <a:gd name="connsiteY840" fmla="*/ 5314974 h 6407421"/>
              <a:gd name="connsiteX841" fmla="*/ 3725661 w 11701760"/>
              <a:gd name="connsiteY841" fmla="*/ 5314974 h 6407421"/>
              <a:gd name="connsiteX842" fmla="*/ 3725661 w 11701760"/>
              <a:gd name="connsiteY842" fmla="*/ 5344468 h 6407421"/>
              <a:gd name="connsiteX843" fmla="*/ 3696058 w 11701760"/>
              <a:gd name="connsiteY843" fmla="*/ 5344468 h 6407421"/>
              <a:gd name="connsiteX844" fmla="*/ 3429969 w 11701760"/>
              <a:gd name="connsiteY844" fmla="*/ 5314974 h 6407421"/>
              <a:gd name="connsiteX845" fmla="*/ 3459572 w 11701760"/>
              <a:gd name="connsiteY845" fmla="*/ 5314974 h 6407421"/>
              <a:gd name="connsiteX846" fmla="*/ 3459572 w 11701760"/>
              <a:gd name="connsiteY846" fmla="*/ 5344468 h 6407421"/>
              <a:gd name="connsiteX847" fmla="*/ 3429969 w 11701760"/>
              <a:gd name="connsiteY847" fmla="*/ 5344468 h 6407421"/>
              <a:gd name="connsiteX848" fmla="*/ 3163772 w 11701760"/>
              <a:gd name="connsiteY848" fmla="*/ 5314974 h 6407421"/>
              <a:gd name="connsiteX849" fmla="*/ 3193374 w 11701760"/>
              <a:gd name="connsiteY849" fmla="*/ 5314974 h 6407421"/>
              <a:gd name="connsiteX850" fmla="*/ 3193374 w 11701760"/>
              <a:gd name="connsiteY850" fmla="*/ 5344468 h 6407421"/>
              <a:gd name="connsiteX851" fmla="*/ 3163772 w 11701760"/>
              <a:gd name="connsiteY851" fmla="*/ 5344468 h 6407421"/>
              <a:gd name="connsiteX852" fmla="*/ 2897575 w 11701760"/>
              <a:gd name="connsiteY852" fmla="*/ 5314974 h 6407421"/>
              <a:gd name="connsiteX853" fmla="*/ 2927178 w 11701760"/>
              <a:gd name="connsiteY853" fmla="*/ 5314974 h 6407421"/>
              <a:gd name="connsiteX854" fmla="*/ 2927178 w 11701760"/>
              <a:gd name="connsiteY854" fmla="*/ 5344468 h 6407421"/>
              <a:gd name="connsiteX855" fmla="*/ 2897575 w 11701760"/>
              <a:gd name="connsiteY855" fmla="*/ 5344468 h 6407421"/>
              <a:gd name="connsiteX856" fmla="*/ 2631378 w 11701760"/>
              <a:gd name="connsiteY856" fmla="*/ 5314974 h 6407421"/>
              <a:gd name="connsiteX857" fmla="*/ 2660980 w 11701760"/>
              <a:gd name="connsiteY857" fmla="*/ 5314974 h 6407421"/>
              <a:gd name="connsiteX858" fmla="*/ 2660980 w 11701760"/>
              <a:gd name="connsiteY858" fmla="*/ 5344468 h 6407421"/>
              <a:gd name="connsiteX859" fmla="*/ 2631378 w 11701760"/>
              <a:gd name="connsiteY859" fmla="*/ 5344468 h 6407421"/>
              <a:gd name="connsiteX860" fmla="*/ 2365289 w 11701760"/>
              <a:gd name="connsiteY860" fmla="*/ 5314974 h 6407421"/>
              <a:gd name="connsiteX861" fmla="*/ 2394892 w 11701760"/>
              <a:gd name="connsiteY861" fmla="*/ 5314974 h 6407421"/>
              <a:gd name="connsiteX862" fmla="*/ 2394892 w 11701760"/>
              <a:gd name="connsiteY862" fmla="*/ 5344468 h 6407421"/>
              <a:gd name="connsiteX863" fmla="*/ 2365289 w 11701760"/>
              <a:gd name="connsiteY863" fmla="*/ 5344468 h 6407421"/>
              <a:gd name="connsiteX864" fmla="*/ 2099092 w 11701760"/>
              <a:gd name="connsiteY864" fmla="*/ 5314974 h 6407421"/>
              <a:gd name="connsiteX865" fmla="*/ 2128695 w 11701760"/>
              <a:gd name="connsiteY865" fmla="*/ 5314974 h 6407421"/>
              <a:gd name="connsiteX866" fmla="*/ 2128695 w 11701760"/>
              <a:gd name="connsiteY866" fmla="*/ 5344468 h 6407421"/>
              <a:gd name="connsiteX867" fmla="*/ 2099092 w 11701760"/>
              <a:gd name="connsiteY867" fmla="*/ 5344468 h 6407421"/>
              <a:gd name="connsiteX868" fmla="*/ 1832898 w 11701760"/>
              <a:gd name="connsiteY868" fmla="*/ 5314974 h 6407421"/>
              <a:gd name="connsiteX869" fmla="*/ 1862498 w 11701760"/>
              <a:gd name="connsiteY869" fmla="*/ 5314974 h 6407421"/>
              <a:gd name="connsiteX870" fmla="*/ 1862498 w 11701760"/>
              <a:gd name="connsiteY870" fmla="*/ 5344468 h 6407421"/>
              <a:gd name="connsiteX871" fmla="*/ 1832898 w 11701760"/>
              <a:gd name="connsiteY871" fmla="*/ 5344468 h 6407421"/>
              <a:gd name="connsiteX872" fmla="*/ 1566808 w 11701760"/>
              <a:gd name="connsiteY872" fmla="*/ 5314974 h 6407421"/>
              <a:gd name="connsiteX873" fmla="*/ 1596409 w 11701760"/>
              <a:gd name="connsiteY873" fmla="*/ 5314974 h 6407421"/>
              <a:gd name="connsiteX874" fmla="*/ 1596409 w 11701760"/>
              <a:gd name="connsiteY874" fmla="*/ 5344468 h 6407421"/>
              <a:gd name="connsiteX875" fmla="*/ 1566808 w 11701760"/>
              <a:gd name="connsiteY875" fmla="*/ 5344468 h 6407421"/>
              <a:gd name="connsiteX876" fmla="*/ 1300611 w 11701760"/>
              <a:gd name="connsiteY876" fmla="*/ 5314974 h 6407421"/>
              <a:gd name="connsiteX877" fmla="*/ 1330213 w 11701760"/>
              <a:gd name="connsiteY877" fmla="*/ 5314974 h 6407421"/>
              <a:gd name="connsiteX878" fmla="*/ 1330213 w 11701760"/>
              <a:gd name="connsiteY878" fmla="*/ 5344468 h 6407421"/>
              <a:gd name="connsiteX879" fmla="*/ 1300611 w 11701760"/>
              <a:gd name="connsiteY879" fmla="*/ 5344468 h 6407421"/>
              <a:gd name="connsiteX880" fmla="*/ 1034520 w 11701760"/>
              <a:gd name="connsiteY880" fmla="*/ 5314974 h 6407421"/>
              <a:gd name="connsiteX881" fmla="*/ 1064123 w 11701760"/>
              <a:gd name="connsiteY881" fmla="*/ 5314974 h 6407421"/>
              <a:gd name="connsiteX882" fmla="*/ 1064123 w 11701760"/>
              <a:gd name="connsiteY882" fmla="*/ 5344468 h 6407421"/>
              <a:gd name="connsiteX883" fmla="*/ 1034520 w 11701760"/>
              <a:gd name="connsiteY883" fmla="*/ 5344468 h 6407421"/>
              <a:gd name="connsiteX884" fmla="*/ 768328 w 11701760"/>
              <a:gd name="connsiteY884" fmla="*/ 5314974 h 6407421"/>
              <a:gd name="connsiteX885" fmla="*/ 797926 w 11701760"/>
              <a:gd name="connsiteY885" fmla="*/ 5314974 h 6407421"/>
              <a:gd name="connsiteX886" fmla="*/ 797926 w 11701760"/>
              <a:gd name="connsiteY886" fmla="*/ 5344468 h 6407421"/>
              <a:gd name="connsiteX887" fmla="*/ 768328 w 11701760"/>
              <a:gd name="connsiteY887" fmla="*/ 5344468 h 6407421"/>
              <a:gd name="connsiteX888" fmla="*/ 502237 w 11701760"/>
              <a:gd name="connsiteY888" fmla="*/ 5314974 h 6407421"/>
              <a:gd name="connsiteX889" fmla="*/ 531839 w 11701760"/>
              <a:gd name="connsiteY889" fmla="*/ 5314974 h 6407421"/>
              <a:gd name="connsiteX890" fmla="*/ 531839 w 11701760"/>
              <a:gd name="connsiteY890" fmla="*/ 5344468 h 6407421"/>
              <a:gd name="connsiteX891" fmla="*/ 502237 w 11701760"/>
              <a:gd name="connsiteY891" fmla="*/ 5344468 h 6407421"/>
              <a:gd name="connsiteX892" fmla="*/ 236038 w 11701760"/>
              <a:gd name="connsiteY892" fmla="*/ 5314974 h 6407421"/>
              <a:gd name="connsiteX893" fmla="*/ 265640 w 11701760"/>
              <a:gd name="connsiteY893" fmla="*/ 5314974 h 6407421"/>
              <a:gd name="connsiteX894" fmla="*/ 265640 w 11701760"/>
              <a:gd name="connsiteY894" fmla="*/ 5344468 h 6407421"/>
              <a:gd name="connsiteX895" fmla="*/ 236038 w 11701760"/>
              <a:gd name="connsiteY895" fmla="*/ 5344468 h 6407421"/>
              <a:gd name="connsiteX896" fmla="*/ 2 w 11701760"/>
              <a:gd name="connsiteY896" fmla="*/ 5314974 h 6407421"/>
              <a:gd name="connsiteX897" fmla="*/ 29604 w 11701760"/>
              <a:gd name="connsiteY897" fmla="*/ 5314974 h 6407421"/>
              <a:gd name="connsiteX898" fmla="*/ 29604 w 11701760"/>
              <a:gd name="connsiteY898" fmla="*/ 5344468 h 6407421"/>
              <a:gd name="connsiteX899" fmla="*/ 2 w 11701760"/>
              <a:gd name="connsiteY899" fmla="*/ 5344468 h 6407421"/>
              <a:gd name="connsiteX900" fmla="*/ 11672158 w 11701760"/>
              <a:gd name="connsiteY900" fmla="*/ 5049209 h 6407421"/>
              <a:gd name="connsiteX901" fmla="*/ 11701760 w 11701760"/>
              <a:gd name="connsiteY901" fmla="*/ 5049209 h 6407421"/>
              <a:gd name="connsiteX902" fmla="*/ 11701760 w 11701760"/>
              <a:gd name="connsiteY902" fmla="*/ 5078812 h 6407421"/>
              <a:gd name="connsiteX903" fmla="*/ 11672158 w 11701760"/>
              <a:gd name="connsiteY903" fmla="*/ 5078812 h 6407421"/>
              <a:gd name="connsiteX904" fmla="*/ 11405961 w 11701760"/>
              <a:gd name="connsiteY904" fmla="*/ 5049209 h 6407421"/>
              <a:gd name="connsiteX905" fmla="*/ 11435563 w 11701760"/>
              <a:gd name="connsiteY905" fmla="*/ 5049209 h 6407421"/>
              <a:gd name="connsiteX906" fmla="*/ 11435563 w 11701760"/>
              <a:gd name="connsiteY906" fmla="*/ 5078812 h 6407421"/>
              <a:gd name="connsiteX907" fmla="*/ 11405961 w 11701760"/>
              <a:gd name="connsiteY907" fmla="*/ 5078812 h 6407421"/>
              <a:gd name="connsiteX908" fmla="*/ 11139872 w 11701760"/>
              <a:gd name="connsiteY908" fmla="*/ 5049209 h 6407421"/>
              <a:gd name="connsiteX909" fmla="*/ 11169474 w 11701760"/>
              <a:gd name="connsiteY909" fmla="*/ 5049209 h 6407421"/>
              <a:gd name="connsiteX910" fmla="*/ 11169474 w 11701760"/>
              <a:gd name="connsiteY910" fmla="*/ 5078812 h 6407421"/>
              <a:gd name="connsiteX911" fmla="*/ 11139872 w 11701760"/>
              <a:gd name="connsiteY911" fmla="*/ 5078812 h 6407421"/>
              <a:gd name="connsiteX912" fmla="*/ 10873675 w 11701760"/>
              <a:gd name="connsiteY912" fmla="*/ 5049209 h 6407421"/>
              <a:gd name="connsiteX913" fmla="*/ 10903277 w 11701760"/>
              <a:gd name="connsiteY913" fmla="*/ 5049209 h 6407421"/>
              <a:gd name="connsiteX914" fmla="*/ 10903277 w 11701760"/>
              <a:gd name="connsiteY914" fmla="*/ 5078812 h 6407421"/>
              <a:gd name="connsiteX915" fmla="*/ 10873675 w 11701760"/>
              <a:gd name="connsiteY915" fmla="*/ 5078812 h 6407421"/>
              <a:gd name="connsiteX916" fmla="*/ 10607478 w 11701760"/>
              <a:gd name="connsiteY916" fmla="*/ 5049209 h 6407421"/>
              <a:gd name="connsiteX917" fmla="*/ 10637188 w 11701760"/>
              <a:gd name="connsiteY917" fmla="*/ 5049209 h 6407421"/>
              <a:gd name="connsiteX918" fmla="*/ 10637188 w 11701760"/>
              <a:gd name="connsiteY918" fmla="*/ 5078812 h 6407421"/>
              <a:gd name="connsiteX919" fmla="*/ 10607478 w 11701760"/>
              <a:gd name="connsiteY919" fmla="*/ 5078812 h 6407421"/>
              <a:gd name="connsiteX920" fmla="*/ 10341389 w 11701760"/>
              <a:gd name="connsiteY920" fmla="*/ 5049209 h 6407421"/>
              <a:gd name="connsiteX921" fmla="*/ 10370992 w 11701760"/>
              <a:gd name="connsiteY921" fmla="*/ 5049209 h 6407421"/>
              <a:gd name="connsiteX922" fmla="*/ 10370992 w 11701760"/>
              <a:gd name="connsiteY922" fmla="*/ 5078812 h 6407421"/>
              <a:gd name="connsiteX923" fmla="*/ 10341389 w 11701760"/>
              <a:gd name="connsiteY923" fmla="*/ 5078812 h 6407421"/>
              <a:gd name="connsiteX924" fmla="*/ 10075192 w 11701760"/>
              <a:gd name="connsiteY924" fmla="*/ 5049209 h 6407421"/>
              <a:gd name="connsiteX925" fmla="*/ 10104794 w 11701760"/>
              <a:gd name="connsiteY925" fmla="*/ 5049209 h 6407421"/>
              <a:gd name="connsiteX926" fmla="*/ 10104794 w 11701760"/>
              <a:gd name="connsiteY926" fmla="*/ 5078812 h 6407421"/>
              <a:gd name="connsiteX927" fmla="*/ 10075192 w 11701760"/>
              <a:gd name="connsiteY927" fmla="*/ 5078812 h 6407421"/>
              <a:gd name="connsiteX928" fmla="*/ 9809103 w 11701760"/>
              <a:gd name="connsiteY928" fmla="*/ 5049209 h 6407421"/>
              <a:gd name="connsiteX929" fmla="*/ 9838705 w 11701760"/>
              <a:gd name="connsiteY929" fmla="*/ 5049209 h 6407421"/>
              <a:gd name="connsiteX930" fmla="*/ 9838705 w 11701760"/>
              <a:gd name="connsiteY930" fmla="*/ 5078812 h 6407421"/>
              <a:gd name="connsiteX931" fmla="*/ 9809103 w 11701760"/>
              <a:gd name="connsiteY931" fmla="*/ 5078812 h 6407421"/>
              <a:gd name="connsiteX932" fmla="*/ 9542906 w 11701760"/>
              <a:gd name="connsiteY932" fmla="*/ 5049209 h 6407421"/>
              <a:gd name="connsiteX933" fmla="*/ 9572509 w 11701760"/>
              <a:gd name="connsiteY933" fmla="*/ 5049209 h 6407421"/>
              <a:gd name="connsiteX934" fmla="*/ 9572509 w 11701760"/>
              <a:gd name="connsiteY934" fmla="*/ 5078812 h 6407421"/>
              <a:gd name="connsiteX935" fmla="*/ 9542906 w 11701760"/>
              <a:gd name="connsiteY935" fmla="*/ 5078812 h 6407421"/>
              <a:gd name="connsiteX936" fmla="*/ 9276817 w 11701760"/>
              <a:gd name="connsiteY936" fmla="*/ 5049209 h 6407421"/>
              <a:gd name="connsiteX937" fmla="*/ 9306420 w 11701760"/>
              <a:gd name="connsiteY937" fmla="*/ 5049209 h 6407421"/>
              <a:gd name="connsiteX938" fmla="*/ 9306420 w 11701760"/>
              <a:gd name="connsiteY938" fmla="*/ 5078812 h 6407421"/>
              <a:gd name="connsiteX939" fmla="*/ 9276817 w 11701760"/>
              <a:gd name="connsiteY939" fmla="*/ 5078812 h 6407421"/>
              <a:gd name="connsiteX940" fmla="*/ 9010620 w 11701760"/>
              <a:gd name="connsiteY940" fmla="*/ 5049209 h 6407421"/>
              <a:gd name="connsiteX941" fmla="*/ 9040222 w 11701760"/>
              <a:gd name="connsiteY941" fmla="*/ 5049209 h 6407421"/>
              <a:gd name="connsiteX942" fmla="*/ 9040222 w 11701760"/>
              <a:gd name="connsiteY942" fmla="*/ 5078812 h 6407421"/>
              <a:gd name="connsiteX943" fmla="*/ 9010620 w 11701760"/>
              <a:gd name="connsiteY943" fmla="*/ 5078812 h 6407421"/>
              <a:gd name="connsiteX944" fmla="*/ 8744423 w 11701760"/>
              <a:gd name="connsiteY944" fmla="*/ 5049209 h 6407421"/>
              <a:gd name="connsiteX945" fmla="*/ 8774026 w 11701760"/>
              <a:gd name="connsiteY945" fmla="*/ 5049209 h 6407421"/>
              <a:gd name="connsiteX946" fmla="*/ 8774026 w 11701760"/>
              <a:gd name="connsiteY946" fmla="*/ 5078812 h 6407421"/>
              <a:gd name="connsiteX947" fmla="*/ 8744423 w 11701760"/>
              <a:gd name="connsiteY947" fmla="*/ 5078812 h 6407421"/>
              <a:gd name="connsiteX948" fmla="*/ 8478226 w 11701760"/>
              <a:gd name="connsiteY948" fmla="*/ 5049209 h 6407421"/>
              <a:gd name="connsiteX949" fmla="*/ 8507828 w 11701760"/>
              <a:gd name="connsiteY949" fmla="*/ 5049209 h 6407421"/>
              <a:gd name="connsiteX950" fmla="*/ 8507828 w 11701760"/>
              <a:gd name="connsiteY950" fmla="*/ 5078812 h 6407421"/>
              <a:gd name="connsiteX951" fmla="*/ 8478226 w 11701760"/>
              <a:gd name="connsiteY951" fmla="*/ 5078812 h 6407421"/>
              <a:gd name="connsiteX952" fmla="*/ 8212137 w 11701760"/>
              <a:gd name="connsiteY952" fmla="*/ 5049209 h 6407421"/>
              <a:gd name="connsiteX953" fmla="*/ 8241740 w 11701760"/>
              <a:gd name="connsiteY953" fmla="*/ 5049209 h 6407421"/>
              <a:gd name="connsiteX954" fmla="*/ 8241740 w 11701760"/>
              <a:gd name="connsiteY954" fmla="*/ 5078812 h 6407421"/>
              <a:gd name="connsiteX955" fmla="*/ 8212137 w 11701760"/>
              <a:gd name="connsiteY955" fmla="*/ 5078812 h 6407421"/>
              <a:gd name="connsiteX956" fmla="*/ 7945940 w 11701760"/>
              <a:gd name="connsiteY956" fmla="*/ 5049209 h 6407421"/>
              <a:gd name="connsiteX957" fmla="*/ 7975543 w 11701760"/>
              <a:gd name="connsiteY957" fmla="*/ 5049209 h 6407421"/>
              <a:gd name="connsiteX958" fmla="*/ 7975543 w 11701760"/>
              <a:gd name="connsiteY958" fmla="*/ 5078812 h 6407421"/>
              <a:gd name="connsiteX959" fmla="*/ 7945940 w 11701760"/>
              <a:gd name="connsiteY959" fmla="*/ 5078812 h 6407421"/>
              <a:gd name="connsiteX960" fmla="*/ 7679743 w 11701760"/>
              <a:gd name="connsiteY960" fmla="*/ 5049209 h 6407421"/>
              <a:gd name="connsiteX961" fmla="*/ 7709346 w 11701760"/>
              <a:gd name="connsiteY961" fmla="*/ 5049209 h 6407421"/>
              <a:gd name="connsiteX962" fmla="*/ 7709346 w 11701760"/>
              <a:gd name="connsiteY962" fmla="*/ 5078812 h 6407421"/>
              <a:gd name="connsiteX963" fmla="*/ 7679743 w 11701760"/>
              <a:gd name="connsiteY963" fmla="*/ 5078812 h 6407421"/>
              <a:gd name="connsiteX964" fmla="*/ 7413653 w 11701760"/>
              <a:gd name="connsiteY964" fmla="*/ 5049209 h 6407421"/>
              <a:gd name="connsiteX965" fmla="*/ 7443256 w 11701760"/>
              <a:gd name="connsiteY965" fmla="*/ 5049209 h 6407421"/>
              <a:gd name="connsiteX966" fmla="*/ 7443256 w 11701760"/>
              <a:gd name="connsiteY966" fmla="*/ 5078812 h 6407421"/>
              <a:gd name="connsiteX967" fmla="*/ 7413653 w 11701760"/>
              <a:gd name="connsiteY967" fmla="*/ 5078812 h 6407421"/>
              <a:gd name="connsiteX968" fmla="*/ 7147456 w 11701760"/>
              <a:gd name="connsiteY968" fmla="*/ 5049209 h 6407421"/>
              <a:gd name="connsiteX969" fmla="*/ 7177058 w 11701760"/>
              <a:gd name="connsiteY969" fmla="*/ 5049209 h 6407421"/>
              <a:gd name="connsiteX970" fmla="*/ 7177058 w 11701760"/>
              <a:gd name="connsiteY970" fmla="*/ 5078812 h 6407421"/>
              <a:gd name="connsiteX971" fmla="*/ 7147456 w 11701760"/>
              <a:gd name="connsiteY971" fmla="*/ 5078812 h 6407421"/>
              <a:gd name="connsiteX972" fmla="*/ 6881367 w 11701760"/>
              <a:gd name="connsiteY972" fmla="*/ 5049209 h 6407421"/>
              <a:gd name="connsiteX973" fmla="*/ 6910970 w 11701760"/>
              <a:gd name="connsiteY973" fmla="*/ 5049209 h 6407421"/>
              <a:gd name="connsiteX974" fmla="*/ 6910970 w 11701760"/>
              <a:gd name="connsiteY974" fmla="*/ 5078812 h 6407421"/>
              <a:gd name="connsiteX975" fmla="*/ 6881367 w 11701760"/>
              <a:gd name="connsiteY975" fmla="*/ 5078812 h 6407421"/>
              <a:gd name="connsiteX976" fmla="*/ 6615170 w 11701760"/>
              <a:gd name="connsiteY976" fmla="*/ 5049209 h 6407421"/>
              <a:gd name="connsiteX977" fmla="*/ 6644773 w 11701760"/>
              <a:gd name="connsiteY977" fmla="*/ 5049209 h 6407421"/>
              <a:gd name="connsiteX978" fmla="*/ 6644773 w 11701760"/>
              <a:gd name="connsiteY978" fmla="*/ 5078812 h 6407421"/>
              <a:gd name="connsiteX979" fmla="*/ 6615170 w 11701760"/>
              <a:gd name="connsiteY979" fmla="*/ 5078812 h 6407421"/>
              <a:gd name="connsiteX980" fmla="*/ 6349081 w 11701760"/>
              <a:gd name="connsiteY980" fmla="*/ 5049209 h 6407421"/>
              <a:gd name="connsiteX981" fmla="*/ 6378683 w 11701760"/>
              <a:gd name="connsiteY981" fmla="*/ 5049209 h 6407421"/>
              <a:gd name="connsiteX982" fmla="*/ 6378683 w 11701760"/>
              <a:gd name="connsiteY982" fmla="*/ 5078812 h 6407421"/>
              <a:gd name="connsiteX983" fmla="*/ 6349081 w 11701760"/>
              <a:gd name="connsiteY983" fmla="*/ 5078812 h 6407421"/>
              <a:gd name="connsiteX984" fmla="*/ 6082884 w 11701760"/>
              <a:gd name="connsiteY984" fmla="*/ 5049209 h 6407421"/>
              <a:gd name="connsiteX985" fmla="*/ 6112486 w 11701760"/>
              <a:gd name="connsiteY985" fmla="*/ 5049209 h 6407421"/>
              <a:gd name="connsiteX986" fmla="*/ 6112486 w 11701760"/>
              <a:gd name="connsiteY986" fmla="*/ 5078812 h 6407421"/>
              <a:gd name="connsiteX987" fmla="*/ 6082884 w 11701760"/>
              <a:gd name="connsiteY987" fmla="*/ 5078812 h 6407421"/>
              <a:gd name="connsiteX988" fmla="*/ 5825310 w 11701760"/>
              <a:gd name="connsiteY988" fmla="*/ 5049209 h 6407421"/>
              <a:gd name="connsiteX989" fmla="*/ 5854913 w 11701760"/>
              <a:gd name="connsiteY989" fmla="*/ 5049209 h 6407421"/>
              <a:gd name="connsiteX990" fmla="*/ 5854913 w 11701760"/>
              <a:gd name="connsiteY990" fmla="*/ 5078812 h 6407421"/>
              <a:gd name="connsiteX991" fmla="*/ 5825310 w 11701760"/>
              <a:gd name="connsiteY991" fmla="*/ 5078812 h 6407421"/>
              <a:gd name="connsiteX992" fmla="*/ 5559113 w 11701760"/>
              <a:gd name="connsiteY992" fmla="*/ 5049209 h 6407421"/>
              <a:gd name="connsiteX993" fmla="*/ 5588715 w 11701760"/>
              <a:gd name="connsiteY993" fmla="*/ 5049209 h 6407421"/>
              <a:gd name="connsiteX994" fmla="*/ 5588715 w 11701760"/>
              <a:gd name="connsiteY994" fmla="*/ 5078812 h 6407421"/>
              <a:gd name="connsiteX995" fmla="*/ 5559113 w 11701760"/>
              <a:gd name="connsiteY995" fmla="*/ 5078812 h 6407421"/>
              <a:gd name="connsiteX996" fmla="*/ 5293024 w 11701760"/>
              <a:gd name="connsiteY996" fmla="*/ 5049209 h 6407421"/>
              <a:gd name="connsiteX997" fmla="*/ 5322626 w 11701760"/>
              <a:gd name="connsiteY997" fmla="*/ 5049209 h 6407421"/>
              <a:gd name="connsiteX998" fmla="*/ 5322626 w 11701760"/>
              <a:gd name="connsiteY998" fmla="*/ 5078812 h 6407421"/>
              <a:gd name="connsiteX999" fmla="*/ 5293024 w 11701760"/>
              <a:gd name="connsiteY999" fmla="*/ 5078812 h 6407421"/>
              <a:gd name="connsiteX1000" fmla="*/ 5026827 w 11701760"/>
              <a:gd name="connsiteY1000" fmla="*/ 5049209 h 6407421"/>
              <a:gd name="connsiteX1001" fmla="*/ 5056429 w 11701760"/>
              <a:gd name="connsiteY1001" fmla="*/ 5049209 h 6407421"/>
              <a:gd name="connsiteX1002" fmla="*/ 5056429 w 11701760"/>
              <a:gd name="connsiteY1002" fmla="*/ 5078812 h 6407421"/>
              <a:gd name="connsiteX1003" fmla="*/ 5026827 w 11701760"/>
              <a:gd name="connsiteY1003" fmla="*/ 5078812 h 6407421"/>
              <a:gd name="connsiteX1004" fmla="*/ 4760630 w 11701760"/>
              <a:gd name="connsiteY1004" fmla="*/ 5049209 h 6407421"/>
              <a:gd name="connsiteX1005" fmla="*/ 4790340 w 11701760"/>
              <a:gd name="connsiteY1005" fmla="*/ 5049209 h 6407421"/>
              <a:gd name="connsiteX1006" fmla="*/ 4790340 w 11701760"/>
              <a:gd name="connsiteY1006" fmla="*/ 5078812 h 6407421"/>
              <a:gd name="connsiteX1007" fmla="*/ 4760630 w 11701760"/>
              <a:gd name="connsiteY1007" fmla="*/ 5078812 h 6407421"/>
              <a:gd name="connsiteX1008" fmla="*/ 4494541 w 11701760"/>
              <a:gd name="connsiteY1008" fmla="*/ 5049209 h 6407421"/>
              <a:gd name="connsiteX1009" fmla="*/ 4524144 w 11701760"/>
              <a:gd name="connsiteY1009" fmla="*/ 5049209 h 6407421"/>
              <a:gd name="connsiteX1010" fmla="*/ 4524144 w 11701760"/>
              <a:gd name="connsiteY1010" fmla="*/ 5078812 h 6407421"/>
              <a:gd name="connsiteX1011" fmla="*/ 4494541 w 11701760"/>
              <a:gd name="connsiteY1011" fmla="*/ 5078812 h 6407421"/>
              <a:gd name="connsiteX1012" fmla="*/ 4228344 w 11701760"/>
              <a:gd name="connsiteY1012" fmla="*/ 5049209 h 6407421"/>
              <a:gd name="connsiteX1013" fmla="*/ 4257946 w 11701760"/>
              <a:gd name="connsiteY1013" fmla="*/ 5049209 h 6407421"/>
              <a:gd name="connsiteX1014" fmla="*/ 4257946 w 11701760"/>
              <a:gd name="connsiteY1014" fmla="*/ 5078812 h 6407421"/>
              <a:gd name="connsiteX1015" fmla="*/ 4228344 w 11701760"/>
              <a:gd name="connsiteY1015" fmla="*/ 5078812 h 6407421"/>
              <a:gd name="connsiteX1016" fmla="*/ 3962255 w 11701760"/>
              <a:gd name="connsiteY1016" fmla="*/ 5049209 h 6407421"/>
              <a:gd name="connsiteX1017" fmla="*/ 3991857 w 11701760"/>
              <a:gd name="connsiteY1017" fmla="*/ 5049209 h 6407421"/>
              <a:gd name="connsiteX1018" fmla="*/ 3991857 w 11701760"/>
              <a:gd name="connsiteY1018" fmla="*/ 5078812 h 6407421"/>
              <a:gd name="connsiteX1019" fmla="*/ 3962255 w 11701760"/>
              <a:gd name="connsiteY1019" fmla="*/ 5078812 h 6407421"/>
              <a:gd name="connsiteX1020" fmla="*/ 3696058 w 11701760"/>
              <a:gd name="connsiteY1020" fmla="*/ 5049209 h 6407421"/>
              <a:gd name="connsiteX1021" fmla="*/ 3725661 w 11701760"/>
              <a:gd name="connsiteY1021" fmla="*/ 5049209 h 6407421"/>
              <a:gd name="connsiteX1022" fmla="*/ 3725661 w 11701760"/>
              <a:gd name="connsiteY1022" fmla="*/ 5078812 h 6407421"/>
              <a:gd name="connsiteX1023" fmla="*/ 3696058 w 11701760"/>
              <a:gd name="connsiteY1023" fmla="*/ 5078812 h 6407421"/>
              <a:gd name="connsiteX1024" fmla="*/ 3429969 w 11701760"/>
              <a:gd name="connsiteY1024" fmla="*/ 5049209 h 6407421"/>
              <a:gd name="connsiteX1025" fmla="*/ 3459572 w 11701760"/>
              <a:gd name="connsiteY1025" fmla="*/ 5049209 h 6407421"/>
              <a:gd name="connsiteX1026" fmla="*/ 3459572 w 11701760"/>
              <a:gd name="connsiteY1026" fmla="*/ 5078812 h 6407421"/>
              <a:gd name="connsiteX1027" fmla="*/ 3429969 w 11701760"/>
              <a:gd name="connsiteY1027" fmla="*/ 5078812 h 6407421"/>
              <a:gd name="connsiteX1028" fmla="*/ 3163772 w 11701760"/>
              <a:gd name="connsiteY1028" fmla="*/ 5049209 h 6407421"/>
              <a:gd name="connsiteX1029" fmla="*/ 3193374 w 11701760"/>
              <a:gd name="connsiteY1029" fmla="*/ 5049209 h 6407421"/>
              <a:gd name="connsiteX1030" fmla="*/ 3193374 w 11701760"/>
              <a:gd name="connsiteY1030" fmla="*/ 5078812 h 6407421"/>
              <a:gd name="connsiteX1031" fmla="*/ 3163772 w 11701760"/>
              <a:gd name="connsiteY1031" fmla="*/ 5078812 h 6407421"/>
              <a:gd name="connsiteX1032" fmla="*/ 2897575 w 11701760"/>
              <a:gd name="connsiteY1032" fmla="*/ 5049209 h 6407421"/>
              <a:gd name="connsiteX1033" fmla="*/ 2927178 w 11701760"/>
              <a:gd name="connsiteY1033" fmla="*/ 5049209 h 6407421"/>
              <a:gd name="connsiteX1034" fmla="*/ 2927178 w 11701760"/>
              <a:gd name="connsiteY1034" fmla="*/ 5078812 h 6407421"/>
              <a:gd name="connsiteX1035" fmla="*/ 2897575 w 11701760"/>
              <a:gd name="connsiteY1035" fmla="*/ 5078812 h 6407421"/>
              <a:gd name="connsiteX1036" fmla="*/ 2631378 w 11701760"/>
              <a:gd name="connsiteY1036" fmla="*/ 5049209 h 6407421"/>
              <a:gd name="connsiteX1037" fmla="*/ 2660980 w 11701760"/>
              <a:gd name="connsiteY1037" fmla="*/ 5049209 h 6407421"/>
              <a:gd name="connsiteX1038" fmla="*/ 2660980 w 11701760"/>
              <a:gd name="connsiteY1038" fmla="*/ 5078812 h 6407421"/>
              <a:gd name="connsiteX1039" fmla="*/ 2631378 w 11701760"/>
              <a:gd name="connsiteY1039" fmla="*/ 5078812 h 6407421"/>
              <a:gd name="connsiteX1040" fmla="*/ 2365289 w 11701760"/>
              <a:gd name="connsiteY1040" fmla="*/ 5049209 h 6407421"/>
              <a:gd name="connsiteX1041" fmla="*/ 2394892 w 11701760"/>
              <a:gd name="connsiteY1041" fmla="*/ 5049209 h 6407421"/>
              <a:gd name="connsiteX1042" fmla="*/ 2394892 w 11701760"/>
              <a:gd name="connsiteY1042" fmla="*/ 5078812 h 6407421"/>
              <a:gd name="connsiteX1043" fmla="*/ 2365289 w 11701760"/>
              <a:gd name="connsiteY1043" fmla="*/ 5078812 h 6407421"/>
              <a:gd name="connsiteX1044" fmla="*/ 2099092 w 11701760"/>
              <a:gd name="connsiteY1044" fmla="*/ 5049209 h 6407421"/>
              <a:gd name="connsiteX1045" fmla="*/ 2128695 w 11701760"/>
              <a:gd name="connsiteY1045" fmla="*/ 5049209 h 6407421"/>
              <a:gd name="connsiteX1046" fmla="*/ 2128695 w 11701760"/>
              <a:gd name="connsiteY1046" fmla="*/ 5078812 h 6407421"/>
              <a:gd name="connsiteX1047" fmla="*/ 2099092 w 11701760"/>
              <a:gd name="connsiteY1047" fmla="*/ 5078812 h 6407421"/>
              <a:gd name="connsiteX1048" fmla="*/ 1832898 w 11701760"/>
              <a:gd name="connsiteY1048" fmla="*/ 5049209 h 6407421"/>
              <a:gd name="connsiteX1049" fmla="*/ 1862498 w 11701760"/>
              <a:gd name="connsiteY1049" fmla="*/ 5049209 h 6407421"/>
              <a:gd name="connsiteX1050" fmla="*/ 1862498 w 11701760"/>
              <a:gd name="connsiteY1050" fmla="*/ 5078812 h 6407421"/>
              <a:gd name="connsiteX1051" fmla="*/ 1832898 w 11701760"/>
              <a:gd name="connsiteY1051" fmla="*/ 5078812 h 6407421"/>
              <a:gd name="connsiteX1052" fmla="*/ 1566808 w 11701760"/>
              <a:gd name="connsiteY1052" fmla="*/ 5049209 h 6407421"/>
              <a:gd name="connsiteX1053" fmla="*/ 1596409 w 11701760"/>
              <a:gd name="connsiteY1053" fmla="*/ 5049209 h 6407421"/>
              <a:gd name="connsiteX1054" fmla="*/ 1596409 w 11701760"/>
              <a:gd name="connsiteY1054" fmla="*/ 5078812 h 6407421"/>
              <a:gd name="connsiteX1055" fmla="*/ 1566808 w 11701760"/>
              <a:gd name="connsiteY1055" fmla="*/ 5078812 h 6407421"/>
              <a:gd name="connsiteX1056" fmla="*/ 1300611 w 11701760"/>
              <a:gd name="connsiteY1056" fmla="*/ 5049209 h 6407421"/>
              <a:gd name="connsiteX1057" fmla="*/ 1330213 w 11701760"/>
              <a:gd name="connsiteY1057" fmla="*/ 5049209 h 6407421"/>
              <a:gd name="connsiteX1058" fmla="*/ 1330213 w 11701760"/>
              <a:gd name="connsiteY1058" fmla="*/ 5078812 h 6407421"/>
              <a:gd name="connsiteX1059" fmla="*/ 1300611 w 11701760"/>
              <a:gd name="connsiteY1059" fmla="*/ 5078812 h 6407421"/>
              <a:gd name="connsiteX1060" fmla="*/ 1034520 w 11701760"/>
              <a:gd name="connsiteY1060" fmla="*/ 5049209 h 6407421"/>
              <a:gd name="connsiteX1061" fmla="*/ 1064123 w 11701760"/>
              <a:gd name="connsiteY1061" fmla="*/ 5049209 h 6407421"/>
              <a:gd name="connsiteX1062" fmla="*/ 1064123 w 11701760"/>
              <a:gd name="connsiteY1062" fmla="*/ 5078812 h 6407421"/>
              <a:gd name="connsiteX1063" fmla="*/ 1034520 w 11701760"/>
              <a:gd name="connsiteY1063" fmla="*/ 5078812 h 6407421"/>
              <a:gd name="connsiteX1064" fmla="*/ 768328 w 11701760"/>
              <a:gd name="connsiteY1064" fmla="*/ 5049209 h 6407421"/>
              <a:gd name="connsiteX1065" fmla="*/ 797926 w 11701760"/>
              <a:gd name="connsiteY1065" fmla="*/ 5049209 h 6407421"/>
              <a:gd name="connsiteX1066" fmla="*/ 797926 w 11701760"/>
              <a:gd name="connsiteY1066" fmla="*/ 5078812 h 6407421"/>
              <a:gd name="connsiteX1067" fmla="*/ 768328 w 11701760"/>
              <a:gd name="connsiteY1067" fmla="*/ 5078812 h 6407421"/>
              <a:gd name="connsiteX1068" fmla="*/ 502237 w 11701760"/>
              <a:gd name="connsiteY1068" fmla="*/ 5049209 h 6407421"/>
              <a:gd name="connsiteX1069" fmla="*/ 531839 w 11701760"/>
              <a:gd name="connsiteY1069" fmla="*/ 5049209 h 6407421"/>
              <a:gd name="connsiteX1070" fmla="*/ 531839 w 11701760"/>
              <a:gd name="connsiteY1070" fmla="*/ 5078812 h 6407421"/>
              <a:gd name="connsiteX1071" fmla="*/ 502237 w 11701760"/>
              <a:gd name="connsiteY1071" fmla="*/ 5078812 h 6407421"/>
              <a:gd name="connsiteX1072" fmla="*/ 236038 w 11701760"/>
              <a:gd name="connsiteY1072" fmla="*/ 5049209 h 6407421"/>
              <a:gd name="connsiteX1073" fmla="*/ 265640 w 11701760"/>
              <a:gd name="connsiteY1073" fmla="*/ 5049209 h 6407421"/>
              <a:gd name="connsiteX1074" fmla="*/ 265640 w 11701760"/>
              <a:gd name="connsiteY1074" fmla="*/ 5078812 h 6407421"/>
              <a:gd name="connsiteX1075" fmla="*/ 236038 w 11701760"/>
              <a:gd name="connsiteY1075" fmla="*/ 5078812 h 6407421"/>
              <a:gd name="connsiteX1076" fmla="*/ 2 w 11701760"/>
              <a:gd name="connsiteY1076" fmla="*/ 5049209 h 6407421"/>
              <a:gd name="connsiteX1077" fmla="*/ 29604 w 11701760"/>
              <a:gd name="connsiteY1077" fmla="*/ 5049209 h 6407421"/>
              <a:gd name="connsiteX1078" fmla="*/ 29604 w 11701760"/>
              <a:gd name="connsiteY1078" fmla="*/ 5078812 h 6407421"/>
              <a:gd name="connsiteX1079" fmla="*/ 2 w 11701760"/>
              <a:gd name="connsiteY1079" fmla="*/ 5078812 h 6407421"/>
              <a:gd name="connsiteX1080" fmla="*/ 11672158 w 11701760"/>
              <a:gd name="connsiteY1080" fmla="*/ 4783444 h 6407421"/>
              <a:gd name="connsiteX1081" fmla="*/ 11701760 w 11701760"/>
              <a:gd name="connsiteY1081" fmla="*/ 4783444 h 6407421"/>
              <a:gd name="connsiteX1082" fmla="*/ 11701760 w 11701760"/>
              <a:gd name="connsiteY1082" fmla="*/ 4813046 h 6407421"/>
              <a:gd name="connsiteX1083" fmla="*/ 11672158 w 11701760"/>
              <a:gd name="connsiteY1083" fmla="*/ 4813046 h 6407421"/>
              <a:gd name="connsiteX1084" fmla="*/ 11405961 w 11701760"/>
              <a:gd name="connsiteY1084" fmla="*/ 4783444 h 6407421"/>
              <a:gd name="connsiteX1085" fmla="*/ 11435563 w 11701760"/>
              <a:gd name="connsiteY1085" fmla="*/ 4783444 h 6407421"/>
              <a:gd name="connsiteX1086" fmla="*/ 11435563 w 11701760"/>
              <a:gd name="connsiteY1086" fmla="*/ 4813046 h 6407421"/>
              <a:gd name="connsiteX1087" fmla="*/ 11405961 w 11701760"/>
              <a:gd name="connsiteY1087" fmla="*/ 4813046 h 6407421"/>
              <a:gd name="connsiteX1088" fmla="*/ 11139872 w 11701760"/>
              <a:gd name="connsiteY1088" fmla="*/ 4783444 h 6407421"/>
              <a:gd name="connsiteX1089" fmla="*/ 11169474 w 11701760"/>
              <a:gd name="connsiteY1089" fmla="*/ 4783444 h 6407421"/>
              <a:gd name="connsiteX1090" fmla="*/ 11169474 w 11701760"/>
              <a:gd name="connsiteY1090" fmla="*/ 4813046 h 6407421"/>
              <a:gd name="connsiteX1091" fmla="*/ 11139872 w 11701760"/>
              <a:gd name="connsiteY1091" fmla="*/ 4813046 h 6407421"/>
              <a:gd name="connsiteX1092" fmla="*/ 10873675 w 11701760"/>
              <a:gd name="connsiteY1092" fmla="*/ 4783444 h 6407421"/>
              <a:gd name="connsiteX1093" fmla="*/ 10903277 w 11701760"/>
              <a:gd name="connsiteY1093" fmla="*/ 4783444 h 6407421"/>
              <a:gd name="connsiteX1094" fmla="*/ 10903277 w 11701760"/>
              <a:gd name="connsiteY1094" fmla="*/ 4813046 h 6407421"/>
              <a:gd name="connsiteX1095" fmla="*/ 10873675 w 11701760"/>
              <a:gd name="connsiteY1095" fmla="*/ 4813046 h 6407421"/>
              <a:gd name="connsiteX1096" fmla="*/ 10607478 w 11701760"/>
              <a:gd name="connsiteY1096" fmla="*/ 4783444 h 6407421"/>
              <a:gd name="connsiteX1097" fmla="*/ 10637188 w 11701760"/>
              <a:gd name="connsiteY1097" fmla="*/ 4783444 h 6407421"/>
              <a:gd name="connsiteX1098" fmla="*/ 10637188 w 11701760"/>
              <a:gd name="connsiteY1098" fmla="*/ 4813046 h 6407421"/>
              <a:gd name="connsiteX1099" fmla="*/ 10607478 w 11701760"/>
              <a:gd name="connsiteY1099" fmla="*/ 4813046 h 6407421"/>
              <a:gd name="connsiteX1100" fmla="*/ 10341389 w 11701760"/>
              <a:gd name="connsiteY1100" fmla="*/ 4783444 h 6407421"/>
              <a:gd name="connsiteX1101" fmla="*/ 10370992 w 11701760"/>
              <a:gd name="connsiteY1101" fmla="*/ 4783444 h 6407421"/>
              <a:gd name="connsiteX1102" fmla="*/ 10370992 w 11701760"/>
              <a:gd name="connsiteY1102" fmla="*/ 4813046 h 6407421"/>
              <a:gd name="connsiteX1103" fmla="*/ 10341389 w 11701760"/>
              <a:gd name="connsiteY1103" fmla="*/ 4813046 h 6407421"/>
              <a:gd name="connsiteX1104" fmla="*/ 10075192 w 11701760"/>
              <a:gd name="connsiteY1104" fmla="*/ 4783444 h 6407421"/>
              <a:gd name="connsiteX1105" fmla="*/ 10104794 w 11701760"/>
              <a:gd name="connsiteY1105" fmla="*/ 4783444 h 6407421"/>
              <a:gd name="connsiteX1106" fmla="*/ 10104794 w 11701760"/>
              <a:gd name="connsiteY1106" fmla="*/ 4813046 h 6407421"/>
              <a:gd name="connsiteX1107" fmla="*/ 10075192 w 11701760"/>
              <a:gd name="connsiteY1107" fmla="*/ 4813046 h 6407421"/>
              <a:gd name="connsiteX1108" fmla="*/ 9809103 w 11701760"/>
              <a:gd name="connsiteY1108" fmla="*/ 4783444 h 6407421"/>
              <a:gd name="connsiteX1109" fmla="*/ 9838705 w 11701760"/>
              <a:gd name="connsiteY1109" fmla="*/ 4783444 h 6407421"/>
              <a:gd name="connsiteX1110" fmla="*/ 9838705 w 11701760"/>
              <a:gd name="connsiteY1110" fmla="*/ 4813046 h 6407421"/>
              <a:gd name="connsiteX1111" fmla="*/ 9809103 w 11701760"/>
              <a:gd name="connsiteY1111" fmla="*/ 4813046 h 6407421"/>
              <a:gd name="connsiteX1112" fmla="*/ 9542906 w 11701760"/>
              <a:gd name="connsiteY1112" fmla="*/ 4783444 h 6407421"/>
              <a:gd name="connsiteX1113" fmla="*/ 9572509 w 11701760"/>
              <a:gd name="connsiteY1113" fmla="*/ 4783444 h 6407421"/>
              <a:gd name="connsiteX1114" fmla="*/ 9572509 w 11701760"/>
              <a:gd name="connsiteY1114" fmla="*/ 4813046 h 6407421"/>
              <a:gd name="connsiteX1115" fmla="*/ 9542906 w 11701760"/>
              <a:gd name="connsiteY1115" fmla="*/ 4813046 h 6407421"/>
              <a:gd name="connsiteX1116" fmla="*/ 9276817 w 11701760"/>
              <a:gd name="connsiteY1116" fmla="*/ 4783444 h 6407421"/>
              <a:gd name="connsiteX1117" fmla="*/ 9306420 w 11701760"/>
              <a:gd name="connsiteY1117" fmla="*/ 4783444 h 6407421"/>
              <a:gd name="connsiteX1118" fmla="*/ 9306420 w 11701760"/>
              <a:gd name="connsiteY1118" fmla="*/ 4813046 h 6407421"/>
              <a:gd name="connsiteX1119" fmla="*/ 9276817 w 11701760"/>
              <a:gd name="connsiteY1119" fmla="*/ 4813046 h 6407421"/>
              <a:gd name="connsiteX1120" fmla="*/ 9010620 w 11701760"/>
              <a:gd name="connsiteY1120" fmla="*/ 4783444 h 6407421"/>
              <a:gd name="connsiteX1121" fmla="*/ 9040222 w 11701760"/>
              <a:gd name="connsiteY1121" fmla="*/ 4783444 h 6407421"/>
              <a:gd name="connsiteX1122" fmla="*/ 9040222 w 11701760"/>
              <a:gd name="connsiteY1122" fmla="*/ 4813046 h 6407421"/>
              <a:gd name="connsiteX1123" fmla="*/ 9010620 w 11701760"/>
              <a:gd name="connsiteY1123" fmla="*/ 4813046 h 6407421"/>
              <a:gd name="connsiteX1124" fmla="*/ 8744423 w 11701760"/>
              <a:gd name="connsiteY1124" fmla="*/ 4783444 h 6407421"/>
              <a:gd name="connsiteX1125" fmla="*/ 8774026 w 11701760"/>
              <a:gd name="connsiteY1125" fmla="*/ 4783444 h 6407421"/>
              <a:gd name="connsiteX1126" fmla="*/ 8774026 w 11701760"/>
              <a:gd name="connsiteY1126" fmla="*/ 4813046 h 6407421"/>
              <a:gd name="connsiteX1127" fmla="*/ 8744423 w 11701760"/>
              <a:gd name="connsiteY1127" fmla="*/ 4813046 h 6407421"/>
              <a:gd name="connsiteX1128" fmla="*/ 8478226 w 11701760"/>
              <a:gd name="connsiteY1128" fmla="*/ 4783444 h 6407421"/>
              <a:gd name="connsiteX1129" fmla="*/ 8507828 w 11701760"/>
              <a:gd name="connsiteY1129" fmla="*/ 4783444 h 6407421"/>
              <a:gd name="connsiteX1130" fmla="*/ 8507828 w 11701760"/>
              <a:gd name="connsiteY1130" fmla="*/ 4813046 h 6407421"/>
              <a:gd name="connsiteX1131" fmla="*/ 8478226 w 11701760"/>
              <a:gd name="connsiteY1131" fmla="*/ 4813046 h 6407421"/>
              <a:gd name="connsiteX1132" fmla="*/ 8212137 w 11701760"/>
              <a:gd name="connsiteY1132" fmla="*/ 4783444 h 6407421"/>
              <a:gd name="connsiteX1133" fmla="*/ 8241740 w 11701760"/>
              <a:gd name="connsiteY1133" fmla="*/ 4783444 h 6407421"/>
              <a:gd name="connsiteX1134" fmla="*/ 8241740 w 11701760"/>
              <a:gd name="connsiteY1134" fmla="*/ 4813046 h 6407421"/>
              <a:gd name="connsiteX1135" fmla="*/ 8212137 w 11701760"/>
              <a:gd name="connsiteY1135" fmla="*/ 4813046 h 6407421"/>
              <a:gd name="connsiteX1136" fmla="*/ 7945940 w 11701760"/>
              <a:gd name="connsiteY1136" fmla="*/ 4783444 h 6407421"/>
              <a:gd name="connsiteX1137" fmla="*/ 7975543 w 11701760"/>
              <a:gd name="connsiteY1137" fmla="*/ 4783444 h 6407421"/>
              <a:gd name="connsiteX1138" fmla="*/ 7975543 w 11701760"/>
              <a:gd name="connsiteY1138" fmla="*/ 4813046 h 6407421"/>
              <a:gd name="connsiteX1139" fmla="*/ 7945940 w 11701760"/>
              <a:gd name="connsiteY1139" fmla="*/ 4813046 h 6407421"/>
              <a:gd name="connsiteX1140" fmla="*/ 7679743 w 11701760"/>
              <a:gd name="connsiteY1140" fmla="*/ 4783444 h 6407421"/>
              <a:gd name="connsiteX1141" fmla="*/ 7709346 w 11701760"/>
              <a:gd name="connsiteY1141" fmla="*/ 4783444 h 6407421"/>
              <a:gd name="connsiteX1142" fmla="*/ 7709346 w 11701760"/>
              <a:gd name="connsiteY1142" fmla="*/ 4813046 h 6407421"/>
              <a:gd name="connsiteX1143" fmla="*/ 7679743 w 11701760"/>
              <a:gd name="connsiteY1143" fmla="*/ 4813046 h 6407421"/>
              <a:gd name="connsiteX1144" fmla="*/ 7413653 w 11701760"/>
              <a:gd name="connsiteY1144" fmla="*/ 4783444 h 6407421"/>
              <a:gd name="connsiteX1145" fmla="*/ 7443256 w 11701760"/>
              <a:gd name="connsiteY1145" fmla="*/ 4783444 h 6407421"/>
              <a:gd name="connsiteX1146" fmla="*/ 7443256 w 11701760"/>
              <a:gd name="connsiteY1146" fmla="*/ 4813046 h 6407421"/>
              <a:gd name="connsiteX1147" fmla="*/ 7413653 w 11701760"/>
              <a:gd name="connsiteY1147" fmla="*/ 4813046 h 6407421"/>
              <a:gd name="connsiteX1148" fmla="*/ 7147456 w 11701760"/>
              <a:gd name="connsiteY1148" fmla="*/ 4783444 h 6407421"/>
              <a:gd name="connsiteX1149" fmla="*/ 7177058 w 11701760"/>
              <a:gd name="connsiteY1149" fmla="*/ 4783444 h 6407421"/>
              <a:gd name="connsiteX1150" fmla="*/ 7177058 w 11701760"/>
              <a:gd name="connsiteY1150" fmla="*/ 4813046 h 6407421"/>
              <a:gd name="connsiteX1151" fmla="*/ 7147456 w 11701760"/>
              <a:gd name="connsiteY1151" fmla="*/ 4813046 h 6407421"/>
              <a:gd name="connsiteX1152" fmla="*/ 6881367 w 11701760"/>
              <a:gd name="connsiteY1152" fmla="*/ 4783444 h 6407421"/>
              <a:gd name="connsiteX1153" fmla="*/ 6910970 w 11701760"/>
              <a:gd name="connsiteY1153" fmla="*/ 4783444 h 6407421"/>
              <a:gd name="connsiteX1154" fmla="*/ 6910970 w 11701760"/>
              <a:gd name="connsiteY1154" fmla="*/ 4813046 h 6407421"/>
              <a:gd name="connsiteX1155" fmla="*/ 6881367 w 11701760"/>
              <a:gd name="connsiteY1155" fmla="*/ 4813046 h 6407421"/>
              <a:gd name="connsiteX1156" fmla="*/ 6615170 w 11701760"/>
              <a:gd name="connsiteY1156" fmla="*/ 4783444 h 6407421"/>
              <a:gd name="connsiteX1157" fmla="*/ 6644773 w 11701760"/>
              <a:gd name="connsiteY1157" fmla="*/ 4783444 h 6407421"/>
              <a:gd name="connsiteX1158" fmla="*/ 6644773 w 11701760"/>
              <a:gd name="connsiteY1158" fmla="*/ 4813046 h 6407421"/>
              <a:gd name="connsiteX1159" fmla="*/ 6615170 w 11701760"/>
              <a:gd name="connsiteY1159" fmla="*/ 4813046 h 6407421"/>
              <a:gd name="connsiteX1160" fmla="*/ 6349081 w 11701760"/>
              <a:gd name="connsiteY1160" fmla="*/ 4783444 h 6407421"/>
              <a:gd name="connsiteX1161" fmla="*/ 6378683 w 11701760"/>
              <a:gd name="connsiteY1161" fmla="*/ 4783444 h 6407421"/>
              <a:gd name="connsiteX1162" fmla="*/ 6378683 w 11701760"/>
              <a:gd name="connsiteY1162" fmla="*/ 4813046 h 6407421"/>
              <a:gd name="connsiteX1163" fmla="*/ 6349081 w 11701760"/>
              <a:gd name="connsiteY1163" fmla="*/ 4813046 h 6407421"/>
              <a:gd name="connsiteX1164" fmla="*/ 6082884 w 11701760"/>
              <a:gd name="connsiteY1164" fmla="*/ 4783444 h 6407421"/>
              <a:gd name="connsiteX1165" fmla="*/ 6112486 w 11701760"/>
              <a:gd name="connsiteY1165" fmla="*/ 4783444 h 6407421"/>
              <a:gd name="connsiteX1166" fmla="*/ 6112486 w 11701760"/>
              <a:gd name="connsiteY1166" fmla="*/ 4813046 h 6407421"/>
              <a:gd name="connsiteX1167" fmla="*/ 6082884 w 11701760"/>
              <a:gd name="connsiteY1167" fmla="*/ 4813046 h 6407421"/>
              <a:gd name="connsiteX1168" fmla="*/ 5825310 w 11701760"/>
              <a:gd name="connsiteY1168" fmla="*/ 4783444 h 6407421"/>
              <a:gd name="connsiteX1169" fmla="*/ 5854913 w 11701760"/>
              <a:gd name="connsiteY1169" fmla="*/ 4783444 h 6407421"/>
              <a:gd name="connsiteX1170" fmla="*/ 5854913 w 11701760"/>
              <a:gd name="connsiteY1170" fmla="*/ 4813046 h 6407421"/>
              <a:gd name="connsiteX1171" fmla="*/ 5825310 w 11701760"/>
              <a:gd name="connsiteY1171" fmla="*/ 4813046 h 6407421"/>
              <a:gd name="connsiteX1172" fmla="*/ 5559113 w 11701760"/>
              <a:gd name="connsiteY1172" fmla="*/ 4783444 h 6407421"/>
              <a:gd name="connsiteX1173" fmla="*/ 5588715 w 11701760"/>
              <a:gd name="connsiteY1173" fmla="*/ 4783444 h 6407421"/>
              <a:gd name="connsiteX1174" fmla="*/ 5588715 w 11701760"/>
              <a:gd name="connsiteY1174" fmla="*/ 4813046 h 6407421"/>
              <a:gd name="connsiteX1175" fmla="*/ 5559113 w 11701760"/>
              <a:gd name="connsiteY1175" fmla="*/ 4813046 h 6407421"/>
              <a:gd name="connsiteX1176" fmla="*/ 5293024 w 11701760"/>
              <a:gd name="connsiteY1176" fmla="*/ 4783444 h 6407421"/>
              <a:gd name="connsiteX1177" fmla="*/ 5322626 w 11701760"/>
              <a:gd name="connsiteY1177" fmla="*/ 4783444 h 6407421"/>
              <a:gd name="connsiteX1178" fmla="*/ 5322626 w 11701760"/>
              <a:gd name="connsiteY1178" fmla="*/ 4813046 h 6407421"/>
              <a:gd name="connsiteX1179" fmla="*/ 5293024 w 11701760"/>
              <a:gd name="connsiteY1179" fmla="*/ 4813046 h 6407421"/>
              <a:gd name="connsiteX1180" fmla="*/ 5026827 w 11701760"/>
              <a:gd name="connsiteY1180" fmla="*/ 4783444 h 6407421"/>
              <a:gd name="connsiteX1181" fmla="*/ 5056429 w 11701760"/>
              <a:gd name="connsiteY1181" fmla="*/ 4783444 h 6407421"/>
              <a:gd name="connsiteX1182" fmla="*/ 5056429 w 11701760"/>
              <a:gd name="connsiteY1182" fmla="*/ 4813046 h 6407421"/>
              <a:gd name="connsiteX1183" fmla="*/ 5026827 w 11701760"/>
              <a:gd name="connsiteY1183" fmla="*/ 4813046 h 6407421"/>
              <a:gd name="connsiteX1184" fmla="*/ 4760630 w 11701760"/>
              <a:gd name="connsiteY1184" fmla="*/ 4783444 h 6407421"/>
              <a:gd name="connsiteX1185" fmla="*/ 4790340 w 11701760"/>
              <a:gd name="connsiteY1185" fmla="*/ 4783444 h 6407421"/>
              <a:gd name="connsiteX1186" fmla="*/ 4790340 w 11701760"/>
              <a:gd name="connsiteY1186" fmla="*/ 4813046 h 6407421"/>
              <a:gd name="connsiteX1187" fmla="*/ 4760630 w 11701760"/>
              <a:gd name="connsiteY1187" fmla="*/ 4813046 h 6407421"/>
              <a:gd name="connsiteX1188" fmla="*/ 4494541 w 11701760"/>
              <a:gd name="connsiteY1188" fmla="*/ 4783444 h 6407421"/>
              <a:gd name="connsiteX1189" fmla="*/ 4524144 w 11701760"/>
              <a:gd name="connsiteY1189" fmla="*/ 4783444 h 6407421"/>
              <a:gd name="connsiteX1190" fmla="*/ 4524144 w 11701760"/>
              <a:gd name="connsiteY1190" fmla="*/ 4813046 h 6407421"/>
              <a:gd name="connsiteX1191" fmla="*/ 4494541 w 11701760"/>
              <a:gd name="connsiteY1191" fmla="*/ 4813046 h 6407421"/>
              <a:gd name="connsiteX1192" fmla="*/ 4228344 w 11701760"/>
              <a:gd name="connsiteY1192" fmla="*/ 4783444 h 6407421"/>
              <a:gd name="connsiteX1193" fmla="*/ 4257946 w 11701760"/>
              <a:gd name="connsiteY1193" fmla="*/ 4783444 h 6407421"/>
              <a:gd name="connsiteX1194" fmla="*/ 4257946 w 11701760"/>
              <a:gd name="connsiteY1194" fmla="*/ 4813046 h 6407421"/>
              <a:gd name="connsiteX1195" fmla="*/ 4228344 w 11701760"/>
              <a:gd name="connsiteY1195" fmla="*/ 4813046 h 6407421"/>
              <a:gd name="connsiteX1196" fmla="*/ 3962255 w 11701760"/>
              <a:gd name="connsiteY1196" fmla="*/ 4783444 h 6407421"/>
              <a:gd name="connsiteX1197" fmla="*/ 3991857 w 11701760"/>
              <a:gd name="connsiteY1197" fmla="*/ 4783444 h 6407421"/>
              <a:gd name="connsiteX1198" fmla="*/ 3991857 w 11701760"/>
              <a:gd name="connsiteY1198" fmla="*/ 4813046 h 6407421"/>
              <a:gd name="connsiteX1199" fmla="*/ 3962255 w 11701760"/>
              <a:gd name="connsiteY1199" fmla="*/ 4813046 h 6407421"/>
              <a:gd name="connsiteX1200" fmla="*/ 3696058 w 11701760"/>
              <a:gd name="connsiteY1200" fmla="*/ 4783444 h 6407421"/>
              <a:gd name="connsiteX1201" fmla="*/ 3725661 w 11701760"/>
              <a:gd name="connsiteY1201" fmla="*/ 4783444 h 6407421"/>
              <a:gd name="connsiteX1202" fmla="*/ 3725661 w 11701760"/>
              <a:gd name="connsiteY1202" fmla="*/ 4813046 h 6407421"/>
              <a:gd name="connsiteX1203" fmla="*/ 3696058 w 11701760"/>
              <a:gd name="connsiteY1203" fmla="*/ 4813046 h 6407421"/>
              <a:gd name="connsiteX1204" fmla="*/ 3429969 w 11701760"/>
              <a:gd name="connsiteY1204" fmla="*/ 4783444 h 6407421"/>
              <a:gd name="connsiteX1205" fmla="*/ 3459572 w 11701760"/>
              <a:gd name="connsiteY1205" fmla="*/ 4783444 h 6407421"/>
              <a:gd name="connsiteX1206" fmla="*/ 3459572 w 11701760"/>
              <a:gd name="connsiteY1206" fmla="*/ 4813046 h 6407421"/>
              <a:gd name="connsiteX1207" fmla="*/ 3429969 w 11701760"/>
              <a:gd name="connsiteY1207" fmla="*/ 4813046 h 6407421"/>
              <a:gd name="connsiteX1208" fmla="*/ 3163772 w 11701760"/>
              <a:gd name="connsiteY1208" fmla="*/ 4783444 h 6407421"/>
              <a:gd name="connsiteX1209" fmla="*/ 3193374 w 11701760"/>
              <a:gd name="connsiteY1209" fmla="*/ 4783444 h 6407421"/>
              <a:gd name="connsiteX1210" fmla="*/ 3193374 w 11701760"/>
              <a:gd name="connsiteY1210" fmla="*/ 4813046 h 6407421"/>
              <a:gd name="connsiteX1211" fmla="*/ 3163772 w 11701760"/>
              <a:gd name="connsiteY1211" fmla="*/ 4813046 h 6407421"/>
              <a:gd name="connsiteX1212" fmla="*/ 2897575 w 11701760"/>
              <a:gd name="connsiteY1212" fmla="*/ 4783444 h 6407421"/>
              <a:gd name="connsiteX1213" fmla="*/ 2927178 w 11701760"/>
              <a:gd name="connsiteY1213" fmla="*/ 4783444 h 6407421"/>
              <a:gd name="connsiteX1214" fmla="*/ 2927178 w 11701760"/>
              <a:gd name="connsiteY1214" fmla="*/ 4813046 h 6407421"/>
              <a:gd name="connsiteX1215" fmla="*/ 2897575 w 11701760"/>
              <a:gd name="connsiteY1215" fmla="*/ 4813046 h 6407421"/>
              <a:gd name="connsiteX1216" fmla="*/ 2631378 w 11701760"/>
              <a:gd name="connsiteY1216" fmla="*/ 4783444 h 6407421"/>
              <a:gd name="connsiteX1217" fmla="*/ 2660980 w 11701760"/>
              <a:gd name="connsiteY1217" fmla="*/ 4783444 h 6407421"/>
              <a:gd name="connsiteX1218" fmla="*/ 2660980 w 11701760"/>
              <a:gd name="connsiteY1218" fmla="*/ 4813046 h 6407421"/>
              <a:gd name="connsiteX1219" fmla="*/ 2631378 w 11701760"/>
              <a:gd name="connsiteY1219" fmla="*/ 4813046 h 6407421"/>
              <a:gd name="connsiteX1220" fmla="*/ 2365289 w 11701760"/>
              <a:gd name="connsiteY1220" fmla="*/ 4783444 h 6407421"/>
              <a:gd name="connsiteX1221" fmla="*/ 2394892 w 11701760"/>
              <a:gd name="connsiteY1221" fmla="*/ 4783444 h 6407421"/>
              <a:gd name="connsiteX1222" fmla="*/ 2394892 w 11701760"/>
              <a:gd name="connsiteY1222" fmla="*/ 4813046 h 6407421"/>
              <a:gd name="connsiteX1223" fmla="*/ 2365289 w 11701760"/>
              <a:gd name="connsiteY1223" fmla="*/ 4813046 h 6407421"/>
              <a:gd name="connsiteX1224" fmla="*/ 2099092 w 11701760"/>
              <a:gd name="connsiteY1224" fmla="*/ 4783444 h 6407421"/>
              <a:gd name="connsiteX1225" fmla="*/ 2128695 w 11701760"/>
              <a:gd name="connsiteY1225" fmla="*/ 4783444 h 6407421"/>
              <a:gd name="connsiteX1226" fmla="*/ 2128695 w 11701760"/>
              <a:gd name="connsiteY1226" fmla="*/ 4813046 h 6407421"/>
              <a:gd name="connsiteX1227" fmla="*/ 2099092 w 11701760"/>
              <a:gd name="connsiteY1227" fmla="*/ 4813046 h 6407421"/>
              <a:gd name="connsiteX1228" fmla="*/ 1832898 w 11701760"/>
              <a:gd name="connsiteY1228" fmla="*/ 4783444 h 6407421"/>
              <a:gd name="connsiteX1229" fmla="*/ 1862498 w 11701760"/>
              <a:gd name="connsiteY1229" fmla="*/ 4783444 h 6407421"/>
              <a:gd name="connsiteX1230" fmla="*/ 1862498 w 11701760"/>
              <a:gd name="connsiteY1230" fmla="*/ 4813046 h 6407421"/>
              <a:gd name="connsiteX1231" fmla="*/ 1832898 w 11701760"/>
              <a:gd name="connsiteY1231" fmla="*/ 4813046 h 6407421"/>
              <a:gd name="connsiteX1232" fmla="*/ 1566808 w 11701760"/>
              <a:gd name="connsiteY1232" fmla="*/ 4783444 h 6407421"/>
              <a:gd name="connsiteX1233" fmla="*/ 1596409 w 11701760"/>
              <a:gd name="connsiteY1233" fmla="*/ 4783444 h 6407421"/>
              <a:gd name="connsiteX1234" fmla="*/ 1596409 w 11701760"/>
              <a:gd name="connsiteY1234" fmla="*/ 4813046 h 6407421"/>
              <a:gd name="connsiteX1235" fmla="*/ 1566808 w 11701760"/>
              <a:gd name="connsiteY1235" fmla="*/ 4813046 h 6407421"/>
              <a:gd name="connsiteX1236" fmla="*/ 1300611 w 11701760"/>
              <a:gd name="connsiteY1236" fmla="*/ 4783444 h 6407421"/>
              <a:gd name="connsiteX1237" fmla="*/ 1330213 w 11701760"/>
              <a:gd name="connsiteY1237" fmla="*/ 4783444 h 6407421"/>
              <a:gd name="connsiteX1238" fmla="*/ 1330213 w 11701760"/>
              <a:gd name="connsiteY1238" fmla="*/ 4813046 h 6407421"/>
              <a:gd name="connsiteX1239" fmla="*/ 1300611 w 11701760"/>
              <a:gd name="connsiteY1239" fmla="*/ 4813046 h 6407421"/>
              <a:gd name="connsiteX1240" fmla="*/ 1034520 w 11701760"/>
              <a:gd name="connsiteY1240" fmla="*/ 4783444 h 6407421"/>
              <a:gd name="connsiteX1241" fmla="*/ 1064123 w 11701760"/>
              <a:gd name="connsiteY1241" fmla="*/ 4783444 h 6407421"/>
              <a:gd name="connsiteX1242" fmla="*/ 1064123 w 11701760"/>
              <a:gd name="connsiteY1242" fmla="*/ 4813046 h 6407421"/>
              <a:gd name="connsiteX1243" fmla="*/ 1034520 w 11701760"/>
              <a:gd name="connsiteY1243" fmla="*/ 4813046 h 6407421"/>
              <a:gd name="connsiteX1244" fmla="*/ 768327 w 11701760"/>
              <a:gd name="connsiteY1244" fmla="*/ 4783444 h 6407421"/>
              <a:gd name="connsiteX1245" fmla="*/ 797926 w 11701760"/>
              <a:gd name="connsiteY1245" fmla="*/ 4783444 h 6407421"/>
              <a:gd name="connsiteX1246" fmla="*/ 797926 w 11701760"/>
              <a:gd name="connsiteY1246" fmla="*/ 4813046 h 6407421"/>
              <a:gd name="connsiteX1247" fmla="*/ 768327 w 11701760"/>
              <a:gd name="connsiteY1247" fmla="*/ 4813046 h 6407421"/>
              <a:gd name="connsiteX1248" fmla="*/ 502237 w 11701760"/>
              <a:gd name="connsiteY1248" fmla="*/ 4783444 h 6407421"/>
              <a:gd name="connsiteX1249" fmla="*/ 531839 w 11701760"/>
              <a:gd name="connsiteY1249" fmla="*/ 4783444 h 6407421"/>
              <a:gd name="connsiteX1250" fmla="*/ 531839 w 11701760"/>
              <a:gd name="connsiteY1250" fmla="*/ 4813046 h 6407421"/>
              <a:gd name="connsiteX1251" fmla="*/ 502237 w 11701760"/>
              <a:gd name="connsiteY1251" fmla="*/ 4813046 h 6407421"/>
              <a:gd name="connsiteX1252" fmla="*/ 236038 w 11701760"/>
              <a:gd name="connsiteY1252" fmla="*/ 4783444 h 6407421"/>
              <a:gd name="connsiteX1253" fmla="*/ 265640 w 11701760"/>
              <a:gd name="connsiteY1253" fmla="*/ 4783444 h 6407421"/>
              <a:gd name="connsiteX1254" fmla="*/ 265640 w 11701760"/>
              <a:gd name="connsiteY1254" fmla="*/ 4813046 h 6407421"/>
              <a:gd name="connsiteX1255" fmla="*/ 236038 w 11701760"/>
              <a:gd name="connsiteY1255" fmla="*/ 4813046 h 6407421"/>
              <a:gd name="connsiteX1256" fmla="*/ 2 w 11701760"/>
              <a:gd name="connsiteY1256" fmla="*/ 4783444 h 6407421"/>
              <a:gd name="connsiteX1257" fmla="*/ 29604 w 11701760"/>
              <a:gd name="connsiteY1257" fmla="*/ 4783444 h 6407421"/>
              <a:gd name="connsiteX1258" fmla="*/ 29604 w 11701760"/>
              <a:gd name="connsiteY1258" fmla="*/ 4813046 h 6407421"/>
              <a:gd name="connsiteX1259" fmla="*/ 2 w 11701760"/>
              <a:gd name="connsiteY1259" fmla="*/ 4813046 h 6407421"/>
              <a:gd name="connsiteX1260" fmla="*/ 11672158 w 11701760"/>
              <a:gd name="connsiteY1260" fmla="*/ 4517679 h 6407421"/>
              <a:gd name="connsiteX1261" fmla="*/ 11701760 w 11701760"/>
              <a:gd name="connsiteY1261" fmla="*/ 4517679 h 6407421"/>
              <a:gd name="connsiteX1262" fmla="*/ 11701760 w 11701760"/>
              <a:gd name="connsiteY1262" fmla="*/ 4547281 h 6407421"/>
              <a:gd name="connsiteX1263" fmla="*/ 11672158 w 11701760"/>
              <a:gd name="connsiteY1263" fmla="*/ 4547281 h 6407421"/>
              <a:gd name="connsiteX1264" fmla="*/ 11405961 w 11701760"/>
              <a:gd name="connsiteY1264" fmla="*/ 4517679 h 6407421"/>
              <a:gd name="connsiteX1265" fmla="*/ 11435563 w 11701760"/>
              <a:gd name="connsiteY1265" fmla="*/ 4517679 h 6407421"/>
              <a:gd name="connsiteX1266" fmla="*/ 11435563 w 11701760"/>
              <a:gd name="connsiteY1266" fmla="*/ 4547281 h 6407421"/>
              <a:gd name="connsiteX1267" fmla="*/ 11405961 w 11701760"/>
              <a:gd name="connsiteY1267" fmla="*/ 4547281 h 6407421"/>
              <a:gd name="connsiteX1268" fmla="*/ 11139872 w 11701760"/>
              <a:gd name="connsiteY1268" fmla="*/ 4517679 h 6407421"/>
              <a:gd name="connsiteX1269" fmla="*/ 11169474 w 11701760"/>
              <a:gd name="connsiteY1269" fmla="*/ 4517679 h 6407421"/>
              <a:gd name="connsiteX1270" fmla="*/ 11169474 w 11701760"/>
              <a:gd name="connsiteY1270" fmla="*/ 4547281 h 6407421"/>
              <a:gd name="connsiteX1271" fmla="*/ 11139872 w 11701760"/>
              <a:gd name="connsiteY1271" fmla="*/ 4547281 h 6407421"/>
              <a:gd name="connsiteX1272" fmla="*/ 10873675 w 11701760"/>
              <a:gd name="connsiteY1272" fmla="*/ 4517679 h 6407421"/>
              <a:gd name="connsiteX1273" fmla="*/ 10903277 w 11701760"/>
              <a:gd name="connsiteY1273" fmla="*/ 4517679 h 6407421"/>
              <a:gd name="connsiteX1274" fmla="*/ 10903277 w 11701760"/>
              <a:gd name="connsiteY1274" fmla="*/ 4547281 h 6407421"/>
              <a:gd name="connsiteX1275" fmla="*/ 10873675 w 11701760"/>
              <a:gd name="connsiteY1275" fmla="*/ 4547281 h 6407421"/>
              <a:gd name="connsiteX1276" fmla="*/ 10607478 w 11701760"/>
              <a:gd name="connsiteY1276" fmla="*/ 4517679 h 6407421"/>
              <a:gd name="connsiteX1277" fmla="*/ 10637188 w 11701760"/>
              <a:gd name="connsiteY1277" fmla="*/ 4517679 h 6407421"/>
              <a:gd name="connsiteX1278" fmla="*/ 10637188 w 11701760"/>
              <a:gd name="connsiteY1278" fmla="*/ 4547281 h 6407421"/>
              <a:gd name="connsiteX1279" fmla="*/ 10607478 w 11701760"/>
              <a:gd name="connsiteY1279" fmla="*/ 4547281 h 6407421"/>
              <a:gd name="connsiteX1280" fmla="*/ 10341389 w 11701760"/>
              <a:gd name="connsiteY1280" fmla="*/ 4517679 h 6407421"/>
              <a:gd name="connsiteX1281" fmla="*/ 10370992 w 11701760"/>
              <a:gd name="connsiteY1281" fmla="*/ 4517679 h 6407421"/>
              <a:gd name="connsiteX1282" fmla="*/ 10370992 w 11701760"/>
              <a:gd name="connsiteY1282" fmla="*/ 4547281 h 6407421"/>
              <a:gd name="connsiteX1283" fmla="*/ 10341389 w 11701760"/>
              <a:gd name="connsiteY1283" fmla="*/ 4547281 h 6407421"/>
              <a:gd name="connsiteX1284" fmla="*/ 10075192 w 11701760"/>
              <a:gd name="connsiteY1284" fmla="*/ 4517679 h 6407421"/>
              <a:gd name="connsiteX1285" fmla="*/ 10104794 w 11701760"/>
              <a:gd name="connsiteY1285" fmla="*/ 4517679 h 6407421"/>
              <a:gd name="connsiteX1286" fmla="*/ 10104794 w 11701760"/>
              <a:gd name="connsiteY1286" fmla="*/ 4547281 h 6407421"/>
              <a:gd name="connsiteX1287" fmla="*/ 10075192 w 11701760"/>
              <a:gd name="connsiteY1287" fmla="*/ 4547281 h 6407421"/>
              <a:gd name="connsiteX1288" fmla="*/ 9809103 w 11701760"/>
              <a:gd name="connsiteY1288" fmla="*/ 4517679 h 6407421"/>
              <a:gd name="connsiteX1289" fmla="*/ 9838705 w 11701760"/>
              <a:gd name="connsiteY1289" fmla="*/ 4517679 h 6407421"/>
              <a:gd name="connsiteX1290" fmla="*/ 9838705 w 11701760"/>
              <a:gd name="connsiteY1290" fmla="*/ 4547281 h 6407421"/>
              <a:gd name="connsiteX1291" fmla="*/ 9809103 w 11701760"/>
              <a:gd name="connsiteY1291" fmla="*/ 4547281 h 6407421"/>
              <a:gd name="connsiteX1292" fmla="*/ 9542906 w 11701760"/>
              <a:gd name="connsiteY1292" fmla="*/ 4517679 h 6407421"/>
              <a:gd name="connsiteX1293" fmla="*/ 9572509 w 11701760"/>
              <a:gd name="connsiteY1293" fmla="*/ 4517679 h 6407421"/>
              <a:gd name="connsiteX1294" fmla="*/ 9572509 w 11701760"/>
              <a:gd name="connsiteY1294" fmla="*/ 4547281 h 6407421"/>
              <a:gd name="connsiteX1295" fmla="*/ 9542906 w 11701760"/>
              <a:gd name="connsiteY1295" fmla="*/ 4547281 h 6407421"/>
              <a:gd name="connsiteX1296" fmla="*/ 9276817 w 11701760"/>
              <a:gd name="connsiteY1296" fmla="*/ 4517679 h 6407421"/>
              <a:gd name="connsiteX1297" fmla="*/ 9306420 w 11701760"/>
              <a:gd name="connsiteY1297" fmla="*/ 4517679 h 6407421"/>
              <a:gd name="connsiteX1298" fmla="*/ 9306420 w 11701760"/>
              <a:gd name="connsiteY1298" fmla="*/ 4547281 h 6407421"/>
              <a:gd name="connsiteX1299" fmla="*/ 9276817 w 11701760"/>
              <a:gd name="connsiteY1299" fmla="*/ 4547281 h 6407421"/>
              <a:gd name="connsiteX1300" fmla="*/ 9010620 w 11701760"/>
              <a:gd name="connsiteY1300" fmla="*/ 4517679 h 6407421"/>
              <a:gd name="connsiteX1301" fmla="*/ 9040222 w 11701760"/>
              <a:gd name="connsiteY1301" fmla="*/ 4517679 h 6407421"/>
              <a:gd name="connsiteX1302" fmla="*/ 9040222 w 11701760"/>
              <a:gd name="connsiteY1302" fmla="*/ 4547281 h 6407421"/>
              <a:gd name="connsiteX1303" fmla="*/ 9010620 w 11701760"/>
              <a:gd name="connsiteY1303" fmla="*/ 4547281 h 6407421"/>
              <a:gd name="connsiteX1304" fmla="*/ 8744423 w 11701760"/>
              <a:gd name="connsiteY1304" fmla="*/ 4517679 h 6407421"/>
              <a:gd name="connsiteX1305" fmla="*/ 8774026 w 11701760"/>
              <a:gd name="connsiteY1305" fmla="*/ 4517679 h 6407421"/>
              <a:gd name="connsiteX1306" fmla="*/ 8774026 w 11701760"/>
              <a:gd name="connsiteY1306" fmla="*/ 4547281 h 6407421"/>
              <a:gd name="connsiteX1307" fmla="*/ 8744423 w 11701760"/>
              <a:gd name="connsiteY1307" fmla="*/ 4547281 h 6407421"/>
              <a:gd name="connsiteX1308" fmla="*/ 8478226 w 11701760"/>
              <a:gd name="connsiteY1308" fmla="*/ 4517679 h 6407421"/>
              <a:gd name="connsiteX1309" fmla="*/ 8507828 w 11701760"/>
              <a:gd name="connsiteY1309" fmla="*/ 4517679 h 6407421"/>
              <a:gd name="connsiteX1310" fmla="*/ 8507828 w 11701760"/>
              <a:gd name="connsiteY1310" fmla="*/ 4547281 h 6407421"/>
              <a:gd name="connsiteX1311" fmla="*/ 8478226 w 11701760"/>
              <a:gd name="connsiteY1311" fmla="*/ 4547281 h 6407421"/>
              <a:gd name="connsiteX1312" fmla="*/ 8212137 w 11701760"/>
              <a:gd name="connsiteY1312" fmla="*/ 4517679 h 6407421"/>
              <a:gd name="connsiteX1313" fmla="*/ 8241740 w 11701760"/>
              <a:gd name="connsiteY1313" fmla="*/ 4517679 h 6407421"/>
              <a:gd name="connsiteX1314" fmla="*/ 8241740 w 11701760"/>
              <a:gd name="connsiteY1314" fmla="*/ 4547281 h 6407421"/>
              <a:gd name="connsiteX1315" fmla="*/ 8212137 w 11701760"/>
              <a:gd name="connsiteY1315" fmla="*/ 4547281 h 6407421"/>
              <a:gd name="connsiteX1316" fmla="*/ 7945940 w 11701760"/>
              <a:gd name="connsiteY1316" fmla="*/ 4517679 h 6407421"/>
              <a:gd name="connsiteX1317" fmla="*/ 7975543 w 11701760"/>
              <a:gd name="connsiteY1317" fmla="*/ 4517679 h 6407421"/>
              <a:gd name="connsiteX1318" fmla="*/ 7975543 w 11701760"/>
              <a:gd name="connsiteY1318" fmla="*/ 4547281 h 6407421"/>
              <a:gd name="connsiteX1319" fmla="*/ 7945940 w 11701760"/>
              <a:gd name="connsiteY1319" fmla="*/ 4547281 h 6407421"/>
              <a:gd name="connsiteX1320" fmla="*/ 7679743 w 11701760"/>
              <a:gd name="connsiteY1320" fmla="*/ 4517679 h 6407421"/>
              <a:gd name="connsiteX1321" fmla="*/ 7709346 w 11701760"/>
              <a:gd name="connsiteY1321" fmla="*/ 4517679 h 6407421"/>
              <a:gd name="connsiteX1322" fmla="*/ 7709346 w 11701760"/>
              <a:gd name="connsiteY1322" fmla="*/ 4547281 h 6407421"/>
              <a:gd name="connsiteX1323" fmla="*/ 7679743 w 11701760"/>
              <a:gd name="connsiteY1323" fmla="*/ 4547281 h 6407421"/>
              <a:gd name="connsiteX1324" fmla="*/ 7413653 w 11701760"/>
              <a:gd name="connsiteY1324" fmla="*/ 4517679 h 6407421"/>
              <a:gd name="connsiteX1325" fmla="*/ 7443256 w 11701760"/>
              <a:gd name="connsiteY1325" fmla="*/ 4517679 h 6407421"/>
              <a:gd name="connsiteX1326" fmla="*/ 7443256 w 11701760"/>
              <a:gd name="connsiteY1326" fmla="*/ 4547281 h 6407421"/>
              <a:gd name="connsiteX1327" fmla="*/ 7413653 w 11701760"/>
              <a:gd name="connsiteY1327" fmla="*/ 4547281 h 6407421"/>
              <a:gd name="connsiteX1328" fmla="*/ 7147456 w 11701760"/>
              <a:gd name="connsiteY1328" fmla="*/ 4517679 h 6407421"/>
              <a:gd name="connsiteX1329" fmla="*/ 7177058 w 11701760"/>
              <a:gd name="connsiteY1329" fmla="*/ 4517679 h 6407421"/>
              <a:gd name="connsiteX1330" fmla="*/ 7177058 w 11701760"/>
              <a:gd name="connsiteY1330" fmla="*/ 4547281 h 6407421"/>
              <a:gd name="connsiteX1331" fmla="*/ 7147456 w 11701760"/>
              <a:gd name="connsiteY1331" fmla="*/ 4547281 h 6407421"/>
              <a:gd name="connsiteX1332" fmla="*/ 6881367 w 11701760"/>
              <a:gd name="connsiteY1332" fmla="*/ 4517679 h 6407421"/>
              <a:gd name="connsiteX1333" fmla="*/ 6910970 w 11701760"/>
              <a:gd name="connsiteY1333" fmla="*/ 4517679 h 6407421"/>
              <a:gd name="connsiteX1334" fmla="*/ 6910970 w 11701760"/>
              <a:gd name="connsiteY1334" fmla="*/ 4547281 h 6407421"/>
              <a:gd name="connsiteX1335" fmla="*/ 6881367 w 11701760"/>
              <a:gd name="connsiteY1335" fmla="*/ 4547281 h 6407421"/>
              <a:gd name="connsiteX1336" fmla="*/ 6615170 w 11701760"/>
              <a:gd name="connsiteY1336" fmla="*/ 4517679 h 6407421"/>
              <a:gd name="connsiteX1337" fmla="*/ 6644773 w 11701760"/>
              <a:gd name="connsiteY1337" fmla="*/ 4517679 h 6407421"/>
              <a:gd name="connsiteX1338" fmla="*/ 6644773 w 11701760"/>
              <a:gd name="connsiteY1338" fmla="*/ 4547281 h 6407421"/>
              <a:gd name="connsiteX1339" fmla="*/ 6615170 w 11701760"/>
              <a:gd name="connsiteY1339" fmla="*/ 4547281 h 6407421"/>
              <a:gd name="connsiteX1340" fmla="*/ 6349081 w 11701760"/>
              <a:gd name="connsiteY1340" fmla="*/ 4517679 h 6407421"/>
              <a:gd name="connsiteX1341" fmla="*/ 6378683 w 11701760"/>
              <a:gd name="connsiteY1341" fmla="*/ 4517679 h 6407421"/>
              <a:gd name="connsiteX1342" fmla="*/ 6378683 w 11701760"/>
              <a:gd name="connsiteY1342" fmla="*/ 4547281 h 6407421"/>
              <a:gd name="connsiteX1343" fmla="*/ 6349081 w 11701760"/>
              <a:gd name="connsiteY1343" fmla="*/ 4547281 h 6407421"/>
              <a:gd name="connsiteX1344" fmla="*/ 6082884 w 11701760"/>
              <a:gd name="connsiteY1344" fmla="*/ 4517679 h 6407421"/>
              <a:gd name="connsiteX1345" fmla="*/ 6112486 w 11701760"/>
              <a:gd name="connsiteY1345" fmla="*/ 4517679 h 6407421"/>
              <a:gd name="connsiteX1346" fmla="*/ 6112486 w 11701760"/>
              <a:gd name="connsiteY1346" fmla="*/ 4547281 h 6407421"/>
              <a:gd name="connsiteX1347" fmla="*/ 6082884 w 11701760"/>
              <a:gd name="connsiteY1347" fmla="*/ 4547281 h 6407421"/>
              <a:gd name="connsiteX1348" fmla="*/ 5825310 w 11701760"/>
              <a:gd name="connsiteY1348" fmla="*/ 4517679 h 6407421"/>
              <a:gd name="connsiteX1349" fmla="*/ 5854913 w 11701760"/>
              <a:gd name="connsiteY1349" fmla="*/ 4517679 h 6407421"/>
              <a:gd name="connsiteX1350" fmla="*/ 5854913 w 11701760"/>
              <a:gd name="connsiteY1350" fmla="*/ 4547281 h 6407421"/>
              <a:gd name="connsiteX1351" fmla="*/ 5825310 w 11701760"/>
              <a:gd name="connsiteY1351" fmla="*/ 4547281 h 6407421"/>
              <a:gd name="connsiteX1352" fmla="*/ 5559113 w 11701760"/>
              <a:gd name="connsiteY1352" fmla="*/ 4517679 h 6407421"/>
              <a:gd name="connsiteX1353" fmla="*/ 5588715 w 11701760"/>
              <a:gd name="connsiteY1353" fmla="*/ 4517679 h 6407421"/>
              <a:gd name="connsiteX1354" fmla="*/ 5588715 w 11701760"/>
              <a:gd name="connsiteY1354" fmla="*/ 4547281 h 6407421"/>
              <a:gd name="connsiteX1355" fmla="*/ 5559113 w 11701760"/>
              <a:gd name="connsiteY1355" fmla="*/ 4547281 h 6407421"/>
              <a:gd name="connsiteX1356" fmla="*/ 5293024 w 11701760"/>
              <a:gd name="connsiteY1356" fmla="*/ 4517679 h 6407421"/>
              <a:gd name="connsiteX1357" fmla="*/ 5322626 w 11701760"/>
              <a:gd name="connsiteY1357" fmla="*/ 4517679 h 6407421"/>
              <a:gd name="connsiteX1358" fmla="*/ 5322626 w 11701760"/>
              <a:gd name="connsiteY1358" fmla="*/ 4547281 h 6407421"/>
              <a:gd name="connsiteX1359" fmla="*/ 5293024 w 11701760"/>
              <a:gd name="connsiteY1359" fmla="*/ 4547281 h 6407421"/>
              <a:gd name="connsiteX1360" fmla="*/ 5026827 w 11701760"/>
              <a:gd name="connsiteY1360" fmla="*/ 4517679 h 6407421"/>
              <a:gd name="connsiteX1361" fmla="*/ 5056429 w 11701760"/>
              <a:gd name="connsiteY1361" fmla="*/ 4517679 h 6407421"/>
              <a:gd name="connsiteX1362" fmla="*/ 5056429 w 11701760"/>
              <a:gd name="connsiteY1362" fmla="*/ 4547281 h 6407421"/>
              <a:gd name="connsiteX1363" fmla="*/ 5026827 w 11701760"/>
              <a:gd name="connsiteY1363" fmla="*/ 4547281 h 6407421"/>
              <a:gd name="connsiteX1364" fmla="*/ 4760630 w 11701760"/>
              <a:gd name="connsiteY1364" fmla="*/ 4517679 h 6407421"/>
              <a:gd name="connsiteX1365" fmla="*/ 4790340 w 11701760"/>
              <a:gd name="connsiteY1365" fmla="*/ 4517679 h 6407421"/>
              <a:gd name="connsiteX1366" fmla="*/ 4790340 w 11701760"/>
              <a:gd name="connsiteY1366" fmla="*/ 4547281 h 6407421"/>
              <a:gd name="connsiteX1367" fmla="*/ 4760630 w 11701760"/>
              <a:gd name="connsiteY1367" fmla="*/ 4547281 h 6407421"/>
              <a:gd name="connsiteX1368" fmla="*/ 4494541 w 11701760"/>
              <a:gd name="connsiteY1368" fmla="*/ 4517679 h 6407421"/>
              <a:gd name="connsiteX1369" fmla="*/ 4524144 w 11701760"/>
              <a:gd name="connsiteY1369" fmla="*/ 4517679 h 6407421"/>
              <a:gd name="connsiteX1370" fmla="*/ 4524144 w 11701760"/>
              <a:gd name="connsiteY1370" fmla="*/ 4547281 h 6407421"/>
              <a:gd name="connsiteX1371" fmla="*/ 4494541 w 11701760"/>
              <a:gd name="connsiteY1371" fmla="*/ 4547281 h 6407421"/>
              <a:gd name="connsiteX1372" fmla="*/ 4228344 w 11701760"/>
              <a:gd name="connsiteY1372" fmla="*/ 4517679 h 6407421"/>
              <a:gd name="connsiteX1373" fmla="*/ 4257946 w 11701760"/>
              <a:gd name="connsiteY1373" fmla="*/ 4517679 h 6407421"/>
              <a:gd name="connsiteX1374" fmla="*/ 4257946 w 11701760"/>
              <a:gd name="connsiteY1374" fmla="*/ 4547281 h 6407421"/>
              <a:gd name="connsiteX1375" fmla="*/ 4228344 w 11701760"/>
              <a:gd name="connsiteY1375" fmla="*/ 4547281 h 6407421"/>
              <a:gd name="connsiteX1376" fmla="*/ 3962255 w 11701760"/>
              <a:gd name="connsiteY1376" fmla="*/ 4517679 h 6407421"/>
              <a:gd name="connsiteX1377" fmla="*/ 3991857 w 11701760"/>
              <a:gd name="connsiteY1377" fmla="*/ 4517679 h 6407421"/>
              <a:gd name="connsiteX1378" fmla="*/ 3991857 w 11701760"/>
              <a:gd name="connsiteY1378" fmla="*/ 4547281 h 6407421"/>
              <a:gd name="connsiteX1379" fmla="*/ 3962255 w 11701760"/>
              <a:gd name="connsiteY1379" fmla="*/ 4547281 h 6407421"/>
              <a:gd name="connsiteX1380" fmla="*/ 3696058 w 11701760"/>
              <a:gd name="connsiteY1380" fmla="*/ 4517679 h 6407421"/>
              <a:gd name="connsiteX1381" fmla="*/ 3725661 w 11701760"/>
              <a:gd name="connsiteY1381" fmla="*/ 4517679 h 6407421"/>
              <a:gd name="connsiteX1382" fmla="*/ 3725661 w 11701760"/>
              <a:gd name="connsiteY1382" fmla="*/ 4547281 h 6407421"/>
              <a:gd name="connsiteX1383" fmla="*/ 3696058 w 11701760"/>
              <a:gd name="connsiteY1383" fmla="*/ 4547281 h 6407421"/>
              <a:gd name="connsiteX1384" fmla="*/ 3429969 w 11701760"/>
              <a:gd name="connsiteY1384" fmla="*/ 4517679 h 6407421"/>
              <a:gd name="connsiteX1385" fmla="*/ 3459572 w 11701760"/>
              <a:gd name="connsiteY1385" fmla="*/ 4517679 h 6407421"/>
              <a:gd name="connsiteX1386" fmla="*/ 3459572 w 11701760"/>
              <a:gd name="connsiteY1386" fmla="*/ 4547281 h 6407421"/>
              <a:gd name="connsiteX1387" fmla="*/ 3429969 w 11701760"/>
              <a:gd name="connsiteY1387" fmla="*/ 4547281 h 6407421"/>
              <a:gd name="connsiteX1388" fmla="*/ 3163772 w 11701760"/>
              <a:gd name="connsiteY1388" fmla="*/ 4517679 h 6407421"/>
              <a:gd name="connsiteX1389" fmla="*/ 3193374 w 11701760"/>
              <a:gd name="connsiteY1389" fmla="*/ 4517679 h 6407421"/>
              <a:gd name="connsiteX1390" fmla="*/ 3193374 w 11701760"/>
              <a:gd name="connsiteY1390" fmla="*/ 4547281 h 6407421"/>
              <a:gd name="connsiteX1391" fmla="*/ 3163772 w 11701760"/>
              <a:gd name="connsiteY1391" fmla="*/ 4547281 h 6407421"/>
              <a:gd name="connsiteX1392" fmla="*/ 2897575 w 11701760"/>
              <a:gd name="connsiteY1392" fmla="*/ 4517679 h 6407421"/>
              <a:gd name="connsiteX1393" fmla="*/ 2927178 w 11701760"/>
              <a:gd name="connsiteY1393" fmla="*/ 4517679 h 6407421"/>
              <a:gd name="connsiteX1394" fmla="*/ 2927178 w 11701760"/>
              <a:gd name="connsiteY1394" fmla="*/ 4547281 h 6407421"/>
              <a:gd name="connsiteX1395" fmla="*/ 2897575 w 11701760"/>
              <a:gd name="connsiteY1395" fmla="*/ 4547281 h 6407421"/>
              <a:gd name="connsiteX1396" fmla="*/ 2631378 w 11701760"/>
              <a:gd name="connsiteY1396" fmla="*/ 4517679 h 6407421"/>
              <a:gd name="connsiteX1397" fmla="*/ 2660980 w 11701760"/>
              <a:gd name="connsiteY1397" fmla="*/ 4517679 h 6407421"/>
              <a:gd name="connsiteX1398" fmla="*/ 2660980 w 11701760"/>
              <a:gd name="connsiteY1398" fmla="*/ 4547281 h 6407421"/>
              <a:gd name="connsiteX1399" fmla="*/ 2631378 w 11701760"/>
              <a:gd name="connsiteY1399" fmla="*/ 4547281 h 6407421"/>
              <a:gd name="connsiteX1400" fmla="*/ 2365289 w 11701760"/>
              <a:gd name="connsiteY1400" fmla="*/ 4517679 h 6407421"/>
              <a:gd name="connsiteX1401" fmla="*/ 2394892 w 11701760"/>
              <a:gd name="connsiteY1401" fmla="*/ 4517679 h 6407421"/>
              <a:gd name="connsiteX1402" fmla="*/ 2394892 w 11701760"/>
              <a:gd name="connsiteY1402" fmla="*/ 4547281 h 6407421"/>
              <a:gd name="connsiteX1403" fmla="*/ 2365289 w 11701760"/>
              <a:gd name="connsiteY1403" fmla="*/ 4547281 h 6407421"/>
              <a:gd name="connsiteX1404" fmla="*/ 2099092 w 11701760"/>
              <a:gd name="connsiteY1404" fmla="*/ 4517679 h 6407421"/>
              <a:gd name="connsiteX1405" fmla="*/ 2128695 w 11701760"/>
              <a:gd name="connsiteY1405" fmla="*/ 4517679 h 6407421"/>
              <a:gd name="connsiteX1406" fmla="*/ 2128695 w 11701760"/>
              <a:gd name="connsiteY1406" fmla="*/ 4547281 h 6407421"/>
              <a:gd name="connsiteX1407" fmla="*/ 2099092 w 11701760"/>
              <a:gd name="connsiteY1407" fmla="*/ 4547281 h 6407421"/>
              <a:gd name="connsiteX1408" fmla="*/ 1832898 w 11701760"/>
              <a:gd name="connsiteY1408" fmla="*/ 4517679 h 6407421"/>
              <a:gd name="connsiteX1409" fmla="*/ 1862498 w 11701760"/>
              <a:gd name="connsiteY1409" fmla="*/ 4517679 h 6407421"/>
              <a:gd name="connsiteX1410" fmla="*/ 1862498 w 11701760"/>
              <a:gd name="connsiteY1410" fmla="*/ 4547281 h 6407421"/>
              <a:gd name="connsiteX1411" fmla="*/ 1832898 w 11701760"/>
              <a:gd name="connsiteY1411" fmla="*/ 4547281 h 6407421"/>
              <a:gd name="connsiteX1412" fmla="*/ 1566808 w 11701760"/>
              <a:gd name="connsiteY1412" fmla="*/ 4517679 h 6407421"/>
              <a:gd name="connsiteX1413" fmla="*/ 1596409 w 11701760"/>
              <a:gd name="connsiteY1413" fmla="*/ 4517679 h 6407421"/>
              <a:gd name="connsiteX1414" fmla="*/ 1596409 w 11701760"/>
              <a:gd name="connsiteY1414" fmla="*/ 4547281 h 6407421"/>
              <a:gd name="connsiteX1415" fmla="*/ 1566808 w 11701760"/>
              <a:gd name="connsiteY1415" fmla="*/ 4547281 h 6407421"/>
              <a:gd name="connsiteX1416" fmla="*/ 1300611 w 11701760"/>
              <a:gd name="connsiteY1416" fmla="*/ 4517679 h 6407421"/>
              <a:gd name="connsiteX1417" fmla="*/ 1330213 w 11701760"/>
              <a:gd name="connsiteY1417" fmla="*/ 4517679 h 6407421"/>
              <a:gd name="connsiteX1418" fmla="*/ 1330213 w 11701760"/>
              <a:gd name="connsiteY1418" fmla="*/ 4547281 h 6407421"/>
              <a:gd name="connsiteX1419" fmla="*/ 1300611 w 11701760"/>
              <a:gd name="connsiteY1419" fmla="*/ 4547281 h 6407421"/>
              <a:gd name="connsiteX1420" fmla="*/ 1034520 w 11701760"/>
              <a:gd name="connsiteY1420" fmla="*/ 4517679 h 6407421"/>
              <a:gd name="connsiteX1421" fmla="*/ 1064123 w 11701760"/>
              <a:gd name="connsiteY1421" fmla="*/ 4517679 h 6407421"/>
              <a:gd name="connsiteX1422" fmla="*/ 1064123 w 11701760"/>
              <a:gd name="connsiteY1422" fmla="*/ 4547281 h 6407421"/>
              <a:gd name="connsiteX1423" fmla="*/ 1034520 w 11701760"/>
              <a:gd name="connsiteY1423" fmla="*/ 4547281 h 6407421"/>
              <a:gd name="connsiteX1424" fmla="*/ 768327 w 11701760"/>
              <a:gd name="connsiteY1424" fmla="*/ 4517679 h 6407421"/>
              <a:gd name="connsiteX1425" fmla="*/ 797926 w 11701760"/>
              <a:gd name="connsiteY1425" fmla="*/ 4517679 h 6407421"/>
              <a:gd name="connsiteX1426" fmla="*/ 797926 w 11701760"/>
              <a:gd name="connsiteY1426" fmla="*/ 4547281 h 6407421"/>
              <a:gd name="connsiteX1427" fmla="*/ 768327 w 11701760"/>
              <a:gd name="connsiteY1427" fmla="*/ 4547281 h 6407421"/>
              <a:gd name="connsiteX1428" fmla="*/ 502236 w 11701760"/>
              <a:gd name="connsiteY1428" fmla="*/ 4517679 h 6407421"/>
              <a:gd name="connsiteX1429" fmla="*/ 531839 w 11701760"/>
              <a:gd name="connsiteY1429" fmla="*/ 4517679 h 6407421"/>
              <a:gd name="connsiteX1430" fmla="*/ 531839 w 11701760"/>
              <a:gd name="connsiteY1430" fmla="*/ 4547281 h 6407421"/>
              <a:gd name="connsiteX1431" fmla="*/ 502236 w 11701760"/>
              <a:gd name="connsiteY1431" fmla="*/ 4547281 h 6407421"/>
              <a:gd name="connsiteX1432" fmla="*/ 236037 w 11701760"/>
              <a:gd name="connsiteY1432" fmla="*/ 4517679 h 6407421"/>
              <a:gd name="connsiteX1433" fmla="*/ 265640 w 11701760"/>
              <a:gd name="connsiteY1433" fmla="*/ 4517679 h 6407421"/>
              <a:gd name="connsiteX1434" fmla="*/ 265640 w 11701760"/>
              <a:gd name="connsiteY1434" fmla="*/ 4547281 h 6407421"/>
              <a:gd name="connsiteX1435" fmla="*/ 236037 w 11701760"/>
              <a:gd name="connsiteY1435" fmla="*/ 4547281 h 6407421"/>
              <a:gd name="connsiteX1436" fmla="*/ 2 w 11701760"/>
              <a:gd name="connsiteY1436" fmla="*/ 4517679 h 6407421"/>
              <a:gd name="connsiteX1437" fmla="*/ 29603 w 11701760"/>
              <a:gd name="connsiteY1437" fmla="*/ 4517679 h 6407421"/>
              <a:gd name="connsiteX1438" fmla="*/ 29603 w 11701760"/>
              <a:gd name="connsiteY1438" fmla="*/ 4547281 h 6407421"/>
              <a:gd name="connsiteX1439" fmla="*/ 2 w 11701760"/>
              <a:gd name="connsiteY1439" fmla="*/ 4547281 h 6407421"/>
              <a:gd name="connsiteX1440" fmla="*/ 11672158 w 11701760"/>
              <a:gd name="connsiteY1440" fmla="*/ 4252022 h 6407421"/>
              <a:gd name="connsiteX1441" fmla="*/ 11701760 w 11701760"/>
              <a:gd name="connsiteY1441" fmla="*/ 4252022 h 6407421"/>
              <a:gd name="connsiteX1442" fmla="*/ 11701760 w 11701760"/>
              <a:gd name="connsiteY1442" fmla="*/ 4281516 h 6407421"/>
              <a:gd name="connsiteX1443" fmla="*/ 11672158 w 11701760"/>
              <a:gd name="connsiteY1443" fmla="*/ 4281516 h 6407421"/>
              <a:gd name="connsiteX1444" fmla="*/ 11405961 w 11701760"/>
              <a:gd name="connsiteY1444" fmla="*/ 4252022 h 6407421"/>
              <a:gd name="connsiteX1445" fmla="*/ 11435563 w 11701760"/>
              <a:gd name="connsiteY1445" fmla="*/ 4252022 h 6407421"/>
              <a:gd name="connsiteX1446" fmla="*/ 11435563 w 11701760"/>
              <a:gd name="connsiteY1446" fmla="*/ 4281516 h 6407421"/>
              <a:gd name="connsiteX1447" fmla="*/ 11405961 w 11701760"/>
              <a:gd name="connsiteY1447" fmla="*/ 4281516 h 6407421"/>
              <a:gd name="connsiteX1448" fmla="*/ 11139872 w 11701760"/>
              <a:gd name="connsiteY1448" fmla="*/ 4252022 h 6407421"/>
              <a:gd name="connsiteX1449" fmla="*/ 11169474 w 11701760"/>
              <a:gd name="connsiteY1449" fmla="*/ 4252022 h 6407421"/>
              <a:gd name="connsiteX1450" fmla="*/ 11169474 w 11701760"/>
              <a:gd name="connsiteY1450" fmla="*/ 4281516 h 6407421"/>
              <a:gd name="connsiteX1451" fmla="*/ 11139872 w 11701760"/>
              <a:gd name="connsiteY1451" fmla="*/ 4281516 h 6407421"/>
              <a:gd name="connsiteX1452" fmla="*/ 10873675 w 11701760"/>
              <a:gd name="connsiteY1452" fmla="*/ 4252022 h 6407421"/>
              <a:gd name="connsiteX1453" fmla="*/ 10903277 w 11701760"/>
              <a:gd name="connsiteY1453" fmla="*/ 4252022 h 6407421"/>
              <a:gd name="connsiteX1454" fmla="*/ 10903277 w 11701760"/>
              <a:gd name="connsiteY1454" fmla="*/ 4281516 h 6407421"/>
              <a:gd name="connsiteX1455" fmla="*/ 10873675 w 11701760"/>
              <a:gd name="connsiteY1455" fmla="*/ 4281516 h 6407421"/>
              <a:gd name="connsiteX1456" fmla="*/ 10607478 w 11701760"/>
              <a:gd name="connsiteY1456" fmla="*/ 4252022 h 6407421"/>
              <a:gd name="connsiteX1457" fmla="*/ 10637188 w 11701760"/>
              <a:gd name="connsiteY1457" fmla="*/ 4252022 h 6407421"/>
              <a:gd name="connsiteX1458" fmla="*/ 10637188 w 11701760"/>
              <a:gd name="connsiteY1458" fmla="*/ 4281516 h 6407421"/>
              <a:gd name="connsiteX1459" fmla="*/ 10607478 w 11701760"/>
              <a:gd name="connsiteY1459" fmla="*/ 4281516 h 6407421"/>
              <a:gd name="connsiteX1460" fmla="*/ 10341389 w 11701760"/>
              <a:gd name="connsiteY1460" fmla="*/ 4252022 h 6407421"/>
              <a:gd name="connsiteX1461" fmla="*/ 10370992 w 11701760"/>
              <a:gd name="connsiteY1461" fmla="*/ 4252022 h 6407421"/>
              <a:gd name="connsiteX1462" fmla="*/ 10370992 w 11701760"/>
              <a:gd name="connsiteY1462" fmla="*/ 4281516 h 6407421"/>
              <a:gd name="connsiteX1463" fmla="*/ 10341389 w 11701760"/>
              <a:gd name="connsiteY1463" fmla="*/ 4281516 h 6407421"/>
              <a:gd name="connsiteX1464" fmla="*/ 10075192 w 11701760"/>
              <a:gd name="connsiteY1464" fmla="*/ 4252022 h 6407421"/>
              <a:gd name="connsiteX1465" fmla="*/ 10104794 w 11701760"/>
              <a:gd name="connsiteY1465" fmla="*/ 4252022 h 6407421"/>
              <a:gd name="connsiteX1466" fmla="*/ 10104794 w 11701760"/>
              <a:gd name="connsiteY1466" fmla="*/ 4281516 h 6407421"/>
              <a:gd name="connsiteX1467" fmla="*/ 10075192 w 11701760"/>
              <a:gd name="connsiteY1467" fmla="*/ 4281516 h 6407421"/>
              <a:gd name="connsiteX1468" fmla="*/ 9809103 w 11701760"/>
              <a:gd name="connsiteY1468" fmla="*/ 4252022 h 6407421"/>
              <a:gd name="connsiteX1469" fmla="*/ 9838705 w 11701760"/>
              <a:gd name="connsiteY1469" fmla="*/ 4252022 h 6407421"/>
              <a:gd name="connsiteX1470" fmla="*/ 9838705 w 11701760"/>
              <a:gd name="connsiteY1470" fmla="*/ 4281516 h 6407421"/>
              <a:gd name="connsiteX1471" fmla="*/ 9809103 w 11701760"/>
              <a:gd name="connsiteY1471" fmla="*/ 4281516 h 6407421"/>
              <a:gd name="connsiteX1472" fmla="*/ 9542906 w 11701760"/>
              <a:gd name="connsiteY1472" fmla="*/ 4252022 h 6407421"/>
              <a:gd name="connsiteX1473" fmla="*/ 9572509 w 11701760"/>
              <a:gd name="connsiteY1473" fmla="*/ 4252022 h 6407421"/>
              <a:gd name="connsiteX1474" fmla="*/ 9572509 w 11701760"/>
              <a:gd name="connsiteY1474" fmla="*/ 4281516 h 6407421"/>
              <a:gd name="connsiteX1475" fmla="*/ 9542906 w 11701760"/>
              <a:gd name="connsiteY1475" fmla="*/ 4281516 h 6407421"/>
              <a:gd name="connsiteX1476" fmla="*/ 9276817 w 11701760"/>
              <a:gd name="connsiteY1476" fmla="*/ 4252022 h 6407421"/>
              <a:gd name="connsiteX1477" fmla="*/ 9306420 w 11701760"/>
              <a:gd name="connsiteY1477" fmla="*/ 4252022 h 6407421"/>
              <a:gd name="connsiteX1478" fmla="*/ 9306420 w 11701760"/>
              <a:gd name="connsiteY1478" fmla="*/ 4281516 h 6407421"/>
              <a:gd name="connsiteX1479" fmla="*/ 9276817 w 11701760"/>
              <a:gd name="connsiteY1479" fmla="*/ 4281516 h 6407421"/>
              <a:gd name="connsiteX1480" fmla="*/ 9010620 w 11701760"/>
              <a:gd name="connsiteY1480" fmla="*/ 4252022 h 6407421"/>
              <a:gd name="connsiteX1481" fmla="*/ 9040222 w 11701760"/>
              <a:gd name="connsiteY1481" fmla="*/ 4252022 h 6407421"/>
              <a:gd name="connsiteX1482" fmla="*/ 9040222 w 11701760"/>
              <a:gd name="connsiteY1482" fmla="*/ 4281516 h 6407421"/>
              <a:gd name="connsiteX1483" fmla="*/ 9010620 w 11701760"/>
              <a:gd name="connsiteY1483" fmla="*/ 4281516 h 6407421"/>
              <a:gd name="connsiteX1484" fmla="*/ 8744423 w 11701760"/>
              <a:gd name="connsiteY1484" fmla="*/ 4252022 h 6407421"/>
              <a:gd name="connsiteX1485" fmla="*/ 8774026 w 11701760"/>
              <a:gd name="connsiteY1485" fmla="*/ 4252022 h 6407421"/>
              <a:gd name="connsiteX1486" fmla="*/ 8774026 w 11701760"/>
              <a:gd name="connsiteY1486" fmla="*/ 4281516 h 6407421"/>
              <a:gd name="connsiteX1487" fmla="*/ 8744423 w 11701760"/>
              <a:gd name="connsiteY1487" fmla="*/ 4281516 h 6407421"/>
              <a:gd name="connsiteX1488" fmla="*/ 8478226 w 11701760"/>
              <a:gd name="connsiteY1488" fmla="*/ 4252022 h 6407421"/>
              <a:gd name="connsiteX1489" fmla="*/ 8507828 w 11701760"/>
              <a:gd name="connsiteY1489" fmla="*/ 4252022 h 6407421"/>
              <a:gd name="connsiteX1490" fmla="*/ 8507828 w 11701760"/>
              <a:gd name="connsiteY1490" fmla="*/ 4281516 h 6407421"/>
              <a:gd name="connsiteX1491" fmla="*/ 8478226 w 11701760"/>
              <a:gd name="connsiteY1491" fmla="*/ 4281516 h 6407421"/>
              <a:gd name="connsiteX1492" fmla="*/ 8212137 w 11701760"/>
              <a:gd name="connsiteY1492" fmla="*/ 4252022 h 6407421"/>
              <a:gd name="connsiteX1493" fmla="*/ 8241740 w 11701760"/>
              <a:gd name="connsiteY1493" fmla="*/ 4252022 h 6407421"/>
              <a:gd name="connsiteX1494" fmla="*/ 8241740 w 11701760"/>
              <a:gd name="connsiteY1494" fmla="*/ 4281516 h 6407421"/>
              <a:gd name="connsiteX1495" fmla="*/ 8212137 w 11701760"/>
              <a:gd name="connsiteY1495" fmla="*/ 4281516 h 6407421"/>
              <a:gd name="connsiteX1496" fmla="*/ 7945940 w 11701760"/>
              <a:gd name="connsiteY1496" fmla="*/ 4252022 h 6407421"/>
              <a:gd name="connsiteX1497" fmla="*/ 7975543 w 11701760"/>
              <a:gd name="connsiteY1497" fmla="*/ 4252022 h 6407421"/>
              <a:gd name="connsiteX1498" fmla="*/ 7975543 w 11701760"/>
              <a:gd name="connsiteY1498" fmla="*/ 4281516 h 6407421"/>
              <a:gd name="connsiteX1499" fmla="*/ 7945940 w 11701760"/>
              <a:gd name="connsiteY1499" fmla="*/ 4281516 h 6407421"/>
              <a:gd name="connsiteX1500" fmla="*/ 7679743 w 11701760"/>
              <a:gd name="connsiteY1500" fmla="*/ 4252022 h 6407421"/>
              <a:gd name="connsiteX1501" fmla="*/ 7709346 w 11701760"/>
              <a:gd name="connsiteY1501" fmla="*/ 4252022 h 6407421"/>
              <a:gd name="connsiteX1502" fmla="*/ 7709346 w 11701760"/>
              <a:gd name="connsiteY1502" fmla="*/ 4281516 h 6407421"/>
              <a:gd name="connsiteX1503" fmla="*/ 7679743 w 11701760"/>
              <a:gd name="connsiteY1503" fmla="*/ 4281516 h 6407421"/>
              <a:gd name="connsiteX1504" fmla="*/ 7413653 w 11701760"/>
              <a:gd name="connsiteY1504" fmla="*/ 4252022 h 6407421"/>
              <a:gd name="connsiteX1505" fmla="*/ 7443256 w 11701760"/>
              <a:gd name="connsiteY1505" fmla="*/ 4252022 h 6407421"/>
              <a:gd name="connsiteX1506" fmla="*/ 7443256 w 11701760"/>
              <a:gd name="connsiteY1506" fmla="*/ 4281516 h 6407421"/>
              <a:gd name="connsiteX1507" fmla="*/ 7413653 w 11701760"/>
              <a:gd name="connsiteY1507" fmla="*/ 4281516 h 6407421"/>
              <a:gd name="connsiteX1508" fmla="*/ 7147456 w 11701760"/>
              <a:gd name="connsiteY1508" fmla="*/ 4252022 h 6407421"/>
              <a:gd name="connsiteX1509" fmla="*/ 7177058 w 11701760"/>
              <a:gd name="connsiteY1509" fmla="*/ 4252022 h 6407421"/>
              <a:gd name="connsiteX1510" fmla="*/ 7177058 w 11701760"/>
              <a:gd name="connsiteY1510" fmla="*/ 4281516 h 6407421"/>
              <a:gd name="connsiteX1511" fmla="*/ 7147456 w 11701760"/>
              <a:gd name="connsiteY1511" fmla="*/ 4281516 h 6407421"/>
              <a:gd name="connsiteX1512" fmla="*/ 6881367 w 11701760"/>
              <a:gd name="connsiteY1512" fmla="*/ 4252022 h 6407421"/>
              <a:gd name="connsiteX1513" fmla="*/ 6910970 w 11701760"/>
              <a:gd name="connsiteY1513" fmla="*/ 4252022 h 6407421"/>
              <a:gd name="connsiteX1514" fmla="*/ 6910970 w 11701760"/>
              <a:gd name="connsiteY1514" fmla="*/ 4281516 h 6407421"/>
              <a:gd name="connsiteX1515" fmla="*/ 6881367 w 11701760"/>
              <a:gd name="connsiteY1515" fmla="*/ 4281516 h 6407421"/>
              <a:gd name="connsiteX1516" fmla="*/ 6615170 w 11701760"/>
              <a:gd name="connsiteY1516" fmla="*/ 4252022 h 6407421"/>
              <a:gd name="connsiteX1517" fmla="*/ 6644773 w 11701760"/>
              <a:gd name="connsiteY1517" fmla="*/ 4252022 h 6407421"/>
              <a:gd name="connsiteX1518" fmla="*/ 6644773 w 11701760"/>
              <a:gd name="connsiteY1518" fmla="*/ 4281516 h 6407421"/>
              <a:gd name="connsiteX1519" fmla="*/ 6615170 w 11701760"/>
              <a:gd name="connsiteY1519" fmla="*/ 4281516 h 6407421"/>
              <a:gd name="connsiteX1520" fmla="*/ 6349081 w 11701760"/>
              <a:gd name="connsiteY1520" fmla="*/ 4252022 h 6407421"/>
              <a:gd name="connsiteX1521" fmla="*/ 6378683 w 11701760"/>
              <a:gd name="connsiteY1521" fmla="*/ 4252022 h 6407421"/>
              <a:gd name="connsiteX1522" fmla="*/ 6378683 w 11701760"/>
              <a:gd name="connsiteY1522" fmla="*/ 4281516 h 6407421"/>
              <a:gd name="connsiteX1523" fmla="*/ 6349081 w 11701760"/>
              <a:gd name="connsiteY1523" fmla="*/ 4281516 h 6407421"/>
              <a:gd name="connsiteX1524" fmla="*/ 6082884 w 11701760"/>
              <a:gd name="connsiteY1524" fmla="*/ 4252022 h 6407421"/>
              <a:gd name="connsiteX1525" fmla="*/ 6112486 w 11701760"/>
              <a:gd name="connsiteY1525" fmla="*/ 4252022 h 6407421"/>
              <a:gd name="connsiteX1526" fmla="*/ 6112486 w 11701760"/>
              <a:gd name="connsiteY1526" fmla="*/ 4281516 h 6407421"/>
              <a:gd name="connsiteX1527" fmla="*/ 6082884 w 11701760"/>
              <a:gd name="connsiteY1527" fmla="*/ 4281516 h 6407421"/>
              <a:gd name="connsiteX1528" fmla="*/ 5825310 w 11701760"/>
              <a:gd name="connsiteY1528" fmla="*/ 4252022 h 6407421"/>
              <a:gd name="connsiteX1529" fmla="*/ 5854913 w 11701760"/>
              <a:gd name="connsiteY1529" fmla="*/ 4252022 h 6407421"/>
              <a:gd name="connsiteX1530" fmla="*/ 5854913 w 11701760"/>
              <a:gd name="connsiteY1530" fmla="*/ 4281516 h 6407421"/>
              <a:gd name="connsiteX1531" fmla="*/ 5825310 w 11701760"/>
              <a:gd name="connsiteY1531" fmla="*/ 4281516 h 6407421"/>
              <a:gd name="connsiteX1532" fmla="*/ 5559113 w 11701760"/>
              <a:gd name="connsiteY1532" fmla="*/ 4252022 h 6407421"/>
              <a:gd name="connsiteX1533" fmla="*/ 5588715 w 11701760"/>
              <a:gd name="connsiteY1533" fmla="*/ 4252022 h 6407421"/>
              <a:gd name="connsiteX1534" fmla="*/ 5588715 w 11701760"/>
              <a:gd name="connsiteY1534" fmla="*/ 4281516 h 6407421"/>
              <a:gd name="connsiteX1535" fmla="*/ 5559113 w 11701760"/>
              <a:gd name="connsiteY1535" fmla="*/ 4281516 h 6407421"/>
              <a:gd name="connsiteX1536" fmla="*/ 5293024 w 11701760"/>
              <a:gd name="connsiteY1536" fmla="*/ 4252022 h 6407421"/>
              <a:gd name="connsiteX1537" fmla="*/ 5322626 w 11701760"/>
              <a:gd name="connsiteY1537" fmla="*/ 4252022 h 6407421"/>
              <a:gd name="connsiteX1538" fmla="*/ 5322626 w 11701760"/>
              <a:gd name="connsiteY1538" fmla="*/ 4281516 h 6407421"/>
              <a:gd name="connsiteX1539" fmla="*/ 5293024 w 11701760"/>
              <a:gd name="connsiteY1539" fmla="*/ 4281516 h 6407421"/>
              <a:gd name="connsiteX1540" fmla="*/ 5026827 w 11701760"/>
              <a:gd name="connsiteY1540" fmla="*/ 4252022 h 6407421"/>
              <a:gd name="connsiteX1541" fmla="*/ 5056429 w 11701760"/>
              <a:gd name="connsiteY1541" fmla="*/ 4252022 h 6407421"/>
              <a:gd name="connsiteX1542" fmla="*/ 5056429 w 11701760"/>
              <a:gd name="connsiteY1542" fmla="*/ 4281516 h 6407421"/>
              <a:gd name="connsiteX1543" fmla="*/ 5026827 w 11701760"/>
              <a:gd name="connsiteY1543" fmla="*/ 4281516 h 6407421"/>
              <a:gd name="connsiteX1544" fmla="*/ 4760630 w 11701760"/>
              <a:gd name="connsiteY1544" fmla="*/ 4252022 h 6407421"/>
              <a:gd name="connsiteX1545" fmla="*/ 4790340 w 11701760"/>
              <a:gd name="connsiteY1545" fmla="*/ 4252022 h 6407421"/>
              <a:gd name="connsiteX1546" fmla="*/ 4790340 w 11701760"/>
              <a:gd name="connsiteY1546" fmla="*/ 4281516 h 6407421"/>
              <a:gd name="connsiteX1547" fmla="*/ 4760630 w 11701760"/>
              <a:gd name="connsiteY1547" fmla="*/ 4281516 h 6407421"/>
              <a:gd name="connsiteX1548" fmla="*/ 4494541 w 11701760"/>
              <a:gd name="connsiteY1548" fmla="*/ 4252022 h 6407421"/>
              <a:gd name="connsiteX1549" fmla="*/ 4524144 w 11701760"/>
              <a:gd name="connsiteY1549" fmla="*/ 4252022 h 6407421"/>
              <a:gd name="connsiteX1550" fmla="*/ 4524144 w 11701760"/>
              <a:gd name="connsiteY1550" fmla="*/ 4281516 h 6407421"/>
              <a:gd name="connsiteX1551" fmla="*/ 4494541 w 11701760"/>
              <a:gd name="connsiteY1551" fmla="*/ 4281516 h 6407421"/>
              <a:gd name="connsiteX1552" fmla="*/ 4228344 w 11701760"/>
              <a:gd name="connsiteY1552" fmla="*/ 4252022 h 6407421"/>
              <a:gd name="connsiteX1553" fmla="*/ 4257946 w 11701760"/>
              <a:gd name="connsiteY1553" fmla="*/ 4252022 h 6407421"/>
              <a:gd name="connsiteX1554" fmla="*/ 4257946 w 11701760"/>
              <a:gd name="connsiteY1554" fmla="*/ 4281516 h 6407421"/>
              <a:gd name="connsiteX1555" fmla="*/ 4228344 w 11701760"/>
              <a:gd name="connsiteY1555" fmla="*/ 4281516 h 6407421"/>
              <a:gd name="connsiteX1556" fmla="*/ 3962255 w 11701760"/>
              <a:gd name="connsiteY1556" fmla="*/ 4252022 h 6407421"/>
              <a:gd name="connsiteX1557" fmla="*/ 3991857 w 11701760"/>
              <a:gd name="connsiteY1557" fmla="*/ 4252022 h 6407421"/>
              <a:gd name="connsiteX1558" fmla="*/ 3991857 w 11701760"/>
              <a:gd name="connsiteY1558" fmla="*/ 4281516 h 6407421"/>
              <a:gd name="connsiteX1559" fmla="*/ 3962255 w 11701760"/>
              <a:gd name="connsiteY1559" fmla="*/ 4281516 h 6407421"/>
              <a:gd name="connsiteX1560" fmla="*/ 3696058 w 11701760"/>
              <a:gd name="connsiteY1560" fmla="*/ 4252022 h 6407421"/>
              <a:gd name="connsiteX1561" fmla="*/ 3725661 w 11701760"/>
              <a:gd name="connsiteY1561" fmla="*/ 4252022 h 6407421"/>
              <a:gd name="connsiteX1562" fmla="*/ 3725661 w 11701760"/>
              <a:gd name="connsiteY1562" fmla="*/ 4281516 h 6407421"/>
              <a:gd name="connsiteX1563" fmla="*/ 3696058 w 11701760"/>
              <a:gd name="connsiteY1563" fmla="*/ 4281516 h 6407421"/>
              <a:gd name="connsiteX1564" fmla="*/ 3429969 w 11701760"/>
              <a:gd name="connsiteY1564" fmla="*/ 4252022 h 6407421"/>
              <a:gd name="connsiteX1565" fmla="*/ 3459572 w 11701760"/>
              <a:gd name="connsiteY1565" fmla="*/ 4252022 h 6407421"/>
              <a:gd name="connsiteX1566" fmla="*/ 3459572 w 11701760"/>
              <a:gd name="connsiteY1566" fmla="*/ 4281516 h 6407421"/>
              <a:gd name="connsiteX1567" fmla="*/ 3429969 w 11701760"/>
              <a:gd name="connsiteY1567" fmla="*/ 4281516 h 6407421"/>
              <a:gd name="connsiteX1568" fmla="*/ 3163772 w 11701760"/>
              <a:gd name="connsiteY1568" fmla="*/ 4252022 h 6407421"/>
              <a:gd name="connsiteX1569" fmla="*/ 3193374 w 11701760"/>
              <a:gd name="connsiteY1569" fmla="*/ 4252022 h 6407421"/>
              <a:gd name="connsiteX1570" fmla="*/ 3193374 w 11701760"/>
              <a:gd name="connsiteY1570" fmla="*/ 4281516 h 6407421"/>
              <a:gd name="connsiteX1571" fmla="*/ 3163772 w 11701760"/>
              <a:gd name="connsiteY1571" fmla="*/ 4281516 h 6407421"/>
              <a:gd name="connsiteX1572" fmla="*/ 2897575 w 11701760"/>
              <a:gd name="connsiteY1572" fmla="*/ 4252022 h 6407421"/>
              <a:gd name="connsiteX1573" fmla="*/ 2927178 w 11701760"/>
              <a:gd name="connsiteY1573" fmla="*/ 4252022 h 6407421"/>
              <a:gd name="connsiteX1574" fmla="*/ 2927178 w 11701760"/>
              <a:gd name="connsiteY1574" fmla="*/ 4281516 h 6407421"/>
              <a:gd name="connsiteX1575" fmla="*/ 2897575 w 11701760"/>
              <a:gd name="connsiteY1575" fmla="*/ 4281516 h 6407421"/>
              <a:gd name="connsiteX1576" fmla="*/ 2631378 w 11701760"/>
              <a:gd name="connsiteY1576" fmla="*/ 4252022 h 6407421"/>
              <a:gd name="connsiteX1577" fmla="*/ 2660980 w 11701760"/>
              <a:gd name="connsiteY1577" fmla="*/ 4252022 h 6407421"/>
              <a:gd name="connsiteX1578" fmla="*/ 2660980 w 11701760"/>
              <a:gd name="connsiteY1578" fmla="*/ 4281516 h 6407421"/>
              <a:gd name="connsiteX1579" fmla="*/ 2631378 w 11701760"/>
              <a:gd name="connsiteY1579" fmla="*/ 4281516 h 6407421"/>
              <a:gd name="connsiteX1580" fmla="*/ 2365289 w 11701760"/>
              <a:gd name="connsiteY1580" fmla="*/ 4252022 h 6407421"/>
              <a:gd name="connsiteX1581" fmla="*/ 2394892 w 11701760"/>
              <a:gd name="connsiteY1581" fmla="*/ 4252022 h 6407421"/>
              <a:gd name="connsiteX1582" fmla="*/ 2394892 w 11701760"/>
              <a:gd name="connsiteY1582" fmla="*/ 4281516 h 6407421"/>
              <a:gd name="connsiteX1583" fmla="*/ 2365289 w 11701760"/>
              <a:gd name="connsiteY1583" fmla="*/ 4281516 h 6407421"/>
              <a:gd name="connsiteX1584" fmla="*/ 2099092 w 11701760"/>
              <a:gd name="connsiteY1584" fmla="*/ 4252022 h 6407421"/>
              <a:gd name="connsiteX1585" fmla="*/ 2128695 w 11701760"/>
              <a:gd name="connsiteY1585" fmla="*/ 4252022 h 6407421"/>
              <a:gd name="connsiteX1586" fmla="*/ 2128695 w 11701760"/>
              <a:gd name="connsiteY1586" fmla="*/ 4281516 h 6407421"/>
              <a:gd name="connsiteX1587" fmla="*/ 2099092 w 11701760"/>
              <a:gd name="connsiteY1587" fmla="*/ 4281516 h 6407421"/>
              <a:gd name="connsiteX1588" fmla="*/ 1832898 w 11701760"/>
              <a:gd name="connsiteY1588" fmla="*/ 4252022 h 6407421"/>
              <a:gd name="connsiteX1589" fmla="*/ 1862498 w 11701760"/>
              <a:gd name="connsiteY1589" fmla="*/ 4252022 h 6407421"/>
              <a:gd name="connsiteX1590" fmla="*/ 1862498 w 11701760"/>
              <a:gd name="connsiteY1590" fmla="*/ 4281516 h 6407421"/>
              <a:gd name="connsiteX1591" fmla="*/ 1832898 w 11701760"/>
              <a:gd name="connsiteY1591" fmla="*/ 4281516 h 6407421"/>
              <a:gd name="connsiteX1592" fmla="*/ 1566808 w 11701760"/>
              <a:gd name="connsiteY1592" fmla="*/ 4252022 h 6407421"/>
              <a:gd name="connsiteX1593" fmla="*/ 1596409 w 11701760"/>
              <a:gd name="connsiteY1593" fmla="*/ 4252022 h 6407421"/>
              <a:gd name="connsiteX1594" fmla="*/ 1596409 w 11701760"/>
              <a:gd name="connsiteY1594" fmla="*/ 4281516 h 6407421"/>
              <a:gd name="connsiteX1595" fmla="*/ 1566808 w 11701760"/>
              <a:gd name="connsiteY1595" fmla="*/ 4281516 h 6407421"/>
              <a:gd name="connsiteX1596" fmla="*/ 1300611 w 11701760"/>
              <a:gd name="connsiteY1596" fmla="*/ 4252022 h 6407421"/>
              <a:gd name="connsiteX1597" fmla="*/ 1330213 w 11701760"/>
              <a:gd name="connsiteY1597" fmla="*/ 4252022 h 6407421"/>
              <a:gd name="connsiteX1598" fmla="*/ 1330213 w 11701760"/>
              <a:gd name="connsiteY1598" fmla="*/ 4281516 h 6407421"/>
              <a:gd name="connsiteX1599" fmla="*/ 1300611 w 11701760"/>
              <a:gd name="connsiteY1599" fmla="*/ 4281516 h 6407421"/>
              <a:gd name="connsiteX1600" fmla="*/ 1034520 w 11701760"/>
              <a:gd name="connsiteY1600" fmla="*/ 4252022 h 6407421"/>
              <a:gd name="connsiteX1601" fmla="*/ 1064123 w 11701760"/>
              <a:gd name="connsiteY1601" fmla="*/ 4252022 h 6407421"/>
              <a:gd name="connsiteX1602" fmla="*/ 1064123 w 11701760"/>
              <a:gd name="connsiteY1602" fmla="*/ 4281516 h 6407421"/>
              <a:gd name="connsiteX1603" fmla="*/ 1034520 w 11701760"/>
              <a:gd name="connsiteY1603" fmla="*/ 4281516 h 6407421"/>
              <a:gd name="connsiteX1604" fmla="*/ 768327 w 11701760"/>
              <a:gd name="connsiteY1604" fmla="*/ 4252022 h 6407421"/>
              <a:gd name="connsiteX1605" fmla="*/ 797926 w 11701760"/>
              <a:gd name="connsiteY1605" fmla="*/ 4252022 h 6407421"/>
              <a:gd name="connsiteX1606" fmla="*/ 797926 w 11701760"/>
              <a:gd name="connsiteY1606" fmla="*/ 4281516 h 6407421"/>
              <a:gd name="connsiteX1607" fmla="*/ 768327 w 11701760"/>
              <a:gd name="connsiteY1607" fmla="*/ 4281516 h 6407421"/>
              <a:gd name="connsiteX1608" fmla="*/ 502236 w 11701760"/>
              <a:gd name="connsiteY1608" fmla="*/ 4252022 h 6407421"/>
              <a:gd name="connsiteX1609" fmla="*/ 531839 w 11701760"/>
              <a:gd name="connsiteY1609" fmla="*/ 4252022 h 6407421"/>
              <a:gd name="connsiteX1610" fmla="*/ 531839 w 11701760"/>
              <a:gd name="connsiteY1610" fmla="*/ 4281516 h 6407421"/>
              <a:gd name="connsiteX1611" fmla="*/ 502236 w 11701760"/>
              <a:gd name="connsiteY1611" fmla="*/ 4281516 h 6407421"/>
              <a:gd name="connsiteX1612" fmla="*/ 236037 w 11701760"/>
              <a:gd name="connsiteY1612" fmla="*/ 4252022 h 6407421"/>
              <a:gd name="connsiteX1613" fmla="*/ 265640 w 11701760"/>
              <a:gd name="connsiteY1613" fmla="*/ 4252022 h 6407421"/>
              <a:gd name="connsiteX1614" fmla="*/ 265640 w 11701760"/>
              <a:gd name="connsiteY1614" fmla="*/ 4281516 h 6407421"/>
              <a:gd name="connsiteX1615" fmla="*/ 236037 w 11701760"/>
              <a:gd name="connsiteY1615" fmla="*/ 4281516 h 6407421"/>
              <a:gd name="connsiteX1616" fmla="*/ 1 w 11701760"/>
              <a:gd name="connsiteY1616" fmla="*/ 4252022 h 6407421"/>
              <a:gd name="connsiteX1617" fmla="*/ 29603 w 11701760"/>
              <a:gd name="connsiteY1617" fmla="*/ 4252022 h 6407421"/>
              <a:gd name="connsiteX1618" fmla="*/ 29603 w 11701760"/>
              <a:gd name="connsiteY1618" fmla="*/ 4281516 h 6407421"/>
              <a:gd name="connsiteX1619" fmla="*/ 1 w 11701760"/>
              <a:gd name="connsiteY1619" fmla="*/ 4281516 h 6407421"/>
              <a:gd name="connsiteX1620" fmla="*/ 11672158 w 11701760"/>
              <a:gd name="connsiteY1620" fmla="*/ 3986257 h 6407421"/>
              <a:gd name="connsiteX1621" fmla="*/ 11701760 w 11701760"/>
              <a:gd name="connsiteY1621" fmla="*/ 3986257 h 6407421"/>
              <a:gd name="connsiteX1622" fmla="*/ 11701760 w 11701760"/>
              <a:gd name="connsiteY1622" fmla="*/ 4015859 h 6407421"/>
              <a:gd name="connsiteX1623" fmla="*/ 11672158 w 11701760"/>
              <a:gd name="connsiteY1623" fmla="*/ 4015859 h 6407421"/>
              <a:gd name="connsiteX1624" fmla="*/ 11405961 w 11701760"/>
              <a:gd name="connsiteY1624" fmla="*/ 3986257 h 6407421"/>
              <a:gd name="connsiteX1625" fmla="*/ 11435563 w 11701760"/>
              <a:gd name="connsiteY1625" fmla="*/ 3986257 h 6407421"/>
              <a:gd name="connsiteX1626" fmla="*/ 11435563 w 11701760"/>
              <a:gd name="connsiteY1626" fmla="*/ 4015859 h 6407421"/>
              <a:gd name="connsiteX1627" fmla="*/ 11405961 w 11701760"/>
              <a:gd name="connsiteY1627" fmla="*/ 4015859 h 6407421"/>
              <a:gd name="connsiteX1628" fmla="*/ 11139872 w 11701760"/>
              <a:gd name="connsiteY1628" fmla="*/ 3986257 h 6407421"/>
              <a:gd name="connsiteX1629" fmla="*/ 11169474 w 11701760"/>
              <a:gd name="connsiteY1629" fmla="*/ 3986257 h 6407421"/>
              <a:gd name="connsiteX1630" fmla="*/ 11169474 w 11701760"/>
              <a:gd name="connsiteY1630" fmla="*/ 4015859 h 6407421"/>
              <a:gd name="connsiteX1631" fmla="*/ 11139872 w 11701760"/>
              <a:gd name="connsiteY1631" fmla="*/ 4015859 h 6407421"/>
              <a:gd name="connsiteX1632" fmla="*/ 10873675 w 11701760"/>
              <a:gd name="connsiteY1632" fmla="*/ 3986257 h 6407421"/>
              <a:gd name="connsiteX1633" fmla="*/ 10903277 w 11701760"/>
              <a:gd name="connsiteY1633" fmla="*/ 3986257 h 6407421"/>
              <a:gd name="connsiteX1634" fmla="*/ 10903277 w 11701760"/>
              <a:gd name="connsiteY1634" fmla="*/ 4015859 h 6407421"/>
              <a:gd name="connsiteX1635" fmla="*/ 10873675 w 11701760"/>
              <a:gd name="connsiteY1635" fmla="*/ 4015859 h 6407421"/>
              <a:gd name="connsiteX1636" fmla="*/ 10607478 w 11701760"/>
              <a:gd name="connsiteY1636" fmla="*/ 3986257 h 6407421"/>
              <a:gd name="connsiteX1637" fmla="*/ 10637188 w 11701760"/>
              <a:gd name="connsiteY1637" fmla="*/ 3986257 h 6407421"/>
              <a:gd name="connsiteX1638" fmla="*/ 10637188 w 11701760"/>
              <a:gd name="connsiteY1638" fmla="*/ 4015859 h 6407421"/>
              <a:gd name="connsiteX1639" fmla="*/ 10607478 w 11701760"/>
              <a:gd name="connsiteY1639" fmla="*/ 4015859 h 6407421"/>
              <a:gd name="connsiteX1640" fmla="*/ 10341389 w 11701760"/>
              <a:gd name="connsiteY1640" fmla="*/ 3986257 h 6407421"/>
              <a:gd name="connsiteX1641" fmla="*/ 10370992 w 11701760"/>
              <a:gd name="connsiteY1641" fmla="*/ 3986257 h 6407421"/>
              <a:gd name="connsiteX1642" fmla="*/ 10370992 w 11701760"/>
              <a:gd name="connsiteY1642" fmla="*/ 4015859 h 6407421"/>
              <a:gd name="connsiteX1643" fmla="*/ 10341389 w 11701760"/>
              <a:gd name="connsiteY1643" fmla="*/ 4015859 h 6407421"/>
              <a:gd name="connsiteX1644" fmla="*/ 10075192 w 11701760"/>
              <a:gd name="connsiteY1644" fmla="*/ 3986257 h 6407421"/>
              <a:gd name="connsiteX1645" fmla="*/ 10104794 w 11701760"/>
              <a:gd name="connsiteY1645" fmla="*/ 3986257 h 6407421"/>
              <a:gd name="connsiteX1646" fmla="*/ 10104794 w 11701760"/>
              <a:gd name="connsiteY1646" fmla="*/ 4015859 h 6407421"/>
              <a:gd name="connsiteX1647" fmla="*/ 10075192 w 11701760"/>
              <a:gd name="connsiteY1647" fmla="*/ 4015859 h 6407421"/>
              <a:gd name="connsiteX1648" fmla="*/ 9809103 w 11701760"/>
              <a:gd name="connsiteY1648" fmla="*/ 3986257 h 6407421"/>
              <a:gd name="connsiteX1649" fmla="*/ 9838705 w 11701760"/>
              <a:gd name="connsiteY1649" fmla="*/ 3986257 h 6407421"/>
              <a:gd name="connsiteX1650" fmla="*/ 9838705 w 11701760"/>
              <a:gd name="connsiteY1650" fmla="*/ 4015859 h 6407421"/>
              <a:gd name="connsiteX1651" fmla="*/ 9809103 w 11701760"/>
              <a:gd name="connsiteY1651" fmla="*/ 4015859 h 6407421"/>
              <a:gd name="connsiteX1652" fmla="*/ 9542906 w 11701760"/>
              <a:gd name="connsiteY1652" fmla="*/ 3986257 h 6407421"/>
              <a:gd name="connsiteX1653" fmla="*/ 9572509 w 11701760"/>
              <a:gd name="connsiteY1653" fmla="*/ 3986257 h 6407421"/>
              <a:gd name="connsiteX1654" fmla="*/ 9572509 w 11701760"/>
              <a:gd name="connsiteY1654" fmla="*/ 4015859 h 6407421"/>
              <a:gd name="connsiteX1655" fmla="*/ 9542906 w 11701760"/>
              <a:gd name="connsiteY1655" fmla="*/ 4015859 h 6407421"/>
              <a:gd name="connsiteX1656" fmla="*/ 9276817 w 11701760"/>
              <a:gd name="connsiteY1656" fmla="*/ 3986257 h 6407421"/>
              <a:gd name="connsiteX1657" fmla="*/ 9306420 w 11701760"/>
              <a:gd name="connsiteY1657" fmla="*/ 3986257 h 6407421"/>
              <a:gd name="connsiteX1658" fmla="*/ 9306420 w 11701760"/>
              <a:gd name="connsiteY1658" fmla="*/ 4015859 h 6407421"/>
              <a:gd name="connsiteX1659" fmla="*/ 9276817 w 11701760"/>
              <a:gd name="connsiteY1659" fmla="*/ 4015859 h 6407421"/>
              <a:gd name="connsiteX1660" fmla="*/ 9010620 w 11701760"/>
              <a:gd name="connsiteY1660" fmla="*/ 3986257 h 6407421"/>
              <a:gd name="connsiteX1661" fmla="*/ 9040222 w 11701760"/>
              <a:gd name="connsiteY1661" fmla="*/ 3986257 h 6407421"/>
              <a:gd name="connsiteX1662" fmla="*/ 9040222 w 11701760"/>
              <a:gd name="connsiteY1662" fmla="*/ 4015859 h 6407421"/>
              <a:gd name="connsiteX1663" fmla="*/ 9010620 w 11701760"/>
              <a:gd name="connsiteY1663" fmla="*/ 4015859 h 6407421"/>
              <a:gd name="connsiteX1664" fmla="*/ 8744423 w 11701760"/>
              <a:gd name="connsiteY1664" fmla="*/ 3986257 h 6407421"/>
              <a:gd name="connsiteX1665" fmla="*/ 8774026 w 11701760"/>
              <a:gd name="connsiteY1665" fmla="*/ 3986257 h 6407421"/>
              <a:gd name="connsiteX1666" fmla="*/ 8774026 w 11701760"/>
              <a:gd name="connsiteY1666" fmla="*/ 4015859 h 6407421"/>
              <a:gd name="connsiteX1667" fmla="*/ 8744423 w 11701760"/>
              <a:gd name="connsiteY1667" fmla="*/ 4015859 h 6407421"/>
              <a:gd name="connsiteX1668" fmla="*/ 8478226 w 11701760"/>
              <a:gd name="connsiteY1668" fmla="*/ 3986257 h 6407421"/>
              <a:gd name="connsiteX1669" fmla="*/ 8507828 w 11701760"/>
              <a:gd name="connsiteY1669" fmla="*/ 3986257 h 6407421"/>
              <a:gd name="connsiteX1670" fmla="*/ 8507828 w 11701760"/>
              <a:gd name="connsiteY1670" fmla="*/ 4015859 h 6407421"/>
              <a:gd name="connsiteX1671" fmla="*/ 8478226 w 11701760"/>
              <a:gd name="connsiteY1671" fmla="*/ 4015859 h 6407421"/>
              <a:gd name="connsiteX1672" fmla="*/ 8212137 w 11701760"/>
              <a:gd name="connsiteY1672" fmla="*/ 3986257 h 6407421"/>
              <a:gd name="connsiteX1673" fmla="*/ 8241740 w 11701760"/>
              <a:gd name="connsiteY1673" fmla="*/ 3986257 h 6407421"/>
              <a:gd name="connsiteX1674" fmla="*/ 8241740 w 11701760"/>
              <a:gd name="connsiteY1674" fmla="*/ 4015859 h 6407421"/>
              <a:gd name="connsiteX1675" fmla="*/ 8212137 w 11701760"/>
              <a:gd name="connsiteY1675" fmla="*/ 4015859 h 6407421"/>
              <a:gd name="connsiteX1676" fmla="*/ 7945940 w 11701760"/>
              <a:gd name="connsiteY1676" fmla="*/ 3986257 h 6407421"/>
              <a:gd name="connsiteX1677" fmla="*/ 7975543 w 11701760"/>
              <a:gd name="connsiteY1677" fmla="*/ 3986257 h 6407421"/>
              <a:gd name="connsiteX1678" fmla="*/ 7975543 w 11701760"/>
              <a:gd name="connsiteY1678" fmla="*/ 4015859 h 6407421"/>
              <a:gd name="connsiteX1679" fmla="*/ 7945940 w 11701760"/>
              <a:gd name="connsiteY1679" fmla="*/ 4015859 h 6407421"/>
              <a:gd name="connsiteX1680" fmla="*/ 7679743 w 11701760"/>
              <a:gd name="connsiteY1680" fmla="*/ 3986257 h 6407421"/>
              <a:gd name="connsiteX1681" fmla="*/ 7709346 w 11701760"/>
              <a:gd name="connsiteY1681" fmla="*/ 3986257 h 6407421"/>
              <a:gd name="connsiteX1682" fmla="*/ 7709346 w 11701760"/>
              <a:gd name="connsiteY1682" fmla="*/ 4015859 h 6407421"/>
              <a:gd name="connsiteX1683" fmla="*/ 7679743 w 11701760"/>
              <a:gd name="connsiteY1683" fmla="*/ 4015859 h 6407421"/>
              <a:gd name="connsiteX1684" fmla="*/ 7413653 w 11701760"/>
              <a:gd name="connsiteY1684" fmla="*/ 3986257 h 6407421"/>
              <a:gd name="connsiteX1685" fmla="*/ 7443256 w 11701760"/>
              <a:gd name="connsiteY1685" fmla="*/ 3986257 h 6407421"/>
              <a:gd name="connsiteX1686" fmla="*/ 7443256 w 11701760"/>
              <a:gd name="connsiteY1686" fmla="*/ 4015859 h 6407421"/>
              <a:gd name="connsiteX1687" fmla="*/ 7413653 w 11701760"/>
              <a:gd name="connsiteY1687" fmla="*/ 4015859 h 6407421"/>
              <a:gd name="connsiteX1688" fmla="*/ 7147456 w 11701760"/>
              <a:gd name="connsiteY1688" fmla="*/ 3986257 h 6407421"/>
              <a:gd name="connsiteX1689" fmla="*/ 7177058 w 11701760"/>
              <a:gd name="connsiteY1689" fmla="*/ 3986257 h 6407421"/>
              <a:gd name="connsiteX1690" fmla="*/ 7177058 w 11701760"/>
              <a:gd name="connsiteY1690" fmla="*/ 4015859 h 6407421"/>
              <a:gd name="connsiteX1691" fmla="*/ 7147456 w 11701760"/>
              <a:gd name="connsiteY1691" fmla="*/ 4015859 h 6407421"/>
              <a:gd name="connsiteX1692" fmla="*/ 6881367 w 11701760"/>
              <a:gd name="connsiteY1692" fmla="*/ 3986257 h 6407421"/>
              <a:gd name="connsiteX1693" fmla="*/ 6910970 w 11701760"/>
              <a:gd name="connsiteY1693" fmla="*/ 3986257 h 6407421"/>
              <a:gd name="connsiteX1694" fmla="*/ 6910970 w 11701760"/>
              <a:gd name="connsiteY1694" fmla="*/ 4015859 h 6407421"/>
              <a:gd name="connsiteX1695" fmla="*/ 6881367 w 11701760"/>
              <a:gd name="connsiteY1695" fmla="*/ 4015859 h 6407421"/>
              <a:gd name="connsiteX1696" fmla="*/ 6615170 w 11701760"/>
              <a:gd name="connsiteY1696" fmla="*/ 3986257 h 6407421"/>
              <a:gd name="connsiteX1697" fmla="*/ 6644773 w 11701760"/>
              <a:gd name="connsiteY1697" fmla="*/ 3986257 h 6407421"/>
              <a:gd name="connsiteX1698" fmla="*/ 6644773 w 11701760"/>
              <a:gd name="connsiteY1698" fmla="*/ 4015859 h 6407421"/>
              <a:gd name="connsiteX1699" fmla="*/ 6615170 w 11701760"/>
              <a:gd name="connsiteY1699" fmla="*/ 4015859 h 6407421"/>
              <a:gd name="connsiteX1700" fmla="*/ 6349081 w 11701760"/>
              <a:gd name="connsiteY1700" fmla="*/ 3986257 h 6407421"/>
              <a:gd name="connsiteX1701" fmla="*/ 6378683 w 11701760"/>
              <a:gd name="connsiteY1701" fmla="*/ 3986257 h 6407421"/>
              <a:gd name="connsiteX1702" fmla="*/ 6378683 w 11701760"/>
              <a:gd name="connsiteY1702" fmla="*/ 4015859 h 6407421"/>
              <a:gd name="connsiteX1703" fmla="*/ 6349081 w 11701760"/>
              <a:gd name="connsiteY1703" fmla="*/ 4015859 h 6407421"/>
              <a:gd name="connsiteX1704" fmla="*/ 6082884 w 11701760"/>
              <a:gd name="connsiteY1704" fmla="*/ 3986257 h 6407421"/>
              <a:gd name="connsiteX1705" fmla="*/ 6112486 w 11701760"/>
              <a:gd name="connsiteY1705" fmla="*/ 3986257 h 6407421"/>
              <a:gd name="connsiteX1706" fmla="*/ 6112486 w 11701760"/>
              <a:gd name="connsiteY1706" fmla="*/ 4015859 h 6407421"/>
              <a:gd name="connsiteX1707" fmla="*/ 6082884 w 11701760"/>
              <a:gd name="connsiteY1707" fmla="*/ 4015859 h 6407421"/>
              <a:gd name="connsiteX1708" fmla="*/ 5825310 w 11701760"/>
              <a:gd name="connsiteY1708" fmla="*/ 3986257 h 6407421"/>
              <a:gd name="connsiteX1709" fmla="*/ 5854913 w 11701760"/>
              <a:gd name="connsiteY1709" fmla="*/ 3986257 h 6407421"/>
              <a:gd name="connsiteX1710" fmla="*/ 5854913 w 11701760"/>
              <a:gd name="connsiteY1710" fmla="*/ 4015859 h 6407421"/>
              <a:gd name="connsiteX1711" fmla="*/ 5825310 w 11701760"/>
              <a:gd name="connsiteY1711" fmla="*/ 4015859 h 6407421"/>
              <a:gd name="connsiteX1712" fmla="*/ 5559113 w 11701760"/>
              <a:gd name="connsiteY1712" fmla="*/ 3986257 h 6407421"/>
              <a:gd name="connsiteX1713" fmla="*/ 5588715 w 11701760"/>
              <a:gd name="connsiteY1713" fmla="*/ 3986257 h 6407421"/>
              <a:gd name="connsiteX1714" fmla="*/ 5588715 w 11701760"/>
              <a:gd name="connsiteY1714" fmla="*/ 4015859 h 6407421"/>
              <a:gd name="connsiteX1715" fmla="*/ 5559113 w 11701760"/>
              <a:gd name="connsiteY1715" fmla="*/ 4015859 h 6407421"/>
              <a:gd name="connsiteX1716" fmla="*/ 5293024 w 11701760"/>
              <a:gd name="connsiteY1716" fmla="*/ 3986257 h 6407421"/>
              <a:gd name="connsiteX1717" fmla="*/ 5322626 w 11701760"/>
              <a:gd name="connsiteY1717" fmla="*/ 3986257 h 6407421"/>
              <a:gd name="connsiteX1718" fmla="*/ 5322626 w 11701760"/>
              <a:gd name="connsiteY1718" fmla="*/ 4015859 h 6407421"/>
              <a:gd name="connsiteX1719" fmla="*/ 5293024 w 11701760"/>
              <a:gd name="connsiteY1719" fmla="*/ 4015859 h 6407421"/>
              <a:gd name="connsiteX1720" fmla="*/ 5026827 w 11701760"/>
              <a:gd name="connsiteY1720" fmla="*/ 3986257 h 6407421"/>
              <a:gd name="connsiteX1721" fmla="*/ 5056429 w 11701760"/>
              <a:gd name="connsiteY1721" fmla="*/ 3986257 h 6407421"/>
              <a:gd name="connsiteX1722" fmla="*/ 5056429 w 11701760"/>
              <a:gd name="connsiteY1722" fmla="*/ 4015859 h 6407421"/>
              <a:gd name="connsiteX1723" fmla="*/ 5026827 w 11701760"/>
              <a:gd name="connsiteY1723" fmla="*/ 4015859 h 6407421"/>
              <a:gd name="connsiteX1724" fmla="*/ 4760630 w 11701760"/>
              <a:gd name="connsiteY1724" fmla="*/ 3986257 h 6407421"/>
              <a:gd name="connsiteX1725" fmla="*/ 4790340 w 11701760"/>
              <a:gd name="connsiteY1725" fmla="*/ 3986257 h 6407421"/>
              <a:gd name="connsiteX1726" fmla="*/ 4790340 w 11701760"/>
              <a:gd name="connsiteY1726" fmla="*/ 4015859 h 6407421"/>
              <a:gd name="connsiteX1727" fmla="*/ 4760630 w 11701760"/>
              <a:gd name="connsiteY1727" fmla="*/ 4015859 h 6407421"/>
              <a:gd name="connsiteX1728" fmla="*/ 4494541 w 11701760"/>
              <a:gd name="connsiteY1728" fmla="*/ 3986257 h 6407421"/>
              <a:gd name="connsiteX1729" fmla="*/ 4524144 w 11701760"/>
              <a:gd name="connsiteY1729" fmla="*/ 3986257 h 6407421"/>
              <a:gd name="connsiteX1730" fmla="*/ 4524144 w 11701760"/>
              <a:gd name="connsiteY1730" fmla="*/ 4015859 h 6407421"/>
              <a:gd name="connsiteX1731" fmla="*/ 4494541 w 11701760"/>
              <a:gd name="connsiteY1731" fmla="*/ 4015859 h 6407421"/>
              <a:gd name="connsiteX1732" fmla="*/ 4228344 w 11701760"/>
              <a:gd name="connsiteY1732" fmla="*/ 3986257 h 6407421"/>
              <a:gd name="connsiteX1733" fmla="*/ 4257946 w 11701760"/>
              <a:gd name="connsiteY1733" fmla="*/ 3986257 h 6407421"/>
              <a:gd name="connsiteX1734" fmla="*/ 4257946 w 11701760"/>
              <a:gd name="connsiteY1734" fmla="*/ 4015859 h 6407421"/>
              <a:gd name="connsiteX1735" fmla="*/ 4228344 w 11701760"/>
              <a:gd name="connsiteY1735" fmla="*/ 4015859 h 6407421"/>
              <a:gd name="connsiteX1736" fmla="*/ 3962255 w 11701760"/>
              <a:gd name="connsiteY1736" fmla="*/ 3986257 h 6407421"/>
              <a:gd name="connsiteX1737" fmla="*/ 3991857 w 11701760"/>
              <a:gd name="connsiteY1737" fmla="*/ 3986257 h 6407421"/>
              <a:gd name="connsiteX1738" fmla="*/ 3991857 w 11701760"/>
              <a:gd name="connsiteY1738" fmla="*/ 4015859 h 6407421"/>
              <a:gd name="connsiteX1739" fmla="*/ 3962255 w 11701760"/>
              <a:gd name="connsiteY1739" fmla="*/ 4015859 h 6407421"/>
              <a:gd name="connsiteX1740" fmla="*/ 3696058 w 11701760"/>
              <a:gd name="connsiteY1740" fmla="*/ 3986257 h 6407421"/>
              <a:gd name="connsiteX1741" fmla="*/ 3725661 w 11701760"/>
              <a:gd name="connsiteY1741" fmla="*/ 3986257 h 6407421"/>
              <a:gd name="connsiteX1742" fmla="*/ 3725661 w 11701760"/>
              <a:gd name="connsiteY1742" fmla="*/ 4015859 h 6407421"/>
              <a:gd name="connsiteX1743" fmla="*/ 3696058 w 11701760"/>
              <a:gd name="connsiteY1743" fmla="*/ 4015859 h 6407421"/>
              <a:gd name="connsiteX1744" fmla="*/ 3429969 w 11701760"/>
              <a:gd name="connsiteY1744" fmla="*/ 3986257 h 6407421"/>
              <a:gd name="connsiteX1745" fmla="*/ 3459572 w 11701760"/>
              <a:gd name="connsiteY1745" fmla="*/ 3986257 h 6407421"/>
              <a:gd name="connsiteX1746" fmla="*/ 3459572 w 11701760"/>
              <a:gd name="connsiteY1746" fmla="*/ 4015859 h 6407421"/>
              <a:gd name="connsiteX1747" fmla="*/ 3429969 w 11701760"/>
              <a:gd name="connsiteY1747" fmla="*/ 4015859 h 6407421"/>
              <a:gd name="connsiteX1748" fmla="*/ 3163772 w 11701760"/>
              <a:gd name="connsiteY1748" fmla="*/ 3986257 h 6407421"/>
              <a:gd name="connsiteX1749" fmla="*/ 3193374 w 11701760"/>
              <a:gd name="connsiteY1749" fmla="*/ 3986257 h 6407421"/>
              <a:gd name="connsiteX1750" fmla="*/ 3193374 w 11701760"/>
              <a:gd name="connsiteY1750" fmla="*/ 4015859 h 6407421"/>
              <a:gd name="connsiteX1751" fmla="*/ 3163772 w 11701760"/>
              <a:gd name="connsiteY1751" fmla="*/ 4015859 h 6407421"/>
              <a:gd name="connsiteX1752" fmla="*/ 2897575 w 11701760"/>
              <a:gd name="connsiteY1752" fmla="*/ 3986257 h 6407421"/>
              <a:gd name="connsiteX1753" fmla="*/ 2927178 w 11701760"/>
              <a:gd name="connsiteY1753" fmla="*/ 3986257 h 6407421"/>
              <a:gd name="connsiteX1754" fmla="*/ 2927178 w 11701760"/>
              <a:gd name="connsiteY1754" fmla="*/ 4015859 h 6407421"/>
              <a:gd name="connsiteX1755" fmla="*/ 2897575 w 11701760"/>
              <a:gd name="connsiteY1755" fmla="*/ 4015859 h 6407421"/>
              <a:gd name="connsiteX1756" fmla="*/ 2631378 w 11701760"/>
              <a:gd name="connsiteY1756" fmla="*/ 3986257 h 6407421"/>
              <a:gd name="connsiteX1757" fmla="*/ 2660980 w 11701760"/>
              <a:gd name="connsiteY1757" fmla="*/ 3986257 h 6407421"/>
              <a:gd name="connsiteX1758" fmla="*/ 2660980 w 11701760"/>
              <a:gd name="connsiteY1758" fmla="*/ 4015859 h 6407421"/>
              <a:gd name="connsiteX1759" fmla="*/ 2631378 w 11701760"/>
              <a:gd name="connsiteY1759" fmla="*/ 4015859 h 6407421"/>
              <a:gd name="connsiteX1760" fmla="*/ 2365289 w 11701760"/>
              <a:gd name="connsiteY1760" fmla="*/ 3986257 h 6407421"/>
              <a:gd name="connsiteX1761" fmla="*/ 2394892 w 11701760"/>
              <a:gd name="connsiteY1761" fmla="*/ 3986257 h 6407421"/>
              <a:gd name="connsiteX1762" fmla="*/ 2394892 w 11701760"/>
              <a:gd name="connsiteY1762" fmla="*/ 4015859 h 6407421"/>
              <a:gd name="connsiteX1763" fmla="*/ 2365289 w 11701760"/>
              <a:gd name="connsiteY1763" fmla="*/ 4015859 h 6407421"/>
              <a:gd name="connsiteX1764" fmla="*/ 2099092 w 11701760"/>
              <a:gd name="connsiteY1764" fmla="*/ 3986257 h 6407421"/>
              <a:gd name="connsiteX1765" fmla="*/ 2128695 w 11701760"/>
              <a:gd name="connsiteY1765" fmla="*/ 3986257 h 6407421"/>
              <a:gd name="connsiteX1766" fmla="*/ 2128695 w 11701760"/>
              <a:gd name="connsiteY1766" fmla="*/ 4015859 h 6407421"/>
              <a:gd name="connsiteX1767" fmla="*/ 2099092 w 11701760"/>
              <a:gd name="connsiteY1767" fmla="*/ 4015859 h 6407421"/>
              <a:gd name="connsiteX1768" fmla="*/ 1832898 w 11701760"/>
              <a:gd name="connsiteY1768" fmla="*/ 3986257 h 6407421"/>
              <a:gd name="connsiteX1769" fmla="*/ 1862498 w 11701760"/>
              <a:gd name="connsiteY1769" fmla="*/ 3986257 h 6407421"/>
              <a:gd name="connsiteX1770" fmla="*/ 1862498 w 11701760"/>
              <a:gd name="connsiteY1770" fmla="*/ 4015859 h 6407421"/>
              <a:gd name="connsiteX1771" fmla="*/ 1832898 w 11701760"/>
              <a:gd name="connsiteY1771" fmla="*/ 4015859 h 6407421"/>
              <a:gd name="connsiteX1772" fmla="*/ 1566808 w 11701760"/>
              <a:gd name="connsiteY1772" fmla="*/ 3986257 h 6407421"/>
              <a:gd name="connsiteX1773" fmla="*/ 1596409 w 11701760"/>
              <a:gd name="connsiteY1773" fmla="*/ 3986257 h 6407421"/>
              <a:gd name="connsiteX1774" fmla="*/ 1596409 w 11701760"/>
              <a:gd name="connsiteY1774" fmla="*/ 4015859 h 6407421"/>
              <a:gd name="connsiteX1775" fmla="*/ 1566808 w 11701760"/>
              <a:gd name="connsiteY1775" fmla="*/ 4015859 h 6407421"/>
              <a:gd name="connsiteX1776" fmla="*/ 1300611 w 11701760"/>
              <a:gd name="connsiteY1776" fmla="*/ 3986257 h 6407421"/>
              <a:gd name="connsiteX1777" fmla="*/ 1330213 w 11701760"/>
              <a:gd name="connsiteY1777" fmla="*/ 3986257 h 6407421"/>
              <a:gd name="connsiteX1778" fmla="*/ 1330213 w 11701760"/>
              <a:gd name="connsiteY1778" fmla="*/ 4015859 h 6407421"/>
              <a:gd name="connsiteX1779" fmla="*/ 1300611 w 11701760"/>
              <a:gd name="connsiteY1779" fmla="*/ 4015859 h 6407421"/>
              <a:gd name="connsiteX1780" fmla="*/ 1034520 w 11701760"/>
              <a:gd name="connsiteY1780" fmla="*/ 3986257 h 6407421"/>
              <a:gd name="connsiteX1781" fmla="*/ 1064123 w 11701760"/>
              <a:gd name="connsiteY1781" fmla="*/ 3986257 h 6407421"/>
              <a:gd name="connsiteX1782" fmla="*/ 1064123 w 11701760"/>
              <a:gd name="connsiteY1782" fmla="*/ 4015859 h 6407421"/>
              <a:gd name="connsiteX1783" fmla="*/ 1034520 w 11701760"/>
              <a:gd name="connsiteY1783" fmla="*/ 4015859 h 6407421"/>
              <a:gd name="connsiteX1784" fmla="*/ 768327 w 11701760"/>
              <a:gd name="connsiteY1784" fmla="*/ 3986257 h 6407421"/>
              <a:gd name="connsiteX1785" fmla="*/ 797926 w 11701760"/>
              <a:gd name="connsiteY1785" fmla="*/ 3986257 h 6407421"/>
              <a:gd name="connsiteX1786" fmla="*/ 797926 w 11701760"/>
              <a:gd name="connsiteY1786" fmla="*/ 4015859 h 6407421"/>
              <a:gd name="connsiteX1787" fmla="*/ 768327 w 11701760"/>
              <a:gd name="connsiteY1787" fmla="*/ 4015859 h 6407421"/>
              <a:gd name="connsiteX1788" fmla="*/ 502236 w 11701760"/>
              <a:gd name="connsiteY1788" fmla="*/ 3986257 h 6407421"/>
              <a:gd name="connsiteX1789" fmla="*/ 531839 w 11701760"/>
              <a:gd name="connsiteY1789" fmla="*/ 3986257 h 6407421"/>
              <a:gd name="connsiteX1790" fmla="*/ 531839 w 11701760"/>
              <a:gd name="connsiteY1790" fmla="*/ 4015859 h 6407421"/>
              <a:gd name="connsiteX1791" fmla="*/ 502236 w 11701760"/>
              <a:gd name="connsiteY1791" fmla="*/ 4015859 h 6407421"/>
              <a:gd name="connsiteX1792" fmla="*/ 236037 w 11701760"/>
              <a:gd name="connsiteY1792" fmla="*/ 3986257 h 6407421"/>
              <a:gd name="connsiteX1793" fmla="*/ 265640 w 11701760"/>
              <a:gd name="connsiteY1793" fmla="*/ 3986257 h 6407421"/>
              <a:gd name="connsiteX1794" fmla="*/ 265640 w 11701760"/>
              <a:gd name="connsiteY1794" fmla="*/ 4015859 h 6407421"/>
              <a:gd name="connsiteX1795" fmla="*/ 236037 w 11701760"/>
              <a:gd name="connsiteY1795" fmla="*/ 4015859 h 6407421"/>
              <a:gd name="connsiteX1796" fmla="*/ 1 w 11701760"/>
              <a:gd name="connsiteY1796" fmla="*/ 3986257 h 6407421"/>
              <a:gd name="connsiteX1797" fmla="*/ 29603 w 11701760"/>
              <a:gd name="connsiteY1797" fmla="*/ 3986257 h 6407421"/>
              <a:gd name="connsiteX1798" fmla="*/ 29603 w 11701760"/>
              <a:gd name="connsiteY1798" fmla="*/ 4015859 h 6407421"/>
              <a:gd name="connsiteX1799" fmla="*/ 1 w 11701760"/>
              <a:gd name="connsiteY1799" fmla="*/ 4015859 h 6407421"/>
              <a:gd name="connsiteX1800" fmla="*/ 11672158 w 11701760"/>
              <a:gd name="connsiteY1800" fmla="*/ 3720492 h 6407421"/>
              <a:gd name="connsiteX1801" fmla="*/ 11701760 w 11701760"/>
              <a:gd name="connsiteY1801" fmla="*/ 3720492 h 6407421"/>
              <a:gd name="connsiteX1802" fmla="*/ 11701760 w 11701760"/>
              <a:gd name="connsiteY1802" fmla="*/ 3750094 h 6407421"/>
              <a:gd name="connsiteX1803" fmla="*/ 11672158 w 11701760"/>
              <a:gd name="connsiteY1803" fmla="*/ 3750094 h 6407421"/>
              <a:gd name="connsiteX1804" fmla="*/ 11405961 w 11701760"/>
              <a:gd name="connsiteY1804" fmla="*/ 3720492 h 6407421"/>
              <a:gd name="connsiteX1805" fmla="*/ 11435563 w 11701760"/>
              <a:gd name="connsiteY1805" fmla="*/ 3720492 h 6407421"/>
              <a:gd name="connsiteX1806" fmla="*/ 11435563 w 11701760"/>
              <a:gd name="connsiteY1806" fmla="*/ 3750094 h 6407421"/>
              <a:gd name="connsiteX1807" fmla="*/ 11405961 w 11701760"/>
              <a:gd name="connsiteY1807" fmla="*/ 3750094 h 6407421"/>
              <a:gd name="connsiteX1808" fmla="*/ 11139872 w 11701760"/>
              <a:gd name="connsiteY1808" fmla="*/ 3720492 h 6407421"/>
              <a:gd name="connsiteX1809" fmla="*/ 11169474 w 11701760"/>
              <a:gd name="connsiteY1809" fmla="*/ 3720492 h 6407421"/>
              <a:gd name="connsiteX1810" fmla="*/ 11169474 w 11701760"/>
              <a:gd name="connsiteY1810" fmla="*/ 3750094 h 6407421"/>
              <a:gd name="connsiteX1811" fmla="*/ 11139872 w 11701760"/>
              <a:gd name="connsiteY1811" fmla="*/ 3750094 h 6407421"/>
              <a:gd name="connsiteX1812" fmla="*/ 10873675 w 11701760"/>
              <a:gd name="connsiteY1812" fmla="*/ 3720492 h 6407421"/>
              <a:gd name="connsiteX1813" fmla="*/ 10903277 w 11701760"/>
              <a:gd name="connsiteY1813" fmla="*/ 3720492 h 6407421"/>
              <a:gd name="connsiteX1814" fmla="*/ 10903277 w 11701760"/>
              <a:gd name="connsiteY1814" fmla="*/ 3750094 h 6407421"/>
              <a:gd name="connsiteX1815" fmla="*/ 10873675 w 11701760"/>
              <a:gd name="connsiteY1815" fmla="*/ 3750094 h 6407421"/>
              <a:gd name="connsiteX1816" fmla="*/ 10607478 w 11701760"/>
              <a:gd name="connsiteY1816" fmla="*/ 3720492 h 6407421"/>
              <a:gd name="connsiteX1817" fmla="*/ 10637188 w 11701760"/>
              <a:gd name="connsiteY1817" fmla="*/ 3720492 h 6407421"/>
              <a:gd name="connsiteX1818" fmla="*/ 10637188 w 11701760"/>
              <a:gd name="connsiteY1818" fmla="*/ 3750094 h 6407421"/>
              <a:gd name="connsiteX1819" fmla="*/ 10607478 w 11701760"/>
              <a:gd name="connsiteY1819" fmla="*/ 3750094 h 6407421"/>
              <a:gd name="connsiteX1820" fmla="*/ 10341389 w 11701760"/>
              <a:gd name="connsiteY1820" fmla="*/ 3720492 h 6407421"/>
              <a:gd name="connsiteX1821" fmla="*/ 10370992 w 11701760"/>
              <a:gd name="connsiteY1821" fmla="*/ 3720492 h 6407421"/>
              <a:gd name="connsiteX1822" fmla="*/ 10370992 w 11701760"/>
              <a:gd name="connsiteY1822" fmla="*/ 3750094 h 6407421"/>
              <a:gd name="connsiteX1823" fmla="*/ 10341389 w 11701760"/>
              <a:gd name="connsiteY1823" fmla="*/ 3750094 h 6407421"/>
              <a:gd name="connsiteX1824" fmla="*/ 10075192 w 11701760"/>
              <a:gd name="connsiteY1824" fmla="*/ 3720492 h 6407421"/>
              <a:gd name="connsiteX1825" fmla="*/ 10104794 w 11701760"/>
              <a:gd name="connsiteY1825" fmla="*/ 3720492 h 6407421"/>
              <a:gd name="connsiteX1826" fmla="*/ 10104794 w 11701760"/>
              <a:gd name="connsiteY1826" fmla="*/ 3750094 h 6407421"/>
              <a:gd name="connsiteX1827" fmla="*/ 10075192 w 11701760"/>
              <a:gd name="connsiteY1827" fmla="*/ 3750094 h 6407421"/>
              <a:gd name="connsiteX1828" fmla="*/ 9809103 w 11701760"/>
              <a:gd name="connsiteY1828" fmla="*/ 3720492 h 6407421"/>
              <a:gd name="connsiteX1829" fmla="*/ 9838705 w 11701760"/>
              <a:gd name="connsiteY1829" fmla="*/ 3720492 h 6407421"/>
              <a:gd name="connsiteX1830" fmla="*/ 9838705 w 11701760"/>
              <a:gd name="connsiteY1830" fmla="*/ 3750094 h 6407421"/>
              <a:gd name="connsiteX1831" fmla="*/ 9809103 w 11701760"/>
              <a:gd name="connsiteY1831" fmla="*/ 3750094 h 6407421"/>
              <a:gd name="connsiteX1832" fmla="*/ 9542906 w 11701760"/>
              <a:gd name="connsiteY1832" fmla="*/ 3720492 h 6407421"/>
              <a:gd name="connsiteX1833" fmla="*/ 9572509 w 11701760"/>
              <a:gd name="connsiteY1833" fmla="*/ 3720492 h 6407421"/>
              <a:gd name="connsiteX1834" fmla="*/ 9572509 w 11701760"/>
              <a:gd name="connsiteY1834" fmla="*/ 3750094 h 6407421"/>
              <a:gd name="connsiteX1835" fmla="*/ 9542906 w 11701760"/>
              <a:gd name="connsiteY1835" fmla="*/ 3750094 h 6407421"/>
              <a:gd name="connsiteX1836" fmla="*/ 9276817 w 11701760"/>
              <a:gd name="connsiteY1836" fmla="*/ 3720492 h 6407421"/>
              <a:gd name="connsiteX1837" fmla="*/ 9306420 w 11701760"/>
              <a:gd name="connsiteY1837" fmla="*/ 3720492 h 6407421"/>
              <a:gd name="connsiteX1838" fmla="*/ 9306420 w 11701760"/>
              <a:gd name="connsiteY1838" fmla="*/ 3750094 h 6407421"/>
              <a:gd name="connsiteX1839" fmla="*/ 9276817 w 11701760"/>
              <a:gd name="connsiteY1839" fmla="*/ 3750094 h 6407421"/>
              <a:gd name="connsiteX1840" fmla="*/ 9010620 w 11701760"/>
              <a:gd name="connsiteY1840" fmla="*/ 3720492 h 6407421"/>
              <a:gd name="connsiteX1841" fmla="*/ 9040222 w 11701760"/>
              <a:gd name="connsiteY1841" fmla="*/ 3720492 h 6407421"/>
              <a:gd name="connsiteX1842" fmla="*/ 9040222 w 11701760"/>
              <a:gd name="connsiteY1842" fmla="*/ 3750094 h 6407421"/>
              <a:gd name="connsiteX1843" fmla="*/ 9010620 w 11701760"/>
              <a:gd name="connsiteY1843" fmla="*/ 3750094 h 6407421"/>
              <a:gd name="connsiteX1844" fmla="*/ 8744423 w 11701760"/>
              <a:gd name="connsiteY1844" fmla="*/ 3720492 h 6407421"/>
              <a:gd name="connsiteX1845" fmla="*/ 8774026 w 11701760"/>
              <a:gd name="connsiteY1845" fmla="*/ 3720492 h 6407421"/>
              <a:gd name="connsiteX1846" fmla="*/ 8774026 w 11701760"/>
              <a:gd name="connsiteY1846" fmla="*/ 3750094 h 6407421"/>
              <a:gd name="connsiteX1847" fmla="*/ 8744423 w 11701760"/>
              <a:gd name="connsiteY1847" fmla="*/ 3750094 h 6407421"/>
              <a:gd name="connsiteX1848" fmla="*/ 8478226 w 11701760"/>
              <a:gd name="connsiteY1848" fmla="*/ 3720492 h 6407421"/>
              <a:gd name="connsiteX1849" fmla="*/ 8507828 w 11701760"/>
              <a:gd name="connsiteY1849" fmla="*/ 3720492 h 6407421"/>
              <a:gd name="connsiteX1850" fmla="*/ 8507828 w 11701760"/>
              <a:gd name="connsiteY1850" fmla="*/ 3750094 h 6407421"/>
              <a:gd name="connsiteX1851" fmla="*/ 8478226 w 11701760"/>
              <a:gd name="connsiteY1851" fmla="*/ 3750094 h 6407421"/>
              <a:gd name="connsiteX1852" fmla="*/ 8212137 w 11701760"/>
              <a:gd name="connsiteY1852" fmla="*/ 3720492 h 6407421"/>
              <a:gd name="connsiteX1853" fmla="*/ 8241740 w 11701760"/>
              <a:gd name="connsiteY1853" fmla="*/ 3720492 h 6407421"/>
              <a:gd name="connsiteX1854" fmla="*/ 8241740 w 11701760"/>
              <a:gd name="connsiteY1854" fmla="*/ 3750094 h 6407421"/>
              <a:gd name="connsiteX1855" fmla="*/ 8212137 w 11701760"/>
              <a:gd name="connsiteY1855" fmla="*/ 3750094 h 6407421"/>
              <a:gd name="connsiteX1856" fmla="*/ 7945940 w 11701760"/>
              <a:gd name="connsiteY1856" fmla="*/ 3720492 h 6407421"/>
              <a:gd name="connsiteX1857" fmla="*/ 7975543 w 11701760"/>
              <a:gd name="connsiteY1857" fmla="*/ 3720492 h 6407421"/>
              <a:gd name="connsiteX1858" fmla="*/ 7975543 w 11701760"/>
              <a:gd name="connsiteY1858" fmla="*/ 3750094 h 6407421"/>
              <a:gd name="connsiteX1859" fmla="*/ 7945940 w 11701760"/>
              <a:gd name="connsiteY1859" fmla="*/ 3750094 h 6407421"/>
              <a:gd name="connsiteX1860" fmla="*/ 7679743 w 11701760"/>
              <a:gd name="connsiteY1860" fmla="*/ 3720492 h 6407421"/>
              <a:gd name="connsiteX1861" fmla="*/ 7709346 w 11701760"/>
              <a:gd name="connsiteY1861" fmla="*/ 3720492 h 6407421"/>
              <a:gd name="connsiteX1862" fmla="*/ 7709346 w 11701760"/>
              <a:gd name="connsiteY1862" fmla="*/ 3750094 h 6407421"/>
              <a:gd name="connsiteX1863" fmla="*/ 7679743 w 11701760"/>
              <a:gd name="connsiteY1863" fmla="*/ 3750094 h 6407421"/>
              <a:gd name="connsiteX1864" fmla="*/ 7413653 w 11701760"/>
              <a:gd name="connsiteY1864" fmla="*/ 3720492 h 6407421"/>
              <a:gd name="connsiteX1865" fmla="*/ 7443256 w 11701760"/>
              <a:gd name="connsiteY1865" fmla="*/ 3720492 h 6407421"/>
              <a:gd name="connsiteX1866" fmla="*/ 7443256 w 11701760"/>
              <a:gd name="connsiteY1866" fmla="*/ 3750094 h 6407421"/>
              <a:gd name="connsiteX1867" fmla="*/ 7413653 w 11701760"/>
              <a:gd name="connsiteY1867" fmla="*/ 3750094 h 6407421"/>
              <a:gd name="connsiteX1868" fmla="*/ 7147456 w 11701760"/>
              <a:gd name="connsiteY1868" fmla="*/ 3720492 h 6407421"/>
              <a:gd name="connsiteX1869" fmla="*/ 7177058 w 11701760"/>
              <a:gd name="connsiteY1869" fmla="*/ 3720492 h 6407421"/>
              <a:gd name="connsiteX1870" fmla="*/ 7177058 w 11701760"/>
              <a:gd name="connsiteY1870" fmla="*/ 3750094 h 6407421"/>
              <a:gd name="connsiteX1871" fmla="*/ 7147456 w 11701760"/>
              <a:gd name="connsiteY1871" fmla="*/ 3750094 h 6407421"/>
              <a:gd name="connsiteX1872" fmla="*/ 6881367 w 11701760"/>
              <a:gd name="connsiteY1872" fmla="*/ 3720492 h 6407421"/>
              <a:gd name="connsiteX1873" fmla="*/ 6910970 w 11701760"/>
              <a:gd name="connsiteY1873" fmla="*/ 3720492 h 6407421"/>
              <a:gd name="connsiteX1874" fmla="*/ 6910970 w 11701760"/>
              <a:gd name="connsiteY1874" fmla="*/ 3750094 h 6407421"/>
              <a:gd name="connsiteX1875" fmla="*/ 6881367 w 11701760"/>
              <a:gd name="connsiteY1875" fmla="*/ 3750094 h 6407421"/>
              <a:gd name="connsiteX1876" fmla="*/ 6615170 w 11701760"/>
              <a:gd name="connsiteY1876" fmla="*/ 3720492 h 6407421"/>
              <a:gd name="connsiteX1877" fmla="*/ 6644773 w 11701760"/>
              <a:gd name="connsiteY1877" fmla="*/ 3720492 h 6407421"/>
              <a:gd name="connsiteX1878" fmla="*/ 6644773 w 11701760"/>
              <a:gd name="connsiteY1878" fmla="*/ 3750094 h 6407421"/>
              <a:gd name="connsiteX1879" fmla="*/ 6615170 w 11701760"/>
              <a:gd name="connsiteY1879" fmla="*/ 3750094 h 6407421"/>
              <a:gd name="connsiteX1880" fmla="*/ 6349081 w 11701760"/>
              <a:gd name="connsiteY1880" fmla="*/ 3720492 h 6407421"/>
              <a:gd name="connsiteX1881" fmla="*/ 6378683 w 11701760"/>
              <a:gd name="connsiteY1881" fmla="*/ 3720492 h 6407421"/>
              <a:gd name="connsiteX1882" fmla="*/ 6378683 w 11701760"/>
              <a:gd name="connsiteY1882" fmla="*/ 3750094 h 6407421"/>
              <a:gd name="connsiteX1883" fmla="*/ 6349081 w 11701760"/>
              <a:gd name="connsiteY1883" fmla="*/ 3750094 h 6407421"/>
              <a:gd name="connsiteX1884" fmla="*/ 6082884 w 11701760"/>
              <a:gd name="connsiteY1884" fmla="*/ 3720492 h 6407421"/>
              <a:gd name="connsiteX1885" fmla="*/ 6112486 w 11701760"/>
              <a:gd name="connsiteY1885" fmla="*/ 3720492 h 6407421"/>
              <a:gd name="connsiteX1886" fmla="*/ 6112486 w 11701760"/>
              <a:gd name="connsiteY1886" fmla="*/ 3750094 h 6407421"/>
              <a:gd name="connsiteX1887" fmla="*/ 6082884 w 11701760"/>
              <a:gd name="connsiteY1887" fmla="*/ 3750094 h 6407421"/>
              <a:gd name="connsiteX1888" fmla="*/ 5825310 w 11701760"/>
              <a:gd name="connsiteY1888" fmla="*/ 3720492 h 6407421"/>
              <a:gd name="connsiteX1889" fmla="*/ 5854913 w 11701760"/>
              <a:gd name="connsiteY1889" fmla="*/ 3720492 h 6407421"/>
              <a:gd name="connsiteX1890" fmla="*/ 5854913 w 11701760"/>
              <a:gd name="connsiteY1890" fmla="*/ 3750094 h 6407421"/>
              <a:gd name="connsiteX1891" fmla="*/ 5825310 w 11701760"/>
              <a:gd name="connsiteY1891" fmla="*/ 3750094 h 6407421"/>
              <a:gd name="connsiteX1892" fmla="*/ 5559113 w 11701760"/>
              <a:gd name="connsiteY1892" fmla="*/ 3720492 h 6407421"/>
              <a:gd name="connsiteX1893" fmla="*/ 5588715 w 11701760"/>
              <a:gd name="connsiteY1893" fmla="*/ 3720492 h 6407421"/>
              <a:gd name="connsiteX1894" fmla="*/ 5588715 w 11701760"/>
              <a:gd name="connsiteY1894" fmla="*/ 3750094 h 6407421"/>
              <a:gd name="connsiteX1895" fmla="*/ 5559113 w 11701760"/>
              <a:gd name="connsiteY1895" fmla="*/ 3750094 h 6407421"/>
              <a:gd name="connsiteX1896" fmla="*/ 5293024 w 11701760"/>
              <a:gd name="connsiteY1896" fmla="*/ 3720492 h 6407421"/>
              <a:gd name="connsiteX1897" fmla="*/ 5322626 w 11701760"/>
              <a:gd name="connsiteY1897" fmla="*/ 3720492 h 6407421"/>
              <a:gd name="connsiteX1898" fmla="*/ 5322626 w 11701760"/>
              <a:gd name="connsiteY1898" fmla="*/ 3750094 h 6407421"/>
              <a:gd name="connsiteX1899" fmla="*/ 5293024 w 11701760"/>
              <a:gd name="connsiteY1899" fmla="*/ 3750094 h 6407421"/>
              <a:gd name="connsiteX1900" fmla="*/ 5026827 w 11701760"/>
              <a:gd name="connsiteY1900" fmla="*/ 3720492 h 6407421"/>
              <a:gd name="connsiteX1901" fmla="*/ 5056429 w 11701760"/>
              <a:gd name="connsiteY1901" fmla="*/ 3720492 h 6407421"/>
              <a:gd name="connsiteX1902" fmla="*/ 5056429 w 11701760"/>
              <a:gd name="connsiteY1902" fmla="*/ 3750094 h 6407421"/>
              <a:gd name="connsiteX1903" fmla="*/ 5026827 w 11701760"/>
              <a:gd name="connsiteY1903" fmla="*/ 3750094 h 6407421"/>
              <a:gd name="connsiteX1904" fmla="*/ 4760630 w 11701760"/>
              <a:gd name="connsiteY1904" fmla="*/ 3720492 h 6407421"/>
              <a:gd name="connsiteX1905" fmla="*/ 4790340 w 11701760"/>
              <a:gd name="connsiteY1905" fmla="*/ 3720492 h 6407421"/>
              <a:gd name="connsiteX1906" fmla="*/ 4790340 w 11701760"/>
              <a:gd name="connsiteY1906" fmla="*/ 3750094 h 6407421"/>
              <a:gd name="connsiteX1907" fmla="*/ 4760630 w 11701760"/>
              <a:gd name="connsiteY1907" fmla="*/ 3750094 h 6407421"/>
              <a:gd name="connsiteX1908" fmla="*/ 4494541 w 11701760"/>
              <a:gd name="connsiteY1908" fmla="*/ 3720492 h 6407421"/>
              <a:gd name="connsiteX1909" fmla="*/ 4524144 w 11701760"/>
              <a:gd name="connsiteY1909" fmla="*/ 3720492 h 6407421"/>
              <a:gd name="connsiteX1910" fmla="*/ 4524144 w 11701760"/>
              <a:gd name="connsiteY1910" fmla="*/ 3750094 h 6407421"/>
              <a:gd name="connsiteX1911" fmla="*/ 4494541 w 11701760"/>
              <a:gd name="connsiteY1911" fmla="*/ 3750094 h 6407421"/>
              <a:gd name="connsiteX1912" fmla="*/ 4228344 w 11701760"/>
              <a:gd name="connsiteY1912" fmla="*/ 3720492 h 6407421"/>
              <a:gd name="connsiteX1913" fmla="*/ 4257946 w 11701760"/>
              <a:gd name="connsiteY1913" fmla="*/ 3720492 h 6407421"/>
              <a:gd name="connsiteX1914" fmla="*/ 4257946 w 11701760"/>
              <a:gd name="connsiteY1914" fmla="*/ 3750094 h 6407421"/>
              <a:gd name="connsiteX1915" fmla="*/ 4228344 w 11701760"/>
              <a:gd name="connsiteY1915" fmla="*/ 3750094 h 6407421"/>
              <a:gd name="connsiteX1916" fmla="*/ 3962255 w 11701760"/>
              <a:gd name="connsiteY1916" fmla="*/ 3720492 h 6407421"/>
              <a:gd name="connsiteX1917" fmla="*/ 3991857 w 11701760"/>
              <a:gd name="connsiteY1917" fmla="*/ 3720492 h 6407421"/>
              <a:gd name="connsiteX1918" fmla="*/ 3991857 w 11701760"/>
              <a:gd name="connsiteY1918" fmla="*/ 3750094 h 6407421"/>
              <a:gd name="connsiteX1919" fmla="*/ 3962255 w 11701760"/>
              <a:gd name="connsiteY1919" fmla="*/ 3750094 h 6407421"/>
              <a:gd name="connsiteX1920" fmla="*/ 3696058 w 11701760"/>
              <a:gd name="connsiteY1920" fmla="*/ 3720492 h 6407421"/>
              <a:gd name="connsiteX1921" fmla="*/ 3725661 w 11701760"/>
              <a:gd name="connsiteY1921" fmla="*/ 3720492 h 6407421"/>
              <a:gd name="connsiteX1922" fmla="*/ 3725661 w 11701760"/>
              <a:gd name="connsiteY1922" fmla="*/ 3750094 h 6407421"/>
              <a:gd name="connsiteX1923" fmla="*/ 3696058 w 11701760"/>
              <a:gd name="connsiteY1923" fmla="*/ 3750094 h 6407421"/>
              <a:gd name="connsiteX1924" fmla="*/ 3429969 w 11701760"/>
              <a:gd name="connsiteY1924" fmla="*/ 3720492 h 6407421"/>
              <a:gd name="connsiteX1925" fmla="*/ 3459572 w 11701760"/>
              <a:gd name="connsiteY1925" fmla="*/ 3720492 h 6407421"/>
              <a:gd name="connsiteX1926" fmla="*/ 3459572 w 11701760"/>
              <a:gd name="connsiteY1926" fmla="*/ 3750094 h 6407421"/>
              <a:gd name="connsiteX1927" fmla="*/ 3429969 w 11701760"/>
              <a:gd name="connsiteY1927" fmla="*/ 3750094 h 6407421"/>
              <a:gd name="connsiteX1928" fmla="*/ 3163772 w 11701760"/>
              <a:gd name="connsiteY1928" fmla="*/ 3720492 h 6407421"/>
              <a:gd name="connsiteX1929" fmla="*/ 3193374 w 11701760"/>
              <a:gd name="connsiteY1929" fmla="*/ 3720492 h 6407421"/>
              <a:gd name="connsiteX1930" fmla="*/ 3193374 w 11701760"/>
              <a:gd name="connsiteY1930" fmla="*/ 3750094 h 6407421"/>
              <a:gd name="connsiteX1931" fmla="*/ 3163772 w 11701760"/>
              <a:gd name="connsiteY1931" fmla="*/ 3750094 h 6407421"/>
              <a:gd name="connsiteX1932" fmla="*/ 2897575 w 11701760"/>
              <a:gd name="connsiteY1932" fmla="*/ 3720492 h 6407421"/>
              <a:gd name="connsiteX1933" fmla="*/ 2927178 w 11701760"/>
              <a:gd name="connsiteY1933" fmla="*/ 3720492 h 6407421"/>
              <a:gd name="connsiteX1934" fmla="*/ 2927178 w 11701760"/>
              <a:gd name="connsiteY1934" fmla="*/ 3750094 h 6407421"/>
              <a:gd name="connsiteX1935" fmla="*/ 2897575 w 11701760"/>
              <a:gd name="connsiteY1935" fmla="*/ 3750094 h 6407421"/>
              <a:gd name="connsiteX1936" fmla="*/ 2631378 w 11701760"/>
              <a:gd name="connsiteY1936" fmla="*/ 3720492 h 6407421"/>
              <a:gd name="connsiteX1937" fmla="*/ 2660980 w 11701760"/>
              <a:gd name="connsiteY1937" fmla="*/ 3720492 h 6407421"/>
              <a:gd name="connsiteX1938" fmla="*/ 2660980 w 11701760"/>
              <a:gd name="connsiteY1938" fmla="*/ 3750094 h 6407421"/>
              <a:gd name="connsiteX1939" fmla="*/ 2631378 w 11701760"/>
              <a:gd name="connsiteY1939" fmla="*/ 3750094 h 6407421"/>
              <a:gd name="connsiteX1940" fmla="*/ 2365289 w 11701760"/>
              <a:gd name="connsiteY1940" fmla="*/ 3720492 h 6407421"/>
              <a:gd name="connsiteX1941" fmla="*/ 2394892 w 11701760"/>
              <a:gd name="connsiteY1941" fmla="*/ 3720492 h 6407421"/>
              <a:gd name="connsiteX1942" fmla="*/ 2394892 w 11701760"/>
              <a:gd name="connsiteY1942" fmla="*/ 3750094 h 6407421"/>
              <a:gd name="connsiteX1943" fmla="*/ 2365289 w 11701760"/>
              <a:gd name="connsiteY1943" fmla="*/ 3750094 h 6407421"/>
              <a:gd name="connsiteX1944" fmla="*/ 2099092 w 11701760"/>
              <a:gd name="connsiteY1944" fmla="*/ 3720492 h 6407421"/>
              <a:gd name="connsiteX1945" fmla="*/ 2128695 w 11701760"/>
              <a:gd name="connsiteY1945" fmla="*/ 3720492 h 6407421"/>
              <a:gd name="connsiteX1946" fmla="*/ 2128695 w 11701760"/>
              <a:gd name="connsiteY1946" fmla="*/ 3750094 h 6407421"/>
              <a:gd name="connsiteX1947" fmla="*/ 2099092 w 11701760"/>
              <a:gd name="connsiteY1947" fmla="*/ 3750094 h 6407421"/>
              <a:gd name="connsiteX1948" fmla="*/ 1832898 w 11701760"/>
              <a:gd name="connsiteY1948" fmla="*/ 3720492 h 6407421"/>
              <a:gd name="connsiteX1949" fmla="*/ 1862498 w 11701760"/>
              <a:gd name="connsiteY1949" fmla="*/ 3720492 h 6407421"/>
              <a:gd name="connsiteX1950" fmla="*/ 1862498 w 11701760"/>
              <a:gd name="connsiteY1950" fmla="*/ 3750094 h 6407421"/>
              <a:gd name="connsiteX1951" fmla="*/ 1832898 w 11701760"/>
              <a:gd name="connsiteY1951" fmla="*/ 3750094 h 6407421"/>
              <a:gd name="connsiteX1952" fmla="*/ 1566808 w 11701760"/>
              <a:gd name="connsiteY1952" fmla="*/ 3720492 h 6407421"/>
              <a:gd name="connsiteX1953" fmla="*/ 1596409 w 11701760"/>
              <a:gd name="connsiteY1953" fmla="*/ 3720492 h 6407421"/>
              <a:gd name="connsiteX1954" fmla="*/ 1596409 w 11701760"/>
              <a:gd name="connsiteY1954" fmla="*/ 3750094 h 6407421"/>
              <a:gd name="connsiteX1955" fmla="*/ 1566808 w 11701760"/>
              <a:gd name="connsiteY1955" fmla="*/ 3750094 h 6407421"/>
              <a:gd name="connsiteX1956" fmla="*/ 1300611 w 11701760"/>
              <a:gd name="connsiteY1956" fmla="*/ 3720492 h 6407421"/>
              <a:gd name="connsiteX1957" fmla="*/ 1330213 w 11701760"/>
              <a:gd name="connsiteY1957" fmla="*/ 3720492 h 6407421"/>
              <a:gd name="connsiteX1958" fmla="*/ 1330213 w 11701760"/>
              <a:gd name="connsiteY1958" fmla="*/ 3750094 h 6407421"/>
              <a:gd name="connsiteX1959" fmla="*/ 1300611 w 11701760"/>
              <a:gd name="connsiteY1959" fmla="*/ 3750094 h 6407421"/>
              <a:gd name="connsiteX1960" fmla="*/ 1034520 w 11701760"/>
              <a:gd name="connsiteY1960" fmla="*/ 3720492 h 6407421"/>
              <a:gd name="connsiteX1961" fmla="*/ 1064123 w 11701760"/>
              <a:gd name="connsiteY1961" fmla="*/ 3720492 h 6407421"/>
              <a:gd name="connsiteX1962" fmla="*/ 1064123 w 11701760"/>
              <a:gd name="connsiteY1962" fmla="*/ 3750094 h 6407421"/>
              <a:gd name="connsiteX1963" fmla="*/ 1034520 w 11701760"/>
              <a:gd name="connsiteY1963" fmla="*/ 3750094 h 6407421"/>
              <a:gd name="connsiteX1964" fmla="*/ 768327 w 11701760"/>
              <a:gd name="connsiteY1964" fmla="*/ 3720492 h 6407421"/>
              <a:gd name="connsiteX1965" fmla="*/ 797926 w 11701760"/>
              <a:gd name="connsiteY1965" fmla="*/ 3720492 h 6407421"/>
              <a:gd name="connsiteX1966" fmla="*/ 797926 w 11701760"/>
              <a:gd name="connsiteY1966" fmla="*/ 3750094 h 6407421"/>
              <a:gd name="connsiteX1967" fmla="*/ 768327 w 11701760"/>
              <a:gd name="connsiteY1967" fmla="*/ 3750094 h 6407421"/>
              <a:gd name="connsiteX1968" fmla="*/ 502236 w 11701760"/>
              <a:gd name="connsiteY1968" fmla="*/ 3720492 h 6407421"/>
              <a:gd name="connsiteX1969" fmla="*/ 531839 w 11701760"/>
              <a:gd name="connsiteY1969" fmla="*/ 3720492 h 6407421"/>
              <a:gd name="connsiteX1970" fmla="*/ 531839 w 11701760"/>
              <a:gd name="connsiteY1970" fmla="*/ 3750094 h 6407421"/>
              <a:gd name="connsiteX1971" fmla="*/ 502236 w 11701760"/>
              <a:gd name="connsiteY1971" fmla="*/ 3750094 h 6407421"/>
              <a:gd name="connsiteX1972" fmla="*/ 236037 w 11701760"/>
              <a:gd name="connsiteY1972" fmla="*/ 3720492 h 6407421"/>
              <a:gd name="connsiteX1973" fmla="*/ 265640 w 11701760"/>
              <a:gd name="connsiteY1973" fmla="*/ 3720492 h 6407421"/>
              <a:gd name="connsiteX1974" fmla="*/ 265640 w 11701760"/>
              <a:gd name="connsiteY1974" fmla="*/ 3750094 h 6407421"/>
              <a:gd name="connsiteX1975" fmla="*/ 236037 w 11701760"/>
              <a:gd name="connsiteY1975" fmla="*/ 3750094 h 6407421"/>
              <a:gd name="connsiteX1976" fmla="*/ 1 w 11701760"/>
              <a:gd name="connsiteY1976" fmla="*/ 3720492 h 6407421"/>
              <a:gd name="connsiteX1977" fmla="*/ 29603 w 11701760"/>
              <a:gd name="connsiteY1977" fmla="*/ 3720492 h 6407421"/>
              <a:gd name="connsiteX1978" fmla="*/ 29603 w 11701760"/>
              <a:gd name="connsiteY1978" fmla="*/ 3750094 h 6407421"/>
              <a:gd name="connsiteX1979" fmla="*/ 1 w 11701760"/>
              <a:gd name="connsiteY1979" fmla="*/ 3750094 h 6407421"/>
              <a:gd name="connsiteX1980" fmla="*/ 11672158 w 11701760"/>
              <a:gd name="connsiteY1980" fmla="*/ 3454727 h 6407421"/>
              <a:gd name="connsiteX1981" fmla="*/ 11701760 w 11701760"/>
              <a:gd name="connsiteY1981" fmla="*/ 3454727 h 6407421"/>
              <a:gd name="connsiteX1982" fmla="*/ 11701760 w 11701760"/>
              <a:gd name="connsiteY1982" fmla="*/ 3484330 h 6407421"/>
              <a:gd name="connsiteX1983" fmla="*/ 11672158 w 11701760"/>
              <a:gd name="connsiteY1983" fmla="*/ 3484330 h 6407421"/>
              <a:gd name="connsiteX1984" fmla="*/ 11405961 w 11701760"/>
              <a:gd name="connsiteY1984" fmla="*/ 3454727 h 6407421"/>
              <a:gd name="connsiteX1985" fmla="*/ 11435563 w 11701760"/>
              <a:gd name="connsiteY1985" fmla="*/ 3454727 h 6407421"/>
              <a:gd name="connsiteX1986" fmla="*/ 11435563 w 11701760"/>
              <a:gd name="connsiteY1986" fmla="*/ 3484330 h 6407421"/>
              <a:gd name="connsiteX1987" fmla="*/ 11405961 w 11701760"/>
              <a:gd name="connsiteY1987" fmla="*/ 3484330 h 6407421"/>
              <a:gd name="connsiteX1988" fmla="*/ 11139872 w 11701760"/>
              <a:gd name="connsiteY1988" fmla="*/ 3454727 h 6407421"/>
              <a:gd name="connsiteX1989" fmla="*/ 11169474 w 11701760"/>
              <a:gd name="connsiteY1989" fmla="*/ 3454727 h 6407421"/>
              <a:gd name="connsiteX1990" fmla="*/ 11169474 w 11701760"/>
              <a:gd name="connsiteY1990" fmla="*/ 3484330 h 6407421"/>
              <a:gd name="connsiteX1991" fmla="*/ 11139872 w 11701760"/>
              <a:gd name="connsiteY1991" fmla="*/ 3484330 h 6407421"/>
              <a:gd name="connsiteX1992" fmla="*/ 10873675 w 11701760"/>
              <a:gd name="connsiteY1992" fmla="*/ 3454727 h 6407421"/>
              <a:gd name="connsiteX1993" fmla="*/ 10903277 w 11701760"/>
              <a:gd name="connsiteY1993" fmla="*/ 3454727 h 6407421"/>
              <a:gd name="connsiteX1994" fmla="*/ 10903277 w 11701760"/>
              <a:gd name="connsiteY1994" fmla="*/ 3484330 h 6407421"/>
              <a:gd name="connsiteX1995" fmla="*/ 10873675 w 11701760"/>
              <a:gd name="connsiteY1995" fmla="*/ 3484330 h 6407421"/>
              <a:gd name="connsiteX1996" fmla="*/ 10607478 w 11701760"/>
              <a:gd name="connsiteY1996" fmla="*/ 3454727 h 6407421"/>
              <a:gd name="connsiteX1997" fmla="*/ 10637188 w 11701760"/>
              <a:gd name="connsiteY1997" fmla="*/ 3454727 h 6407421"/>
              <a:gd name="connsiteX1998" fmla="*/ 10637188 w 11701760"/>
              <a:gd name="connsiteY1998" fmla="*/ 3484330 h 6407421"/>
              <a:gd name="connsiteX1999" fmla="*/ 10607478 w 11701760"/>
              <a:gd name="connsiteY1999" fmla="*/ 3484330 h 6407421"/>
              <a:gd name="connsiteX2000" fmla="*/ 10341389 w 11701760"/>
              <a:gd name="connsiteY2000" fmla="*/ 3454727 h 6407421"/>
              <a:gd name="connsiteX2001" fmla="*/ 10370992 w 11701760"/>
              <a:gd name="connsiteY2001" fmla="*/ 3454727 h 6407421"/>
              <a:gd name="connsiteX2002" fmla="*/ 10370992 w 11701760"/>
              <a:gd name="connsiteY2002" fmla="*/ 3484330 h 6407421"/>
              <a:gd name="connsiteX2003" fmla="*/ 10341389 w 11701760"/>
              <a:gd name="connsiteY2003" fmla="*/ 3484330 h 6407421"/>
              <a:gd name="connsiteX2004" fmla="*/ 10075192 w 11701760"/>
              <a:gd name="connsiteY2004" fmla="*/ 3454727 h 6407421"/>
              <a:gd name="connsiteX2005" fmla="*/ 10104794 w 11701760"/>
              <a:gd name="connsiteY2005" fmla="*/ 3454727 h 6407421"/>
              <a:gd name="connsiteX2006" fmla="*/ 10104794 w 11701760"/>
              <a:gd name="connsiteY2006" fmla="*/ 3484330 h 6407421"/>
              <a:gd name="connsiteX2007" fmla="*/ 10075192 w 11701760"/>
              <a:gd name="connsiteY2007" fmla="*/ 3484330 h 6407421"/>
              <a:gd name="connsiteX2008" fmla="*/ 9809103 w 11701760"/>
              <a:gd name="connsiteY2008" fmla="*/ 3454727 h 6407421"/>
              <a:gd name="connsiteX2009" fmla="*/ 9838705 w 11701760"/>
              <a:gd name="connsiteY2009" fmla="*/ 3454727 h 6407421"/>
              <a:gd name="connsiteX2010" fmla="*/ 9838705 w 11701760"/>
              <a:gd name="connsiteY2010" fmla="*/ 3484330 h 6407421"/>
              <a:gd name="connsiteX2011" fmla="*/ 9809103 w 11701760"/>
              <a:gd name="connsiteY2011" fmla="*/ 3484330 h 6407421"/>
              <a:gd name="connsiteX2012" fmla="*/ 9542906 w 11701760"/>
              <a:gd name="connsiteY2012" fmla="*/ 3454727 h 6407421"/>
              <a:gd name="connsiteX2013" fmla="*/ 9572509 w 11701760"/>
              <a:gd name="connsiteY2013" fmla="*/ 3454727 h 6407421"/>
              <a:gd name="connsiteX2014" fmla="*/ 9572509 w 11701760"/>
              <a:gd name="connsiteY2014" fmla="*/ 3484330 h 6407421"/>
              <a:gd name="connsiteX2015" fmla="*/ 9542906 w 11701760"/>
              <a:gd name="connsiteY2015" fmla="*/ 3484330 h 6407421"/>
              <a:gd name="connsiteX2016" fmla="*/ 9276817 w 11701760"/>
              <a:gd name="connsiteY2016" fmla="*/ 3454727 h 6407421"/>
              <a:gd name="connsiteX2017" fmla="*/ 9306420 w 11701760"/>
              <a:gd name="connsiteY2017" fmla="*/ 3454727 h 6407421"/>
              <a:gd name="connsiteX2018" fmla="*/ 9306420 w 11701760"/>
              <a:gd name="connsiteY2018" fmla="*/ 3484330 h 6407421"/>
              <a:gd name="connsiteX2019" fmla="*/ 9276817 w 11701760"/>
              <a:gd name="connsiteY2019" fmla="*/ 3484330 h 6407421"/>
              <a:gd name="connsiteX2020" fmla="*/ 9010620 w 11701760"/>
              <a:gd name="connsiteY2020" fmla="*/ 3454727 h 6407421"/>
              <a:gd name="connsiteX2021" fmla="*/ 9040222 w 11701760"/>
              <a:gd name="connsiteY2021" fmla="*/ 3454727 h 6407421"/>
              <a:gd name="connsiteX2022" fmla="*/ 9040222 w 11701760"/>
              <a:gd name="connsiteY2022" fmla="*/ 3484330 h 6407421"/>
              <a:gd name="connsiteX2023" fmla="*/ 9010620 w 11701760"/>
              <a:gd name="connsiteY2023" fmla="*/ 3484330 h 6407421"/>
              <a:gd name="connsiteX2024" fmla="*/ 8744423 w 11701760"/>
              <a:gd name="connsiteY2024" fmla="*/ 3454727 h 6407421"/>
              <a:gd name="connsiteX2025" fmla="*/ 8774026 w 11701760"/>
              <a:gd name="connsiteY2025" fmla="*/ 3454727 h 6407421"/>
              <a:gd name="connsiteX2026" fmla="*/ 8774026 w 11701760"/>
              <a:gd name="connsiteY2026" fmla="*/ 3484330 h 6407421"/>
              <a:gd name="connsiteX2027" fmla="*/ 8744423 w 11701760"/>
              <a:gd name="connsiteY2027" fmla="*/ 3484330 h 6407421"/>
              <a:gd name="connsiteX2028" fmla="*/ 8478226 w 11701760"/>
              <a:gd name="connsiteY2028" fmla="*/ 3454727 h 6407421"/>
              <a:gd name="connsiteX2029" fmla="*/ 8507828 w 11701760"/>
              <a:gd name="connsiteY2029" fmla="*/ 3454727 h 6407421"/>
              <a:gd name="connsiteX2030" fmla="*/ 8507828 w 11701760"/>
              <a:gd name="connsiteY2030" fmla="*/ 3484330 h 6407421"/>
              <a:gd name="connsiteX2031" fmla="*/ 8478226 w 11701760"/>
              <a:gd name="connsiteY2031" fmla="*/ 3484330 h 6407421"/>
              <a:gd name="connsiteX2032" fmla="*/ 8212137 w 11701760"/>
              <a:gd name="connsiteY2032" fmla="*/ 3454727 h 6407421"/>
              <a:gd name="connsiteX2033" fmla="*/ 8241740 w 11701760"/>
              <a:gd name="connsiteY2033" fmla="*/ 3454727 h 6407421"/>
              <a:gd name="connsiteX2034" fmla="*/ 8241740 w 11701760"/>
              <a:gd name="connsiteY2034" fmla="*/ 3484330 h 6407421"/>
              <a:gd name="connsiteX2035" fmla="*/ 8212137 w 11701760"/>
              <a:gd name="connsiteY2035" fmla="*/ 3484330 h 6407421"/>
              <a:gd name="connsiteX2036" fmla="*/ 7945940 w 11701760"/>
              <a:gd name="connsiteY2036" fmla="*/ 3454727 h 6407421"/>
              <a:gd name="connsiteX2037" fmla="*/ 7975543 w 11701760"/>
              <a:gd name="connsiteY2037" fmla="*/ 3454727 h 6407421"/>
              <a:gd name="connsiteX2038" fmla="*/ 7975543 w 11701760"/>
              <a:gd name="connsiteY2038" fmla="*/ 3484330 h 6407421"/>
              <a:gd name="connsiteX2039" fmla="*/ 7945940 w 11701760"/>
              <a:gd name="connsiteY2039" fmla="*/ 3484330 h 6407421"/>
              <a:gd name="connsiteX2040" fmla="*/ 7679743 w 11701760"/>
              <a:gd name="connsiteY2040" fmla="*/ 3454727 h 6407421"/>
              <a:gd name="connsiteX2041" fmla="*/ 7709346 w 11701760"/>
              <a:gd name="connsiteY2041" fmla="*/ 3454727 h 6407421"/>
              <a:gd name="connsiteX2042" fmla="*/ 7709346 w 11701760"/>
              <a:gd name="connsiteY2042" fmla="*/ 3484330 h 6407421"/>
              <a:gd name="connsiteX2043" fmla="*/ 7679743 w 11701760"/>
              <a:gd name="connsiteY2043" fmla="*/ 3484330 h 6407421"/>
              <a:gd name="connsiteX2044" fmla="*/ 7413653 w 11701760"/>
              <a:gd name="connsiteY2044" fmla="*/ 3454727 h 6407421"/>
              <a:gd name="connsiteX2045" fmla="*/ 7443256 w 11701760"/>
              <a:gd name="connsiteY2045" fmla="*/ 3454727 h 6407421"/>
              <a:gd name="connsiteX2046" fmla="*/ 7443256 w 11701760"/>
              <a:gd name="connsiteY2046" fmla="*/ 3484330 h 6407421"/>
              <a:gd name="connsiteX2047" fmla="*/ 7413653 w 11701760"/>
              <a:gd name="connsiteY2047" fmla="*/ 3484330 h 6407421"/>
              <a:gd name="connsiteX2048" fmla="*/ 7147456 w 11701760"/>
              <a:gd name="connsiteY2048" fmla="*/ 3454727 h 6407421"/>
              <a:gd name="connsiteX2049" fmla="*/ 7177058 w 11701760"/>
              <a:gd name="connsiteY2049" fmla="*/ 3454727 h 6407421"/>
              <a:gd name="connsiteX2050" fmla="*/ 7177058 w 11701760"/>
              <a:gd name="connsiteY2050" fmla="*/ 3484330 h 6407421"/>
              <a:gd name="connsiteX2051" fmla="*/ 7147456 w 11701760"/>
              <a:gd name="connsiteY2051" fmla="*/ 3484330 h 6407421"/>
              <a:gd name="connsiteX2052" fmla="*/ 6881367 w 11701760"/>
              <a:gd name="connsiteY2052" fmla="*/ 3454727 h 6407421"/>
              <a:gd name="connsiteX2053" fmla="*/ 6910970 w 11701760"/>
              <a:gd name="connsiteY2053" fmla="*/ 3454727 h 6407421"/>
              <a:gd name="connsiteX2054" fmla="*/ 6910970 w 11701760"/>
              <a:gd name="connsiteY2054" fmla="*/ 3484330 h 6407421"/>
              <a:gd name="connsiteX2055" fmla="*/ 6881367 w 11701760"/>
              <a:gd name="connsiteY2055" fmla="*/ 3484330 h 6407421"/>
              <a:gd name="connsiteX2056" fmla="*/ 6615170 w 11701760"/>
              <a:gd name="connsiteY2056" fmla="*/ 3454727 h 6407421"/>
              <a:gd name="connsiteX2057" fmla="*/ 6644773 w 11701760"/>
              <a:gd name="connsiteY2057" fmla="*/ 3454727 h 6407421"/>
              <a:gd name="connsiteX2058" fmla="*/ 6644773 w 11701760"/>
              <a:gd name="connsiteY2058" fmla="*/ 3484330 h 6407421"/>
              <a:gd name="connsiteX2059" fmla="*/ 6615170 w 11701760"/>
              <a:gd name="connsiteY2059" fmla="*/ 3484330 h 6407421"/>
              <a:gd name="connsiteX2060" fmla="*/ 6349081 w 11701760"/>
              <a:gd name="connsiteY2060" fmla="*/ 3454727 h 6407421"/>
              <a:gd name="connsiteX2061" fmla="*/ 6378683 w 11701760"/>
              <a:gd name="connsiteY2061" fmla="*/ 3454727 h 6407421"/>
              <a:gd name="connsiteX2062" fmla="*/ 6378683 w 11701760"/>
              <a:gd name="connsiteY2062" fmla="*/ 3484330 h 6407421"/>
              <a:gd name="connsiteX2063" fmla="*/ 6349081 w 11701760"/>
              <a:gd name="connsiteY2063" fmla="*/ 3484330 h 6407421"/>
              <a:gd name="connsiteX2064" fmla="*/ 6082884 w 11701760"/>
              <a:gd name="connsiteY2064" fmla="*/ 3454727 h 6407421"/>
              <a:gd name="connsiteX2065" fmla="*/ 6112486 w 11701760"/>
              <a:gd name="connsiteY2065" fmla="*/ 3454727 h 6407421"/>
              <a:gd name="connsiteX2066" fmla="*/ 6112486 w 11701760"/>
              <a:gd name="connsiteY2066" fmla="*/ 3484330 h 6407421"/>
              <a:gd name="connsiteX2067" fmla="*/ 6082884 w 11701760"/>
              <a:gd name="connsiteY2067" fmla="*/ 3484330 h 6407421"/>
              <a:gd name="connsiteX2068" fmla="*/ 5825310 w 11701760"/>
              <a:gd name="connsiteY2068" fmla="*/ 3454727 h 6407421"/>
              <a:gd name="connsiteX2069" fmla="*/ 5854913 w 11701760"/>
              <a:gd name="connsiteY2069" fmla="*/ 3454727 h 6407421"/>
              <a:gd name="connsiteX2070" fmla="*/ 5854913 w 11701760"/>
              <a:gd name="connsiteY2070" fmla="*/ 3484330 h 6407421"/>
              <a:gd name="connsiteX2071" fmla="*/ 5825310 w 11701760"/>
              <a:gd name="connsiteY2071" fmla="*/ 3484330 h 6407421"/>
              <a:gd name="connsiteX2072" fmla="*/ 5559113 w 11701760"/>
              <a:gd name="connsiteY2072" fmla="*/ 3454727 h 6407421"/>
              <a:gd name="connsiteX2073" fmla="*/ 5588715 w 11701760"/>
              <a:gd name="connsiteY2073" fmla="*/ 3454727 h 6407421"/>
              <a:gd name="connsiteX2074" fmla="*/ 5588715 w 11701760"/>
              <a:gd name="connsiteY2074" fmla="*/ 3484330 h 6407421"/>
              <a:gd name="connsiteX2075" fmla="*/ 5559113 w 11701760"/>
              <a:gd name="connsiteY2075" fmla="*/ 3484330 h 6407421"/>
              <a:gd name="connsiteX2076" fmla="*/ 5293024 w 11701760"/>
              <a:gd name="connsiteY2076" fmla="*/ 3454727 h 6407421"/>
              <a:gd name="connsiteX2077" fmla="*/ 5322626 w 11701760"/>
              <a:gd name="connsiteY2077" fmla="*/ 3454727 h 6407421"/>
              <a:gd name="connsiteX2078" fmla="*/ 5322626 w 11701760"/>
              <a:gd name="connsiteY2078" fmla="*/ 3484330 h 6407421"/>
              <a:gd name="connsiteX2079" fmla="*/ 5293024 w 11701760"/>
              <a:gd name="connsiteY2079" fmla="*/ 3484330 h 6407421"/>
              <a:gd name="connsiteX2080" fmla="*/ 5026827 w 11701760"/>
              <a:gd name="connsiteY2080" fmla="*/ 3454727 h 6407421"/>
              <a:gd name="connsiteX2081" fmla="*/ 5056429 w 11701760"/>
              <a:gd name="connsiteY2081" fmla="*/ 3454727 h 6407421"/>
              <a:gd name="connsiteX2082" fmla="*/ 5056429 w 11701760"/>
              <a:gd name="connsiteY2082" fmla="*/ 3484330 h 6407421"/>
              <a:gd name="connsiteX2083" fmla="*/ 5026827 w 11701760"/>
              <a:gd name="connsiteY2083" fmla="*/ 3484330 h 6407421"/>
              <a:gd name="connsiteX2084" fmla="*/ 4760630 w 11701760"/>
              <a:gd name="connsiteY2084" fmla="*/ 3454727 h 6407421"/>
              <a:gd name="connsiteX2085" fmla="*/ 4790340 w 11701760"/>
              <a:gd name="connsiteY2085" fmla="*/ 3454727 h 6407421"/>
              <a:gd name="connsiteX2086" fmla="*/ 4790340 w 11701760"/>
              <a:gd name="connsiteY2086" fmla="*/ 3484330 h 6407421"/>
              <a:gd name="connsiteX2087" fmla="*/ 4760630 w 11701760"/>
              <a:gd name="connsiteY2087" fmla="*/ 3484330 h 6407421"/>
              <a:gd name="connsiteX2088" fmla="*/ 4494541 w 11701760"/>
              <a:gd name="connsiteY2088" fmla="*/ 3454727 h 6407421"/>
              <a:gd name="connsiteX2089" fmla="*/ 4524144 w 11701760"/>
              <a:gd name="connsiteY2089" fmla="*/ 3454727 h 6407421"/>
              <a:gd name="connsiteX2090" fmla="*/ 4524144 w 11701760"/>
              <a:gd name="connsiteY2090" fmla="*/ 3484330 h 6407421"/>
              <a:gd name="connsiteX2091" fmla="*/ 4494541 w 11701760"/>
              <a:gd name="connsiteY2091" fmla="*/ 3484330 h 6407421"/>
              <a:gd name="connsiteX2092" fmla="*/ 4228344 w 11701760"/>
              <a:gd name="connsiteY2092" fmla="*/ 3454727 h 6407421"/>
              <a:gd name="connsiteX2093" fmla="*/ 4257946 w 11701760"/>
              <a:gd name="connsiteY2093" fmla="*/ 3454727 h 6407421"/>
              <a:gd name="connsiteX2094" fmla="*/ 4257946 w 11701760"/>
              <a:gd name="connsiteY2094" fmla="*/ 3484330 h 6407421"/>
              <a:gd name="connsiteX2095" fmla="*/ 4228344 w 11701760"/>
              <a:gd name="connsiteY2095" fmla="*/ 3484330 h 6407421"/>
              <a:gd name="connsiteX2096" fmla="*/ 3962255 w 11701760"/>
              <a:gd name="connsiteY2096" fmla="*/ 3454727 h 6407421"/>
              <a:gd name="connsiteX2097" fmla="*/ 3991857 w 11701760"/>
              <a:gd name="connsiteY2097" fmla="*/ 3454727 h 6407421"/>
              <a:gd name="connsiteX2098" fmla="*/ 3991857 w 11701760"/>
              <a:gd name="connsiteY2098" fmla="*/ 3484330 h 6407421"/>
              <a:gd name="connsiteX2099" fmla="*/ 3962255 w 11701760"/>
              <a:gd name="connsiteY2099" fmla="*/ 3484330 h 6407421"/>
              <a:gd name="connsiteX2100" fmla="*/ 3696058 w 11701760"/>
              <a:gd name="connsiteY2100" fmla="*/ 3454727 h 6407421"/>
              <a:gd name="connsiteX2101" fmla="*/ 3725661 w 11701760"/>
              <a:gd name="connsiteY2101" fmla="*/ 3454727 h 6407421"/>
              <a:gd name="connsiteX2102" fmla="*/ 3725661 w 11701760"/>
              <a:gd name="connsiteY2102" fmla="*/ 3484330 h 6407421"/>
              <a:gd name="connsiteX2103" fmla="*/ 3696058 w 11701760"/>
              <a:gd name="connsiteY2103" fmla="*/ 3484330 h 6407421"/>
              <a:gd name="connsiteX2104" fmla="*/ 3429969 w 11701760"/>
              <a:gd name="connsiteY2104" fmla="*/ 3454727 h 6407421"/>
              <a:gd name="connsiteX2105" fmla="*/ 3459572 w 11701760"/>
              <a:gd name="connsiteY2105" fmla="*/ 3454727 h 6407421"/>
              <a:gd name="connsiteX2106" fmla="*/ 3459572 w 11701760"/>
              <a:gd name="connsiteY2106" fmla="*/ 3484330 h 6407421"/>
              <a:gd name="connsiteX2107" fmla="*/ 3429969 w 11701760"/>
              <a:gd name="connsiteY2107" fmla="*/ 3484330 h 6407421"/>
              <a:gd name="connsiteX2108" fmla="*/ 3163772 w 11701760"/>
              <a:gd name="connsiteY2108" fmla="*/ 3454727 h 6407421"/>
              <a:gd name="connsiteX2109" fmla="*/ 3193374 w 11701760"/>
              <a:gd name="connsiteY2109" fmla="*/ 3454727 h 6407421"/>
              <a:gd name="connsiteX2110" fmla="*/ 3193374 w 11701760"/>
              <a:gd name="connsiteY2110" fmla="*/ 3484330 h 6407421"/>
              <a:gd name="connsiteX2111" fmla="*/ 3163772 w 11701760"/>
              <a:gd name="connsiteY2111" fmla="*/ 3484330 h 6407421"/>
              <a:gd name="connsiteX2112" fmla="*/ 2897575 w 11701760"/>
              <a:gd name="connsiteY2112" fmla="*/ 3454727 h 6407421"/>
              <a:gd name="connsiteX2113" fmla="*/ 2927178 w 11701760"/>
              <a:gd name="connsiteY2113" fmla="*/ 3454727 h 6407421"/>
              <a:gd name="connsiteX2114" fmla="*/ 2927178 w 11701760"/>
              <a:gd name="connsiteY2114" fmla="*/ 3484330 h 6407421"/>
              <a:gd name="connsiteX2115" fmla="*/ 2897575 w 11701760"/>
              <a:gd name="connsiteY2115" fmla="*/ 3484330 h 6407421"/>
              <a:gd name="connsiteX2116" fmla="*/ 2631378 w 11701760"/>
              <a:gd name="connsiteY2116" fmla="*/ 3454727 h 6407421"/>
              <a:gd name="connsiteX2117" fmla="*/ 2660980 w 11701760"/>
              <a:gd name="connsiteY2117" fmla="*/ 3454727 h 6407421"/>
              <a:gd name="connsiteX2118" fmla="*/ 2660980 w 11701760"/>
              <a:gd name="connsiteY2118" fmla="*/ 3484330 h 6407421"/>
              <a:gd name="connsiteX2119" fmla="*/ 2631378 w 11701760"/>
              <a:gd name="connsiteY2119" fmla="*/ 3484330 h 6407421"/>
              <a:gd name="connsiteX2120" fmla="*/ 2365289 w 11701760"/>
              <a:gd name="connsiteY2120" fmla="*/ 3454727 h 6407421"/>
              <a:gd name="connsiteX2121" fmla="*/ 2394892 w 11701760"/>
              <a:gd name="connsiteY2121" fmla="*/ 3454727 h 6407421"/>
              <a:gd name="connsiteX2122" fmla="*/ 2394892 w 11701760"/>
              <a:gd name="connsiteY2122" fmla="*/ 3484330 h 6407421"/>
              <a:gd name="connsiteX2123" fmla="*/ 2365289 w 11701760"/>
              <a:gd name="connsiteY2123" fmla="*/ 3484330 h 6407421"/>
              <a:gd name="connsiteX2124" fmla="*/ 2099092 w 11701760"/>
              <a:gd name="connsiteY2124" fmla="*/ 3454727 h 6407421"/>
              <a:gd name="connsiteX2125" fmla="*/ 2128695 w 11701760"/>
              <a:gd name="connsiteY2125" fmla="*/ 3454727 h 6407421"/>
              <a:gd name="connsiteX2126" fmla="*/ 2128695 w 11701760"/>
              <a:gd name="connsiteY2126" fmla="*/ 3484330 h 6407421"/>
              <a:gd name="connsiteX2127" fmla="*/ 2099092 w 11701760"/>
              <a:gd name="connsiteY2127" fmla="*/ 3484330 h 6407421"/>
              <a:gd name="connsiteX2128" fmla="*/ 1832898 w 11701760"/>
              <a:gd name="connsiteY2128" fmla="*/ 3454727 h 6407421"/>
              <a:gd name="connsiteX2129" fmla="*/ 1862498 w 11701760"/>
              <a:gd name="connsiteY2129" fmla="*/ 3454727 h 6407421"/>
              <a:gd name="connsiteX2130" fmla="*/ 1862498 w 11701760"/>
              <a:gd name="connsiteY2130" fmla="*/ 3484330 h 6407421"/>
              <a:gd name="connsiteX2131" fmla="*/ 1832898 w 11701760"/>
              <a:gd name="connsiteY2131" fmla="*/ 3484330 h 6407421"/>
              <a:gd name="connsiteX2132" fmla="*/ 1566808 w 11701760"/>
              <a:gd name="connsiteY2132" fmla="*/ 3454727 h 6407421"/>
              <a:gd name="connsiteX2133" fmla="*/ 1596409 w 11701760"/>
              <a:gd name="connsiteY2133" fmla="*/ 3454727 h 6407421"/>
              <a:gd name="connsiteX2134" fmla="*/ 1596409 w 11701760"/>
              <a:gd name="connsiteY2134" fmla="*/ 3484330 h 6407421"/>
              <a:gd name="connsiteX2135" fmla="*/ 1566808 w 11701760"/>
              <a:gd name="connsiteY2135" fmla="*/ 3484330 h 6407421"/>
              <a:gd name="connsiteX2136" fmla="*/ 1300611 w 11701760"/>
              <a:gd name="connsiteY2136" fmla="*/ 3454727 h 6407421"/>
              <a:gd name="connsiteX2137" fmla="*/ 1330213 w 11701760"/>
              <a:gd name="connsiteY2137" fmla="*/ 3454727 h 6407421"/>
              <a:gd name="connsiteX2138" fmla="*/ 1330213 w 11701760"/>
              <a:gd name="connsiteY2138" fmla="*/ 3484330 h 6407421"/>
              <a:gd name="connsiteX2139" fmla="*/ 1300611 w 11701760"/>
              <a:gd name="connsiteY2139" fmla="*/ 3484330 h 6407421"/>
              <a:gd name="connsiteX2140" fmla="*/ 1034520 w 11701760"/>
              <a:gd name="connsiteY2140" fmla="*/ 3454727 h 6407421"/>
              <a:gd name="connsiteX2141" fmla="*/ 1064123 w 11701760"/>
              <a:gd name="connsiteY2141" fmla="*/ 3454727 h 6407421"/>
              <a:gd name="connsiteX2142" fmla="*/ 1064123 w 11701760"/>
              <a:gd name="connsiteY2142" fmla="*/ 3484330 h 6407421"/>
              <a:gd name="connsiteX2143" fmla="*/ 1034520 w 11701760"/>
              <a:gd name="connsiteY2143" fmla="*/ 3484330 h 6407421"/>
              <a:gd name="connsiteX2144" fmla="*/ 768327 w 11701760"/>
              <a:gd name="connsiteY2144" fmla="*/ 3454727 h 6407421"/>
              <a:gd name="connsiteX2145" fmla="*/ 797926 w 11701760"/>
              <a:gd name="connsiteY2145" fmla="*/ 3454727 h 6407421"/>
              <a:gd name="connsiteX2146" fmla="*/ 797926 w 11701760"/>
              <a:gd name="connsiteY2146" fmla="*/ 3484330 h 6407421"/>
              <a:gd name="connsiteX2147" fmla="*/ 768327 w 11701760"/>
              <a:gd name="connsiteY2147" fmla="*/ 3484330 h 6407421"/>
              <a:gd name="connsiteX2148" fmla="*/ 502236 w 11701760"/>
              <a:gd name="connsiteY2148" fmla="*/ 3454727 h 6407421"/>
              <a:gd name="connsiteX2149" fmla="*/ 531839 w 11701760"/>
              <a:gd name="connsiteY2149" fmla="*/ 3454727 h 6407421"/>
              <a:gd name="connsiteX2150" fmla="*/ 531839 w 11701760"/>
              <a:gd name="connsiteY2150" fmla="*/ 3484330 h 6407421"/>
              <a:gd name="connsiteX2151" fmla="*/ 502236 w 11701760"/>
              <a:gd name="connsiteY2151" fmla="*/ 3484330 h 6407421"/>
              <a:gd name="connsiteX2152" fmla="*/ 236037 w 11701760"/>
              <a:gd name="connsiteY2152" fmla="*/ 3454727 h 6407421"/>
              <a:gd name="connsiteX2153" fmla="*/ 265640 w 11701760"/>
              <a:gd name="connsiteY2153" fmla="*/ 3454727 h 6407421"/>
              <a:gd name="connsiteX2154" fmla="*/ 265640 w 11701760"/>
              <a:gd name="connsiteY2154" fmla="*/ 3484330 h 6407421"/>
              <a:gd name="connsiteX2155" fmla="*/ 236037 w 11701760"/>
              <a:gd name="connsiteY2155" fmla="*/ 3484330 h 6407421"/>
              <a:gd name="connsiteX2156" fmla="*/ 1 w 11701760"/>
              <a:gd name="connsiteY2156" fmla="*/ 3454727 h 6407421"/>
              <a:gd name="connsiteX2157" fmla="*/ 29603 w 11701760"/>
              <a:gd name="connsiteY2157" fmla="*/ 3454727 h 6407421"/>
              <a:gd name="connsiteX2158" fmla="*/ 29603 w 11701760"/>
              <a:gd name="connsiteY2158" fmla="*/ 3484330 h 6407421"/>
              <a:gd name="connsiteX2159" fmla="*/ 1 w 11701760"/>
              <a:gd name="connsiteY2159" fmla="*/ 3484330 h 6407421"/>
              <a:gd name="connsiteX2160" fmla="*/ 11672158 w 11701760"/>
              <a:gd name="connsiteY2160" fmla="*/ 3189089 h 6407421"/>
              <a:gd name="connsiteX2161" fmla="*/ 11701760 w 11701760"/>
              <a:gd name="connsiteY2161" fmla="*/ 3189089 h 6407421"/>
              <a:gd name="connsiteX2162" fmla="*/ 11701760 w 11701760"/>
              <a:gd name="connsiteY2162" fmla="*/ 3218566 h 6407421"/>
              <a:gd name="connsiteX2163" fmla="*/ 11672158 w 11701760"/>
              <a:gd name="connsiteY2163" fmla="*/ 3218566 h 6407421"/>
              <a:gd name="connsiteX2164" fmla="*/ 11405961 w 11701760"/>
              <a:gd name="connsiteY2164" fmla="*/ 3189089 h 6407421"/>
              <a:gd name="connsiteX2165" fmla="*/ 11435563 w 11701760"/>
              <a:gd name="connsiteY2165" fmla="*/ 3189089 h 6407421"/>
              <a:gd name="connsiteX2166" fmla="*/ 11435563 w 11701760"/>
              <a:gd name="connsiteY2166" fmla="*/ 3218566 h 6407421"/>
              <a:gd name="connsiteX2167" fmla="*/ 11405961 w 11701760"/>
              <a:gd name="connsiteY2167" fmla="*/ 3218566 h 6407421"/>
              <a:gd name="connsiteX2168" fmla="*/ 5825310 w 11701760"/>
              <a:gd name="connsiteY2168" fmla="*/ 3189089 h 6407421"/>
              <a:gd name="connsiteX2169" fmla="*/ 5854913 w 11701760"/>
              <a:gd name="connsiteY2169" fmla="*/ 3189089 h 6407421"/>
              <a:gd name="connsiteX2170" fmla="*/ 5854913 w 11701760"/>
              <a:gd name="connsiteY2170" fmla="*/ 3218566 h 6407421"/>
              <a:gd name="connsiteX2171" fmla="*/ 5825310 w 11701760"/>
              <a:gd name="connsiteY2171" fmla="*/ 3218566 h 6407421"/>
              <a:gd name="connsiteX2172" fmla="*/ 5559113 w 11701760"/>
              <a:gd name="connsiteY2172" fmla="*/ 3189089 h 6407421"/>
              <a:gd name="connsiteX2173" fmla="*/ 5588715 w 11701760"/>
              <a:gd name="connsiteY2173" fmla="*/ 3189089 h 6407421"/>
              <a:gd name="connsiteX2174" fmla="*/ 5588715 w 11701760"/>
              <a:gd name="connsiteY2174" fmla="*/ 3218566 h 6407421"/>
              <a:gd name="connsiteX2175" fmla="*/ 5559113 w 11701760"/>
              <a:gd name="connsiteY2175" fmla="*/ 3218566 h 6407421"/>
              <a:gd name="connsiteX2176" fmla="*/ 11139872 w 11701760"/>
              <a:gd name="connsiteY2176" fmla="*/ 3189087 h 6407421"/>
              <a:gd name="connsiteX2177" fmla="*/ 11169474 w 11701760"/>
              <a:gd name="connsiteY2177" fmla="*/ 3189087 h 6407421"/>
              <a:gd name="connsiteX2178" fmla="*/ 11169474 w 11701760"/>
              <a:gd name="connsiteY2178" fmla="*/ 3218566 h 6407421"/>
              <a:gd name="connsiteX2179" fmla="*/ 11139872 w 11701760"/>
              <a:gd name="connsiteY2179" fmla="*/ 3218566 h 6407421"/>
              <a:gd name="connsiteX2180" fmla="*/ 10873675 w 11701760"/>
              <a:gd name="connsiteY2180" fmla="*/ 3189087 h 6407421"/>
              <a:gd name="connsiteX2181" fmla="*/ 10903277 w 11701760"/>
              <a:gd name="connsiteY2181" fmla="*/ 3189087 h 6407421"/>
              <a:gd name="connsiteX2182" fmla="*/ 10903277 w 11701760"/>
              <a:gd name="connsiteY2182" fmla="*/ 3218566 h 6407421"/>
              <a:gd name="connsiteX2183" fmla="*/ 10873675 w 11701760"/>
              <a:gd name="connsiteY2183" fmla="*/ 3218566 h 6407421"/>
              <a:gd name="connsiteX2184" fmla="*/ 5293024 w 11701760"/>
              <a:gd name="connsiteY2184" fmla="*/ 3189087 h 6407421"/>
              <a:gd name="connsiteX2185" fmla="*/ 5322626 w 11701760"/>
              <a:gd name="connsiteY2185" fmla="*/ 3189087 h 6407421"/>
              <a:gd name="connsiteX2186" fmla="*/ 5322626 w 11701760"/>
              <a:gd name="connsiteY2186" fmla="*/ 3218566 h 6407421"/>
              <a:gd name="connsiteX2187" fmla="*/ 5293024 w 11701760"/>
              <a:gd name="connsiteY2187" fmla="*/ 3218566 h 6407421"/>
              <a:gd name="connsiteX2188" fmla="*/ 5026827 w 11701760"/>
              <a:gd name="connsiteY2188" fmla="*/ 3189087 h 6407421"/>
              <a:gd name="connsiteX2189" fmla="*/ 5056429 w 11701760"/>
              <a:gd name="connsiteY2189" fmla="*/ 3189087 h 6407421"/>
              <a:gd name="connsiteX2190" fmla="*/ 5056429 w 11701760"/>
              <a:gd name="connsiteY2190" fmla="*/ 3218566 h 6407421"/>
              <a:gd name="connsiteX2191" fmla="*/ 5026827 w 11701760"/>
              <a:gd name="connsiteY2191" fmla="*/ 3218566 h 6407421"/>
              <a:gd name="connsiteX2192" fmla="*/ 10607478 w 11701760"/>
              <a:gd name="connsiteY2192" fmla="*/ 3189086 h 6407421"/>
              <a:gd name="connsiteX2193" fmla="*/ 10637188 w 11701760"/>
              <a:gd name="connsiteY2193" fmla="*/ 3189086 h 6407421"/>
              <a:gd name="connsiteX2194" fmla="*/ 10637188 w 11701760"/>
              <a:gd name="connsiteY2194" fmla="*/ 3218566 h 6407421"/>
              <a:gd name="connsiteX2195" fmla="*/ 10607478 w 11701760"/>
              <a:gd name="connsiteY2195" fmla="*/ 3218566 h 6407421"/>
              <a:gd name="connsiteX2196" fmla="*/ 4760630 w 11701760"/>
              <a:gd name="connsiteY2196" fmla="*/ 3189086 h 6407421"/>
              <a:gd name="connsiteX2197" fmla="*/ 4790340 w 11701760"/>
              <a:gd name="connsiteY2197" fmla="*/ 3189086 h 6407421"/>
              <a:gd name="connsiteX2198" fmla="*/ 4790340 w 11701760"/>
              <a:gd name="connsiteY2198" fmla="*/ 3218566 h 6407421"/>
              <a:gd name="connsiteX2199" fmla="*/ 4760630 w 11701760"/>
              <a:gd name="connsiteY2199" fmla="*/ 3218566 h 6407421"/>
              <a:gd name="connsiteX2200" fmla="*/ 10341389 w 11701760"/>
              <a:gd name="connsiteY2200" fmla="*/ 3189085 h 6407421"/>
              <a:gd name="connsiteX2201" fmla="*/ 10370992 w 11701760"/>
              <a:gd name="connsiteY2201" fmla="*/ 3189085 h 6407421"/>
              <a:gd name="connsiteX2202" fmla="*/ 10370992 w 11701760"/>
              <a:gd name="connsiteY2202" fmla="*/ 3218566 h 6407421"/>
              <a:gd name="connsiteX2203" fmla="*/ 10341389 w 11701760"/>
              <a:gd name="connsiteY2203" fmla="*/ 3218566 h 6407421"/>
              <a:gd name="connsiteX2204" fmla="*/ 4494541 w 11701760"/>
              <a:gd name="connsiteY2204" fmla="*/ 3189085 h 6407421"/>
              <a:gd name="connsiteX2205" fmla="*/ 4524144 w 11701760"/>
              <a:gd name="connsiteY2205" fmla="*/ 3189085 h 6407421"/>
              <a:gd name="connsiteX2206" fmla="*/ 4524144 w 11701760"/>
              <a:gd name="connsiteY2206" fmla="*/ 3218566 h 6407421"/>
              <a:gd name="connsiteX2207" fmla="*/ 4494541 w 11701760"/>
              <a:gd name="connsiteY2207" fmla="*/ 3218566 h 6407421"/>
              <a:gd name="connsiteX2208" fmla="*/ 10075192 w 11701760"/>
              <a:gd name="connsiteY2208" fmla="*/ 3189084 h 6407421"/>
              <a:gd name="connsiteX2209" fmla="*/ 10104794 w 11701760"/>
              <a:gd name="connsiteY2209" fmla="*/ 3189084 h 6407421"/>
              <a:gd name="connsiteX2210" fmla="*/ 10104794 w 11701760"/>
              <a:gd name="connsiteY2210" fmla="*/ 3218566 h 6407421"/>
              <a:gd name="connsiteX2211" fmla="*/ 10075192 w 11701760"/>
              <a:gd name="connsiteY2211" fmla="*/ 3218566 h 6407421"/>
              <a:gd name="connsiteX2212" fmla="*/ 4228344 w 11701760"/>
              <a:gd name="connsiteY2212" fmla="*/ 3189084 h 6407421"/>
              <a:gd name="connsiteX2213" fmla="*/ 4257946 w 11701760"/>
              <a:gd name="connsiteY2213" fmla="*/ 3189084 h 6407421"/>
              <a:gd name="connsiteX2214" fmla="*/ 4257946 w 11701760"/>
              <a:gd name="connsiteY2214" fmla="*/ 3218566 h 6407421"/>
              <a:gd name="connsiteX2215" fmla="*/ 4228344 w 11701760"/>
              <a:gd name="connsiteY2215" fmla="*/ 3218566 h 6407421"/>
              <a:gd name="connsiteX2216" fmla="*/ 9809103 w 11701760"/>
              <a:gd name="connsiteY2216" fmla="*/ 3189083 h 6407421"/>
              <a:gd name="connsiteX2217" fmla="*/ 9838705 w 11701760"/>
              <a:gd name="connsiteY2217" fmla="*/ 3189083 h 6407421"/>
              <a:gd name="connsiteX2218" fmla="*/ 9838705 w 11701760"/>
              <a:gd name="connsiteY2218" fmla="*/ 3218566 h 6407421"/>
              <a:gd name="connsiteX2219" fmla="*/ 9809103 w 11701760"/>
              <a:gd name="connsiteY2219" fmla="*/ 3218566 h 6407421"/>
              <a:gd name="connsiteX2220" fmla="*/ 3962255 w 11701760"/>
              <a:gd name="connsiteY2220" fmla="*/ 3189083 h 6407421"/>
              <a:gd name="connsiteX2221" fmla="*/ 3991857 w 11701760"/>
              <a:gd name="connsiteY2221" fmla="*/ 3189083 h 6407421"/>
              <a:gd name="connsiteX2222" fmla="*/ 3991857 w 11701760"/>
              <a:gd name="connsiteY2222" fmla="*/ 3218566 h 6407421"/>
              <a:gd name="connsiteX2223" fmla="*/ 3962255 w 11701760"/>
              <a:gd name="connsiteY2223" fmla="*/ 3218566 h 6407421"/>
              <a:gd name="connsiteX2224" fmla="*/ 9542906 w 11701760"/>
              <a:gd name="connsiteY2224" fmla="*/ 3189082 h 6407421"/>
              <a:gd name="connsiteX2225" fmla="*/ 9572509 w 11701760"/>
              <a:gd name="connsiteY2225" fmla="*/ 3189082 h 6407421"/>
              <a:gd name="connsiteX2226" fmla="*/ 9572509 w 11701760"/>
              <a:gd name="connsiteY2226" fmla="*/ 3218566 h 6407421"/>
              <a:gd name="connsiteX2227" fmla="*/ 9542906 w 11701760"/>
              <a:gd name="connsiteY2227" fmla="*/ 3218566 h 6407421"/>
              <a:gd name="connsiteX2228" fmla="*/ 3696058 w 11701760"/>
              <a:gd name="connsiteY2228" fmla="*/ 3189082 h 6407421"/>
              <a:gd name="connsiteX2229" fmla="*/ 3725661 w 11701760"/>
              <a:gd name="connsiteY2229" fmla="*/ 3189082 h 6407421"/>
              <a:gd name="connsiteX2230" fmla="*/ 3725661 w 11701760"/>
              <a:gd name="connsiteY2230" fmla="*/ 3218566 h 6407421"/>
              <a:gd name="connsiteX2231" fmla="*/ 3696058 w 11701760"/>
              <a:gd name="connsiteY2231" fmla="*/ 3218566 h 6407421"/>
              <a:gd name="connsiteX2232" fmla="*/ 9276817 w 11701760"/>
              <a:gd name="connsiteY2232" fmla="*/ 3189081 h 6407421"/>
              <a:gd name="connsiteX2233" fmla="*/ 9306420 w 11701760"/>
              <a:gd name="connsiteY2233" fmla="*/ 3189081 h 6407421"/>
              <a:gd name="connsiteX2234" fmla="*/ 9306420 w 11701760"/>
              <a:gd name="connsiteY2234" fmla="*/ 3218566 h 6407421"/>
              <a:gd name="connsiteX2235" fmla="*/ 9276817 w 11701760"/>
              <a:gd name="connsiteY2235" fmla="*/ 3218566 h 6407421"/>
              <a:gd name="connsiteX2236" fmla="*/ 9010620 w 11701760"/>
              <a:gd name="connsiteY2236" fmla="*/ 3189081 h 6407421"/>
              <a:gd name="connsiteX2237" fmla="*/ 9040222 w 11701760"/>
              <a:gd name="connsiteY2237" fmla="*/ 3189081 h 6407421"/>
              <a:gd name="connsiteX2238" fmla="*/ 9040222 w 11701760"/>
              <a:gd name="connsiteY2238" fmla="*/ 3218566 h 6407421"/>
              <a:gd name="connsiteX2239" fmla="*/ 9010620 w 11701760"/>
              <a:gd name="connsiteY2239" fmla="*/ 3218566 h 6407421"/>
              <a:gd name="connsiteX2240" fmla="*/ 3429969 w 11701760"/>
              <a:gd name="connsiteY2240" fmla="*/ 3189081 h 6407421"/>
              <a:gd name="connsiteX2241" fmla="*/ 3459572 w 11701760"/>
              <a:gd name="connsiteY2241" fmla="*/ 3189081 h 6407421"/>
              <a:gd name="connsiteX2242" fmla="*/ 3459572 w 11701760"/>
              <a:gd name="connsiteY2242" fmla="*/ 3218566 h 6407421"/>
              <a:gd name="connsiteX2243" fmla="*/ 3429969 w 11701760"/>
              <a:gd name="connsiteY2243" fmla="*/ 3218566 h 6407421"/>
              <a:gd name="connsiteX2244" fmla="*/ 3163772 w 11701760"/>
              <a:gd name="connsiteY2244" fmla="*/ 3189081 h 6407421"/>
              <a:gd name="connsiteX2245" fmla="*/ 3193374 w 11701760"/>
              <a:gd name="connsiteY2245" fmla="*/ 3189081 h 6407421"/>
              <a:gd name="connsiteX2246" fmla="*/ 3193374 w 11701760"/>
              <a:gd name="connsiteY2246" fmla="*/ 3218566 h 6407421"/>
              <a:gd name="connsiteX2247" fmla="*/ 3163772 w 11701760"/>
              <a:gd name="connsiteY2247" fmla="*/ 3218566 h 6407421"/>
              <a:gd name="connsiteX2248" fmla="*/ 8744423 w 11701760"/>
              <a:gd name="connsiteY2248" fmla="*/ 3189080 h 6407421"/>
              <a:gd name="connsiteX2249" fmla="*/ 8774026 w 11701760"/>
              <a:gd name="connsiteY2249" fmla="*/ 3189080 h 6407421"/>
              <a:gd name="connsiteX2250" fmla="*/ 8774026 w 11701760"/>
              <a:gd name="connsiteY2250" fmla="*/ 3218566 h 6407421"/>
              <a:gd name="connsiteX2251" fmla="*/ 8744423 w 11701760"/>
              <a:gd name="connsiteY2251" fmla="*/ 3218566 h 6407421"/>
              <a:gd name="connsiteX2252" fmla="*/ 2897575 w 11701760"/>
              <a:gd name="connsiteY2252" fmla="*/ 3189080 h 6407421"/>
              <a:gd name="connsiteX2253" fmla="*/ 2927178 w 11701760"/>
              <a:gd name="connsiteY2253" fmla="*/ 3189080 h 6407421"/>
              <a:gd name="connsiteX2254" fmla="*/ 2927178 w 11701760"/>
              <a:gd name="connsiteY2254" fmla="*/ 3218566 h 6407421"/>
              <a:gd name="connsiteX2255" fmla="*/ 2897575 w 11701760"/>
              <a:gd name="connsiteY2255" fmla="*/ 3218566 h 6407421"/>
              <a:gd name="connsiteX2256" fmla="*/ 8478226 w 11701760"/>
              <a:gd name="connsiteY2256" fmla="*/ 3189079 h 6407421"/>
              <a:gd name="connsiteX2257" fmla="*/ 8507828 w 11701760"/>
              <a:gd name="connsiteY2257" fmla="*/ 3189079 h 6407421"/>
              <a:gd name="connsiteX2258" fmla="*/ 8507828 w 11701760"/>
              <a:gd name="connsiteY2258" fmla="*/ 3218566 h 6407421"/>
              <a:gd name="connsiteX2259" fmla="*/ 8478226 w 11701760"/>
              <a:gd name="connsiteY2259" fmla="*/ 3218566 h 6407421"/>
              <a:gd name="connsiteX2260" fmla="*/ 2631378 w 11701760"/>
              <a:gd name="connsiteY2260" fmla="*/ 3189079 h 6407421"/>
              <a:gd name="connsiteX2261" fmla="*/ 2660980 w 11701760"/>
              <a:gd name="connsiteY2261" fmla="*/ 3189079 h 6407421"/>
              <a:gd name="connsiteX2262" fmla="*/ 2660980 w 11701760"/>
              <a:gd name="connsiteY2262" fmla="*/ 3218566 h 6407421"/>
              <a:gd name="connsiteX2263" fmla="*/ 2631378 w 11701760"/>
              <a:gd name="connsiteY2263" fmla="*/ 3218566 h 6407421"/>
              <a:gd name="connsiteX2264" fmla="*/ 8212137 w 11701760"/>
              <a:gd name="connsiteY2264" fmla="*/ 3189078 h 6407421"/>
              <a:gd name="connsiteX2265" fmla="*/ 8241740 w 11701760"/>
              <a:gd name="connsiteY2265" fmla="*/ 3189078 h 6407421"/>
              <a:gd name="connsiteX2266" fmla="*/ 8241740 w 11701760"/>
              <a:gd name="connsiteY2266" fmla="*/ 3218566 h 6407421"/>
              <a:gd name="connsiteX2267" fmla="*/ 8212137 w 11701760"/>
              <a:gd name="connsiteY2267" fmla="*/ 3218566 h 6407421"/>
              <a:gd name="connsiteX2268" fmla="*/ 2365289 w 11701760"/>
              <a:gd name="connsiteY2268" fmla="*/ 3189078 h 6407421"/>
              <a:gd name="connsiteX2269" fmla="*/ 2394892 w 11701760"/>
              <a:gd name="connsiteY2269" fmla="*/ 3189078 h 6407421"/>
              <a:gd name="connsiteX2270" fmla="*/ 2394892 w 11701760"/>
              <a:gd name="connsiteY2270" fmla="*/ 3218566 h 6407421"/>
              <a:gd name="connsiteX2271" fmla="*/ 2365289 w 11701760"/>
              <a:gd name="connsiteY2271" fmla="*/ 3218566 h 6407421"/>
              <a:gd name="connsiteX2272" fmla="*/ 7945940 w 11701760"/>
              <a:gd name="connsiteY2272" fmla="*/ 3189077 h 6407421"/>
              <a:gd name="connsiteX2273" fmla="*/ 7975543 w 11701760"/>
              <a:gd name="connsiteY2273" fmla="*/ 3189077 h 6407421"/>
              <a:gd name="connsiteX2274" fmla="*/ 7975543 w 11701760"/>
              <a:gd name="connsiteY2274" fmla="*/ 3218566 h 6407421"/>
              <a:gd name="connsiteX2275" fmla="*/ 7945940 w 11701760"/>
              <a:gd name="connsiteY2275" fmla="*/ 3218566 h 6407421"/>
              <a:gd name="connsiteX2276" fmla="*/ 2099092 w 11701760"/>
              <a:gd name="connsiteY2276" fmla="*/ 3189077 h 6407421"/>
              <a:gd name="connsiteX2277" fmla="*/ 2128695 w 11701760"/>
              <a:gd name="connsiteY2277" fmla="*/ 3189077 h 6407421"/>
              <a:gd name="connsiteX2278" fmla="*/ 2128695 w 11701760"/>
              <a:gd name="connsiteY2278" fmla="*/ 3218566 h 6407421"/>
              <a:gd name="connsiteX2279" fmla="*/ 2099092 w 11701760"/>
              <a:gd name="connsiteY2279" fmla="*/ 3218566 h 6407421"/>
              <a:gd name="connsiteX2280" fmla="*/ 7679743 w 11701760"/>
              <a:gd name="connsiteY2280" fmla="*/ 3189076 h 6407421"/>
              <a:gd name="connsiteX2281" fmla="*/ 7709346 w 11701760"/>
              <a:gd name="connsiteY2281" fmla="*/ 3189076 h 6407421"/>
              <a:gd name="connsiteX2282" fmla="*/ 7709346 w 11701760"/>
              <a:gd name="connsiteY2282" fmla="*/ 3218566 h 6407421"/>
              <a:gd name="connsiteX2283" fmla="*/ 7679743 w 11701760"/>
              <a:gd name="connsiteY2283" fmla="*/ 3218566 h 6407421"/>
              <a:gd name="connsiteX2284" fmla="*/ 7413653 w 11701760"/>
              <a:gd name="connsiteY2284" fmla="*/ 3189076 h 6407421"/>
              <a:gd name="connsiteX2285" fmla="*/ 7443256 w 11701760"/>
              <a:gd name="connsiteY2285" fmla="*/ 3189076 h 6407421"/>
              <a:gd name="connsiteX2286" fmla="*/ 7443256 w 11701760"/>
              <a:gd name="connsiteY2286" fmla="*/ 3218566 h 6407421"/>
              <a:gd name="connsiteX2287" fmla="*/ 7413653 w 11701760"/>
              <a:gd name="connsiteY2287" fmla="*/ 3218566 h 6407421"/>
              <a:gd name="connsiteX2288" fmla="*/ 1832898 w 11701760"/>
              <a:gd name="connsiteY2288" fmla="*/ 3189076 h 6407421"/>
              <a:gd name="connsiteX2289" fmla="*/ 1862498 w 11701760"/>
              <a:gd name="connsiteY2289" fmla="*/ 3189076 h 6407421"/>
              <a:gd name="connsiteX2290" fmla="*/ 1862498 w 11701760"/>
              <a:gd name="connsiteY2290" fmla="*/ 3218566 h 6407421"/>
              <a:gd name="connsiteX2291" fmla="*/ 1832898 w 11701760"/>
              <a:gd name="connsiteY2291" fmla="*/ 3218566 h 6407421"/>
              <a:gd name="connsiteX2292" fmla="*/ 1566808 w 11701760"/>
              <a:gd name="connsiteY2292" fmla="*/ 3189076 h 6407421"/>
              <a:gd name="connsiteX2293" fmla="*/ 1596409 w 11701760"/>
              <a:gd name="connsiteY2293" fmla="*/ 3189076 h 6407421"/>
              <a:gd name="connsiteX2294" fmla="*/ 1596409 w 11701760"/>
              <a:gd name="connsiteY2294" fmla="*/ 3218566 h 6407421"/>
              <a:gd name="connsiteX2295" fmla="*/ 1566808 w 11701760"/>
              <a:gd name="connsiteY2295" fmla="*/ 3218566 h 6407421"/>
              <a:gd name="connsiteX2296" fmla="*/ 7147456 w 11701760"/>
              <a:gd name="connsiteY2296" fmla="*/ 3189075 h 6407421"/>
              <a:gd name="connsiteX2297" fmla="*/ 7177058 w 11701760"/>
              <a:gd name="connsiteY2297" fmla="*/ 3189075 h 6407421"/>
              <a:gd name="connsiteX2298" fmla="*/ 7177058 w 11701760"/>
              <a:gd name="connsiteY2298" fmla="*/ 3218566 h 6407421"/>
              <a:gd name="connsiteX2299" fmla="*/ 7147456 w 11701760"/>
              <a:gd name="connsiteY2299" fmla="*/ 3218566 h 6407421"/>
              <a:gd name="connsiteX2300" fmla="*/ 1300611 w 11701760"/>
              <a:gd name="connsiteY2300" fmla="*/ 3189075 h 6407421"/>
              <a:gd name="connsiteX2301" fmla="*/ 1330213 w 11701760"/>
              <a:gd name="connsiteY2301" fmla="*/ 3189075 h 6407421"/>
              <a:gd name="connsiteX2302" fmla="*/ 1330213 w 11701760"/>
              <a:gd name="connsiteY2302" fmla="*/ 3218566 h 6407421"/>
              <a:gd name="connsiteX2303" fmla="*/ 1300611 w 11701760"/>
              <a:gd name="connsiteY2303" fmla="*/ 3218566 h 6407421"/>
              <a:gd name="connsiteX2304" fmla="*/ 6881367 w 11701760"/>
              <a:gd name="connsiteY2304" fmla="*/ 3189074 h 6407421"/>
              <a:gd name="connsiteX2305" fmla="*/ 6910970 w 11701760"/>
              <a:gd name="connsiteY2305" fmla="*/ 3189074 h 6407421"/>
              <a:gd name="connsiteX2306" fmla="*/ 6910970 w 11701760"/>
              <a:gd name="connsiteY2306" fmla="*/ 3218566 h 6407421"/>
              <a:gd name="connsiteX2307" fmla="*/ 6881367 w 11701760"/>
              <a:gd name="connsiteY2307" fmla="*/ 3218566 h 6407421"/>
              <a:gd name="connsiteX2308" fmla="*/ 1034520 w 11701760"/>
              <a:gd name="connsiteY2308" fmla="*/ 3189074 h 6407421"/>
              <a:gd name="connsiteX2309" fmla="*/ 1064123 w 11701760"/>
              <a:gd name="connsiteY2309" fmla="*/ 3189074 h 6407421"/>
              <a:gd name="connsiteX2310" fmla="*/ 1064123 w 11701760"/>
              <a:gd name="connsiteY2310" fmla="*/ 3218566 h 6407421"/>
              <a:gd name="connsiteX2311" fmla="*/ 1034520 w 11701760"/>
              <a:gd name="connsiteY2311" fmla="*/ 3218566 h 6407421"/>
              <a:gd name="connsiteX2312" fmla="*/ 6615170 w 11701760"/>
              <a:gd name="connsiteY2312" fmla="*/ 3189073 h 6407421"/>
              <a:gd name="connsiteX2313" fmla="*/ 6644773 w 11701760"/>
              <a:gd name="connsiteY2313" fmla="*/ 3189073 h 6407421"/>
              <a:gd name="connsiteX2314" fmla="*/ 6644773 w 11701760"/>
              <a:gd name="connsiteY2314" fmla="*/ 3218566 h 6407421"/>
              <a:gd name="connsiteX2315" fmla="*/ 6615170 w 11701760"/>
              <a:gd name="connsiteY2315" fmla="*/ 3218566 h 6407421"/>
              <a:gd name="connsiteX2316" fmla="*/ 768327 w 11701760"/>
              <a:gd name="connsiteY2316" fmla="*/ 3189073 h 6407421"/>
              <a:gd name="connsiteX2317" fmla="*/ 797926 w 11701760"/>
              <a:gd name="connsiteY2317" fmla="*/ 3189073 h 6407421"/>
              <a:gd name="connsiteX2318" fmla="*/ 797926 w 11701760"/>
              <a:gd name="connsiteY2318" fmla="*/ 3218566 h 6407421"/>
              <a:gd name="connsiteX2319" fmla="*/ 768327 w 11701760"/>
              <a:gd name="connsiteY2319" fmla="*/ 3218566 h 6407421"/>
              <a:gd name="connsiteX2320" fmla="*/ 6349081 w 11701760"/>
              <a:gd name="connsiteY2320" fmla="*/ 3189072 h 6407421"/>
              <a:gd name="connsiteX2321" fmla="*/ 6378683 w 11701760"/>
              <a:gd name="connsiteY2321" fmla="*/ 3189072 h 6407421"/>
              <a:gd name="connsiteX2322" fmla="*/ 6378683 w 11701760"/>
              <a:gd name="connsiteY2322" fmla="*/ 3218566 h 6407421"/>
              <a:gd name="connsiteX2323" fmla="*/ 6349081 w 11701760"/>
              <a:gd name="connsiteY2323" fmla="*/ 3218566 h 6407421"/>
              <a:gd name="connsiteX2324" fmla="*/ 502236 w 11701760"/>
              <a:gd name="connsiteY2324" fmla="*/ 3189072 h 6407421"/>
              <a:gd name="connsiteX2325" fmla="*/ 531839 w 11701760"/>
              <a:gd name="connsiteY2325" fmla="*/ 3189072 h 6407421"/>
              <a:gd name="connsiteX2326" fmla="*/ 531839 w 11701760"/>
              <a:gd name="connsiteY2326" fmla="*/ 3218566 h 6407421"/>
              <a:gd name="connsiteX2327" fmla="*/ 502236 w 11701760"/>
              <a:gd name="connsiteY2327" fmla="*/ 3218566 h 6407421"/>
              <a:gd name="connsiteX2328" fmla="*/ 6082884 w 11701760"/>
              <a:gd name="connsiteY2328" fmla="*/ 3189071 h 6407421"/>
              <a:gd name="connsiteX2329" fmla="*/ 6112486 w 11701760"/>
              <a:gd name="connsiteY2329" fmla="*/ 3189071 h 6407421"/>
              <a:gd name="connsiteX2330" fmla="*/ 6112486 w 11701760"/>
              <a:gd name="connsiteY2330" fmla="*/ 3218566 h 6407421"/>
              <a:gd name="connsiteX2331" fmla="*/ 6082884 w 11701760"/>
              <a:gd name="connsiteY2331" fmla="*/ 3218566 h 6407421"/>
              <a:gd name="connsiteX2332" fmla="*/ 236037 w 11701760"/>
              <a:gd name="connsiteY2332" fmla="*/ 3189071 h 6407421"/>
              <a:gd name="connsiteX2333" fmla="*/ 265639 w 11701760"/>
              <a:gd name="connsiteY2333" fmla="*/ 3189071 h 6407421"/>
              <a:gd name="connsiteX2334" fmla="*/ 265639 w 11701760"/>
              <a:gd name="connsiteY2334" fmla="*/ 3218566 h 6407421"/>
              <a:gd name="connsiteX2335" fmla="*/ 236037 w 11701760"/>
              <a:gd name="connsiteY2335" fmla="*/ 3218566 h 6407421"/>
              <a:gd name="connsiteX2336" fmla="*/ 1 w 11701760"/>
              <a:gd name="connsiteY2336" fmla="*/ 3189071 h 6407421"/>
              <a:gd name="connsiteX2337" fmla="*/ 29603 w 11701760"/>
              <a:gd name="connsiteY2337" fmla="*/ 3189071 h 6407421"/>
              <a:gd name="connsiteX2338" fmla="*/ 29603 w 11701760"/>
              <a:gd name="connsiteY2338" fmla="*/ 3218566 h 6407421"/>
              <a:gd name="connsiteX2339" fmla="*/ 1 w 11701760"/>
              <a:gd name="connsiteY2339" fmla="*/ 3218566 h 6407421"/>
              <a:gd name="connsiteX2340" fmla="*/ 11672158 w 11701760"/>
              <a:gd name="connsiteY2340" fmla="*/ 2923329 h 6407421"/>
              <a:gd name="connsiteX2341" fmla="*/ 11701760 w 11701760"/>
              <a:gd name="connsiteY2341" fmla="*/ 2923329 h 6407421"/>
              <a:gd name="connsiteX2342" fmla="*/ 11701760 w 11701760"/>
              <a:gd name="connsiteY2342" fmla="*/ 2952824 h 6407421"/>
              <a:gd name="connsiteX2343" fmla="*/ 11672158 w 11701760"/>
              <a:gd name="connsiteY2343" fmla="*/ 2952824 h 6407421"/>
              <a:gd name="connsiteX2344" fmla="*/ 5825310 w 11701760"/>
              <a:gd name="connsiteY2344" fmla="*/ 2923329 h 6407421"/>
              <a:gd name="connsiteX2345" fmla="*/ 5854913 w 11701760"/>
              <a:gd name="connsiteY2345" fmla="*/ 2923329 h 6407421"/>
              <a:gd name="connsiteX2346" fmla="*/ 5854913 w 11701760"/>
              <a:gd name="connsiteY2346" fmla="*/ 2952824 h 6407421"/>
              <a:gd name="connsiteX2347" fmla="*/ 5825310 w 11701760"/>
              <a:gd name="connsiteY2347" fmla="*/ 2952824 h 6407421"/>
              <a:gd name="connsiteX2348" fmla="*/ 11405961 w 11701760"/>
              <a:gd name="connsiteY2348" fmla="*/ 2923328 h 6407421"/>
              <a:gd name="connsiteX2349" fmla="*/ 11435563 w 11701760"/>
              <a:gd name="connsiteY2349" fmla="*/ 2923328 h 6407421"/>
              <a:gd name="connsiteX2350" fmla="*/ 11435563 w 11701760"/>
              <a:gd name="connsiteY2350" fmla="*/ 2952823 h 6407421"/>
              <a:gd name="connsiteX2351" fmla="*/ 11405961 w 11701760"/>
              <a:gd name="connsiteY2351" fmla="*/ 2952823 h 6407421"/>
              <a:gd name="connsiteX2352" fmla="*/ 5559113 w 11701760"/>
              <a:gd name="connsiteY2352" fmla="*/ 2923328 h 6407421"/>
              <a:gd name="connsiteX2353" fmla="*/ 5588715 w 11701760"/>
              <a:gd name="connsiteY2353" fmla="*/ 2923328 h 6407421"/>
              <a:gd name="connsiteX2354" fmla="*/ 5588715 w 11701760"/>
              <a:gd name="connsiteY2354" fmla="*/ 2952823 h 6407421"/>
              <a:gd name="connsiteX2355" fmla="*/ 5559113 w 11701760"/>
              <a:gd name="connsiteY2355" fmla="*/ 2952823 h 6407421"/>
              <a:gd name="connsiteX2356" fmla="*/ 11139872 w 11701760"/>
              <a:gd name="connsiteY2356" fmla="*/ 2923327 h 6407421"/>
              <a:gd name="connsiteX2357" fmla="*/ 11169474 w 11701760"/>
              <a:gd name="connsiteY2357" fmla="*/ 2923327 h 6407421"/>
              <a:gd name="connsiteX2358" fmla="*/ 11169474 w 11701760"/>
              <a:gd name="connsiteY2358" fmla="*/ 2952822 h 6407421"/>
              <a:gd name="connsiteX2359" fmla="*/ 11139872 w 11701760"/>
              <a:gd name="connsiteY2359" fmla="*/ 2952822 h 6407421"/>
              <a:gd name="connsiteX2360" fmla="*/ 5293024 w 11701760"/>
              <a:gd name="connsiteY2360" fmla="*/ 2923327 h 6407421"/>
              <a:gd name="connsiteX2361" fmla="*/ 5322626 w 11701760"/>
              <a:gd name="connsiteY2361" fmla="*/ 2923327 h 6407421"/>
              <a:gd name="connsiteX2362" fmla="*/ 5322626 w 11701760"/>
              <a:gd name="connsiteY2362" fmla="*/ 2952822 h 6407421"/>
              <a:gd name="connsiteX2363" fmla="*/ 5293024 w 11701760"/>
              <a:gd name="connsiteY2363" fmla="*/ 2952822 h 6407421"/>
              <a:gd name="connsiteX2364" fmla="*/ 10873675 w 11701760"/>
              <a:gd name="connsiteY2364" fmla="*/ 2923326 h 6407421"/>
              <a:gd name="connsiteX2365" fmla="*/ 10903277 w 11701760"/>
              <a:gd name="connsiteY2365" fmla="*/ 2923326 h 6407421"/>
              <a:gd name="connsiteX2366" fmla="*/ 10903277 w 11701760"/>
              <a:gd name="connsiteY2366" fmla="*/ 2952821 h 6407421"/>
              <a:gd name="connsiteX2367" fmla="*/ 10873675 w 11701760"/>
              <a:gd name="connsiteY2367" fmla="*/ 2952821 h 6407421"/>
              <a:gd name="connsiteX2368" fmla="*/ 5026827 w 11701760"/>
              <a:gd name="connsiteY2368" fmla="*/ 2923326 h 6407421"/>
              <a:gd name="connsiteX2369" fmla="*/ 5056429 w 11701760"/>
              <a:gd name="connsiteY2369" fmla="*/ 2923326 h 6407421"/>
              <a:gd name="connsiteX2370" fmla="*/ 5056429 w 11701760"/>
              <a:gd name="connsiteY2370" fmla="*/ 2952821 h 6407421"/>
              <a:gd name="connsiteX2371" fmla="*/ 5026827 w 11701760"/>
              <a:gd name="connsiteY2371" fmla="*/ 2952821 h 6407421"/>
              <a:gd name="connsiteX2372" fmla="*/ 10607478 w 11701760"/>
              <a:gd name="connsiteY2372" fmla="*/ 2923325 h 6407421"/>
              <a:gd name="connsiteX2373" fmla="*/ 10637188 w 11701760"/>
              <a:gd name="connsiteY2373" fmla="*/ 2923325 h 6407421"/>
              <a:gd name="connsiteX2374" fmla="*/ 10637188 w 11701760"/>
              <a:gd name="connsiteY2374" fmla="*/ 2952820 h 6407421"/>
              <a:gd name="connsiteX2375" fmla="*/ 10607478 w 11701760"/>
              <a:gd name="connsiteY2375" fmla="*/ 2952820 h 6407421"/>
              <a:gd name="connsiteX2376" fmla="*/ 4760630 w 11701760"/>
              <a:gd name="connsiteY2376" fmla="*/ 2923325 h 6407421"/>
              <a:gd name="connsiteX2377" fmla="*/ 4790340 w 11701760"/>
              <a:gd name="connsiteY2377" fmla="*/ 2923325 h 6407421"/>
              <a:gd name="connsiteX2378" fmla="*/ 4790340 w 11701760"/>
              <a:gd name="connsiteY2378" fmla="*/ 2952820 h 6407421"/>
              <a:gd name="connsiteX2379" fmla="*/ 4760630 w 11701760"/>
              <a:gd name="connsiteY2379" fmla="*/ 2952820 h 6407421"/>
              <a:gd name="connsiteX2380" fmla="*/ 10341389 w 11701760"/>
              <a:gd name="connsiteY2380" fmla="*/ 2923323 h 6407421"/>
              <a:gd name="connsiteX2381" fmla="*/ 10370992 w 11701760"/>
              <a:gd name="connsiteY2381" fmla="*/ 2923323 h 6407421"/>
              <a:gd name="connsiteX2382" fmla="*/ 10370992 w 11701760"/>
              <a:gd name="connsiteY2382" fmla="*/ 2952819 h 6407421"/>
              <a:gd name="connsiteX2383" fmla="*/ 10341389 w 11701760"/>
              <a:gd name="connsiteY2383" fmla="*/ 2952819 h 6407421"/>
              <a:gd name="connsiteX2384" fmla="*/ 4494541 w 11701760"/>
              <a:gd name="connsiteY2384" fmla="*/ 2923323 h 6407421"/>
              <a:gd name="connsiteX2385" fmla="*/ 4524144 w 11701760"/>
              <a:gd name="connsiteY2385" fmla="*/ 2923323 h 6407421"/>
              <a:gd name="connsiteX2386" fmla="*/ 4524144 w 11701760"/>
              <a:gd name="connsiteY2386" fmla="*/ 2952819 h 6407421"/>
              <a:gd name="connsiteX2387" fmla="*/ 4494541 w 11701760"/>
              <a:gd name="connsiteY2387" fmla="*/ 2952819 h 6407421"/>
              <a:gd name="connsiteX2388" fmla="*/ 10075192 w 11701760"/>
              <a:gd name="connsiteY2388" fmla="*/ 2923322 h 6407421"/>
              <a:gd name="connsiteX2389" fmla="*/ 10104794 w 11701760"/>
              <a:gd name="connsiteY2389" fmla="*/ 2923322 h 6407421"/>
              <a:gd name="connsiteX2390" fmla="*/ 10104794 w 11701760"/>
              <a:gd name="connsiteY2390" fmla="*/ 2952818 h 6407421"/>
              <a:gd name="connsiteX2391" fmla="*/ 10075192 w 11701760"/>
              <a:gd name="connsiteY2391" fmla="*/ 2952818 h 6407421"/>
              <a:gd name="connsiteX2392" fmla="*/ 4228344 w 11701760"/>
              <a:gd name="connsiteY2392" fmla="*/ 2923322 h 6407421"/>
              <a:gd name="connsiteX2393" fmla="*/ 4257946 w 11701760"/>
              <a:gd name="connsiteY2393" fmla="*/ 2923322 h 6407421"/>
              <a:gd name="connsiteX2394" fmla="*/ 4257946 w 11701760"/>
              <a:gd name="connsiteY2394" fmla="*/ 2952818 h 6407421"/>
              <a:gd name="connsiteX2395" fmla="*/ 4228344 w 11701760"/>
              <a:gd name="connsiteY2395" fmla="*/ 2952818 h 6407421"/>
              <a:gd name="connsiteX2396" fmla="*/ 9809103 w 11701760"/>
              <a:gd name="connsiteY2396" fmla="*/ 2923321 h 6407421"/>
              <a:gd name="connsiteX2397" fmla="*/ 9838705 w 11701760"/>
              <a:gd name="connsiteY2397" fmla="*/ 2923321 h 6407421"/>
              <a:gd name="connsiteX2398" fmla="*/ 9838705 w 11701760"/>
              <a:gd name="connsiteY2398" fmla="*/ 2952817 h 6407421"/>
              <a:gd name="connsiteX2399" fmla="*/ 9809103 w 11701760"/>
              <a:gd name="connsiteY2399" fmla="*/ 2952817 h 6407421"/>
              <a:gd name="connsiteX2400" fmla="*/ 3962255 w 11701760"/>
              <a:gd name="connsiteY2400" fmla="*/ 2923321 h 6407421"/>
              <a:gd name="connsiteX2401" fmla="*/ 3991857 w 11701760"/>
              <a:gd name="connsiteY2401" fmla="*/ 2923321 h 6407421"/>
              <a:gd name="connsiteX2402" fmla="*/ 3991857 w 11701760"/>
              <a:gd name="connsiteY2402" fmla="*/ 2952817 h 6407421"/>
              <a:gd name="connsiteX2403" fmla="*/ 3962255 w 11701760"/>
              <a:gd name="connsiteY2403" fmla="*/ 2952817 h 6407421"/>
              <a:gd name="connsiteX2404" fmla="*/ 9542906 w 11701760"/>
              <a:gd name="connsiteY2404" fmla="*/ 2923320 h 6407421"/>
              <a:gd name="connsiteX2405" fmla="*/ 9572509 w 11701760"/>
              <a:gd name="connsiteY2405" fmla="*/ 2923320 h 6407421"/>
              <a:gd name="connsiteX2406" fmla="*/ 9572509 w 11701760"/>
              <a:gd name="connsiteY2406" fmla="*/ 2952815 h 6407421"/>
              <a:gd name="connsiteX2407" fmla="*/ 9542906 w 11701760"/>
              <a:gd name="connsiteY2407" fmla="*/ 2952815 h 6407421"/>
              <a:gd name="connsiteX2408" fmla="*/ 3696058 w 11701760"/>
              <a:gd name="connsiteY2408" fmla="*/ 2923320 h 6407421"/>
              <a:gd name="connsiteX2409" fmla="*/ 3725661 w 11701760"/>
              <a:gd name="connsiteY2409" fmla="*/ 2923320 h 6407421"/>
              <a:gd name="connsiteX2410" fmla="*/ 3725661 w 11701760"/>
              <a:gd name="connsiteY2410" fmla="*/ 2952815 h 6407421"/>
              <a:gd name="connsiteX2411" fmla="*/ 3696058 w 11701760"/>
              <a:gd name="connsiteY2411" fmla="*/ 2952815 h 6407421"/>
              <a:gd name="connsiteX2412" fmla="*/ 9276817 w 11701760"/>
              <a:gd name="connsiteY2412" fmla="*/ 2923319 h 6407421"/>
              <a:gd name="connsiteX2413" fmla="*/ 9306420 w 11701760"/>
              <a:gd name="connsiteY2413" fmla="*/ 2923319 h 6407421"/>
              <a:gd name="connsiteX2414" fmla="*/ 9306420 w 11701760"/>
              <a:gd name="connsiteY2414" fmla="*/ 2952814 h 6407421"/>
              <a:gd name="connsiteX2415" fmla="*/ 9276817 w 11701760"/>
              <a:gd name="connsiteY2415" fmla="*/ 2952814 h 6407421"/>
              <a:gd name="connsiteX2416" fmla="*/ 3429969 w 11701760"/>
              <a:gd name="connsiteY2416" fmla="*/ 2923319 h 6407421"/>
              <a:gd name="connsiteX2417" fmla="*/ 3459572 w 11701760"/>
              <a:gd name="connsiteY2417" fmla="*/ 2923319 h 6407421"/>
              <a:gd name="connsiteX2418" fmla="*/ 3459572 w 11701760"/>
              <a:gd name="connsiteY2418" fmla="*/ 2952814 h 6407421"/>
              <a:gd name="connsiteX2419" fmla="*/ 3429969 w 11701760"/>
              <a:gd name="connsiteY2419" fmla="*/ 2952814 h 6407421"/>
              <a:gd name="connsiteX2420" fmla="*/ 9010620 w 11701760"/>
              <a:gd name="connsiteY2420" fmla="*/ 2923318 h 6407421"/>
              <a:gd name="connsiteX2421" fmla="*/ 9040222 w 11701760"/>
              <a:gd name="connsiteY2421" fmla="*/ 2923318 h 6407421"/>
              <a:gd name="connsiteX2422" fmla="*/ 9040222 w 11701760"/>
              <a:gd name="connsiteY2422" fmla="*/ 2952813 h 6407421"/>
              <a:gd name="connsiteX2423" fmla="*/ 9010620 w 11701760"/>
              <a:gd name="connsiteY2423" fmla="*/ 2952813 h 6407421"/>
              <a:gd name="connsiteX2424" fmla="*/ 3163772 w 11701760"/>
              <a:gd name="connsiteY2424" fmla="*/ 2923318 h 6407421"/>
              <a:gd name="connsiteX2425" fmla="*/ 3193374 w 11701760"/>
              <a:gd name="connsiteY2425" fmla="*/ 2923318 h 6407421"/>
              <a:gd name="connsiteX2426" fmla="*/ 3193374 w 11701760"/>
              <a:gd name="connsiteY2426" fmla="*/ 2952813 h 6407421"/>
              <a:gd name="connsiteX2427" fmla="*/ 3163772 w 11701760"/>
              <a:gd name="connsiteY2427" fmla="*/ 2952813 h 6407421"/>
              <a:gd name="connsiteX2428" fmla="*/ 8744423 w 11701760"/>
              <a:gd name="connsiteY2428" fmla="*/ 2923317 h 6407421"/>
              <a:gd name="connsiteX2429" fmla="*/ 8774026 w 11701760"/>
              <a:gd name="connsiteY2429" fmla="*/ 2923317 h 6407421"/>
              <a:gd name="connsiteX2430" fmla="*/ 8774026 w 11701760"/>
              <a:gd name="connsiteY2430" fmla="*/ 2952812 h 6407421"/>
              <a:gd name="connsiteX2431" fmla="*/ 8744423 w 11701760"/>
              <a:gd name="connsiteY2431" fmla="*/ 2952812 h 6407421"/>
              <a:gd name="connsiteX2432" fmla="*/ 2897575 w 11701760"/>
              <a:gd name="connsiteY2432" fmla="*/ 2923317 h 6407421"/>
              <a:gd name="connsiteX2433" fmla="*/ 2927178 w 11701760"/>
              <a:gd name="connsiteY2433" fmla="*/ 2923317 h 6407421"/>
              <a:gd name="connsiteX2434" fmla="*/ 2927178 w 11701760"/>
              <a:gd name="connsiteY2434" fmla="*/ 2952812 h 6407421"/>
              <a:gd name="connsiteX2435" fmla="*/ 2897575 w 11701760"/>
              <a:gd name="connsiteY2435" fmla="*/ 2952812 h 6407421"/>
              <a:gd name="connsiteX2436" fmla="*/ 8478226 w 11701760"/>
              <a:gd name="connsiteY2436" fmla="*/ 2923316 h 6407421"/>
              <a:gd name="connsiteX2437" fmla="*/ 8507828 w 11701760"/>
              <a:gd name="connsiteY2437" fmla="*/ 2923316 h 6407421"/>
              <a:gd name="connsiteX2438" fmla="*/ 8507828 w 11701760"/>
              <a:gd name="connsiteY2438" fmla="*/ 2952811 h 6407421"/>
              <a:gd name="connsiteX2439" fmla="*/ 8478226 w 11701760"/>
              <a:gd name="connsiteY2439" fmla="*/ 2952811 h 6407421"/>
              <a:gd name="connsiteX2440" fmla="*/ 2631378 w 11701760"/>
              <a:gd name="connsiteY2440" fmla="*/ 2923316 h 6407421"/>
              <a:gd name="connsiteX2441" fmla="*/ 2660980 w 11701760"/>
              <a:gd name="connsiteY2441" fmla="*/ 2923316 h 6407421"/>
              <a:gd name="connsiteX2442" fmla="*/ 2660980 w 11701760"/>
              <a:gd name="connsiteY2442" fmla="*/ 2952811 h 6407421"/>
              <a:gd name="connsiteX2443" fmla="*/ 2631378 w 11701760"/>
              <a:gd name="connsiteY2443" fmla="*/ 2952811 h 6407421"/>
              <a:gd name="connsiteX2444" fmla="*/ 8212137 w 11701760"/>
              <a:gd name="connsiteY2444" fmla="*/ 2923315 h 6407421"/>
              <a:gd name="connsiteX2445" fmla="*/ 8241740 w 11701760"/>
              <a:gd name="connsiteY2445" fmla="*/ 2923315 h 6407421"/>
              <a:gd name="connsiteX2446" fmla="*/ 8241740 w 11701760"/>
              <a:gd name="connsiteY2446" fmla="*/ 2952810 h 6407421"/>
              <a:gd name="connsiteX2447" fmla="*/ 8212137 w 11701760"/>
              <a:gd name="connsiteY2447" fmla="*/ 2952810 h 6407421"/>
              <a:gd name="connsiteX2448" fmla="*/ 2365289 w 11701760"/>
              <a:gd name="connsiteY2448" fmla="*/ 2923315 h 6407421"/>
              <a:gd name="connsiteX2449" fmla="*/ 2394892 w 11701760"/>
              <a:gd name="connsiteY2449" fmla="*/ 2923315 h 6407421"/>
              <a:gd name="connsiteX2450" fmla="*/ 2394892 w 11701760"/>
              <a:gd name="connsiteY2450" fmla="*/ 2952810 h 6407421"/>
              <a:gd name="connsiteX2451" fmla="*/ 2365289 w 11701760"/>
              <a:gd name="connsiteY2451" fmla="*/ 2952810 h 6407421"/>
              <a:gd name="connsiteX2452" fmla="*/ 7945940 w 11701760"/>
              <a:gd name="connsiteY2452" fmla="*/ 2923314 h 6407421"/>
              <a:gd name="connsiteX2453" fmla="*/ 7975543 w 11701760"/>
              <a:gd name="connsiteY2453" fmla="*/ 2923314 h 6407421"/>
              <a:gd name="connsiteX2454" fmla="*/ 7975543 w 11701760"/>
              <a:gd name="connsiteY2454" fmla="*/ 2952809 h 6407421"/>
              <a:gd name="connsiteX2455" fmla="*/ 7945940 w 11701760"/>
              <a:gd name="connsiteY2455" fmla="*/ 2952809 h 6407421"/>
              <a:gd name="connsiteX2456" fmla="*/ 2099092 w 11701760"/>
              <a:gd name="connsiteY2456" fmla="*/ 2923314 h 6407421"/>
              <a:gd name="connsiteX2457" fmla="*/ 2128695 w 11701760"/>
              <a:gd name="connsiteY2457" fmla="*/ 2923314 h 6407421"/>
              <a:gd name="connsiteX2458" fmla="*/ 2128695 w 11701760"/>
              <a:gd name="connsiteY2458" fmla="*/ 2952809 h 6407421"/>
              <a:gd name="connsiteX2459" fmla="*/ 2099092 w 11701760"/>
              <a:gd name="connsiteY2459" fmla="*/ 2952809 h 6407421"/>
              <a:gd name="connsiteX2460" fmla="*/ 7679743 w 11701760"/>
              <a:gd name="connsiteY2460" fmla="*/ 2923313 h 6407421"/>
              <a:gd name="connsiteX2461" fmla="*/ 7709346 w 11701760"/>
              <a:gd name="connsiteY2461" fmla="*/ 2923313 h 6407421"/>
              <a:gd name="connsiteX2462" fmla="*/ 7709346 w 11701760"/>
              <a:gd name="connsiteY2462" fmla="*/ 2952808 h 6407421"/>
              <a:gd name="connsiteX2463" fmla="*/ 7679743 w 11701760"/>
              <a:gd name="connsiteY2463" fmla="*/ 2952808 h 6407421"/>
              <a:gd name="connsiteX2464" fmla="*/ 1832898 w 11701760"/>
              <a:gd name="connsiteY2464" fmla="*/ 2923313 h 6407421"/>
              <a:gd name="connsiteX2465" fmla="*/ 1862498 w 11701760"/>
              <a:gd name="connsiteY2465" fmla="*/ 2923313 h 6407421"/>
              <a:gd name="connsiteX2466" fmla="*/ 1862498 w 11701760"/>
              <a:gd name="connsiteY2466" fmla="*/ 2952808 h 6407421"/>
              <a:gd name="connsiteX2467" fmla="*/ 1832898 w 11701760"/>
              <a:gd name="connsiteY2467" fmla="*/ 2952808 h 6407421"/>
              <a:gd name="connsiteX2468" fmla="*/ 7413653 w 11701760"/>
              <a:gd name="connsiteY2468" fmla="*/ 2923312 h 6407421"/>
              <a:gd name="connsiteX2469" fmla="*/ 7443256 w 11701760"/>
              <a:gd name="connsiteY2469" fmla="*/ 2923312 h 6407421"/>
              <a:gd name="connsiteX2470" fmla="*/ 7443256 w 11701760"/>
              <a:gd name="connsiteY2470" fmla="*/ 2952807 h 6407421"/>
              <a:gd name="connsiteX2471" fmla="*/ 7413653 w 11701760"/>
              <a:gd name="connsiteY2471" fmla="*/ 2952807 h 6407421"/>
              <a:gd name="connsiteX2472" fmla="*/ 1566808 w 11701760"/>
              <a:gd name="connsiteY2472" fmla="*/ 2923312 h 6407421"/>
              <a:gd name="connsiteX2473" fmla="*/ 1596409 w 11701760"/>
              <a:gd name="connsiteY2473" fmla="*/ 2923312 h 6407421"/>
              <a:gd name="connsiteX2474" fmla="*/ 1596409 w 11701760"/>
              <a:gd name="connsiteY2474" fmla="*/ 2952807 h 6407421"/>
              <a:gd name="connsiteX2475" fmla="*/ 1566808 w 11701760"/>
              <a:gd name="connsiteY2475" fmla="*/ 2952807 h 6407421"/>
              <a:gd name="connsiteX2476" fmla="*/ 7147456 w 11701760"/>
              <a:gd name="connsiteY2476" fmla="*/ 2923311 h 6407421"/>
              <a:gd name="connsiteX2477" fmla="*/ 7177058 w 11701760"/>
              <a:gd name="connsiteY2477" fmla="*/ 2923311 h 6407421"/>
              <a:gd name="connsiteX2478" fmla="*/ 7177058 w 11701760"/>
              <a:gd name="connsiteY2478" fmla="*/ 2952806 h 6407421"/>
              <a:gd name="connsiteX2479" fmla="*/ 7147456 w 11701760"/>
              <a:gd name="connsiteY2479" fmla="*/ 2952806 h 6407421"/>
              <a:gd name="connsiteX2480" fmla="*/ 1300611 w 11701760"/>
              <a:gd name="connsiteY2480" fmla="*/ 2923311 h 6407421"/>
              <a:gd name="connsiteX2481" fmla="*/ 1330213 w 11701760"/>
              <a:gd name="connsiteY2481" fmla="*/ 2923311 h 6407421"/>
              <a:gd name="connsiteX2482" fmla="*/ 1330213 w 11701760"/>
              <a:gd name="connsiteY2482" fmla="*/ 2952806 h 6407421"/>
              <a:gd name="connsiteX2483" fmla="*/ 1300611 w 11701760"/>
              <a:gd name="connsiteY2483" fmla="*/ 2952806 h 6407421"/>
              <a:gd name="connsiteX2484" fmla="*/ 6881367 w 11701760"/>
              <a:gd name="connsiteY2484" fmla="*/ 2923310 h 6407421"/>
              <a:gd name="connsiteX2485" fmla="*/ 6910970 w 11701760"/>
              <a:gd name="connsiteY2485" fmla="*/ 2923310 h 6407421"/>
              <a:gd name="connsiteX2486" fmla="*/ 6910970 w 11701760"/>
              <a:gd name="connsiteY2486" fmla="*/ 2952805 h 6407421"/>
              <a:gd name="connsiteX2487" fmla="*/ 6881367 w 11701760"/>
              <a:gd name="connsiteY2487" fmla="*/ 2952805 h 6407421"/>
              <a:gd name="connsiteX2488" fmla="*/ 1034520 w 11701760"/>
              <a:gd name="connsiteY2488" fmla="*/ 2923310 h 6407421"/>
              <a:gd name="connsiteX2489" fmla="*/ 1064123 w 11701760"/>
              <a:gd name="connsiteY2489" fmla="*/ 2923310 h 6407421"/>
              <a:gd name="connsiteX2490" fmla="*/ 1064123 w 11701760"/>
              <a:gd name="connsiteY2490" fmla="*/ 2952805 h 6407421"/>
              <a:gd name="connsiteX2491" fmla="*/ 1034520 w 11701760"/>
              <a:gd name="connsiteY2491" fmla="*/ 2952805 h 6407421"/>
              <a:gd name="connsiteX2492" fmla="*/ 6615170 w 11701760"/>
              <a:gd name="connsiteY2492" fmla="*/ 2923309 h 6407421"/>
              <a:gd name="connsiteX2493" fmla="*/ 6644773 w 11701760"/>
              <a:gd name="connsiteY2493" fmla="*/ 2923309 h 6407421"/>
              <a:gd name="connsiteX2494" fmla="*/ 6644773 w 11701760"/>
              <a:gd name="connsiteY2494" fmla="*/ 2952804 h 6407421"/>
              <a:gd name="connsiteX2495" fmla="*/ 6615170 w 11701760"/>
              <a:gd name="connsiteY2495" fmla="*/ 2952804 h 6407421"/>
              <a:gd name="connsiteX2496" fmla="*/ 768327 w 11701760"/>
              <a:gd name="connsiteY2496" fmla="*/ 2923309 h 6407421"/>
              <a:gd name="connsiteX2497" fmla="*/ 797926 w 11701760"/>
              <a:gd name="connsiteY2497" fmla="*/ 2923309 h 6407421"/>
              <a:gd name="connsiteX2498" fmla="*/ 797926 w 11701760"/>
              <a:gd name="connsiteY2498" fmla="*/ 2952804 h 6407421"/>
              <a:gd name="connsiteX2499" fmla="*/ 768327 w 11701760"/>
              <a:gd name="connsiteY2499" fmla="*/ 2952804 h 6407421"/>
              <a:gd name="connsiteX2500" fmla="*/ 6349081 w 11701760"/>
              <a:gd name="connsiteY2500" fmla="*/ 2923308 h 6407421"/>
              <a:gd name="connsiteX2501" fmla="*/ 6378683 w 11701760"/>
              <a:gd name="connsiteY2501" fmla="*/ 2923308 h 6407421"/>
              <a:gd name="connsiteX2502" fmla="*/ 6378683 w 11701760"/>
              <a:gd name="connsiteY2502" fmla="*/ 2952803 h 6407421"/>
              <a:gd name="connsiteX2503" fmla="*/ 6349081 w 11701760"/>
              <a:gd name="connsiteY2503" fmla="*/ 2952803 h 6407421"/>
              <a:gd name="connsiteX2504" fmla="*/ 502236 w 11701760"/>
              <a:gd name="connsiteY2504" fmla="*/ 2923308 h 6407421"/>
              <a:gd name="connsiteX2505" fmla="*/ 531838 w 11701760"/>
              <a:gd name="connsiteY2505" fmla="*/ 2923308 h 6407421"/>
              <a:gd name="connsiteX2506" fmla="*/ 531838 w 11701760"/>
              <a:gd name="connsiteY2506" fmla="*/ 2952803 h 6407421"/>
              <a:gd name="connsiteX2507" fmla="*/ 502236 w 11701760"/>
              <a:gd name="connsiteY2507" fmla="*/ 2952803 h 6407421"/>
              <a:gd name="connsiteX2508" fmla="*/ 6082884 w 11701760"/>
              <a:gd name="connsiteY2508" fmla="*/ 2923307 h 6407421"/>
              <a:gd name="connsiteX2509" fmla="*/ 6112486 w 11701760"/>
              <a:gd name="connsiteY2509" fmla="*/ 2923307 h 6407421"/>
              <a:gd name="connsiteX2510" fmla="*/ 6112486 w 11701760"/>
              <a:gd name="connsiteY2510" fmla="*/ 2952802 h 6407421"/>
              <a:gd name="connsiteX2511" fmla="*/ 6082884 w 11701760"/>
              <a:gd name="connsiteY2511" fmla="*/ 2952802 h 6407421"/>
              <a:gd name="connsiteX2512" fmla="*/ 236037 w 11701760"/>
              <a:gd name="connsiteY2512" fmla="*/ 2923307 h 6407421"/>
              <a:gd name="connsiteX2513" fmla="*/ 265639 w 11701760"/>
              <a:gd name="connsiteY2513" fmla="*/ 2923307 h 6407421"/>
              <a:gd name="connsiteX2514" fmla="*/ 265639 w 11701760"/>
              <a:gd name="connsiteY2514" fmla="*/ 2952802 h 6407421"/>
              <a:gd name="connsiteX2515" fmla="*/ 236037 w 11701760"/>
              <a:gd name="connsiteY2515" fmla="*/ 2952802 h 6407421"/>
              <a:gd name="connsiteX2516" fmla="*/ 1 w 11701760"/>
              <a:gd name="connsiteY2516" fmla="*/ 2923307 h 6407421"/>
              <a:gd name="connsiteX2517" fmla="*/ 29603 w 11701760"/>
              <a:gd name="connsiteY2517" fmla="*/ 2923307 h 6407421"/>
              <a:gd name="connsiteX2518" fmla="*/ 29603 w 11701760"/>
              <a:gd name="connsiteY2518" fmla="*/ 2952802 h 6407421"/>
              <a:gd name="connsiteX2519" fmla="*/ 1 w 11701760"/>
              <a:gd name="connsiteY2519" fmla="*/ 2952802 h 6407421"/>
              <a:gd name="connsiteX2520" fmla="*/ 11672158 w 11701760"/>
              <a:gd name="connsiteY2520" fmla="*/ 2657500 h 6407421"/>
              <a:gd name="connsiteX2521" fmla="*/ 11701760 w 11701760"/>
              <a:gd name="connsiteY2521" fmla="*/ 2657500 h 6407421"/>
              <a:gd name="connsiteX2522" fmla="*/ 11701760 w 11701760"/>
              <a:gd name="connsiteY2522" fmla="*/ 2687101 h 6407421"/>
              <a:gd name="connsiteX2523" fmla="*/ 11672158 w 11701760"/>
              <a:gd name="connsiteY2523" fmla="*/ 2687101 h 6407421"/>
              <a:gd name="connsiteX2524" fmla="*/ 5825310 w 11701760"/>
              <a:gd name="connsiteY2524" fmla="*/ 2657500 h 6407421"/>
              <a:gd name="connsiteX2525" fmla="*/ 5854913 w 11701760"/>
              <a:gd name="connsiteY2525" fmla="*/ 2657500 h 6407421"/>
              <a:gd name="connsiteX2526" fmla="*/ 5854913 w 11701760"/>
              <a:gd name="connsiteY2526" fmla="*/ 2687101 h 6407421"/>
              <a:gd name="connsiteX2527" fmla="*/ 5825310 w 11701760"/>
              <a:gd name="connsiteY2527" fmla="*/ 2687101 h 6407421"/>
              <a:gd name="connsiteX2528" fmla="*/ 11405961 w 11701760"/>
              <a:gd name="connsiteY2528" fmla="*/ 2657497 h 6407421"/>
              <a:gd name="connsiteX2529" fmla="*/ 11435563 w 11701760"/>
              <a:gd name="connsiteY2529" fmla="*/ 2657497 h 6407421"/>
              <a:gd name="connsiteX2530" fmla="*/ 11435563 w 11701760"/>
              <a:gd name="connsiteY2530" fmla="*/ 2687099 h 6407421"/>
              <a:gd name="connsiteX2531" fmla="*/ 11405961 w 11701760"/>
              <a:gd name="connsiteY2531" fmla="*/ 2687099 h 6407421"/>
              <a:gd name="connsiteX2532" fmla="*/ 5559113 w 11701760"/>
              <a:gd name="connsiteY2532" fmla="*/ 2657497 h 6407421"/>
              <a:gd name="connsiteX2533" fmla="*/ 5588715 w 11701760"/>
              <a:gd name="connsiteY2533" fmla="*/ 2657497 h 6407421"/>
              <a:gd name="connsiteX2534" fmla="*/ 5588715 w 11701760"/>
              <a:gd name="connsiteY2534" fmla="*/ 2687099 h 6407421"/>
              <a:gd name="connsiteX2535" fmla="*/ 5559113 w 11701760"/>
              <a:gd name="connsiteY2535" fmla="*/ 2687099 h 6407421"/>
              <a:gd name="connsiteX2536" fmla="*/ 11139872 w 11701760"/>
              <a:gd name="connsiteY2536" fmla="*/ 2657494 h 6407421"/>
              <a:gd name="connsiteX2537" fmla="*/ 11169474 w 11701760"/>
              <a:gd name="connsiteY2537" fmla="*/ 2657494 h 6407421"/>
              <a:gd name="connsiteX2538" fmla="*/ 11169474 w 11701760"/>
              <a:gd name="connsiteY2538" fmla="*/ 2687096 h 6407421"/>
              <a:gd name="connsiteX2539" fmla="*/ 11139872 w 11701760"/>
              <a:gd name="connsiteY2539" fmla="*/ 2687096 h 6407421"/>
              <a:gd name="connsiteX2540" fmla="*/ 5293024 w 11701760"/>
              <a:gd name="connsiteY2540" fmla="*/ 2657494 h 6407421"/>
              <a:gd name="connsiteX2541" fmla="*/ 5322626 w 11701760"/>
              <a:gd name="connsiteY2541" fmla="*/ 2657494 h 6407421"/>
              <a:gd name="connsiteX2542" fmla="*/ 5322626 w 11701760"/>
              <a:gd name="connsiteY2542" fmla="*/ 2687096 h 6407421"/>
              <a:gd name="connsiteX2543" fmla="*/ 5293024 w 11701760"/>
              <a:gd name="connsiteY2543" fmla="*/ 2687096 h 6407421"/>
              <a:gd name="connsiteX2544" fmla="*/ 10873675 w 11701760"/>
              <a:gd name="connsiteY2544" fmla="*/ 2657491 h 6407421"/>
              <a:gd name="connsiteX2545" fmla="*/ 10903277 w 11701760"/>
              <a:gd name="connsiteY2545" fmla="*/ 2657491 h 6407421"/>
              <a:gd name="connsiteX2546" fmla="*/ 10903277 w 11701760"/>
              <a:gd name="connsiteY2546" fmla="*/ 2687093 h 6407421"/>
              <a:gd name="connsiteX2547" fmla="*/ 10873675 w 11701760"/>
              <a:gd name="connsiteY2547" fmla="*/ 2687093 h 6407421"/>
              <a:gd name="connsiteX2548" fmla="*/ 5026827 w 11701760"/>
              <a:gd name="connsiteY2548" fmla="*/ 2657491 h 6407421"/>
              <a:gd name="connsiteX2549" fmla="*/ 5056429 w 11701760"/>
              <a:gd name="connsiteY2549" fmla="*/ 2657491 h 6407421"/>
              <a:gd name="connsiteX2550" fmla="*/ 5056429 w 11701760"/>
              <a:gd name="connsiteY2550" fmla="*/ 2687093 h 6407421"/>
              <a:gd name="connsiteX2551" fmla="*/ 5026827 w 11701760"/>
              <a:gd name="connsiteY2551" fmla="*/ 2687093 h 6407421"/>
              <a:gd name="connsiteX2552" fmla="*/ 10607478 w 11701760"/>
              <a:gd name="connsiteY2552" fmla="*/ 2657488 h 6407421"/>
              <a:gd name="connsiteX2553" fmla="*/ 10637188 w 11701760"/>
              <a:gd name="connsiteY2553" fmla="*/ 2657488 h 6407421"/>
              <a:gd name="connsiteX2554" fmla="*/ 10637188 w 11701760"/>
              <a:gd name="connsiteY2554" fmla="*/ 2687090 h 6407421"/>
              <a:gd name="connsiteX2555" fmla="*/ 10607478 w 11701760"/>
              <a:gd name="connsiteY2555" fmla="*/ 2687090 h 6407421"/>
              <a:gd name="connsiteX2556" fmla="*/ 4760630 w 11701760"/>
              <a:gd name="connsiteY2556" fmla="*/ 2657488 h 6407421"/>
              <a:gd name="connsiteX2557" fmla="*/ 4790340 w 11701760"/>
              <a:gd name="connsiteY2557" fmla="*/ 2657488 h 6407421"/>
              <a:gd name="connsiteX2558" fmla="*/ 4790340 w 11701760"/>
              <a:gd name="connsiteY2558" fmla="*/ 2687090 h 6407421"/>
              <a:gd name="connsiteX2559" fmla="*/ 4760630 w 11701760"/>
              <a:gd name="connsiteY2559" fmla="*/ 2687090 h 6407421"/>
              <a:gd name="connsiteX2560" fmla="*/ 10341389 w 11701760"/>
              <a:gd name="connsiteY2560" fmla="*/ 2657485 h 6407421"/>
              <a:gd name="connsiteX2561" fmla="*/ 10370992 w 11701760"/>
              <a:gd name="connsiteY2561" fmla="*/ 2657485 h 6407421"/>
              <a:gd name="connsiteX2562" fmla="*/ 10370992 w 11701760"/>
              <a:gd name="connsiteY2562" fmla="*/ 2687087 h 6407421"/>
              <a:gd name="connsiteX2563" fmla="*/ 10341389 w 11701760"/>
              <a:gd name="connsiteY2563" fmla="*/ 2687087 h 6407421"/>
              <a:gd name="connsiteX2564" fmla="*/ 4494541 w 11701760"/>
              <a:gd name="connsiteY2564" fmla="*/ 2657485 h 6407421"/>
              <a:gd name="connsiteX2565" fmla="*/ 4524144 w 11701760"/>
              <a:gd name="connsiteY2565" fmla="*/ 2657485 h 6407421"/>
              <a:gd name="connsiteX2566" fmla="*/ 4524144 w 11701760"/>
              <a:gd name="connsiteY2566" fmla="*/ 2687087 h 6407421"/>
              <a:gd name="connsiteX2567" fmla="*/ 4494541 w 11701760"/>
              <a:gd name="connsiteY2567" fmla="*/ 2687087 h 6407421"/>
              <a:gd name="connsiteX2568" fmla="*/ 10075192 w 11701760"/>
              <a:gd name="connsiteY2568" fmla="*/ 2657482 h 6407421"/>
              <a:gd name="connsiteX2569" fmla="*/ 10104794 w 11701760"/>
              <a:gd name="connsiteY2569" fmla="*/ 2657482 h 6407421"/>
              <a:gd name="connsiteX2570" fmla="*/ 10104794 w 11701760"/>
              <a:gd name="connsiteY2570" fmla="*/ 2687083 h 6407421"/>
              <a:gd name="connsiteX2571" fmla="*/ 10075192 w 11701760"/>
              <a:gd name="connsiteY2571" fmla="*/ 2687083 h 6407421"/>
              <a:gd name="connsiteX2572" fmla="*/ 4228344 w 11701760"/>
              <a:gd name="connsiteY2572" fmla="*/ 2657482 h 6407421"/>
              <a:gd name="connsiteX2573" fmla="*/ 4257946 w 11701760"/>
              <a:gd name="connsiteY2573" fmla="*/ 2657482 h 6407421"/>
              <a:gd name="connsiteX2574" fmla="*/ 4257946 w 11701760"/>
              <a:gd name="connsiteY2574" fmla="*/ 2687083 h 6407421"/>
              <a:gd name="connsiteX2575" fmla="*/ 4228344 w 11701760"/>
              <a:gd name="connsiteY2575" fmla="*/ 2687083 h 6407421"/>
              <a:gd name="connsiteX2576" fmla="*/ 9809103 w 11701760"/>
              <a:gd name="connsiteY2576" fmla="*/ 2657478 h 6407421"/>
              <a:gd name="connsiteX2577" fmla="*/ 9838705 w 11701760"/>
              <a:gd name="connsiteY2577" fmla="*/ 2657478 h 6407421"/>
              <a:gd name="connsiteX2578" fmla="*/ 9838705 w 11701760"/>
              <a:gd name="connsiteY2578" fmla="*/ 2687080 h 6407421"/>
              <a:gd name="connsiteX2579" fmla="*/ 9809103 w 11701760"/>
              <a:gd name="connsiteY2579" fmla="*/ 2687080 h 6407421"/>
              <a:gd name="connsiteX2580" fmla="*/ 3962255 w 11701760"/>
              <a:gd name="connsiteY2580" fmla="*/ 2657478 h 6407421"/>
              <a:gd name="connsiteX2581" fmla="*/ 3991857 w 11701760"/>
              <a:gd name="connsiteY2581" fmla="*/ 2657478 h 6407421"/>
              <a:gd name="connsiteX2582" fmla="*/ 3991857 w 11701760"/>
              <a:gd name="connsiteY2582" fmla="*/ 2687080 h 6407421"/>
              <a:gd name="connsiteX2583" fmla="*/ 3962255 w 11701760"/>
              <a:gd name="connsiteY2583" fmla="*/ 2687080 h 6407421"/>
              <a:gd name="connsiteX2584" fmla="*/ 9542906 w 11701760"/>
              <a:gd name="connsiteY2584" fmla="*/ 2657475 h 6407421"/>
              <a:gd name="connsiteX2585" fmla="*/ 9572509 w 11701760"/>
              <a:gd name="connsiteY2585" fmla="*/ 2657475 h 6407421"/>
              <a:gd name="connsiteX2586" fmla="*/ 9572509 w 11701760"/>
              <a:gd name="connsiteY2586" fmla="*/ 2687077 h 6407421"/>
              <a:gd name="connsiteX2587" fmla="*/ 9542906 w 11701760"/>
              <a:gd name="connsiteY2587" fmla="*/ 2687077 h 6407421"/>
              <a:gd name="connsiteX2588" fmla="*/ 3696058 w 11701760"/>
              <a:gd name="connsiteY2588" fmla="*/ 2657475 h 6407421"/>
              <a:gd name="connsiteX2589" fmla="*/ 3725661 w 11701760"/>
              <a:gd name="connsiteY2589" fmla="*/ 2657475 h 6407421"/>
              <a:gd name="connsiteX2590" fmla="*/ 3725661 w 11701760"/>
              <a:gd name="connsiteY2590" fmla="*/ 2687077 h 6407421"/>
              <a:gd name="connsiteX2591" fmla="*/ 3696058 w 11701760"/>
              <a:gd name="connsiteY2591" fmla="*/ 2687077 h 6407421"/>
              <a:gd name="connsiteX2592" fmla="*/ 9276817 w 11701760"/>
              <a:gd name="connsiteY2592" fmla="*/ 2657472 h 6407421"/>
              <a:gd name="connsiteX2593" fmla="*/ 9306420 w 11701760"/>
              <a:gd name="connsiteY2593" fmla="*/ 2657472 h 6407421"/>
              <a:gd name="connsiteX2594" fmla="*/ 9306420 w 11701760"/>
              <a:gd name="connsiteY2594" fmla="*/ 2687074 h 6407421"/>
              <a:gd name="connsiteX2595" fmla="*/ 9276817 w 11701760"/>
              <a:gd name="connsiteY2595" fmla="*/ 2687074 h 6407421"/>
              <a:gd name="connsiteX2596" fmla="*/ 3429969 w 11701760"/>
              <a:gd name="connsiteY2596" fmla="*/ 2657472 h 6407421"/>
              <a:gd name="connsiteX2597" fmla="*/ 3459572 w 11701760"/>
              <a:gd name="connsiteY2597" fmla="*/ 2657472 h 6407421"/>
              <a:gd name="connsiteX2598" fmla="*/ 3459572 w 11701760"/>
              <a:gd name="connsiteY2598" fmla="*/ 2687074 h 6407421"/>
              <a:gd name="connsiteX2599" fmla="*/ 3429969 w 11701760"/>
              <a:gd name="connsiteY2599" fmla="*/ 2687074 h 6407421"/>
              <a:gd name="connsiteX2600" fmla="*/ 9010620 w 11701760"/>
              <a:gd name="connsiteY2600" fmla="*/ 2657469 h 6407421"/>
              <a:gd name="connsiteX2601" fmla="*/ 9040222 w 11701760"/>
              <a:gd name="connsiteY2601" fmla="*/ 2657469 h 6407421"/>
              <a:gd name="connsiteX2602" fmla="*/ 9040222 w 11701760"/>
              <a:gd name="connsiteY2602" fmla="*/ 2687071 h 6407421"/>
              <a:gd name="connsiteX2603" fmla="*/ 9010620 w 11701760"/>
              <a:gd name="connsiteY2603" fmla="*/ 2687071 h 6407421"/>
              <a:gd name="connsiteX2604" fmla="*/ 3163772 w 11701760"/>
              <a:gd name="connsiteY2604" fmla="*/ 2657469 h 6407421"/>
              <a:gd name="connsiteX2605" fmla="*/ 3193374 w 11701760"/>
              <a:gd name="connsiteY2605" fmla="*/ 2657469 h 6407421"/>
              <a:gd name="connsiteX2606" fmla="*/ 3193374 w 11701760"/>
              <a:gd name="connsiteY2606" fmla="*/ 2687071 h 6407421"/>
              <a:gd name="connsiteX2607" fmla="*/ 3163772 w 11701760"/>
              <a:gd name="connsiteY2607" fmla="*/ 2687071 h 6407421"/>
              <a:gd name="connsiteX2608" fmla="*/ 8744423 w 11701760"/>
              <a:gd name="connsiteY2608" fmla="*/ 2657466 h 6407421"/>
              <a:gd name="connsiteX2609" fmla="*/ 8774026 w 11701760"/>
              <a:gd name="connsiteY2609" fmla="*/ 2657466 h 6407421"/>
              <a:gd name="connsiteX2610" fmla="*/ 8774026 w 11701760"/>
              <a:gd name="connsiteY2610" fmla="*/ 2687068 h 6407421"/>
              <a:gd name="connsiteX2611" fmla="*/ 8744423 w 11701760"/>
              <a:gd name="connsiteY2611" fmla="*/ 2687068 h 6407421"/>
              <a:gd name="connsiteX2612" fmla="*/ 2897575 w 11701760"/>
              <a:gd name="connsiteY2612" fmla="*/ 2657466 h 6407421"/>
              <a:gd name="connsiteX2613" fmla="*/ 2927178 w 11701760"/>
              <a:gd name="connsiteY2613" fmla="*/ 2657466 h 6407421"/>
              <a:gd name="connsiteX2614" fmla="*/ 2927178 w 11701760"/>
              <a:gd name="connsiteY2614" fmla="*/ 2687068 h 6407421"/>
              <a:gd name="connsiteX2615" fmla="*/ 2897575 w 11701760"/>
              <a:gd name="connsiteY2615" fmla="*/ 2687068 h 6407421"/>
              <a:gd name="connsiteX2616" fmla="*/ 8478226 w 11701760"/>
              <a:gd name="connsiteY2616" fmla="*/ 2657462 h 6407421"/>
              <a:gd name="connsiteX2617" fmla="*/ 8507828 w 11701760"/>
              <a:gd name="connsiteY2617" fmla="*/ 2657462 h 6407421"/>
              <a:gd name="connsiteX2618" fmla="*/ 8507828 w 11701760"/>
              <a:gd name="connsiteY2618" fmla="*/ 2687064 h 6407421"/>
              <a:gd name="connsiteX2619" fmla="*/ 8478226 w 11701760"/>
              <a:gd name="connsiteY2619" fmla="*/ 2687064 h 6407421"/>
              <a:gd name="connsiteX2620" fmla="*/ 2631378 w 11701760"/>
              <a:gd name="connsiteY2620" fmla="*/ 2657462 h 6407421"/>
              <a:gd name="connsiteX2621" fmla="*/ 2660980 w 11701760"/>
              <a:gd name="connsiteY2621" fmla="*/ 2657462 h 6407421"/>
              <a:gd name="connsiteX2622" fmla="*/ 2660980 w 11701760"/>
              <a:gd name="connsiteY2622" fmla="*/ 2687064 h 6407421"/>
              <a:gd name="connsiteX2623" fmla="*/ 2631378 w 11701760"/>
              <a:gd name="connsiteY2623" fmla="*/ 2687064 h 6407421"/>
              <a:gd name="connsiteX2624" fmla="*/ 8212137 w 11701760"/>
              <a:gd name="connsiteY2624" fmla="*/ 2657459 h 6407421"/>
              <a:gd name="connsiteX2625" fmla="*/ 8241740 w 11701760"/>
              <a:gd name="connsiteY2625" fmla="*/ 2657459 h 6407421"/>
              <a:gd name="connsiteX2626" fmla="*/ 8241740 w 11701760"/>
              <a:gd name="connsiteY2626" fmla="*/ 2687061 h 6407421"/>
              <a:gd name="connsiteX2627" fmla="*/ 8212137 w 11701760"/>
              <a:gd name="connsiteY2627" fmla="*/ 2687061 h 6407421"/>
              <a:gd name="connsiteX2628" fmla="*/ 2365289 w 11701760"/>
              <a:gd name="connsiteY2628" fmla="*/ 2657459 h 6407421"/>
              <a:gd name="connsiteX2629" fmla="*/ 2394892 w 11701760"/>
              <a:gd name="connsiteY2629" fmla="*/ 2657459 h 6407421"/>
              <a:gd name="connsiteX2630" fmla="*/ 2394892 w 11701760"/>
              <a:gd name="connsiteY2630" fmla="*/ 2687061 h 6407421"/>
              <a:gd name="connsiteX2631" fmla="*/ 2365289 w 11701760"/>
              <a:gd name="connsiteY2631" fmla="*/ 2687061 h 6407421"/>
              <a:gd name="connsiteX2632" fmla="*/ 7945940 w 11701760"/>
              <a:gd name="connsiteY2632" fmla="*/ 2657456 h 6407421"/>
              <a:gd name="connsiteX2633" fmla="*/ 7975543 w 11701760"/>
              <a:gd name="connsiteY2633" fmla="*/ 2657456 h 6407421"/>
              <a:gd name="connsiteX2634" fmla="*/ 7975543 w 11701760"/>
              <a:gd name="connsiteY2634" fmla="*/ 2687058 h 6407421"/>
              <a:gd name="connsiteX2635" fmla="*/ 7945940 w 11701760"/>
              <a:gd name="connsiteY2635" fmla="*/ 2687058 h 6407421"/>
              <a:gd name="connsiteX2636" fmla="*/ 2099092 w 11701760"/>
              <a:gd name="connsiteY2636" fmla="*/ 2657456 h 6407421"/>
              <a:gd name="connsiteX2637" fmla="*/ 2128695 w 11701760"/>
              <a:gd name="connsiteY2637" fmla="*/ 2657456 h 6407421"/>
              <a:gd name="connsiteX2638" fmla="*/ 2128695 w 11701760"/>
              <a:gd name="connsiteY2638" fmla="*/ 2687058 h 6407421"/>
              <a:gd name="connsiteX2639" fmla="*/ 2099092 w 11701760"/>
              <a:gd name="connsiteY2639" fmla="*/ 2687058 h 6407421"/>
              <a:gd name="connsiteX2640" fmla="*/ 7679743 w 11701760"/>
              <a:gd name="connsiteY2640" fmla="*/ 2657453 h 6407421"/>
              <a:gd name="connsiteX2641" fmla="*/ 7709346 w 11701760"/>
              <a:gd name="connsiteY2641" fmla="*/ 2657453 h 6407421"/>
              <a:gd name="connsiteX2642" fmla="*/ 7709346 w 11701760"/>
              <a:gd name="connsiteY2642" fmla="*/ 2687055 h 6407421"/>
              <a:gd name="connsiteX2643" fmla="*/ 7679743 w 11701760"/>
              <a:gd name="connsiteY2643" fmla="*/ 2687055 h 6407421"/>
              <a:gd name="connsiteX2644" fmla="*/ 1832898 w 11701760"/>
              <a:gd name="connsiteY2644" fmla="*/ 2657453 h 6407421"/>
              <a:gd name="connsiteX2645" fmla="*/ 1862498 w 11701760"/>
              <a:gd name="connsiteY2645" fmla="*/ 2657453 h 6407421"/>
              <a:gd name="connsiteX2646" fmla="*/ 1862498 w 11701760"/>
              <a:gd name="connsiteY2646" fmla="*/ 2687055 h 6407421"/>
              <a:gd name="connsiteX2647" fmla="*/ 1832898 w 11701760"/>
              <a:gd name="connsiteY2647" fmla="*/ 2687055 h 6407421"/>
              <a:gd name="connsiteX2648" fmla="*/ 7413653 w 11701760"/>
              <a:gd name="connsiteY2648" fmla="*/ 2657450 h 6407421"/>
              <a:gd name="connsiteX2649" fmla="*/ 7443256 w 11701760"/>
              <a:gd name="connsiteY2649" fmla="*/ 2657450 h 6407421"/>
              <a:gd name="connsiteX2650" fmla="*/ 7443256 w 11701760"/>
              <a:gd name="connsiteY2650" fmla="*/ 2687052 h 6407421"/>
              <a:gd name="connsiteX2651" fmla="*/ 7413653 w 11701760"/>
              <a:gd name="connsiteY2651" fmla="*/ 2687052 h 6407421"/>
              <a:gd name="connsiteX2652" fmla="*/ 1566808 w 11701760"/>
              <a:gd name="connsiteY2652" fmla="*/ 2657450 h 6407421"/>
              <a:gd name="connsiteX2653" fmla="*/ 1596409 w 11701760"/>
              <a:gd name="connsiteY2653" fmla="*/ 2657450 h 6407421"/>
              <a:gd name="connsiteX2654" fmla="*/ 1596409 w 11701760"/>
              <a:gd name="connsiteY2654" fmla="*/ 2687052 h 6407421"/>
              <a:gd name="connsiteX2655" fmla="*/ 1566808 w 11701760"/>
              <a:gd name="connsiteY2655" fmla="*/ 2687052 h 6407421"/>
              <a:gd name="connsiteX2656" fmla="*/ 7147456 w 11701760"/>
              <a:gd name="connsiteY2656" fmla="*/ 2657447 h 6407421"/>
              <a:gd name="connsiteX2657" fmla="*/ 7177058 w 11701760"/>
              <a:gd name="connsiteY2657" fmla="*/ 2657447 h 6407421"/>
              <a:gd name="connsiteX2658" fmla="*/ 7177058 w 11701760"/>
              <a:gd name="connsiteY2658" fmla="*/ 2687049 h 6407421"/>
              <a:gd name="connsiteX2659" fmla="*/ 7147456 w 11701760"/>
              <a:gd name="connsiteY2659" fmla="*/ 2687049 h 6407421"/>
              <a:gd name="connsiteX2660" fmla="*/ 1300611 w 11701760"/>
              <a:gd name="connsiteY2660" fmla="*/ 2657447 h 6407421"/>
              <a:gd name="connsiteX2661" fmla="*/ 1330213 w 11701760"/>
              <a:gd name="connsiteY2661" fmla="*/ 2657447 h 6407421"/>
              <a:gd name="connsiteX2662" fmla="*/ 1330213 w 11701760"/>
              <a:gd name="connsiteY2662" fmla="*/ 2687049 h 6407421"/>
              <a:gd name="connsiteX2663" fmla="*/ 1300611 w 11701760"/>
              <a:gd name="connsiteY2663" fmla="*/ 2687049 h 6407421"/>
              <a:gd name="connsiteX2664" fmla="*/ 6881367 w 11701760"/>
              <a:gd name="connsiteY2664" fmla="*/ 2657443 h 6407421"/>
              <a:gd name="connsiteX2665" fmla="*/ 6910970 w 11701760"/>
              <a:gd name="connsiteY2665" fmla="*/ 2657443 h 6407421"/>
              <a:gd name="connsiteX2666" fmla="*/ 6910970 w 11701760"/>
              <a:gd name="connsiteY2666" fmla="*/ 2687045 h 6407421"/>
              <a:gd name="connsiteX2667" fmla="*/ 6881367 w 11701760"/>
              <a:gd name="connsiteY2667" fmla="*/ 2687045 h 6407421"/>
              <a:gd name="connsiteX2668" fmla="*/ 1034520 w 11701760"/>
              <a:gd name="connsiteY2668" fmla="*/ 2657443 h 6407421"/>
              <a:gd name="connsiteX2669" fmla="*/ 1064123 w 11701760"/>
              <a:gd name="connsiteY2669" fmla="*/ 2657443 h 6407421"/>
              <a:gd name="connsiteX2670" fmla="*/ 1064123 w 11701760"/>
              <a:gd name="connsiteY2670" fmla="*/ 2687045 h 6407421"/>
              <a:gd name="connsiteX2671" fmla="*/ 1034520 w 11701760"/>
              <a:gd name="connsiteY2671" fmla="*/ 2687045 h 6407421"/>
              <a:gd name="connsiteX2672" fmla="*/ 6615170 w 11701760"/>
              <a:gd name="connsiteY2672" fmla="*/ 2657440 h 6407421"/>
              <a:gd name="connsiteX2673" fmla="*/ 6644773 w 11701760"/>
              <a:gd name="connsiteY2673" fmla="*/ 2657440 h 6407421"/>
              <a:gd name="connsiteX2674" fmla="*/ 6644773 w 11701760"/>
              <a:gd name="connsiteY2674" fmla="*/ 2687042 h 6407421"/>
              <a:gd name="connsiteX2675" fmla="*/ 6615170 w 11701760"/>
              <a:gd name="connsiteY2675" fmla="*/ 2687042 h 6407421"/>
              <a:gd name="connsiteX2676" fmla="*/ 768327 w 11701760"/>
              <a:gd name="connsiteY2676" fmla="*/ 2657440 h 6407421"/>
              <a:gd name="connsiteX2677" fmla="*/ 797926 w 11701760"/>
              <a:gd name="connsiteY2677" fmla="*/ 2657440 h 6407421"/>
              <a:gd name="connsiteX2678" fmla="*/ 797926 w 11701760"/>
              <a:gd name="connsiteY2678" fmla="*/ 2687042 h 6407421"/>
              <a:gd name="connsiteX2679" fmla="*/ 768327 w 11701760"/>
              <a:gd name="connsiteY2679" fmla="*/ 2687042 h 6407421"/>
              <a:gd name="connsiteX2680" fmla="*/ 6349081 w 11701760"/>
              <a:gd name="connsiteY2680" fmla="*/ 2657437 h 6407421"/>
              <a:gd name="connsiteX2681" fmla="*/ 6378683 w 11701760"/>
              <a:gd name="connsiteY2681" fmla="*/ 2657437 h 6407421"/>
              <a:gd name="connsiteX2682" fmla="*/ 6378683 w 11701760"/>
              <a:gd name="connsiteY2682" fmla="*/ 2687039 h 6407421"/>
              <a:gd name="connsiteX2683" fmla="*/ 6349081 w 11701760"/>
              <a:gd name="connsiteY2683" fmla="*/ 2687039 h 6407421"/>
              <a:gd name="connsiteX2684" fmla="*/ 502236 w 11701760"/>
              <a:gd name="connsiteY2684" fmla="*/ 2657437 h 6407421"/>
              <a:gd name="connsiteX2685" fmla="*/ 531838 w 11701760"/>
              <a:gd name="connsiteY2685" fmla="*/ 2657437 h 6407421"/>
              <a:gd name="connsiteX2686" fmla="*/ 531838 w 11701760"/>
              <a:gd name="connsiteY2686" fmla="*/ 2687039 h 6407421"/>
              <a:gd name="connsiteX2687" fmla="*/ 502236 w 11701760"/>
              <a:gd name="connsiteY2687" fmla="*/ 2687039 h 6407421"/>
              <a:gd name="connsiteX2688" fmla="*/ 6082884 w 11701760"/>
              <a:gd name="connsiteY2688" fmla="*/ 2657434 h 6407421"/>
              <a:gd name="connsiteX2689" fmla="*/ 6112486 w 11701760"/>
              <a:gd name="connsiteY2689" fmla="*/ 2657434 h 6407421"/>
              <a:gd name="connsiteX2690" fmla="*/ 6112486 w 11701760"/>
              <a:gd name="connsiteY2690" fmla="*/ 2687036 h 6407421"/>
              <a:gd name="connsiteX2691" fmla="*/ 6082884 w 11701760"/>
              <a:gd name="connsiteY2691" fmla="*/ 2687036 h 6407421"/>
              <a:gd name="connsiteX2692" fmla="*/ 236037 w 11701760"/>
              <a:gd name="connsiteY2692" fmla="*/ 2657434 h 6407421"/>
              <a:gd name="connsiteX2693" fmla="*/ 265639 w 11701760"/>
              <a:gd name="connsiteY2693" fmla="*/ 2657434 h 6407421"/>
              <a:gd name="connsiteX2694" fmla="*/ 265639 w 11701760"/>
              <a:gd name="connsiteY2694" fmla="*/ 2687036 h 6407421"/>
              <a:gd name="connsiteX2695" fmla="*/ 236037 w 11701760"/>
              <a:gd name="connsiteY2695" fmla="*/ 2687036 h 6407421"/>
              <a:gd name="connsiteX2696" fmla="*/ 1 w 11701760"/>
              <a:gd name="connsiteY2696" fmla="*/ 2657434 h 6407421"/>
              <a:gd name="connsiteX2697" fmla="*/ 29603 w 11701760"/>
              <a:gd name="connsiteY2697" fmla="*/ 2657434 h 6407421"/>
              <a:gd name="connsiteX2698" fmla="*/ 29603 w 11701760"/>
              <a:gd name="connsiteY2698" fmla="*/ 2687036 h 6407421"/>
              <a:gd name="connsiteX2699" fmla="*/ 1 w 11701760"/>
              <a:gd name="connsiteY2699" fmla="*/ 2687036 h 6407421"/>
              <a:gd name="connsiteX2700" fmla="*/ 11672158 w 11701760"/>
              <a:gd name="connsiteY2700" fmla="*/ 2391735 h 6407421"/>
              <a:gd name="connsiteX2701" fmla="*/ 11701760 w 11701760"/>
              <a:gd name="connsiteY2701" fmla="*/ 2391735 h 6407421"/>
              <a:gd name="connsiteX2702" fmla="*/ 11701760 w 11701760"/>
              <a:gd name="connsiteY2702" fmla="*/ 2421368 h 6407421"/>
              <a:gd name="connsiteX2703" fmla="*/ 11672158 w 11701760"/>
              <a:gd name="connsiteY2703" fmla="*/ 2421368 h 6407421"/>
              <a:gd name="connsiteX2704" fmla="*/ 5825310 w 11701760"/>
              <a:gd name="connsiteY2704" fmla="*/ 2391735 h 6407421"/>
              <a:gd name="connsiteX2705" fmla="*/ 5854913 w 11701760"/>
              <a:gd name="connsiteY2705" fmla="*/ 2391735 h 6407421"/>
              <a:gd name="connsiteX2706" fmla="*/ 5854913 w 11701760"/>
              <a:gd name="connsiteY2706" fmla="*/ 2421368 h 6407421"/>
              <a:gd name="connsiteX2707" fmla="*/ 5825310 w 11701760"/>
              <a:gd name="connsiteY2707" fmla="*/ 2421368 h 6407421"/>
              <a:gd name="connsiteX2708" fmla="*/ 11405961 w 11701760"/>
              <a:gd name="connsiteY2708" fmla="*/ 2391732 h 6407421"/>
              <a:gd name="connsiteX2709" fmla="*/ 11435563 w 11701760"/>
              <a:gd name="connsiteY2709" fmla="*/ 2391732 h 6407421"/>
              <a:gd name="connsiteX2710" fmla="*/ 11435563 w 11701760"/>
              <a:gd name="connsiteY2710" fmla="*/ 2421368 h 6407421"/>
              <a:gd name="connsiteX2711" fmla="*/ 11405961 w 11701760"/>
              <a:gd name="connsiteY2711" fmla="*/ 2421368 h 6407421"/>
              <a:gd name="connsiteX2712" fmla="*/ 5559113 w 11701760"/>
              <a:gd name="connsiteY2712" fmla="*/ 2391732 h 6407421"/>
              <a:gd name="connsiteX2713" fmla="*/ 5588715 w 11701760"/>
              <a:gd name="connsiteY2713" fmla="*/ 2391732 h 6407421"/>
              <a:gd name="connsiteX2714" fmla="*/ 5588715 w 11701760"/>
              <a:gd name="connsiteY2714" fmla="*/ 2421368 h 6407421"/>
              <a:gd name="connsiteX2715" fmla="*/ 5559113 w 11701760"/>
              <a:gd name="connsiteY2715" fmla="*/ 2421368 h 6407421"/>
              <a:gd name="connsiteX2716" fmla="*/ 11139872 w 11701760"/>
              <a:gd name="connsiteY2716" fmla="*/ 2391729 h 6407421"/>
              <a:gd name="connsiteX2717" fmla="*/ 11169474 w 11701760"/>
              <a:gd name="connsiteY2717" fmla="*/ 2391729 h 6407421"/>
              <a:gd name="connsiteX2718" fmla="*/ 11169474 w 11701760"/>
              <a:gd name="connsiteY2718" fmla="*/ 2421364 h 6407421"/>
              <a:gd name="connsiteX2719" fmla="*/ 11139872 w 11701760"/>
              <a:gd name="connsiteY2719" fmla="*/ 2421364 h 6407421"/>
              <a:gd name="connsiteX2720" fmla="*/ 5293024 w 11701760"/>
              <a:gd name="connsiteY2720" fmla="*/ 2391729 h 6407421"/>
              <a:gd name="connsiteX2721" fmla="*/ 5322626 w 11701760"/>
              <a:gd name="connsiteY2721" fmla="*/ 2391729 h 6407421"/>
              <a:gd name="connsiteX2722" fmla="*/ 5322626 w 11701760"/>
              <a:gd name="connsiteY2722" fmla="*/ 2421364 h 6407421"/>
              <a:gd name="connsiteX2723" fmla="*/ 5293024 w 11701760"/>
              <a:gd name="connsiteY2723" fmla="*/ 2421364 h 6407421"/>
              <a:gd name="connsiteX2724" fmla="*/ 10873675 w 11701760"/>
              <a:gd name="connsiteY2724" fmla="*/ 2391726 h 6407421"/>
              <a:gd name="connsiteX2725" fmla="*/ 10903277 w 11701760"/>
              <a:gd name="connsiteY2725" fmla="*/ 2391726 h 6407421"/>
              <a:gd name="connsiteX2726" fmla="*/ 10903277 w 11701760"/>
              <a:gd name="connsiteY2726" fmla="*/ 2421359 h 6407421"/>
              <a:gd name="connsiteX2727" fmla="*/ 10873675 w 11701760"/>
              <a:gd name="connsiteY2727" fmla="*/ 2421359 h 6407421"/>
              <a:gd name="connsiteX2728" fmla="*/ 5026827 w 11701760"/>
              <a:gd name="connsiteY2728" fmla="*/ 2391726 h 6407421"/>
              <a:gd name="connsiteX2729" fmla="*/ 5056429 w 11701760"/>
              <a:gd name="connsiteY2729" fmla="*/ 2391726 h 6407421"/>
              <a:gd name="connsiteX2730" fmla="*/ 5056429 w 11701760"/>
              <a:gd name="connsiteY2730" fmla="*/ 2421359 h 6407421"/>
              <a:gd name="connsiteX2731" fmla="*/ 5026827 w 11701760"/>
              <a:gd name="connsiteY2731" fmla="*/ 2421359 h 6407421"/>
              <a:gd name="connsiteX2732" fmla="*/ 10607478 w 11701760"/>
              <a:gd name="connsiteY2732" fmla="*/ 2391725 h 6407421"/>
              <a:gd name="connsiteX2733" fmla="*/ 10637188 w 11701760"/>
              <a:gd name="connsiteY2733" fmla="*/ 2391725 h 6407421"/>
              <a:gd name="connsiteX2734" fmla="*/ 10637188 w 11701760"/>
              <a:gd name="connsiteY2734" fmla="*/ 2421354 h 6407421"/>
              <a:gd name="connsiteX2735" fmla="*/ 10607478 w 11701760"/>
              <a:gd name="connsiteY2735" fmla="*/ 2421354 h 6407421"/>
              <a:gd name="connsiteX2736" fmla="*/ 4760630 w 11701760"/>
              <a:gd name="connsiteY2736" fmla="*/ 2391725 h 6407421"/>
              <a:gd name="connsiteX2737" fmla="*/ 4790340 w 11701760"/>
              <a:gd name="connsiteY2737" fmla="*/ 2391725 h 6407421"/>
              <a:gd name="connsiteX2738" fmla="*/ 4790340 w 11701760"/>
              <a:gd name="connsiteY2738" fmla="*/ 2421354 h 6407421"/>
              <a:gd name="connsiteX2739" fmla="*/ 4760630 w 11701760"/>
              <a:gd name="connsiteY2739" fmla="*/ 2421354 h 6407421"/>
              <a:gd name="connsiteX2740" fmla="*/ 10341389 w 11701760"/>
              <a:gd name="connsiteY2740" fmla="*/ 2391720 h 6407421"/>
              <a:gd name="connsiteX2741" fmla="*/ 10370992 w 11701760"/>
              <a:gd name="connsiteY2741" fmla="*/ 2391720 h 6407421"/>
              <a:gd name="connsiteX2742" fmla="*/ 10370992 w 11701760"/>
              <a:gd name="connsiteY2742" fmla="*/ 2421349 h 6407421"/>
              <a:gd name="connsiteX2743" fmla="*/ 10341389 w 11701760"/>
              <a:gd name="connsiteY2743" fmla="*/ 2421349 h 6407421"/>
              <a:gd name="connsiteX2744" fmla="*/ 4494541 w 11701760"/>
              <a:gd name="connsiteY2744" fmla="*/ 2391720 h 6407421"/>
              <a:gd name="connsiteX2745" fmla="*/ 4524144 w 11701760"/>
              <a:gd name="connsiteY2745" fmla="*/ 2391720 h 6407421"/>
              <a:gd name="connsiteX2746" fmla="*/ 4524144 w 11701760"/>
              <a:gd name="connsiteY2746" fmla="*/ 2421349 h 6407421"/>
              <a:gd name="connsiteX2747" fmla="*/ 4494541 w 11701760"/>
              <a:gd name="connsiteY2747" fmla="*/ 2421349 h 6407421"/>
              <a:gd name="connsiteX2748" fmla="*/ 10075192 w 11701760"/>
              <a:gd name="connsiteY2748" fmla="*/ 2391716 h 6407421"/>
              <a:gd name="connsiteX2749" fmla="*/ 10104794 w 11701760"/>
              <a:gd name="connsiteY2749" fmla="*/ 2391716 h 6407421"/>
              <a:gd name="connsiteX2750" fmla="*/ 10104794 w 11701760"/>
              <a:gd name="connsiteY2750" fmla="*/ 2421345 h 6407421"/>
              <a:gd name="connsiteX2751" fmla="*/ 10075192 w 11701760"/>
              <a:gd name="connsiteY2751" fmla="*/ 2421345 h 6407421"/>
              <a:gd name="connsiteX2752" fmla="*/ 4228344 w 11701760"/>
              <a:gd name="connsiteY2752" fmla="*/ 2391716 h 6407421"/>
              <a:gd name="connsiteX2753" fmla="*/ 4257946 w 11701760"/>
              <a:gd name="connsiteY2753" fmla="*/ 2391716 h 6407421"/>
              <a:gd name="connsiteX2754" fmla="*/ 4257946 w 11701760"/>
              <a:gd name="connsiteY2754" fmla="*/ 2421345 h 6407421"/>
              <a:gd name="connsiteX2755" fmla="*/ 4228344 w 11701760"/>
              <a:gd name="connsiteY2755" fmla="*/ 2421345 h 6407421"/>
              <a:gd name="connsiteX2756" fmla="*/ 9809103 w 11701760"/>
              <a:gd name="connsiteY2756" fmla="*/ 2391713 h 6407421"/>
              <a:gd name="connsiteX2757" fmla="*/ 9838705 w 11701760"/>
              <a:gd name="connsiteY2757" fmla="*/ 2391713 h 6407421"/>
              <a:gd name="connsiteX2758" fmla="*/ 9838705 w 11701760"/>
              <a:gd name="connsiteY2758" fmla="*/ 2421340 h 6407421"/>
              <a:gd name="connsiteX2759" fmla="*/ 9809103 w 11701760"/>
              <a:gd name="connsiteY2759" fmla="*/ 2421340 h 6407421"/>
              <a:gd name="connsiteX2760" fmla="*/ 3962255 w 11701760"/>
              <a:gd name="connsiteY2760" fmla="*/ 2391713 h 6407421"/>
              <a:gd name="connsiteX2761" fmla="*/ 3991857 w 11701760"/>
              <a:gd name="connsiteY2761" fmla="*/ 2391713 h 6407421"/>
              <a:gd name="connsiteX2762" fmla="*/ 3991857 w 11701760"/>
              <a:gd name="connsiteY2762" fmla="*/ 2421340 h 6407421"/>
              <a:gd name="connsiteX2763" fmla="*/ 3962255 w 11701760"/>
              <a:gd name="connsiteY2763" fmla="*/ 2421340 h 6407421"/>
              <a:gd name="connsiteX2764" fmla="*/ 9542906 w 11701760"/>
              <a:gd name="connsiteY2764" fmla="*/ 2391710 h 6407421"/>
              <a:gd name="connsiteX2765" fmla="*/ 9572509 w 11701760"/>
              <a:gd name="connsiteY2765" fmla="*/ 2391710 h 6407421"/>
              <a:gd name="connsiteX2766" fmla="*/ 9572509 w 11701760"/>
              <a:gd name="connsiteY2766" fmla="*/ 2421336 h 6407421"/>
              <a:gd name="connsiteX2767" fmla="*/ 9542906 w 11701760"/>
              <a:gd name="connsiteY2767" fmla="*/ 2421336 h 6407421"/>
              <a:gd name="connsiteX2768" fmla="*/ 3696058 w 11701760"/>
              <a:gd name="connsiteY2768" fmla="*/ 2391710 h 6407421"/>
              <a:gd name="connsiteX2769" fmla="*/ 3725661 w 11701760"/>
              <a:gd name="connsiteY2769" fmla="*/ 2391710 h 6407421"/>
              <a:gd name="connsiteX2770" fmla="*/ 3725661 w 11701760"/>
              <a:gd name="connsiteY2770" fmla="*/ 2421336 h 6407421"/>
              <a:gd name="connsiteX2771" fmla="*/ 3696058 w 11701760"/>
              <a:gd name="connsiteY2771" fmla="*/ 2421336 h 6407421"/>
              <a:gd name="connsiteX2772" fmla="*/ 9276817 w 11701760"/>
              <a:gd name="connsiteY2772" fmla="*/ 2391707 h 6407421"/>
              <a:gd name="connsiteX2773" fmla="*/ 9306420 w 11701760"/>
              <a:gd name="connsiteY2773" fmla="*/ 2391707 h 6407421"/>
              <a:gd name="connsiteX2774" fmla="*/ 9306420 w 11701760"/>
              <a:gd name="connsiteY2774" fmla="*/ 2421331 h 6407421"/>
              <a:gd name="connsiteX2775" fmla="*/ 9276817 w 11701760"/>
              <a:gd name="connsiteY2775" fmla="*/ 2421331 h 6407421"/>
              <a:gd name="connsiteX2776" fmla="*/ 3429969 w 11701760"/>
              <a:gd name="connsiteY2776" fmla="*/ 2391707 h 6407421"/>
              <a:gd name="connsiteX2777" fmla="*/ 3459572 w 11701760"/>
              <a:gd name="connsiteY2777" fmla="*/ 2391707 h 6407421"/>
              <a:gd name="connsiteX2778" fmla="*/ 3459572 w 11701760"/>
              <a:gd name="connsiteY2778" fmla="*/ 2421331 h 6407421"/>
              <a:gd name="connsiteX2779" fmla="*/ 3429969 w 11701760"/>
              <a:gd name="connsiteY2779" fmla="*/ 2421331 h 6407421"/>
              <a:gd name="connsiteX2780" fmla="*/ 9010620 w 11701760"/>
              <a:gd name="connsiteY2780" fmla="*/ 2391706 h 6407421"/>
              <a:gd name="connsiteX2781" fmla="*/ 9040222 w 11701760"/>
              <a:gd name="connsiteY2781" fmla="*/ 2391706 h 6407421"/>
              <a:gd name="connsiteX2782" fmla="*/ 9040222 w 11701760"/>
              <a:gd name="connsiteY2782" fmla="*/ 2421326 h 6407421"/>
              <a:gd name="connsiteX2783" fmla="*/ 9010620 w 11701760"/>
              <a:gd name="connsiteY2783" fmla="*/ 2421326 h 6407421"/>
              <a:gd name="connsiteX2784" fmla="*/ 3163772 w 11701760"/>
              <a:gd name="connsiteY2784" fmla="*/ 2391706 h 6407421"/>
              <a:gd name="connsiteX2785" fmla="*/ 3193374 w 11701760"/>
              <a:gd name="connsiteY2785" fmla="*/ 2391706 h 6407421"/>
              <a:gd name="connsiteX2786" fmla="*/ 3193374 w 11701760"/>
              <a:gd name="connsiteY2786" fmla="*/ 2421326 h 6407421"/>
              <a:gd name="connsiteX2787" fmla="*/ 3163772 w 11701760"/>
              <a:gd name="connsiteY2787" fmla="*/ 2421326 h 6407421"/>
              <a:gd name="connsiteX2788" fmla="*/ 8744423 w 11701760"/>
              <a:gd name="connsiteY2788" fmla="*/ 2391701 h 6407421"/>
              <a:gd name="connsiteX2789" fmla="*/ 8774026 w 11701760"/>
              <a:gd name="connsiteY2789" fmla="*/ 2391701 h 6407421"/>
              <a:gd name="connsiteX2790" fmla="*/ 8774026 w 11701760"/>
              <a:gd name="connsiteY2790" fmla="*/ 2421321 h 6407421"/>
              <a:gd name="connsiteX2791" fmla="*/ 8744423 w 11701760"/>
              <a:gd name="connsiteY2791" fmla="*/ 2421321 h 6407421"/>
              <a:gd name="connsiteX2792" fmla="*/ 2897575 w 11701760"/>
              <a:gd name="connsiteY2792" fmla="*/ 2391701 h 6407421"/>
              <a:gd name="connsiteX2793" fmla="*/ 2927178 w 11701760"/>
              <a:gd name="connsiteY2793" fmla="*/ 2391701 h 6407421"/>
              <a:gd name="connsiteX2794" fmla="*/ 2927178 w 11701760"/>
              <a:gd name="connsiteY2794" fmla="*/ 2421321 h 6407421"/>
              <a:gd name="connsiteX2795" fmla="*/ 2897575 w 11701760"/>
              <a:gd name="connsiteY2795" fmla="*/ 2421321 h 6407421"/>
              <a:gd name="connsiteX2796" fmla="*/ 8478226 w 11701760"/>
              <a:gd name="connsiteY2796" fmla="*/ 2391697 h 6407421"/>
              <a:gd name="connsiteX2797" fmla="*/ 8507828 w 11701760"/>
              <a:gd name="connsiteY2797" fmla="*/ 2391697 h 6407421"/>
              <a:gd name="connsiteX2798" fmla="*/ 8507828 w 11701760"/>
              <a:gd name="connsiteY2798" fmla="*/ 2421317 h 6407421"/>
              <a:gd name="connsiteX2799" fmla="*/ 8478226 w 11701760"/>
              <a:gd name="connsiteY2799" fmla="*/ 2421317 h 6407421"/>
              <a:gd name="connsiteX2800" fmla="*/ 2631378 w 11701760"/>
              <a:gd name="connsiteY2800" fmla="*/ 2391697 h 6407421"/>
              <a:gd name="connsiteX2801" fmla="*/ 2660980 w 11701760"/>
              <a:gd name="connsiteY2801" fmla="*/ 2391697 h 6407421"/>
              <a:gd name="connsiteX2802" fmla="*/ 2660980 w 11701760"/>
              <a:gd name="connsiteY2802" fmla="*/ 2421317 h 6407421"/>
              <a:gd name="connsiteX2803" fmla="*/ 2631378 w 11701760"/>
              <a:gd name="connsiteY2803" fmla="*/ 2421317 h 6407421"/>
              <a:gd name="connsiteX2804" fmla="*/ 8212137 w 11701760"/>
              <a:gd name="connsiteY2804" fmla="*/ 2391694 h 6407421"/>
              <a:gd name="connsiteX2805" fmla="*/ 8241740 w 11701760"/>
              <a:gd name="connsiteY2805" fmla="*/ 2391694 h 6407421"/>
              <a:gd name="connsiteX2806" fmla="*/ 8241740 w 11701760"/>
              <a:gd name="connsiteY2806" fmla="*/ 2421312 h 6407421"/>
              <a:gd name="connsiteX2807" fmla="*/ 8212137 w 11701760"/>
              <a:gd name="connsiteY2807" fmla="*/ 2421312 h 6407421"/>
              <a:gd name="connsiteX2808" fmla="*/ 2365289 w 11701760"/>
              <a:gd name="connsiteY2808" fmla="*/ 2391694 h 6407421"/>
              <a:gd name="connsiteX2809" fmla="*/ 2394892 w 11701760"/>
              <a:gd name="connsiteY2809" fmla="*/ 2391694 h 6407421"/>
              <a:gd name="connsiteX2810" fmla="*/ 2394892 w 11701760"/>
              <a:gd name="connsiteY2810" fmla="*/ 2421312 h 6407421"/>
              <a:gd name="connsiteX2811" fmla="*/ 2365289 w 11701760"/>
              <a:gd name="connsiteY2811" fmla="*/ 2421312 h 6407421"/>
              <a:gd name="connsiteX2812" fmla="*/ 7945940 w 11701760"/>
              <a:gd name="connsiteY2812" fmla="*/ 2391691 h 6407421"/>
              <a:gd name="connsiteX2813" fmla="*/ 7975543 w 11701760"/>
              <a:gd name="connsiteY2813" fmla="*/ 2391691 h 6407421"/>
              <a:gd name="connsiteX2814" fmla="*/ 7975543 w 11701760"/>
              <a:gd name="connsiteY2814" fmla="*/ 2421307 h 6407421"/>
              <a:gd name="connsiteX2815" fmla="*/ 7945940 w 11701760"/>
              <a:gd name="connsiteY2815" fmla="*/ 2421307 h 6407421"/>
              <a:gd name="connsiteX2816" fmla="*/ 2099092 w 11701760"/>
              <a:gd name="connsiteY2816" fmla="*/ 2391691 h 6407421"/>
              <a:gd name="connsiteX2817" fmla="*/ 2128695 w 11701760"/>
              <a:gd name="connsiteY2817" fmla="*/ 2391691 h 6407421"/>
              <a:gd name="connsiteX2818" fmla="*/ 2128695 w 11701760"/>
              <a:gd name="connsiteY2818" fmla="*/ 2421307 h 6407421"/>
              <a:gd name="connsiteX2819" fmla="*/ 2099092 w 11701760"/>
              <a:gd name="connsiteY2819" fmla="*/ 2421307 h 6407421"/>
              <a:gd name="connsiteX2820" fmla="*/ 7679743 w 11701760"/>
              <a:gd name="connsiteY2820" fmla="*/ 2391688 h 6407421"/>
              <a:gd name="connsiteX2821" fmla="*/ 7709346 w 11701760"/>
              <a:gd name="connsiteY2821" fmla="*/ 2391688 h 6407421"/>
              <a:gd name="connsiteX2822" fmla="*/ 7709346 w 11701760"/>
              <a:gd name="connsiteY2822" fmla="*/ 2421302 h 6407421"/>
              <a:gd name="connsiteX2823" fmla="*/ 7679743 w 11701760"/>
              <a:gd name="connsiteY2823" fmla="*/ 2421302 h 6407421"/>
              <a:gd name="connsiteX2824" fmla="*/ 1832898 w 11701760"/>
              <a:gd name="connsiteY2824" fmla="*/ 2391688 h 6407421"/>
              <a:gd name="connsiteX2825" fmla="*/ 1862498 w 11701760"/>
              <a:gd name="connsiteY2825" fmla="*/ 2391688 h 6407421"/>
              <a:gd name="connsiteX2826" fmla="*/ 1862498 w 11701760"/>
              <a:gd name="connsiteY2826" fmla="*/ 2421302 h 6407421"/>
              <a:gd name="connsiteX2827" fmla="*/ 1832898 w 11701760"/>
              <a:gd name="connsiteY2827" fmla="*/ 2421302 h 6407421"/>
              <a:gd name="connsiteX2828" fmla="*/ 7413653 w 11701760"/>
              <a:gd name="connsiteY2828" fmla="*/ 2391687 h 6407421"/>
              <a:gd name="connsiteX2829" fmla="*/ 7443256 w 11701760"/>
              <a:gd name="connsiteY2829" fmla="*/ 2391687 h 6407421"/>
              <a:gd name="connsiteX2830" fmla="*/ 7443256 w 11701760"/>
              <a:gd name="connsiteY2830" fmla="*/ 2421298 h 6407421"/>
              <a:gd name="connsiteX2831" fmla="*/ 7413653 w 11701760"/>
              <a:gd name="connsiteY2831" fmla="*/ 2421298 h 6407421"/>
              <a:gd name="connsiteX2832" fmla="*/ 1566808 w 11701760"/>
              <a:gd name="connsiteY2832" fmla="*/ 2391687 h 6407421"/>
              <a:gd name="connsiteX2833" fmla="*/ 1596409 w 11701760"/>
              <a:gd name="connsiteY2833" fmla="*/ 2391687 h 6407421"/>
              <a:gd name="connsiteX2834" fmla="*/ 1596409 w 11701760"/>
              <a:gd name="connsiteY2834" fmla="*/ 2421298 h 6407421"/>
              <a:gd name="connsiteX2835" fmla="*/ 1566808 w 11701760"/>
              <a:gd name="connsiteY2835" fmla="*/ 2421298 h 6407421"/>
              <a:gd name="connsiteX2836" fmla="*/ 7147456 w 11701760"/>
              <a:gd name="connsiteY2836" fmla="*/ 2391682 h 6407421"/>
              <a:gd name="connsiteX2837" fmla="*/ 7177058 w 11701760"/>
              <a:gd name="connsiteY2837" fmla="*/ 2391682 h 6407421"/>
              <a:gd name="connsiteX2838" fmla="*/ 7177058 w 11701760"/>
              <a:gd name="connsiteY2838" fmla="*/ 2421293 h 6407421"/>
              <a:gd name="connsiteX2839" fmla="*/ 7147456 w 11701760"/>
              <a:gd name="connsiteY2839" fmla="*/ 2421293 h 6407421"/>
              <a:gd name="connsiteX2840" fmla="*/ 1300611 w 11701760"/>
              <a:gd name="connsiteY2840" fmla="*/ 2391682 h 6407421"/>
              <a:gd name="connsiteX2841" fmla="*/ 1330213 w 11701760"/>
              <a:gd name="connsiteY2841" fmla="*/ 2391682 h 6407421"/>
              <a:gd name="connsiteX2842" fmla="*/ 1330213 w 11701760"/>
              <a:gd name="connsiteY2842" fmla="*/ 2421293 h 6407421"/>
              <a:gd name="connsiteX2843" fmla="*/ 1300611 w 11701760"/>
              <a:gd name="connsiteY2843" fmla="*/ 2421293 h 6407421"/>
              <a:gd name="connsiteX2844" fmla="*/ 6881367 w 11701760"/>
              <a:gd name="connsiteY2844" fmla="*/ 2391678 h 6407421"/>
              <a:gd name="connsiteX2845" fmla="*/ 6910970 w 11701760"/>
              <a:gd name="connsiteY2845" fmla="*/ 2391678 h 6407421"/>
              <a:gd name="connsiteX2846" fmla="*/ 6910970 w 11701760"/>
              <a:gd name="connsiteY2846" fmla="*/ 2421288 h 6407421"/>
              <a:gd name="connsiteX2847" fmla="*/ 6881367 w 11701760"/>
              <a:gd name="connsiteY2847" fmla="*/ 2421288 h 6407421"/>
              <a:gd name="connsiteX2848" fmla="*/ 1034520 w 11701760"/>
              <a:gd name="connsiteY2848" fmla="*/ 2391678 h 6407421"/>
              <a:gd name="connsiteX2849" fmla="*/ 1064123 w 11701760"/>
              <a:gd name="connsiteY2849" fmla="*/ 2391678 h 6407421"/>
              <a:gd name="connsiteX2850" fmla="*/ 1064123 w 11701760"/>
              <a:gd name="connsiteY2850" fmla="*/ 2421288 h 6407421"/>
              <a:gd name="connsiteX2851" fmla="*/ 1034520 w 11701760"/>
              <a:gd name="connsiteY2851" fmla="*/ 2421288 h 6407421"/>
              <a:gd name="connsiteX2852" fmla="*/ 6615170 w 11701760"/>
              <a:gd name="connsiteY2852" fmla="*/ 2391675 h 6407421"/>
              <a:gd name="connsiteX2853" fmla="*/ 6644773 w 11701760"/>
              <a:gd name="connsiteY2853" fmla="*/ 2391675 h 6407421"/>
              <a:gd name="connsiteX2854" fmla="*/ 6644773 w 11701760"/>
              <a:gd name="connsiteY2854" fmla="*/ 2421283 h 6407421"/>
              <a:gd name="connsiteX2855" fmla="*/ 6615170 w 11701760"/>
              <a:gd name="connsiteY2855" fmla="*/ 2421283 h 6407421"/>
              <a:gd name="connsiteX2856" fmla="*/ 768327 w 11701760"/>
              <a:gd name="connsiteY2856" fmla="*/ 2391675 h 6407421"/>
              <a:gd name="connsiteX2857" fmla="*/ 797926 w 11701760"/>
              <a:gd name="connsiteY2857" fmla="*/ 2391675 h 6407421"/>
              <a:gd name="connsiteX2858" fmla="*/ 797926 w 11701760"/>
              <a:gd name="connsiteY2858" fmla="*/ 2421283 h 6407421"/>
              <a:gd name="connsiteX2859" fmla="*/ 768327 w 11701760"/>
              <a:gd name="connsiteY2859" fmla="*/ 2421283 h 6407421"/>
              <a:gd name="connsiteX2860" fmla="*/ 6349081 w 11701760"/>
              <a:gd name="connsiteY2860" fmla="*/ 2391672 h 6407421"/>
              <a:gd name="connsiteX2861" fmla="*/ 6378683 w 11701760"/>
              <a:gd name="connsiteY2861" fmla="*/ 2391672 h 6407421"/>
              <a:gd name="connsiteX2862" fmla="*/ 6378683 w 11701760"/>
              <a:gd name="connsiteY2862" fmla="*/ 2421278 h 6407421"/>
              <a:gd name="connsiteX2863" fmla="*/ 6349081 w 11701760"/>
              <a:gd name="connsiteY2863" fmla="*/ 2421278 h 6407421"/>
              <a:gd name="connsiteX2864" fmla="*/ 502236 w 11701760"/>
              <a:gd name="connsiteY2864" fmla="*/ 2391672 h 6407421"/>
              <a:gd name="connsiteX2865" fmla="*/ 531838 w 11701760"/>
              <a:gd name="connsiteY2865" fmla="*/ 2391672 h 6407421"/>
              <a:gd name="connsiteX2866" fmla="*/ 531838 w 11701760"/>
              <a:gd name="connsiteY2866" fmla="*/ 2421278 h 6407421"/>
              <a:gd name="connsiteX2867" fmla="*/ 502236 w 11701760"/>
              <a:gd name="connsiteY2867" fmla="*/ 2421278 h 6407421"/>
              <a:gd name="connsiteX2868" fmla="*/ 6082884 w 11701760"/>
              <a:gd name="connsiteY2868" fmla="*/ 2391669 h 6407421"/>
              <a:gd name="connsiteX2869" fmla="*/ 6112486 w 11701760"/>
              <a:gd name="connsiteY2869" fmla="*/ 2391669 h 6407421"/>
              <a:gd name="connsiteX2870" fmla="*/ 6112486 w 11701760"/>
              <a:gd name="connsiteY2870" fmla="*/ 2421272 h 6407421"/>
              <a:gd name="connsiteX2871" fmla="*/ 6082884 w 11701760"/>
              <a:gd name="connsiteY2871" fmla="*/ 2421272 h 6407421"/>
              <a:gd name="connsiteX2872" fmla="*/ 236037 w 11701760"/>
              <a:gd name="connsiteY2872" fmla="*/ 2391669 h 6407421"/>
              <a:gd name="connsiteX2873" fmla="*/ 265639 w 11701760"/>
              <a:gd name="connsiteY2873" fmla="*/ 2391669 h 6407421"/>
              <a:gd name="connsiteX2874" fmla="*/ 265639 w 11701760"/>
              <a:gd name="connsiteY2874" fmla="*/ 2421272 h 6407421"/>
              <a:gd name="connsiteX2875" fmla="*/ 236037 w 11701760"/>
              <a:gd name="connsiteY2875" fmla="*/ 2421272 h 6407421"/>
              <a:gd name="connsiteX2876" fmla="*/ 1 w 11701760"/>
              <a:gd name="connsiteY2876" fmla="*/ 2391669 h 6407421"/>
              <a:gd name="connsiteX2877" fmla="*/ 29603 w 11701760"/>
              <a:gd name="connsiteY2877" fmla="*/ 2391669 h 6407421"/>
              <a:gd name="connsiteX2878" fmla="*/ 29603 w 11701760"/>
              <a:gd name="connsiteY2878" fmla="*/ 2421272 h 6407421"/>
              <a:gd name="connsiteX2879" fmla="*/ 1 w 11701760"/>
              <a:gd name="connsiteY2879" fmla="*/ 2421272 h 6407421"/>
              <a:gd name="connsiteX2880" fmla="*/ 11672158 w 11701760"/>
              <a:gd name="connsiteY2880" fmla="*/ 2126064 h 6407421"/>
              <a:gd name="connsiteX2881" fmla="*/ 11701760 w 11701760"/>
              <a:gd name="connsiteY2881" fmla="*/ 2126064 h 6407421"/>
              <a:gd name="connsiteX2882" fmla="*/ 11701760 w 11701760"/>
              <a:gd name="connsiteY2882" fmla="*/ 2155577 h 6407421"/>
              <a:gd name="connsiteX2883" fmla="*/ 11672158 w 11701760"/>
              <a:gd name="connsiteY2883" fmla="*/ 2155577 h 6407421"/>
              <a:gd name="connsiteX2884" fmla="*/ 5825310 w 11701760"/>
              <a:gd name="connsiteY2884" fmla="*/ 2126064 h 6407421"/>
              <a:gd name="connsiteX2885" fmla="*/ 5854913 w 11701760"/>
              <a:gd name="connsiteY2885" fmla="*/ 2126064 h 6407421"/>
              <a:gd name="connsiteX2886" fmla="*/ 5854913 w 11701760"/>
              <a:gd name="connsiteY2886" fmla="*/ 2155577 h 6407421"/>
              <a:gd name="connsiteX2887" fmla="*/ 5825310 w 11701760"/>
              <a:gd name="connsiteY2887" fmla="*/ 2155577 h 6407421"/>
              <a:gd name="connsiteX2888" fmla="*/ 11405961 w 11701760"/>
              <a:gd name="connsiteY2888" fmla="*/ 2126062 h 6407421"/>
              <a:gd name="connsiteX2889" fmla="*/ 11435563 w 11701760"/>
              <a:gd name="connsiteY2889" fmla="*/ 2126062 h 6407421"/>
              <a:gd name="connsiteX2890" fmla="*/ 11435563 w 11701760"/>
              <a:gd name="connsiteY2890" fmla="*/ 2155575 h 6407421"/>
              <a:gd name="connsiteX2891" fmla="*/ 11405961 w 11701760"/>
              <a:gd name="connsiteY2891" fmla="*/ 2155575 h 6407421"/>
              <a:gd name="connsiteX2892" fmla="*/ 5559113 w 11701760"/>
              <a:gd name="connsiteY2892" fmla="*/ 2126062 h 6407421"/>
              <a:gd name="connsiteX2893" fmla="*/ 5588715 w 11701760"/>
              <a:gd name="connsiteY2893" fmla="*/ 2126062 h 6407421"/>
              <a:gd name="connsiteX2894" fmla="*/ 5588715 w 11701760"/>
              <a:gd name="connsiteY2894" fmla="*/ 2155575 h 6407421"/>
              <a:gd name="connsiteX2895" fmla="*/ 5559113 w 11701760"/>
              <a:gd name="connsiteY2895" fmla="*/ 2155575 h 6407421"/>
              <a:gd name="connsiteX2896" fmla="*/ 11139872 w 11701760"/>
              <a:gd name="connsiteY2896" fmla="*/ 2126061 h 6407421"/>
              <a:gd name="connsiteX2897" fmla="*/ 11169474 w 11701760"/>
              <a:gd name="connsiteY2897" fmla="*/ 2126061 h 6407421"/>
              <a:gd name="connsiteX2898" fmla="*/ 11169474 w 11701760"/>
              <a:gd name="connsiteY2898" fmla="*/ 2155572 h 6407421"/>
              <a:gd name="connsiteX2899" fmla="*/ 11139872 w 11701760"/>
              <a:gd name="connsiteY2899" fmla="*/ 2155572 h 6407421"/>
              <a:gd name="connsiteX2900" fmla="*/ 5293024 w 11701760"/>
              <a:gd name="connsiteY2900" fmla="*/ 2126061 h 6407421"/>
              <a:gd name="connsiteX2901" fmla="*/ 5322626 w 11701760"/>
              <a:gd name="connsiteY2901" fmla="*/ 2126061 h 6407421"/>
              <a:gd name="connsiteX2902" fmla="*/ 5322626 w 11701760"/>
              <a:gd name="connsiteY2902" fmla="*/ 2155572 h 6407421"/>
              <a:gd name="connsiteX2903" fmla="*/ 5293024 w 11701760"/>
              <a:gd name="connsiteY2903" fmla="*/ 2155572 h 6407421"/>
              <a:gd name="connsiteX2904" fmla="*/ 10873675 w 11701760"/>
              <a:gd name="connsiteY2904" fmla="*/ 2126058 h 6407421"/>
              <a:gd name="connsiteX2905" fmla="*/ 10903277 w 11701760"/>
              <a:gd name="connsiteY2905" fmla="*/ 2126058 h 6407421"/>
              <a:gd name="connsiteX2906" fmla="*/ 10903277 w 11701760"/>
              <a:gd name="connsiteY2906" fmla="*/ 2155569 h 6407421"/>
              <a:gd name="connsiteX2907" fmla="*/ 10873675 w 11701760"/>
              <a:gd name="connsiteY2907" fmla="*/ 2155569 h 6407421"/>
              <a:gd name="connsiteX2908" fmla="*/ 5026827 w 11701760"/>
              <a:gd name="connsiteY2908" fmla="*/ 2126058 h 6407421"/>
              <a:gd name="connsiteX2909" fmla="*/ 5056429 w 11701760"/>
              <a:gd name="connsiteY2909" fmla="*/ 2126058 h 6407421"/>
              <a:gd name="connsiteX2910" fmla="*/ 5056429 w 11701760"/>
              <a:gd name="connsiteY2910" fmla="*/ 2155569 h 6407421"/>
              <a:gd name="connsiteX2911" fmla="*/ 5026827 w 11701760"/>
              <a:gd name="connsiteY2911" fmla="*/ 2155569 h 6407421"/>
              <a:gd name="connsiteX2912" fmla="*/ 10607478 w 11701760"/>
              <a:gd name="connsiteY2912" fmla="*/ 2126055 h 6407421"/>
              <a:gd name="connsiteX2913" fmla="*/ 10637188 w 11701760"/>
              <a:gd name="connsiteY2913" fmla="*/ 2126055 h 6407421"/>
              <a:gd name="connsiteX2914" fmla="*/ 10637188 w 11701760"/>
              <a:gd name="connsiteY2914" fmla="*/ 2155565 h 6407421"/>
              <a:gd name="connsiteX2915" fmla="*/ 10607478 w 11701760"/>
              <a:gd name="connsiteY2915" fmla="*/ 2155565 h 6407421"/>
              <a:gd name="connsiteX2916" fmla="*/ 4760630 w 11701760"/>
              <a:gd name="connsiteY2916" fmla="*/ 2126055 h 6407421"/>
              <a:gd name="connsiteX2917" fmla="*/ 4790340 w 11701760"/>
              <a:gd name="connsiteY2917" fmla="*/ 2126055 h 6407421"/>
              <a:gd name="connsiteX2918" fmla="*/ 4790340 w 11701760"/>
              <a:gd name="connsiteY2918" fmla="*/ 2155565 h 6407421"/>
              <a:gd name="connsiteX2919" fmla="*/ 4760630 w 11701760"/>
              <a:gd name="connsiteY2919" fmla="*/ 2155565 h 6407421"/>
              <a:gd name="connsiteX2920" fmla="*/ 10341389 w 11701760"/>
              <a:gd name="connsiteY2920" fmla="*/ 2126052 h 6407421"/>
              <a:gd name="connsiteX2921" fmla="*/ 10370992 w 11701760"/>
              <a:gd name="connsiteY2921" fmla="*/ 2126052 h 6407421"/>
              <a:gd name="connsiteX2922" fmla="*/ 10370992 w 11701760"/>
              <a:gd name="connsiteY2922" fmla="*/ 2155561 h 6407421"/>
              <a:gd name="connsiteX2923" fmla="*/ 10341389 w 11701760"/>
              <a:gd name="connsiteY2923" fmla="*/ 2155561 h 6407421"/>
              <a:gd name="connsiteX2924" fmla="*/ 4494541 w 11701760"/>
              <a:gd name="connsiteY2924" fmla="*/ 2126052 h 6407421"/>
              <a:gd name="connsiteX2925" fmla="*/ 4524144 w 11701760"/>
              <a:gd name="connsiteY2925" fmla="*/ 2126052 h 6407421"/>
              <a:gd name="connsiteX2926" fmla="*/ 4524144 w 11701760"/>
              <a:gd name="connsiteY2926" fmla="*/ 2155561 h 6407421"/>
              <a:gd name="connsiteX2927" fmla="*/ 4494541 w 11701760"/>
              <a:gd name="connsiteY2927" fmla="*/ 2155561 h 6407421"/>
              <a:gd name="connsiteX2928" fmla="*/ 10075192 w 11701760"/>
              <a:gd name="connsiteY2928" fmla="*/ 2126049 h 6407421"/>
              <a:gd name="connsiteX2929" fmla="*/ 10104794 w 11701760"/>
              <a:gd name="connsiteY2929" fmla="*/ 2126049 h 6407421"/>
              <a:gd name="connsiteX2930" fmla="*/ 10104794 w 11701760"/>
              <a:gd name="connsiteY2930" fmla="*/ 2155558 h 6407421"/>
              <a:gd name="connsiteX2931" fmla="*/ 10075192 w 11701760"/>
              <a:gd name="connsiteY2931" fmla="*/ 2155558 h 6407421"/>
              <a:gd name="connsiteX2932" fmla="*/ 4228344 w 11701760"/>
              <a:gd name="connsiteY2932" fmla="*/ 2126049 h 6407421"/>
              <a:gd name="connsiteX2933" fmla="*/ 4257946 w 11701760"/>
              <a:gd name="connsiteY2933" fmla="*/ 2126049 h 6407421"/>
              <a:gd name="connsiteX2934" fmla="*/ 4257946 w 11701760"/>
              <a:gd name="connsiteY2934" fmla="*/ 2155558 h 6407421"/>
              <a:gd name="connsiteX2935" fmla="*/ 4228344 w 11701760"/>
              <a:gd name="connsiteY2935" fmla="*/ 2155558 h 6407421"/>
              <a:gd name="connsiteX2936" fmla="*/ 9809103 w 11701760"/>
              <a:gd name="connsiteY2936" fmla="*/ 2126047 h 6407421"/>
              <a:gd name="connsiteX2937" fmla="*/ 9838705 w 11701760"/>
              <a:gd name="connsiteY2937" fmla="*/ 2126047 h 6407421"/>
              <a:gd name="connsiteX2938" fmla="*/ 9838705 w 11701760"/>
              <a:gd name="connsiteY2938" fmla="*/ 2155554 h 6407421"/>
              <a:gd name="connsiteX2939" fmla="*/ 9809103 w 11701760"/>
              <a:gd name="connsiteY2939" fmla="*/ 2155554 h 6407421"/>
              <a:gd name="connsiteX2940" fmla="*/ 3962255 w 11701760"/>
              <a:gd name="connsiteY2940" fmla="*/ 2126047 h 6407421"/>
              <a:gd name="connsiteX2941" fmla="*/ 3991857 w 11701760"/>
              <a:gd name="connsiteY2941" fmla="*/ 2126047 h 6407421"/>
              <a:gd name="connsiteX2942" fmla="*/ 3991857 w 11701760"/>
              <a:gd name="connsiteY2942" fmla="*/ 2155554 h 6407421"/>
              <a:gd name="connsiteX2943" fmla="*/ 3962255 w 11701760"/>
              <a:gd name="connsiteY2943" fmla="*/ 2155554 h 6407421"/>
              <a:gd name="connsiteX2944" fmla="*/ 9542906 w 11701760"/>
              <a:gd name="connsiteY2944" fmla="*/ 2126044 h 6407421"/>
              <a:gd name="connsiteX2945" fmla="*/ 9572509 w 11701760"/>
              <a:gd name="connsiteY2945" fmla="*/ 2126044 h 6407421"/>
              <a:gd name="connsiteX2946" fmla="*/ 9572509 w 11701760"/>
              <a:gd name="connsiteY2946" fmla="*/ 2155551 h 6407421"/>
              <a:gd name="connsiteX2947" fmla="*/ 9542906 w 11701760"/>
              <a:gd name="connsiteY2947" fmla="*/ 2155551 h 6407421"/>
              <a:gd name="connsiteX2948" fmla="*/ 3696058 w 11701760"/>
              <a:gd name="connsiteY2948" fmla="*/ 2126044 h 6407421"/>
              <a:gd name="connsiteX2949" fmla="*/ 3725661 w 11701760"/>
              <a:gd name="connsiteY2949" fmla="*/ 2126044 h 6407421"/>
              <a:gd name="connsiteX2950" fmla="*/ 3725661 w 11701760"/>
              <a:gd name="connsiteY2950" fmla="*/ 2155551 h 6407421"/>
              <a:gd name="connsiteX2951" fmla="*/ 3696058 w 11701760"/>
              <a:gd name="connsiteY2951" fmla="*/ 2155551 h 6407421"/>
              <a:gd name="connsiteX2952" fmla="*/ 9276817 w 11701760"/>
              <a:gd name="connsiteY2952" fmla="*/ 2126042 h 6407421"/>
              <a:gd name="connsiteX2953" fmla="*/ 9306420 w 11701760"/>
              <a:gd name="connsiteY2953" fmla="*/ 2126042 h 6407421"/>
              <a:gd name="connsiteX2954" fmla="*/ 9306420 w 11701760"/>
              <a:gd name="connsiteY2954" fmla="*/ 2155548 h 6407421"/>
              <a:gd name="connsiteX2955" fmla="*/ 9276817 w 11701760"/>
              <a:gd name="connsiteY2955" fmla="*/ 2155548 h 6407421"/>
              <a:gd name="connsiteX2956" fmla="*/ 3429969 w 11701760"/>
              <a:gd name="connsiteY2956" fmla="*/ 2126042 h 6407421"/>
              <a:gd name="connsiteX2957" fmla="*/ 3459572 w 11701760"/>
              <a:gd name="connsiteY2957" fmla="*/ 2126042 h 6407421"/>
              <a:gd name="connsiteX2958" fmla="*/ 3459572 w 11701760"/>
              <a:gd name="connsiteY2958" fmla="*/ 2155548 h 6407421"/>
              <a:gd name="connsiteX2959" fmla="*/ 3429969 w 11701760"/>
              <a:gd name="connsiteY2959" fmla="*/ 2155548 h 6407421"/>
              <a:gd name="connsiteX2960" fmla="*/ 9010620 w 11701760"/>
              <a:gd name="connsiteY2960" fmla="*/ 2126039 h 6407421"/>
              <a:gd name="connsiteX2961" fmla="*/ 9040222 w 11701760"/>
              <a:gd name="connsiteY2961" fmla="*/ 2126039 h 6407421"/>
              <a:gd name="connsiteX2962" fmla="*/ 9040222 w 11701760"/>
              <a:gd name="connsiteY2962" fmla="*/ 2155544 h 6407421"/>
              <a:gd name="connsiteX2963" fmla="*/ 9010620 w 11701760"/>
              <a:gd name="connsiteY2963" fmla="*/ 2155544 h 6407421"/>
              <a:gd name="connsiteX2964" fmla="*/ 3163772 w 11701760"/>
              <a:gd name="connsiteY2964" fmla="*/ 2126039 h 6407421"/>
              <a:gd name="connsiteX2965" fmla="*/ 3193374 w 11701760"/>
              <a:gd name="connsiteY2965" fmla="*/ 2126039 h 6407421"/>
              <a:gd name="connsiteX2966" fmla="*/ 3193374 w 11701760"/>
              <a:gd name="connsiteY2966" fmla="*/ 2155544 h 6407421"/>
              <a:gd name="connsiteX2967" fmla="*/ 3163772 w 11701760"/>
              <a:gd name="connsiteY2967" fmla="*/ 2155544 h 6407421"/>
              <a:gd name="connsiteX2968" fmla="*/ 8744423 w 11701760"/>
              <a:gd name="connsiteY2968" fmla="*/ 2126036 h 6407421"/>
              <a:gd name="connsiteX2969" fmla="*/ 8774026 w 11701760"/>
              <a:gd name="connsiteY2969" fmla="*/ 2126036 h 6407421"/>
              <a:gd name="connsiteX2970" fmla="*/ 8774026 w 11701760"/>
              <a:gd name="connsiteY2970" fmla="*/ 2155541 h 6407421"/>
              <a:gd name="connsiteX2971" fmla="*/ 8744423 w 11701760"/>
              <a:gd name="connsiteY2971" fmla="*/ 2155541 h 6407421"/>
              <a:gd name="connsiteX2972" fmla="*/ 2897575 w 11701760"/>
              <a:gd name="connsiteY2972" fmla="*/ 2126036 h 6407421"/>
              <a:gd name="connsiteX2973" fmla="*/ 2927178 w 11701760"/>
              <a:gd name="connsiteY2973" fmla="*/ 2126036 h 6407421"/>
              <a:gd name="connsiteX2974" fmla="*/ 2927178 w 11701760"/>
              <a:gd name="connsiteY2974" fmla="*/ 2155541 h 6407421"/>
              <a:gd name="connsiteX2975" fmla="*/ 2897575 w 11701760"/>
              <a:gd name="connsiteY2975" fmla="*/ 2155541 h 6407421"/>
              <a:gd name="connsiteX2976" fmla="*/ 8478226 w 11701760"/>
              <a:gd name="connsiteY2976" fmla="*/ 2126033 h 6407421"/>
              <a:gd name="connsiteX2977" fmla="*/ 8507828 w 11701760"/>
              <a:gd name="connsiteY2977" fmla="*/ 2126033 h 6407421"/>
              <a:gd name="connsiteX2978" fmla="*/ 8507828 w 11701760"/>
              <a:gd name="connsiteY2978" fmla="*/ 2155537 h 6407421"/>
              <a:gd name="connsiteX2979" fmla="*/ 8478226 w 11701760"/>
              <a:gd name="connsiteY2979" fmla="*/ 2155537 h 6407421"/>
              <a:gd name="connsiteX2980" fmla="*/ 2631378 w 11701760"/>
              <a:gd name="connsiteY2980" fmla="*/ 2126033 h 6407421"/>
              <a:gd name="connsiteX2981" fmla="*/ 2660980 w 11701760"/>
              <a:gd name="connsiteY2981" fmla="*/ 2126033 h 6407421"/>
              <a:gd name="connsiteX2982" fmla="*/ 2660980 w 11701760"/>
              <a:gd name="connsiteY2982" fmla="*/ 2155537 h 6407421"/>
              <a:gd name="connsiteX2983" fmla="*/ 2631378 w 11701760"/>
              <a:gd name="connsiteY2983" fmla="*/ 2155537 h 6407421"/>
              <a:gd name="connsiteX2984" fmla="*/ 8212137 w 11701760"/>
              <a:gd name="connsiteY2984" fmla="*/ 2126031 h 6407421"/>
              <a:gd name="connsiteX2985" fmla="*/ 8241740 w 11701760"/>
              <a:gd name="connsiteY2985" fmla="*/ 2126031 h 6407421"/>
              <a:gd name="connsiteX2986" fmla="*/ 8241740 w 11701760"/>
              <a:gd name="connsiteY2986" fmla="*/ 2155534 h 6407421"/>
              <a:gd name="connsiteX2987" fmla="*/ 8212137 w 11701760"/>
              <a:gd name="connsiteY2987" fmla="*/ 2155534 h 6407421"/>
              <a:gd name="connsiteX2988" fmla="*/ 2365289 w 11701760"/>
              <a:gd name="connsiteY2988" fmla="*/ 2126031 h 6407421"/>
              <a:gd name="connsiteX2989" fmla="*/ 2394892 w 11701760"/>
              <a:gd name="connsiteY2989" fmla="*/ 2126031 h 6407421"/>
              <a:gd name="connsiteX2990" fmla="*/ 2394892 w 11701760"/>
              <a:gd name="connsiteY2990" fmla="*/ 2155534 h 6407421"/>
              <a:gd name="connsiteX2991" fmla="*/ 2365289 w 11701760"/>
              <a:gd name="connsiteY2991" fmla="*/ 2155534 h 6407421"/>
              <a:gd name="connsiteX2992" fmla="*/ 7945940 w 11701760"/>
              <a:gd name="connsiteY2992" fmla="*/ 2126030 h 6407421"/>
              <a:gd name="connsiteX2993" fmla="*/ 7975543 w 11701760"/>
              <a:gd name="connsiteY2993" fmla="*/ 2126030 h 6407421"/>
              <a:gd name="connsiteX2994" fmla="*/ 7975543 w 11701760"/>
              <a:gd name="connsiteY2994" fmla="*/ 2155531 h 6407421"/>
              <a:gd name="connsiteX2995" fmla="*/ 7945940 w 11701760"/>
              <a:gd name="connsiteY2995" fmla="*/ 2155531 h 6407421"/>
              <a:gd name="connsiteX2996" fmla="*/ 2099092 w 11701760"/>
              <a:gd name="connsiteY2996" fmla="*/ 2126030 h 6407421"/>
              <a:gd name="connsiteX2997" fmla="*/ 2128695 w 11701760"/>
              <a:gd name="connsiteY2997" fmla="*/ 2126030 h 6407421"/>
              <a:gd name="connsiteX2998" fmla="*/ 2128695 w 11701760"/>
              <a:gd name="connsiteY2998" fmla="*/ 2155531 h 6407421"/>
              <a:gd name="connsiteX2999" fmla="*/ 2099092 w 11701760"/>
              <a:gd name="connsiteY2999" fmla="*/ 2155531 h 6407421"/>
              <a:gd name="connsiteX3000" fmla="*/ 7679743 w 11701760"/>
              <a:gd name="connsiteY3000" fmla="*/ 2126028 h 6407421"/>
              <a:gd name="connsiteX3001" fmla="*/ 7709346 w 11701760"/>
              <a:gd name="connsiteY3001" fmla="*/ 2126028 h 6407421"/>
              <a:gd name="connsiteX3002" fmla="*/ 7709346 w 11701760"/>
              <a:gd name="connsiteY3002" fmla="*/ 2155527 h 6407421"/>
              <a:gd name="connsiteX3003" fmla="*/ 7679743 w 11701760"/>
              <a:gd name="connsiteY3003" fmla="*/ 2155527 h 6407421"/>
              <a:gd name="connsiteX3004" fmla="*/ 1832898 w 11701760"/>
              <a:gd name="connsiteY3004" fmla="*/ 2126028 h 6407421"/>
              <a:gd name="connsiteX3005" fmla="*/ 1862498 w 11701760"/>
              <a:gd name="connsiteY3005" fmla="*/ 2126028 h 6407421"/>
              <a:gd name="connsiteX3006" fmla="*/ 1862498 w 11701760"/>
              <a:gd name="connsiteY3006" fmla="*/ 2155527 h 6407421"/>
              <a:gd name="connsiteX3007" fmla="*/ 1832898 w 11701760"/>
              <a:gd name="connsiteY3007" fmla="*/ 2155527 h 6407421"/>
              <a:gd name="connsiteX3008" fmla="*/ 7413653 w 11701760"/>
              <a:gd name="connsiteY3008" fmla="*/ 2126025 h 6407421"/>
              <a:gd name="connsiteX3009" fmla="*/ 7443256 w 11701760"/>
              <a:gd name="connsiteY3009" fmla="*/ 2126025 h 6407421"/>
              <a:gd name="connsiteX3010" fmla="*/ 7443256 w 11701760"/>
              <a:gd name="connsiteY3010" fmla="*/ 2155523 h 6407421"/>
              <a:gd name="connsiteX3011" fmla="*/ 7413653 w 11701760"/>
              <a:gd name="connsiteY3011" fmla="*/ 2155523 h 6407421"/>
              <a:gd name="connsiteX3012" fmla="*/ 1566808 w 11701760"/>
              <a:gd name="connsiteY3012" fmla="*/ 2126025 h 6407421"/>
              <a:gd name="connsiteX3013" fmla="*/ 1596409 w 11701760"/>
              <a:gd name="connsiteY3013" fmla="*/ 2126025 h 6407421"/>
              <a:gd name="connsiteX3014" fmla="*/ 1596409 w 11701760"/>
              <a:gd name="connsiteY3014" fmla="*/ 2155523 h 6407421"/>
              <a:gd name="connsiteX3015" fmla="*/ 1566808 w 11701760"/>
              <a:gd name="connsiteY3015" fmla="*/ 2155523 h 6407421"/>
              <a:gd name="connsiteX3016" fmla="*/ 7147456 w 11701760"/>
              <a:gd name="connsiteY3016" fmla="*/ 2126023 h 6407421"/>
              <a:gd name="connsiteX3017" fmla="*/ 7177058 w 11701760"/>
              <a:gd name="connsiteY3017" fmla="*/ 2126023 h 6407421"/>
              <a:gd name="connsiteX3018" fmla="*/ 7177058 w 11701760"/>
              <a:gd name="connsiteY3018" fmla="*/ 2155520 h 6407421"/>
              <a:gd name="connsiteX3019" fmla="*/ 7147456 w 11701760"/>
              <a:gd name="connsiteY3019" fmla="*/ 2155520 h 6407421"/>
              <a:gd name="connsiteX3020" fmla="*/ 1300611 w 11701760"/>
              <a:gd name="connsiteY3020" fmla="*/ 2126023 h 6407421"/>
              <a:gd name="connsiteX3021" fmla="*/ 1330213 w 11701760"/>
              <a:gd name="connsiteY3021" fmla="*/ 2126023 h 6407421"/>
              <a:gd name="connsiteX3022" fmla="*/ 1330213 w 11701760"/>
              <a:gd name="connsiteY3022" fmla="*/ 2155520 h 6407421"/>
              <a:gd name="connsiteX3023" fmla="*/ 1300611 w 11701760"/>
              <a:gd name="connsiteY3023" fmla="*/ 2155520 h 6407421"/>
              <a:gd name="connsiteX3024" fmla="*/ 6881367 w 11701760"/>
              <a:gd name="connsiteY3024" fmla="*/ 2126020 h 6407421"/>
              <a:gd name="connsiteX3025" fmla="*/ 6910970 w 11701760"/>
              <a:gd name="connsiteY3025" fmla="*/ 2126020 h 6407421"/>
              <a:gd name="connsiteX3026" fmla="*/ 6910970 w 11701760"/>
              <a:gd name="connsiteY3026" fmla="*/ 2155517 h 6407421"/>
              <a:gd name="connsiteX3027" fmla="*/ 6881367 w 11701760"/>
              <a:gd name="connsiteY3027" fmla="*/ 2155517 h 6407421"/>
              <a:gd name="connsiteX3028" fmla="*/ 1034520 w 11701760"/>
              <a:gd name="connsiteY3028" fmla="*/ 2126020 h 6407421"/>
              <a:gd name="connsiteX3029" fmla="*/ 1064123 w 11701760"/>
              <a:gd name="connsiteY3029" fmla="*/ 2126020 h 6407421"/>
              <a:gd name="connsiteX3030" fmla="*/ 1064123 w 11701760"/>
              <a:gd name="connsiteY3030" fmla="*/ 2155517 h 6407421"/>
              <a:gd name="connsiteX3031" fmla="*/ 1034520 w 11701760"/>
              <a:gd name="connsiteY3031" fmla="*/ 2155517 h 6407421"/>
              <a:gd name="connsiteX3032" fmla="*/ 6615170 w 11701760"/>
              <a:gd name="connsiteY3032" fmla="*/ 2126017 h 6407421"/>
              <a:gd name="connsiteX3033" fmla="*/ 6644773 w 11701760"/>
              <a:gd name="connsiteY3033" fmla="*/ 2126017 h 6407421"/>
              <a:gd name="connsiteX3034" fmla="*/ 6644773 w 11701760"/>
              <a:gd name="connsiteY3034" fmla="*/ 2155513 h 6407421"/>
              <a:gd name="connsiteX3035" fmla="*/ 6615170 w 11701760"/>
              <a:gd name="connsiteY3035" fmla="*/ 2155513 h 6407421"/>
              <a:gd name="connsiteX3036" fmla="*/ 768327 w 11701760"/>
              <a:gd name="connsiteY3036" fmla="*/ 2126017 h 6407421"/>
              <a:gd name="connsiteX3037" fmla="*/ 797926 w 11701760"/>
              <a:gd name="connsiteY3037" fmla="*/ 2126017 h 6407421"/>
              <a:gd name="connsiteX3038" fmla="*/ 797926 w 11701760"/>
              <a:gd name="connsiteY3038" fmla="*/ 2155513 h 6407421"/>
              <a:gd name="connsiteX3039" fmla="*/ 768327 w 11701760"/>
              <a:gd name="connsiteY3039" fmla="*/ 2155513 h 6407421"/>
              <a:gd name="connsiteX3040" fmla="*/ 6349081 w 11701760"/>
              <a:gd name="connsiteY3040" fmla="*/ 2126014 h 6407421"/>
              <a:gd name="connsiteX3041" fmla="*/ 6378683 w 11701760"/>
              <a:gd name="connsiteY3041" fmla="*/ 2126014 h 6407421"/>
              <a:gd name="connsiteX3042" fmla="*/ 6378683 w 11701760"/>
              <a:gd name="connsiteY3042" fmla="*/ 2155510 h 6407421"/>
              <a:gd name="connsiteX3043" fmla="*/ 6349081 w 11701760"/>
              <a:gd name="connsiteY3043" fmla="*/ 2155510 h 6407421"/>
              <a:gd name="connsiteX3044" fmla="*/ 502236 w 11701760"/>
              <a:gd name="connsiteY3044" fmla="*/ 2126014 h 6407421"/>
              <a:gd name="connsiteX3045" fmla="*/ 531838 w 11701760"/>
              <a:gd name="connsiteY3045" fmla="*/ 2126014 h 6407421"/>
              <a:gd name="connsiteX3046" fmla="*/ 531838 w 11701760"/>
              <a:gd name="connsiteY3046" fmla="*/ 2155510 h 6407421"/>
              <a:gd name="connsiteX3047" fmla="*/ 502236 w 11701760"/>
              <a:gd name="connsiteY3047" fmla="*/ 2155510 h 6407421"/>
              <a:gd name="connsiteX3048" fmla="*/ 6082884 w 11701760"/>
              <a:gd name="connsiteY3048" fmla="*/ 2126012 h 6407421"/>
              <a:gd name="connsiteX3049" fmla="*/ 6112486 w 11701760"/>
              <a:gd name="connsiteY3049" fmla="*/ 2126012 h 6407421"/>
              <a:gd name="connsiteX3050" fmla="*/ 6112486 w 11701760"/>
              <a:gd name="connsiteY3050" fmla="*/ 2155506 h 6407421"/>
              <a:gd name="connsiteX3051" fmla="*/ 6082884 w 11701760"/>
              <a:gd name="connsiteY3051" fmla="*/ 2155506 h 6407421"/>
              <a:gd name="connsiteX3052" fmla="*/ 236037 w 11701760"/>
              <a:gd name="connsiteY3052" fmla="*/ 2126012 h 6407421"/>
              <a:gd name="connsiteX3053" fmla="*/ 265639 w 11701760"/>
              <a:gd name="connsiteY3053" fmla="*/ 2126012 h 6407421"/>
              <a:gd name="connsiteX3054" fmla="*/ 265639 w 11701760"/>
              <a:gd name="connsiteY3054" fmla="*/ 2155506 h 6407421"/>
              <a:gd name="connsiteX3055" fmla="*/ 236037 w 11701760"/>
              <a:gd name="connsiteY3055" fmla="*/ 2155506 h 6407421"/>
              <a:gd name="connsiteX3056" fmla="*/ 1 w 11701760"/>
              <a:gd name="connsiteY3056" fmla="*/ 2126012 h 6407421"/>
              <a:gd name="connsiteX3057" fmla="*/ 29603 w 11701760"/>
              <a:gd name="connsiteY3057" fmla="*/ 2126012 h 6407421"/>
              <a:gd name="connsiteX3058" fmla="*/ 29603 w 11701760"/>
              <a:gd name="connsiteY3058" fmla="*/ 2155506 h 6407421"/>
              <a:gd name="connsiteX3059" fmla="*/ 1 w 11701760"/>
              <a:gd name="connsiteY3059" fmla="*/ 2155506 h 6407421"/>
              <a:gd name="connsiteX3060" fmla="*/ 11672158 w 11701760"/>
              <a:gd name="connsiteY3060" fmla="*/ 1860298 h 6407421"/>
              <a:gd name="connsiteX3061" fmla="*/ 11701760 w 11701760"/>
              <a:gd name="connsiteY3061" fmla="*/ 1860298 h 6407421"/>
              <a:gd name="connsiteX3062" fmla="*/ 11701760 w 11701760"/>
              <a:gd name="connsiteY3062" fmla="*/ 1889774 h 6407421"/>
              <a:gd name="connsiteX3063" fmla="*/ 11672158 w 11701760"/>
              <a:gd name="connsiteY3063" fmla="*/ 1889774 h 6407421"/>
              <a:gd name="connsiteX3064" fmla="*/ 5825310 w 11701760"/>
              <a:gd name="connsiteY3064" fmla="*/ 1860298 h 6407421"/>
              <a:gd name="connsiteX3065" fmla="*/ 5854913 w 11701760"/>
              <a:gd name="connsiteY3065" fmla="*/ 1860298 h 6407421"/>
              <a:gd name="connsiteX3066" fmla="*/ 5854913 w 11701760"/>
              <a:gd name="connsiteY3066" fmla="*/ 1889774 h 6407421"/>
              <a:gd name="connsiteX3067" fmla="*/ 5825310 w 11701760"/>
              <a:gd name="connsiteY3067" fmla="*/ 1889774 h 6407421"/>
              <a:gd name="connsiteX3068" fmla="*/ 11405961 w 11701760"/>
              <a:gd name="connsiteY3068" fmla="*/ 1860296 h 6407421"/>
              <a:gd name="connsiteX3069" fmla="*/ 11435563 w 11701760"/>
              <a:gd name="connsiteY3069" fmla="*/ 1860296 h 6407421"/>
              <a:gd name="connsiteX3070" fmla="*/ 11435563 w 11701760"/>
              <a:gd name="connsiteY3070" fmla="*/ 1889774 h 6407421"/>
              <a:gd name="connsiteX3071" fmla="*/ 11405961 w 11701760"/>
              <a:gd name="connsiteY3071" fmla="*/ 1889774 h 6407421"/>
              <a:gd name="connsiteX3072" fmla="*/ 5559113 w 11701760"/>
              <a:gd name="connsiteY3072" fmla="*/ 1860296 h 6407421"/>
              <a:gd name="connsiteX3073" fmla="*/ 5588715 w 11701760"/>
              <a:gd name="connsiteY3073" fmla="*/ 1860296 h 6407421"/>
              <a:gd name="connsiteX3074" fmla="*/ 5588715 w 11701760"/>
              <a:gd name="connsiteY3074" fmla="*/ 1889774 h 6407421"/>
              <a:gd name="connsiteX3075" fmla="*/ 5559113 w 11701760"/>
              <a:gd name="connsiteY3075" fmla="*/ 1889774 h 6407421"/>
              <a:gd name="connsiteX3076" fmla="*/ 11139872 w 11701760"/>
              <a:gd name="connsiteY3076" fmla="*/ 1860293 h 6407421"/>
              <a:gd name="connsiteX3077" fmla="*/ 11169474 w 11701760"/>
              <a:gd name="connsiteY3077" fmla="*/ 1860293 h 6407421"/>
              <a:gd name="connsiteX3078" fmla="*/ 11169474 w 11701760"/>
              <a:gd name="connsiteY3078" fmla="*/ 1889772 h 6407421"/>
              <a:gd name="connsiteX3079" fmla="*/ 11139872 w 11701760"/>
              <a:gd name="connsiteY3079" fmla="*/ 1889772 h 6407421"/>
              <a:gd name="connsiteX3080" fmla="*/ 5293024 w 11701760"/>
              <a:gd name="connsiteY3080" fmla="*/ 1860293 h 6407421"/>
              <a:gd name="connsiteX3081" fmla="*/ 5322626 w 11701760"/>
              <a:gd name="connsiteY3081" fmla="*/ 1860293 h 6407421"/>
              <a:gd name="connsiteX3082" fmla="*/ 5322626 w 11701760"/>
              <a:gd name="connsiteY3082" fmla="*/ 1889772 h 6407421"/>
              <a:gd name="connsiteX3083" fmla="*/ 5293024 w 11701760"/>
              <a:gd name="connsiteY3083" fmla="*/ 1889772 h 6407421"/>
              <a:gd name="connsiteX3084" fmla="*/ 10873675 w 11701760"/>
              <a:gd name="connsiteY3084" fmla="*/ 1860291 h 6407421"/>
              <a:gd name="connsiteX3085" fmla="*/ 10903277 w 11701760"/>
              <a:gd name="connsiteY3085" fmla="*/ 1860291 h 6407421"/>
              <a:gd name="connsiteX3086" fmla="*/ 10903277 w 11701760"/>
              <a:gd name="connsiteY3086" fmla="*/ 1889770 h 6407421"/>
              <a:gd name="connsiteX3087" fmla="*/ 10873675 w 11701760"/>
              <a:gd name="connsiteY3087" fmla="*/ 1889770 h 6407421"/>
              <a:gd name="connsiteX3088" fmla="*/ 5026827 w 11701760"/>
              <a:gd name="connsiteY3088" fmla="*/ 1860291 h 6407421"/>
              <a:gd name="connsiteX3089" fmla="*/ 5056429 w 11701760"/>
              <a:gd name="connsiteY3089" fmla="*/ 1860291 h 6407421"/>
              <a:gd name="connsiteX3090" fmla="*/ 5056429 w 11701760"/>
              <a:gd name="connsiteY3090" fmla="*/ 1889770 h 6407421"/>
              <a:gd name="connsiteX3091" fmla="*/ 5026827 w 11701760"/>
              <a:gd name="connsiteY3091" fmla="*/ 1889770 h 6407421"/>
              <a:gd name="connsiteX3092" fmla="*/ 10607478 w 11701760"/>
              <a:gd name="connsiteY3092" fmla="*/ 1860288 h 6407421"/>
              <a:gd name="connsiteX3093" fmla="*/ 10637188 w 11701760"/>
              <a:gd name="connsiteY3093" fmla="*/ 1860288 h 6407421"/>
              <a:gd name="connsiteX3094" fmla="*/ 10637188 w 11701760"/>
              <a:gd name="connsiteY3094" fmla="*/ 1889769 h 6407421"/>
              <a:gd name="connsiteX3095" fmla="*/ 10607478 w 11701760"/>
              <a:gd name="connsiteY3095" fmla="*/ 1889769 h 6407421"/>
              <a:gd name="connsiteX3096" fmla="*/ 4760630 w 11701760"/>
              <a:gd name="connsiteY3096" fmla="*/ 1860288 h 6407421"/>
              <a:gd name="connsiteX3097" fmla="*/ 4790340 w 11701760"/>
              <a:gd name="connsiteY3097" fmla="*/ 1860288 h 6407421"/>
              <a:gd name="connsiteX3098" fmla="*/ 4790340 w 11701760"/>
              <a:gd name="connsiteY3098" fmla="*/ 1889769 h 6407421"/>
              <a:gd name="connsiteX3099" fmla="*/ 4760630 w 11701760"/>
              <a:gd name="connsiteY3099" fmla="*/ 1889769 h 6407421"/>
              <a:gd name="connsiteX3100" fmla="*/ 10341389 w 11701760"/>
              <a:gd name="connsiteY3100" fmla="*/ 1860286 h 6407421"/>
              <a:gd name="connsiteX3101" fmla="*/ 10370992 w 11701760"/>
              <a:gd name="connsiteY3101" fmla="*/ 1860286 h 6407421"/>
              <a:gd name="connsiteX3102" fmla="*/ 10370992 w 11701760"/>
              <a:gd name="connsiteY3102" fmla="*/ 1889767 h 6407421"/>
              <a:gd name="connsiteX3103" fmla="*/ 10341389 w 11701760"/>
              <a:gd name="connsiteY3103" fmla="*/ 1889767 h 6407421"/>
              <a:gd name="connsiteX3104" fmla="*/ 4494541 w 11701760"/>
              <a:gd name="connsiteY3104" fmla="*/ 1860286 h 6407421"/>
              <a:gd name="connsiteX3105" fmla="*/ 4524144 w 11701760"/>
              <a:gd name="connsiteY3105" fmla="*/ 1860286 h 6407421"/>
              <a:gd name="connsiteX3106" fmla="*/ 4524144 w 11701760"/>
              <a:gd name="connsiteY3106" fmla="*/ 1889767 h 6407421"/>
              <a:gd name="connsiteX3107" fmla="*/ 4494541 w 11701760"/>
              <a:gd name="connsiteY3107" fmla="*/ 1889767 h 6407421"/>
              <a:gd name="connsiteX3108" fmla="*/ 10075192 w 11701760"/>
              <a:gd name="connsiteY3108" fmla="*/ 1860283 h 6407421"/>
              <a:gd name="connsiteX3109" fmla="*/ 10104794 w 11701760"/>
              <a:gd name="connsiteY3109" fmla="*/ 1860283 h 6407421"/>
              <a:gd name="connsiteX3110" fmla="*/ 10104794 w 11701760"/>
              <a:gd name="connsiteY3110" fmla="*/ 1889766 h 6407421"/>
              <a:gd name="connsiteX3111" fmla="*/ 10075192 w 11701760"/>
              <a:gd name="connsiteY3111" fmla="*/ 1889766 h 6407421"/>
              <a:gd name="connsiteX3112" fmla="*/ 4228344 w 11701760"/>
              <a:gd name="connsiteY3112" fmla="*/ 1860283 h 6407421"/>
              <a:gd name="connsiteX3113" fmla="*/ 4257946 w 11701760"/>
              <a:gd name="connsiteY3113" fmla="*/ 1860283 h 6407421"/>
              <a:gd name="connsiteX3114" fmla="*/ 4257946 w 11701760"/>
              <a:gd name="connsiteY3114" fmla="*/ 1889766 h 6407421"/>
              <a:gd name="connsiteX3115" fmla="*/ 4228344 w 11701760"/>
              <a:gd name="connsiteY3115" fmla="*/ 1889766 h 6407421"/>
              <a:gd name="connsiteX3116" fmla="*/ 9809103 w 11701760"/>
              <a:gd name="connsiteY3116" fmla="*/ 1860281 h 6407421"/>
              <a:gd name="connsiteX3117" fmla="*/ 9838705 w 11701760"/>
              <a:gd name="connsiteY3117" fmla="*/ 1860281 h 6407421"/>
              <a:gd name="connsiteX3118" fmla="*/ 9838705 w 11701760"/>
              <a:gd name="connsiteY3118" fmla="*/ 1889764 h 6407421"/>
              <a:gd name="connsiteX3119" fmla="*/ 9809103 w 11701760"/>
              <a:gd name="connsiteY3119" fmla="*/ 1889764 h 6407421"/>
              <a:gd name="connsiteX3120" fmla="*/ 3962255 w 11701760"/>
              <a:gd name="connsiteY3120" fmla="*/ 1860281 h 6407421"/>
              <a:gd name="connsiteX3121" fmla="*/ 3991857 w 11701760"/>
              <a:gd name="connsiteY3121" fmla="*/ 1860281 h 6407421"/>
              <a:gd name="connsiteX3122" fmla="*/ 3991857 w 11701760"/>
              <a:gd name="connsiteY3122" fmla="*/ 1889764 h 6407421"/>
              <a:gd name="connsiteX3123" fmla="*/ 3962255 w 11701760"/>
              <a:gd name="connsiteY3123" fmla="*/ 1889764 h 6407421"/>
              <a:gd name="connsiteX3124" fmla="*/ 9542906 w 11701760"/>
              <a:gd name="connsiteY3124" fmla="*/ 1860278 h 6407421"/>
              <a:gd name="connsiteX3125" fmla="*/ 9572509 w 11701760"/>
              <a:gd name="connsiteY3125" fmla="*/ 1860278 h 6407421"/>
              <a:gd name="connsiteX3126" fmla="*/ 9572509 w 11701760"/>
              <a:gd name="connsiteY3126" fmla="*/ 1889763 h 6407421"/>
              <a:gd name="connsiteX3127" fmla="*/ 9542906 w 11701760"/>
              <a:gd name="connsiteY3127" fmla="*/ 1889763 h 6407421"/>
              <a:gd name="connsiteX3128" fmla="*/ 3696058 w 11701760"/>
              <a:gd name="connsiteY3128" fmla="*/ 1860278 h 6407421"/>
              <a:gd name="connsiteX3129" fmla="*/ 3725661 w 11701760"/>
              <a:gd name="connsiteY3129" fmla="*/ 1860278 h 6407421"/>
              <a:gd name="connsiteX3130" fmla="*/ 3725661 w 11701760"/>
              <a:gd name="connsiteY3130" fmla="*/ 1889763 h 6407421"/>
              <a:gd name="connsiteX3131" fmla="*/ 3696058 w 11701760"/>
              <a:gd name="connsiteY3131" fmla="*/ 1889763 h 6407421"/>
              <a:gd name="connsiteX3132" fmla="*/ 9276817 w 11701760"/>
              <a:gd name="connsiteY3132" fmla="*/ 1860276 h 6407421"/>
              <a:gd name="connsiteX3133" fmla="*/ 9306420 w 11701760"/>
              <a:gd name="connsiteY3133" fmla="*/ 1860276 h 6407421"/>
              <a:gd name="connsiteX3134" fmla="*/ 9306420 w 11701760"/>
              <a:gd name="connsiteY3134" fmla="*/ 1889762 h 6407421"/>
              <a:gd name="connsiteX3135" fmla="*/ 9276817 w 11701760"/>
              <a:gd name="connsiteY3135" fmla="*/ 1889762 h 6407421"/>
              <a:gd name="connsiteX3136" fmla="*/ 3429969 w 11701760"/>
              <a:gd name="connsiteY3136" fmla="*/ 1860276 h 6407421"/>
              <a:gd name="connsiteX3137" fmla="*/ 3459572 w 11701760"/>
              <a:gd name="connsiteY3137" fmla="*/ 1860276 h 6407421"/>
              <a:gd name="connsiteX3138" fmla="*/ 3459572 w 11701760"/>
              <a:gd name="connsiteY3138" fmla="*/ 1889762 h 6407421"/>
              <a:gd name="connsiteX3139" fmla="*/ 3429969 w 11701760"/>
              <a:gd name="connsiteY3139" fmla="*/ 1889762 h 6407421"/>
              <a:gd name="connsiteX3140" fmla="*/ 9010620 w 11701760"/>
              <a:gd name="connsiteY3140" fmla="*/ 1860273 h 6407421"/>
              <a:gd name="connsiteX3141" fmla="*/ 9040222 w 11701760"/>
              <a:gd name="connsiteY3141" fmla="*/ 1860273 h 6407421"/>
              <a:gd name="connsiteX3142" fmla="*/ 9040222 w 11701760"/>
              <a:gd name="connsiteY3142" fmla="*/ 1889761 h 6407421"/>
              <a:gd name="connsiteX3143" fmla="*/ 9010620 w 11701760"/>
              <a:gd name="connsiteY3143" fmla="*/ 1889761 h 6407421"/>
              <a:gd name="connsiteX3144" fmla="*/ 3163772 w 11701760"/>
              <a:gd name="connsiteY3144" fmla="*/ 1860273 h 6407421"/>
              <a:gd name="connsiteX3145" fmla="*/ 3193374 w 11701760"/>
              <a:gd name="connsiteY3145" fmla="*/ 1860273 h 6407421"/>
              <a:gd name="connsiteX3146" fmla="*/ 3193374 w 11701760"/>
              <a:gd name="connsiteY3146" fmla="*/ 1889761 h 6407421"/>
              <a:gd name="connsiteX3147" fmla="*/ 3163772 w 11701760"/>
              <a:gd name="connsiteY3147" fmla="*/ 1889761 h 6407421"/>
              <a:gd name="connsiteX3148" fmla="*/ 8744423 w 11701760"/>
              <a:gd name="connsiteY3148" fmla="*/ 1860271 h 6407421"/>
              <a:gd name="connsiteX3149" fmla="*/ 8774026 w 11701760"/>
              <a:gd name="connsiteY3149" fmla="*/ 1860271 h 6407421"/>
              <a:gd name="connsiteX3150" fmla="*/ 8774026 w 11701760"/>
              <a:gd name="connsiteY3150" fmla="*/ 1889759 h 6407421"/>
              <a:gd name="connsiteX3151" fmla="*/ 8744423 w 11701760"/>
              <a:gd name="connsiteY3151" fmla="*/ 1889759 h 6407421"/>
              <a:gd name="connsiteX3152" fmla="*/ 2897575 w 11701760"/>
              <a:gd name="connsiteY3152" fmla="*/ 1860271 h 6407421"/>
              <a:gd name="connsiteX3153" fmla="*/ 2927178 w 11701760"/>
              <a:gd name="connsiteY3153" fmla="*/ 1860271 h 6407421"/>
              <a:gd name="connsiteX3154" fmla="*/ 2927178 w 11701760"/>
              <a:gd name="connsiteY3154" fmla="*/ 1889759 h 6407421"/>
              <a:gd name="connsiteX3155" fmla="*/ 2897575 w 11701760"/>
              <a:gd name="connsiteY3155" fmla="*/ 1889759 h 6407421"/>
              <a:gd name="connsiteX3156" fmla="*/ 8478226 w 11701760"/>
              <a:gd name="connsiteY3156" fmla="*/ 1860268 h 6407421"/>
              <a:gd name="connsiteX3157" fmla="*/ 8507828 w 11701760"/>
              <a:gd name="connsiteY3157" fmla="*/ 1860268 h 6407421"/>
              <a:gd name="connsiteX3158" fmla="*/ 8507828 w 11701760"/>
              <a:gd name="connsiteY3158" fmla="*/ 1889757 h 6407421"/>
              <a:gd name="connsiteX3159" fmla="*/ 8478226 w 11701760"/>
              <a:gd name="connsiteY3159" fmla="*/ 1889757 h 6407421"/>
              <a:gd name="connsiteX3160" fmla="*/ 2631378 w 11701760"/>
              <a:gd name="connsiteY3160" fmla="*/ 1860268 h 6407421"/>
              <a:gd name="connsiteX3161" fmla="*/ 2660980 w 11701760"/>
              <a:gd name="connsiteY3161" fmla="*/ 1860268 h 6407421"/>
              <a:gd name="connsiteX3162" fmla="*/ 2660980 w 11701760"/>
              <a:gd name="connsiteY3162" fmla="*/ 1889757 h 6407421"/>
              <a:gd name="connsiteX3163" fmla="*/ 2631378 w 11701760"/>
              <a:gd name="connsiteY3163" fmla="*/ 1889757 h 6407421"/>
              <a:gd name="connsiteX3164" fmla="*/ 8212137 w 11701760"/>
              <a:gd name="connsiteY3164" fmla="*/ 1860266 h 6407421"/>
              <a:gd name="connsiteX3165" fmla="*/ 8241740 w 11701760"/>
              <a:gd name="connsiteY3165" fmla="*/ 1860266 h 6407421"/>
              <a:gd name="connsiteX3166" fmla="*/ 8241740 w 11701760"/>
              <a:gd name="connsiteY3166" fmla="*/ 1889755 h 6407421"/>
              <a:gd name="connsiteX3167" fmla="*/ 8212137 w 11701760"/>
              <a:gd name="connsiteY3167" fmla="*/ 1889755 h 6407421"/>
              <a:gd name="connsiteX3168" fmla="*/ 2365289 w 11701760"/>
              <a:gd name="connsiteY3168" fmla="*/ 1860266 h 6407421"/>
              <a:gd name="connsiteX3169" fmla="*/ 2394892 w 11701760"/>
              <a:gd name="connsiteY3169" fmla="*/ 1860266 h 6407421"/>
              <a:gd name="connsiteX3170" fmla="*/ 2394892 w 11701760"/>
              <a:gd name="connsiteY3170" fmla="*/ 1889755 h 6407421"/>
              <a:gd name="connsiteX3171" fmla="*/ 2365289 w 11701760"/>
              <a:gd name="connsiteY3171" fmla="*/ 1889755 h 6407421"/>
              <a:gd name="connsiteX3172" fmla="*/ 7945940 w 11701760"/>
              <a:gd name="connsiteY3172" fmla="*/ 1860264 h 6407421"/>
              <a:gd name="connsiteX3173" fmla="*/ 7975543 w 11701760"/>
              <a:gd name="connsiteY3173" fmla="*/ 1860264 h 6407421"/>
              <a:gd name="connsiteX3174" fmla="*/ 7975543 w 11701760"/>
              <a:gd name="connsiteY3174" fmla="*/ 1889753 h 6407421"/>
              <a:gd name="connsiteX3175" fmla="*/ 7945940 w 11701760"/>
              <a:gd name="connsiteY3175" fmla="*/ 1889753 h 6407421"/>
              <a:gd name="connsiteX3176" fmla="*/ 2099092 w 11701760"/>
              <a:gd name="connsiteY3176" fmla="*/ 1860264 h 6407421"/>
              <a:gd name="connsiteX3177" fmla="*/ 2128695 w 11701760"/>
              <a:gd name="connsiteY3177" fmla="*/ 1860264 h 6407421"/>
              <a:gd name="connsiteX3178" fmla="*/ 2128695 w 11701760"/>
              <a:gd name="connsiteY3178" fmla="*/ 1889753 h 6407421"/>
              <a:gd name="connsiteX3179" fmla="*/ 2099092 w 11701760"/>
              <a:gd name="connsiteY3179" fmla="*/ 1889753 h 6407421"/>
              <a:gd name="connsiteX3180" fmla="*/ 7679743 w 11701760"/>
              <a:gd name="connsiteY3180" fmla="*/ 1860261 h 6407421"/>
              <a:gd name="connsiteX3181" fmla="*/ 7709346 w 11701760"/>
              <a:gd name="connsiteY3181" fmla="*/ 1860261 h 6407421"/>
              <a:gd name="connsiteX3182" fmla="*/ 7709346 w 11701760"/>
              <a:gd name="connsiteY3182" fmla="*/ 1889751 h 6407421"/>
              <a:gd name="connsiteX3183" fmla="*/ 7679743 w 11701760"/>
              <a:gd name="connsiteY3183" fmla="*/ 1889751 h 6407421"/>
              <a:gd name="connsiteX3184" fmla="*/ 1832898 w 11701760"/>
              <a:gd name="connsiteY3184" fmla="*/ 1860261 h 6407421"/>
              <a:gd name="connsiteX3185" fmla="*/ 1862498 w 11701760"/>
              <a:gd name="connsiteY3185" fmla="*/ 1860261 h 6407421"/>
              <a:gd name="connsiteX3186" fmla="*/ 1862498 w 11701760"/>
              <a:gd name="connsiteY3186" fmla="*/ 1889751 h 6407421"/>
              <a:gd name="connsiteX3187" fmla="*/ 1832898 w 11701760"/>
              <a:gd name="connsiteY3187" fmla="*/ 1889751 h 6407421"/>
              <a:gd name="connsiteX3188" fmla="*/ 7413653 w 11701760"/>
              <a:gd name="connsiteY3188" fmla="*/ 1860259 h 6407421"/>
              <a:gd name="connsiteX3189" fmla="*/ 7443256 w 11701760"/>
              <a:gd name="connsiteY3189" fmla="*/ 1860259 h 6407421"/>
              <a:gd name="connsiteX3190" fmla="*/ 7443256 w 11701760"/>
              <a:gd name="connsiteY3190" fmla="*/ 1889750 h 6407421"/>
              <a:gd name="connsiteX3191" fmla="*/ 7413653 w 11701760"/>
              <a:gd name="connsiteY3191" fmla="*/ 1889750 h 6407421"/>
              <a:gd name="connsiteX3192" fmla="*/ 1566808 w 11701760"/>
              <a:gd name="connsiteY3192" fmla="*/ 1860259 h 6407421"/>
              <a:gd name="connsiteX3193" fmla="*/ 1596409 w 11701760"/>
              <a:gd name="connsiteY3193" fmla="*/ 1860259 h 6407421"/>
              <a:gd name="connsiteX3194" fmla="*/ 1596409 w 11701760"/>
              <a:gd name="connsiteY3194" fmla="*/ 1889750 h 6407421"/>
              <a:gd name="connsiteX3195" fmla="*/ 1566808 w 11701760"/>
              <a:gd name="connsiteY3195" fmla="*/ 1889750 h 6407421"/>
              <a:gd name="connsiteX3196" fmla="*/ 7147456 w 11701760"/>
              <a:gd name="connsiteY3196" fmla="*/ 1860256 h 6407421"/>
              <a:gd name="connsiteX3197" fmla="*/ 7177058 w 11701760"/>
              <a:gd name="connsiteY3197" fmla="*/ 1860256 h 6407421"/>
              <a:gd name="connsiteX3198" fmla="*/ 7177058 w 11701760"/>
              <a:gd name="connsiteY3198" fmla="*/ 1889748 h 6407421"/>
              <a:gd name="connsiteX3199" fmla="*/ 7147456 w 11701760"/>
              <a:gd name="connsiteY3199" fmla="*/ 1889748 h 6407421"/>
              <a:gd name="connsiteX3200" fmla="*/ 1300611 w 11701760"/>
              <a:gd name="connsiteY3200" fmla="*/ 1860256 h 6407421"/>
              <a:gd name="connsiteX3201" fmla="*/ 1330213 w 11701760"/>
              <a:gd name="connsiteY3201" fmla="*/ 1860256 h 6407421"/>
              <a:gd name="connsiteX3202" fmla="*/ 1330213 w 11701760"/>
              <a:gd name="connsiteY3202" fmla="*/ 1889748 h 6407421"/>
              <a:gd name="connsiteX3203" fmla="*/ 1300611 w 11701760"/>
              <a:gd name="connsiteY3203" fmla="*/ 1889748 h 6407421"/>
              <a:gd name="connsiteX3204" fmla="*/ 6881367 w 11701760"/>
              <a:gd name="connsiteY3204" fmla="*/ 1860254 h 6407421"/>
              <a:gd name="connsiteX3205" fmla="*/ 6910970 w 11701760"/>
              <a:gd name="connsiteY3205" fmla="*/ 1860254 h 6407421"/>
              <a:gd name="connsiteX3206" fmla="*/ 6910970 w 11701760"/>
              <a:gd name="connsiteY3206" fmla="*/ 1889747 h 6407421"/>
              <a:gd name="connsiteX3207" fmla="*/ 6881367 w 11701760"/>
              <a:gd name="connsiteY3207" fmla="*/ 1889747 h 6407421"/>
              <a:gd name="connsiteX3208" fmla="*/ 1034520 w 11701760"/>
              <a:gd name="connsiteY3208" fmla="*/ 1860254 h 6407421"/>
              <a:gd name="connsiteX3209" fmla="*/ 1064123 w 11701760"/>
              <a:gd name="connsiteY3209" fmla="*/ 1860254 h 6407421"/>
              <a:gd name="connsiteX3210" fmla="*/ 1064123 w 11701760"/>
              <a:gd name="connsiteY3210" fmla="*/ 1889747 h 6407421"/>
              <a:gd name="connsiteX3211" fmla="*/ 1034520 w 11701760"/>
              <a:gd name="connsiteY3211" fmla="*/ 1889747 h 6407421"/>
              <a:gd name="connsiteX3212" fmla="*/ 6615170 w 11701760"/>
              <a:gd name="connsiteY3212" fmla="*/ 1860252 h 6407421"/>
              <a:gd name="connsiteX3213" fmla="*/ 6644773 w 11701760"/>
              <a:gd name="connsiteY3213" fmla="*/ 1860252 h 6407421"/>
              <a:gd name="connsiteX3214" fmla="*/ 6644773 w 11701760"/>
              <a:gd name="connsiteY3214" fmla="*/ 1889745 h 6407421"/>
              <a:gd name="connsiteX3215" fmla="*/ 6615170 w 11701760"/>
              <a:gd name="connsiteY3215" fmla="*/ 1889745 h 6407421"/>
              <a:gd name="connsiteX3216" fmla="*/ 768327 w 11701760"/>
              <a:gd name="connsiteY3216" fmla="*/ 1860252 h 6407421"/>
              <a:gd name="connsiteX3217" fmla="*/ 797926 w 11701760"/>
              <a:gd name="connsiteY3217" fmla="*/ 1860252 h 6407421"/>
              <a:gd name="connsiteX3218" fmla="*/ 797926 w 11701760"/>
              <a:gd name="connsiteY3218" fmla="*/ 1889745 h 6407421"/>
              <a:gd name="connsiteX3219" fmla="*/ 768327 w 11701760"/>
              <a:gd name="connsiteY3219" fmla="*/ 1889745 h 6407421"/>
              <a:gd name="connsiteX3220" fmla="*/ 6349081 w 11701760"/>
              <a:gd name="connsiteY3220" fmla="*/ 1860249 h 6407421"/>
              <a:gd name="connsiteX3221" fmla="*/ 6378683 w 11701760"/>
              <a:gd name="connsiteY3221" fmla="*/ 1860249 h 6407421"/>
              <a:gd name="connsiteX3222" fmla="*/ 6378683 w 11701760"/>
              <a:gd name="connsiteY3222" fmla="*/ 1889744 h 6407421"/>
              <a:gd name="connsiteX3223" fmla="*/ 6349081 w 11701760"/>
              <a:gd name="connsiteY3223" fmla="*/ 1889744 h 6407421"/>
              <a:gd name="connsiteX3224" fmla="*/ 502236 w 11701760"/>
              <a:gd name="connsiteY3224" fmla="*/ 1860249 h 6407421"/>
              <a:gd name="connsiteX3225" fmla="*/ 531838 w 11701760"/>
              <a:gd name="connsiteY3225" fmla="*/ 1860249 h 6407421"/>
              <a:gd name="connsiteX3226" fmla="*/ 531838 w 11701760"/>
              <a:gd name="connsiteY3226" fmla="*/ 1889744 h 6407421"/>
              <a:gd name="connsiteX3227" fmla="*/ 502236 w 11701760"/>
              <a:gd name="connsiteY3227" fmla="*/ 1889744 h 6407421"/>
              <a:gd name="connsiteX3228" fmla="*/ 6082884 w 11701760"/>
              <a:gd name="connsiteY3228" fmla="*/ 1860247 h 6407421"/>
              <a:gd name="connsiteX3229" fmla="*/ 6112486 w 11701760"/>
              <a:gd name="connsiteY3229" fmla="*/ 1860247 h 6407421"/>
              <a:gd name="connsiteX3230" fmla="*/ 6112486 w 11701760"/>
              <a:gd name="connsiteY3230" fmla="*/ 1889742 h 6407421"/>
              <a:gd name="connsiteX3231" fmla="*/ 6082884 w 11701760"/>
              <a:gd name="connsiteY3231" fmla="*/ 1889742 h 6407421"/>
              <a:gd name="connsiteX3232" fmla="*/ 236037 w 11701760"/>
              <a:gd name="connsiteY3232" fmla="*/ 1860247 h 6407421"/>
              <a:gd name="connsiteX3233" fmla="*/ 265639 w 11701760"/>
              <a:gd name="connsiteY3233" fmla="*/ 1860247 h 6407421"/>
              <a:gd name="connsiteX3234" fmla="*/ 265639 w 11701760"/>
              <a:gd name="connsiteY3234" fmla="*/ 1889742 h 6407421"/>
              <a:gd name="connsiteX3235" fmla="*/ 236037 w 11701760"/>
              <a:gd name="connsiteY3235" fmla="*/ 1889742 h 6407421"/>
              <a:gd name="connsiteX3236" fmla="*/ 1 w 11701760"/>
              <a:gd name="connsiteY3236" fmla="*/ 1860247 h 6407421"/>
              <a:gd name="connsiteX3237" fmla="*/ 29603 w 11701760"/>
              <a:gd name="connsiteY3237" fmla="*/ 1860247 h 6407421"/>
              <a:gd name="connsiteX3238" fmla="*/ 29603 w 11701760"/>
              <a:gd name="connsiteY3238" fmla="*/ 1889742 h 6407421"/>
              <a:gd name="connsiteX3239" fmla="*/ 1 w 11701760"/>
              <a:gd name="connsiteY3239" fmla="*/ 1889742 h 6407421"/>
              <a:gd name="connsiteX3240" fmla="*/ 11672158 w 11701760"/>
              <a:gd name="connsiteY3240" fmla="*/ 1594533 h 6407421"/>
              <a:gd name="connsiteX3241" fmla="*/ 11701760 w 11701760"/>
              <a:gd name="connsiteY3241" fmla="*/ 1594533 h 6407421"/>
              <a:gd name="connsiteX3242" fmla="*/ 11701760 w 11701760"/>
              <a:gd name="connsiteY3242" fmla="*/ 1624136 h 6407421"/>
              <a:gd name="connsiteX3243" fmla="*/ 11672158 w 11701760"/>
              <a:gd name="connsiteY3243" fmla="*/ 1624136 h 6407421"/>
              <a:gd name="connsiteX3244" fmla="*/ 5825310 w 11701760"/>
              <a:gd name="connsiteY3244" fmla="*/ 1594533 h 6407421"/>
              <a:gd name="connsiteX3245" fmla="*/ 5854913 w 11701760"/>
              <a:gd name="connsiteY3245" fmla="*/ 1594533 h 6407421"/>
              <a:gd name="connsiteX3246" fmla="*/ 5854913 w 11701760"/>
              <a:gd name="connsiteY3246" fmla="*/ 1624136 h 6407421"/>
              <a:gd name="connsiteX3247" fmla="*/ 5825310 w 11701760"/>
              <a:gd name="connsiteY3247" fmla="*/ 1624136 h 6407421"/>
              <a:gd name="connsiteX3248" fmla="*/ 11405961 w 11701760"/>
              <a:gd name="connsiteY3248" fmla="*/ 1594531 h 6407421"/>
              <a:gd name="connsiteX3249" fmla="*/ 11435563 w 11701760"/>
              <a:gd name="connsiteY3249" fmla="*/ 1594531 h 6407421"/>
              <a:gd name="connsiteX3250" fmla="*/ 11435563 w 11701760"/>
              <a:gd name="connsiteY3250" fmla="*/ 1624134 h 6407421"/>
              <a:gd name="connsiteX3251" fmla="*/ 11405961 w 11701760"/>
              <a:gd name="connsiteY3251" fmla="*/ 1624134 h 6407421"/>
              <a:gd name="connsiteX3252" fmla="*/ 5559113 w 11701760"/>
              <a:gd name="connsiteY3252" fmla="*/ 1594531 h 6407421"/>
              <a:gd name="connsiteX3253" fmla="*/ 5588715 w 11701760"/>
              <a:gd name="connsiteY3253" fmla="*/ 1594531 h 6407421"/>
              <a:gd name="connsiteX3254" fmla="*/ 5588715 w 11701760"/>
              <a:gd name="connsiteY3254" fmla="*/ 1624134 h 6407421"/>
              <a:gd name="connsiteX3255" fmla="*/ 5559113 w 11701760"/>
              <a:gd name="connsiteY3255" fmla="*/ 1624134 h 6407421"/>
              <a:gd name="connsiteX3256" fmla="*/ 11139872 w 11701760"/>
              <a:gd name="connsiteY3256" fmla="*/ 1594528 h 6407421"/>
              <a:gd name="connsiteX3257" fmla="*/ 11169474 w 11701760"/>
              <a:gd name="connsiteY3257" fmla="*/ 1594528 h 6407421"/>
              <a:gd name="connsiteX3258" fmla="*/ 11169474 w 11701760"/>
              <a:gd name="connsiteY3258" fmla="*/ 1624131 h 6407421"/>
              <a:gd name="connsiteX3259" fmla="*/ 11139872 w 11701760"/>
              <a:gd name="connsiteY3259" fmla="*/ 1624131 h 6407421"/>
              <a:gd name="connsiteX3260" fmla="*/ 5293024 w 11701760"/>
              <a:gd name="connsiteY3260" fmla="*/ 1594528 h 6407421"/>
              <a:gd name="connsiteX3261" fmla="*/ 5322626 w 11701760"/>
              <a:gd name="connsiteY3261" fmla="*/ 1594528 h 6407421"/>
              <a:gd name="connsiteX3262" fmla="*/ 5322626 w 11701760"/>
              <a:gd name="connsiteY3262" fmla="*/ 1624131 h 6407421"/>
              <a:gd name="connsiteX3263" fmla="*/ 5293024 w 11701760"/>
              <a:gd name="connsiteY3263" fmla="*/ 1624131 h 6407421"/>
              <a:gd name="connsiteX3264" fmla="*/ 10873675 w 11701760"/>
              <a:gd name="connsiteY3264" fmla="*/ 1594526 h 6407421"/>
              <a:gd name="connsiteX3265" fmla="*/ 10903277 w 11701760"/>
              <a:gd name="connsiteY3265" fmla="*/ 1594526 h 6407421"/>
              <a:gd name="connsiteX3266" fmla="*/ 10903277 w 11701760"/>
              <a:gd name="connsiteY3266" fmla="*/ 1624129 h 6407421"/>
              <a:gd name="connsiteX3267" fmla="*/ 10873675 w 11701760"/>
              <a:gd name="connsiteY3267" fmla="*/ 1624129 h 6407421"/>
              <a:gd name="connsiteX3268" fmla="*/ 5026827 w 11701760"/>
              <a:gd name="connsiteY3268" fmla="*/ 1594526 h 6407421"/>
              <a:gd name="connsiteX3269" fmla="*/ 5056429 w 11701760"/>
              <a:gd name="connsiteY3269" fmla="*/ 1594526 h 6407421"/>
              <a:gd name="connsiteX3270" fmla="*/ 5056429 w 11701760"/>
              <a:gd name="connsiteY3270" fmla="*/ 1624129 h 6407421"/>
              <a:gd name="connsiteX3271" fmla="*/ 5026827 w 11701760"/>
              <a:gd name="connsiteY3271" fmla="*/ 1624129 h 6407421"/>
              <a:gd name="connsiteX3272" fmla="*/ 10607478 w 11701760"/>
              <a:gd name="connsiteY3272" fmla="*/ 1594523 h 6407421"/>
              <a:gd name="connsiteX3273" fmla="*/ 10637188 w 11701760"/>
              <a:gd name="connsiteY3273" fmla="*/ 1594523 h 6407421"/>
              <a:gd name="connsiteX3274" fmla="*/ 10637188 w 11701760"/>
              <a:gd name="connsiteY3274" fmla="*/ 1624127 h 6407421"/>
              <a:gd name="connsiteX3275" fmla="*/ 10607478 w 11701760"/>
              <a:gd name="connsiteY3275" fmla="*/ 1624127 h 6407421"/>
              <a:gd name="connsiteX3276" fmla="*/ 4760630 w 11701760"/>
              <a:gd name="connsiteY3276" fmla="*/ 1594523 h 6407421"/>
              <a:gd name="connsiteX3277" fmla="*/ 4790340 w 11701760"/>
              <a:gd name="connsiteY3277" fmla="*/ 1594523 h 6407421"/>
              <a:gd name="connsiteX3278" fmla="*/ 4790340 w 11701760"/>
              <a:gd name="connsiteY3278" fmla="*/ 1624127 h 6407421"/>
              <a:gd name="connsiteX3279" fmla="*/ 4760630 w 11701760"/>
              <a:gd name="connsiteY3279" fmla="*/ 1624127 h 6407421"/>
              <a:gd name="connsiteX3280" fmla="*/ 10341389 w 11701760"/>
              <a:gd name="connsiteY3280" fmla="*/ 1594521 h 6407421"/>
              <a:gd name="connsiteX3281" fmla="*/ 10370992 w 11701760"/>
              <a:gd name="connsiteY3281" fmla="*/ 1594521 h 6407421"/>
              <a:gd name="connsiteX3282" fmla="*/ 10370992 w 11701760"/>
              <a:gd name="connsiteY3282" fmla="*/ 1624124 h 6407421"/>
              <a:gd name="connsiteX3283" fmla="*/ 10341389 w 11701760"/>
              <a:gd name="connsiteY3283" fmla="*/ 1624124 h 6407421"/>
              <a:gd name="connsiteX3284" fmla="*/ 4494541 w 11701760"/>
              <a:gd name="connsiteY3284" fmla="*/ 1594521 h 6407421"/>
              <a:gd name="connsiteX3285" fmla="*/ 4524144 w 11701760"/>
              <a:gd name="connsiteY3285" fmla="*/ 1594521 h 6407421"/>
              <a:gd name="connsiteX3286" fmla="*/ 4524144 w 11701760"/>
              <a:gd name="connsiteY3286" fmla="*/ 1624124 h 6407421"/>
              <a:gd name="connsiteX3287" fmla="*/ 4494541 w 11701760"/>
              <a:gd name="connsiteY3287" fmla="*/ 1624124 h 6407421"/>
              <a:gd name="connsiteX3288" fmla="*/ 10075192 w 11701760"/>
              <a:gd name="connsiteY3288" fmla="*/ 1594518 h 6407421"/>
              <a:gd name="connsiteX3289" fmla="*/ 10104794 w 11701760"/>
              <a:gd name="connsiteY3289" fmla="*/ 1594518 h 6407421"/>
              <a:gd name="connsiteX3290" fmla="*/ 10104794 w 11701760"/>
              <a:gd name="connsiteY3290" fmla="*/ 1624122 h 6407421"/>
              <a:gd name="connsiteX3291" fmla="*/ 10075192 w 11701760"/>
              <a:gd name="connsiteY3291" fmla="*/ 1624122 h 6407421"/>
              <a:gd name="connsiteX3292" fmla="*/ 4228344 w 11701760"/>
              <a:gd name="connsiteY3292" fmla="*/ 1594518 h 6407421"/>
              <a:gd name="connsiteX3293" fmla="*/ 4257946 w 11701760"/>
              <a:gd name="connsiteY3293" fmla="*/ 1594518 h 6407421"/>
              <a:gd name="connsiteX3294" fmla="*/ 4257946 w 11701760"/>
              <a:gd name="connsiteY3294" fmla="*/ 1624122 h 6407421"/>
              <a:gd name="connsiteX3295" fmla="*/ 4228344 w 11701760"/>
              <a:gd name="connsiteY3295" fmla="*/ 1624122 h 6407421"/>
              <a:gd name="connsiteX3296" fmla="*/ 9809103 w 11701760"/>
              <a:gd name="connsiteY3296" fmla="*/ 1594516 h 6407421"/>
              <a:gd name="connsiteX3297" fmla="*/ 9838705 w 11701760"/>
              <a:gd name="connsiteY3297" fmla="*/ 1594516 h 6407421"/>
              <a:gd name="connsiteX3298" fmla="*/ 9838705 w 11701760"/>
              <a:gd name="connsiteY3298" fmla="*/ 1624120 h 6407421"/>
              <a:gd name="connsiteX3299" fmla="*/ 9809103 w 11701760"/>
              <a:gd name="connsiteY3299" fmla="*/ 1624120 h 6407421"/>
              <a:gd name="connsiteX3300" fmla="*/ 3962255 w 11701760"/>
              <a:gd name="connsiteY3300" fmla="*/ 1594516 h 6407421"/>
              <a:gd name="connsiteX3301" fmla="*/ 3991857 w 11701760"/>
              <a:gd name="connsiteY3301" fmla="*/ 1594516 h 6407421"/>
              <a:gd name="connsiteX3302" fmla="*/ 3991857 w 11701760"/>
              <a:gd name="connsiteY3302" fmla="*/ 1624120 h 6407421"/>
              <a:gd name="connsiteX3303" fmla="*/ 3962255 w 11701760"/>
              <a:gd name="connsiteY3303" fmla="*/ 1624120 h 6407421"/>
              <a:gd name="connsiteX3304" fmla="*/ 9542906 w 11701760"/>
              <a:gd name="connsiteY3304" fmla="*/ 1594514 h 6407421"/>
              <a:gd name="connsiteX3305" fmla="*/ 9572509 w 11701760"/>
              <a:gd name="connsiteY3305" fmla="*/ 1594514 h 6407421"/>
              <a:gd name="connsiteX3306" fmla="*/ 9572509 w 11701760"/>
              <a:gd name="connsiteY3306" fmla="*/ 1624117 h 6407421"/>
              <a:gd name="connsiteX3307" fmla="*/ 9542906 w 11701760"/>
              <a:gd name="connsiteY3307" fmla="*/ 1624117 h 6407421"/>
              <a:gd name="connsiteX3308" fmla="*/ 3696058 w 11701760"/>
              <a:gd name="connsiteY3308" fmla="*/ 1594514 h 6407421"/>
              <a:gd name="connsiteX3309" fmla="*/ 3725661 w 11701760"/>
              <a:gd name="connsiteY3309" fmla="*/ 1594514 h 6407421"/>
              <a:gd name="connsiteX3310" fmla="*/ 3725661 w 11701760"/>
              <a:gd name="connsiteY3310" fmla="*/ 1624117 h 6407421"/>
              <a:gd name="connsiteX3311" fmla="*/ 3696058 w 11701760"/>
              <a:gd name="connsiteY3311" fmla="*/ 1624117 h 6407421"/>
              <a:gd name="connsiteX3312" fmla="*/ 9276817 w 11701760"/>
              <a:gd name="connsiteY3312" fmla="*/ 1594511 h 6407421"/>
              <a:gd name="connsiteX3313" fmla="*/ 9306420 w 11701760"/>
              <a:gd name="connsiteY3313" fmla="*/ 1594511 h 6407421"/>
              <a:gd name="connsiteX3314" fmla="*/ 9306420 w 11701760"/>
              <a:gd name="connsiteY3314" fmla="*/ 1624114 h 6407421"/>
              <a:gd name="connsiteX3315" fmla="*/ 9276817 w 11701760"/>
              <a:gd name="connsiteY3315" fmla="*/ 1624114 h 6407421"/>
              <a:gd name="connsiteX3316" fmla="*/ 3429969 w 11701760"/>
              <a:gd name="connsiteY3316" fmla="*/ 1594511 h 6407421"/>
              <a:gd name="connsiteX3317" fmla="*/ 3459572 w 11701760"/>
              <a:gd name="connsiteY3317" fmla="*/ 1594511 h 6407421"/>
              <a:gd name="connsiteX3318" fmla="*/ 3459572 w 11701760"/>
              <a:gd name="connsiteY3318" fmla="*/ 1624114 h 6407421"/>
              <a:gd name="connsiteX3319" fmla="*/ 3429969 w 11701760"/>
              <a:gd name="connsiteY3319" fmla="*/ 1624114 h 6407421"/>
              <a:gd name="connsiteX3320" fmla="*/ 9010620 w 11701760"/>
              <a:gd name="connsiteY3320" fmla="*/ 1594509 h 6407421"/>
              <a:gd name="connsiteX3321" fmla="*/ 9040222 w 11701760"/>
              <a:gd name="connsiteY3321" fmla="*/ 1594509 h 6407421"/>
              <a:gd name="connsiteX3322" fmla="*/ 9040222 w 11701760"/>
              <a:gd name="connsiteY3322" fmla="*/ 1624112 h 6407421"/>
              <a:gd name="connsiteX3323" fmla="*/ 9010620 w 11701760"/>
              <a:gd name="connsiteY3323" fmla="*/ 1624112 h 6407421"/>
              <a:gd name="connsiteX3324" fmla="*/ 3163772 w 11701760"/>
              <a:gd name="connsiteY3324" fmla="*/ 1594509 h 6407421"/>
              <a:gd name="connsiteX3325" fmla="*/ 3193374 w 11701760"/>
              <a:gd name="connsiteY3325" fmla="*/ 1594509 h 6407421"/>
              <a:gd name="connsiteX3326" fmla="*/ 3193374 w 11701760"/>
              <a:gd name="connsiteY3326" fmla="*/ 1624112 h 6407421"/>
              <a:gd name="connsiteX3327" fmla="*/ 3163772 w 11701760"/>
              <a:gd name="connsiteY3327" fmla="*/ 1624112 h 6407421"/>
              <a:gd name="connsiteX3328" fmla="*/ 8744423 w 11701760"/>
              <a:gd name="connsiteY3328" fmla="*/ 1594506 h 6407421"/>
              <a:gd name="connsiteX3329" fmla="*/ 8774026 w 11701760"/>
              <a:gd name="connsiteY3329" fmla="*/ 1594506 h 6407421"/>
              <a:gd name="connsiteX3330" fmla="*/ 8774026 w 11701760"/>
              <a:gd name="connsiteY3330" fmla="*/ 1624110 h 6407421"/>
              <a:gd name="connsiteX3331" fmla="*/ 8744423 w 11701760"/>
              <a:gd name="connsiteY3331" fmla="*/ 1624110 h 6407421"/>
              <a:gd name="connsiteX3332" fmla="*/ 2897575 w 11701760"/>
              <a:gd name="connsiteY3332" fmla="*/ 1594506 h 6407421"/>
              <a:gd name="connsiteX3333" fmla="*/ 2927178 w 11701760"/>
              <a:gd name="connsiteY3333" fmla="*/ 1594506 h 6407421"/>
              <a:gd name="connsiteX3334" fmla="*/ 2927178 w 11701760"/>
              <a:gd name="connsiteY3334" fmla="*/ 1624110 h 6407421"/>
              <a:gd name="connsiteX3335" fmla="*/ 2897575 w 11701760"/>
              <a:gd name="connsiteY3335" fmla="*/ 1624110 h 6407421"/>
              <a:gd name="connsiteX3336" fmla="*/ 8478226 w 11701760"/>
              <a:gd name="connsiteY3336" fmla="*/ 1594504 h 6407421"/>
              <a:gd name="connsiteX3337" fmla="*/ 8507828 w 11701760"/>
              <a:gd name="connsiteY3337" fmla="*/ 1594504 h 6407421"/>
              <a:gd name="connsiteX3338" fmla="*/ 8507828 w 11701760"/>
              <a:gd name="connsiteY3338" fmla="*/ 1624107 h 6407421"/>
              <a:gd name="connsiteX3339" fmla="*/ 8478226 w 11701760"/>
              <a:gd name="connsiteY3339" fmla="*/ 1624107 h 6407421"/>
              <a:gd name="connsiteX3340" fmla="*/ 2631378 w 11701760"/>
              <a:gd name="connsiteY3340" fmla="*/ 1594504 h 6407421"/>
              <a:gd name="connsiteX3341" fmla="*/ 2660980 w 11701760"/>
              <a:gd name="connsiteY3341" fmla="*/ 1594504 h 6407421"/>
              <a:gd name="connsiteX3342" fmla="*/ 2660980 w 11701760"/>
              <a:gd name="connsiteY3342" fmla="*/ 1624107 h 6407421"/>
              <a:gd name="connsiteX3343" fmla="*/ 2631378 w 11701760"/>
              <a:gd name="connsiteY3343" fmla="*/ 1624107 h 6407421"/>
              <a:gd name="connsiteX3344" fmla="*/ 8212137 w 11701760"/>
              <a:gd name="connsiteY3344" fmla="*/ 1594502 h 6407421"/>
              <a:gd name="connsiteX3345" fmla="*/ 8241740 w 11701760"/>
              <a:gd name="connsiteY3345" fmla="*/ 1594502 h 6407421"/>
              <a:gd name="connsiteX3346" fmla="*/ 8241740 w 11701760"/>
              <a:gd name="connsiteY3346" fmla="*/ 1624105 h 6407421"/>
              <a:gd name="connsiteX3347" fmla="*/ 8212137 w 11701760"/>
              <a:gd name="connsiteY3347" fmla="*/ 1624105 h 6407421"/>
              <a:gd name="connsiteX3348" fmla="*/ 2365289 w 11701760"/>
              <a:gd name="connsiteY3348" fmla="*/ 1594502 h 6407421"/>
              <a:gd name="connsiteX3349" fmla="*/ 2394892 w 11701760"/>
              <a:gd name="connsiteY3349" fmla="*/ 1594502 h 6407421"/>
              <a:gd name="connsiteX3350" fmla="*/ 2394892 w 11701760"/>
              <a:gd name="connsiteY3350" fmla="*/ 1624105 h 6407421"/>
              <a:gd name="connsiteX3351" fmla="*/ 2365289 w 11701760"/>
              <a:gd name="connsiteY3351" fmla="*/ 1624105 h 6407421"/>
              <a:gd name="connsiteX3352" fmla="*/ 7945940 w 11701760"/>
              <a:gd name="connsiteY3352" fmla="*/ 1594499 h 6407421"/>
              <a:gd name="connsiteX3353" fmla="*/ 7975543 w 11701760"/>
              <a:gd name="connsiteY3353" fmla="*/ 1594499 h 6407421"/>
              <a:gd name="connsiteX3354" fmla="*/ 7975543 w 11701760"/>
              <a:gd name="connsiteY3354" fmla="*/ 1624102 h 6407421"/>
              <a:gd name="connsiteX3355" fmla="*/ 7945940 w 11701760"/>
              <a:gd name="connsiteY3355" fmla="*/ 1624102 h 6407421"/>
              <a:gd name="connsiteX3356" fmla="*/ 2099092 w 11701760"/>
              <a:gd name="connsiteY3356" fmla="*/ 1594499 h 6407421"/>
              <a:gd name="connsiteX3357" fmla="*/ 2128695 w 11701760"/>
              <a:gd name="connsiteY3357" fmla="*/ 1594499 h 6407421"/>
              <a:gd name="connsiteX3358" fmla="*/ 2128695 w 11701760"/>
              <a:gd name="connsiteY3358" fmla="*/ 1624102 h 6407421"/>
              <a:gd name="connsiteX3359" fmla="*/ 2099092 w 11701760"/>
              <a:gd name="connsiteY3359" fmla="*/ 1624102 h 6407421"/>
              <a:gd name="connsiteX3360" fmla="*/ 7679743 w 11701760"/>
              <a:gd name="connsiteY3360" fmla="*/ 1594496 h 6407421"/>
              <a:gd name="connsiteX3361" fmla="*/ 7709346 w 11701760"/>
              <a:gd name="connsiteY3361" fmla="*/ 1594496 h 6407421"/>
              <a:gd name="connsiteX3362" fmla="*/ 7709346 w 11701760"/>
              <a:gd name="connsiteY3362" fmla="*/ 1624100 h 6407421"/>
              <a:gd name="connsiteX3363" fmla="*/ 7679743 w 11701760"/>
              <a:gd name="connsiteY3363" fmla="*/ 1624100 h 6407421"/>
              <a:gd name="connsiteX3364" fmla="*/ 1832898 w 11701760"/>
              <a:gd name="connsiteY3364" fmla="*/ 1594496 h 6407421"/>
              <a:gd name="connsiteX3365" fmla="*/ 1862498 w 11701760"/>
              <a:gd name="connsiteY3365" fmla="*/ 1594496 h 6407421"/>
              <a:gd name="connsiteX3366" fmla="*/ 1862498 w 11701760"/>
              <a:gd name="connsiteY3366" fmla="*/ 1624100 h 6407421"/>
              <a:gd name="connsiteX3367" fmla="*/ 1832898 w 11701760"/>
              <a:gd name="connsiteY3367" fmla="*/ 1624100 h 6407421"/>
              <a:gd name="connsiteX3368" fmla="*/ 7413653 w 11701760"/>
              <a:gd name="connsiteY3368" fmla="*/ 1594494 h 6407421"/>
              <a:gd name="connsiteX3369" fmla="*/ 7443256 w 11701760"/>
              <a:gd name="connsiteY3369" fmla="*/ 1594494 h 6407421"/>
              <a:gd name="connsiteX3370" fmla="*/ 7443256 w 11701760"/>
              <a:gd name="connsiteY3370" fmla="*/ 1624097 h 6407421"/>
              <a:gd name="connsiteX3371" fmla="*/ 7413653 w 11701760"/>
              <a:gd name="connsiteY3371" fmla="*/ 1624097 h 6407421"/>
              <a:gd name="connsiteX3372" fmla="*/ 1566808 w 11701760"/>
              <a:gd name="connsiteY3372" fmla="*/ 1594494 h 6407421"/>
              <a:gd name="connsiteX3373" fmla="*/ 1596409 w 11701760"/>
              <a:gd name="connsiteY3373" fmla="*/ 1594494 h 6407421"/>
              <a:gd name="connsiteX3374" fmla="*/ 1596409 w 11701760"/>
              <a:gd name="connsiteY3374" fmla="*/ 1624097 h 6407421"/>
              <a:gd name="connsiteX3375" fmla="*/ 1566808 w 11701760"/>
              <a:gd name="connsiteY3375" fmla="*/ 1624097 h 6407421"/>
              <a:gd name="connsiteX3376" fmla="*/ 7147456 w 11701760"/>
              <a:gd name="connsiteY3376" fmla="*/ 1594491 h 6407421"/>
              <a:gd name="connsiteX3377" fmla="*/ 7177058 w 11701760"/>
              <a:gd name="connsiteY3377" fmla="*/ 1594491 h 6407421"/>
              <a:gd name="connsiteX3378" fmla="*/ 7177058 w 11701760"/>
              <a:gd name="connsiteY3378" fmla="*/ 1624095 h 6407421"/>
              <a:gd name="connsiteX3379" fmla="*/ 7147456 w 11701760"/>
              <a:gd name="connsiteY3379" fmla="*/ 1624095 h 6407421"/>
              <a:gd name="connsiteX3380" fmla="*/ 1300611 w 11701760"/>
              <a:gd name="connsiteY3380" fmla="*/ 1594491 h 6407421"/>
              <a:gd name="connsiteX3381" fmla="*/ 1330213 w 11701760"/>
              <a:gd name="connsiteY3381" fmla="*/ 1594491 h 6407421"/>
              <a:gd name="connsiteX3382" fmla="*/ 1330213 w 11701760"/>
              <a:gd name="connsiteY3382" fmla="*/ 1624095 h 6407421"/>
              <a:gd name="connsiteX3383" fmla="*/ 1300611 w 11701760"/>
              <a:gd name="connsiteY3383" fmla="*/ 1624095 h 6407421"/>
              <a:gd name="connsiteX3384" fmla="*/ 6881367 w 11701760"/>
              <a:gd name="connsiteY3384" fmla="*/ 1594489 h 6407421"/>
              <a:gd name="connsiteX3385" fmla="*/ 6910970 w 11701760"/>
              <a:gd name="connsiteY3385" fmla="*/ 1594489 h 6407421"/>
              <a:gd name="connsiteX3386" fmla="*/ 6910970 w 11701760"/>
              <a:gd name="connsiteY3386" fmla="*/ 1624092 h 6407421"/>
              <a:gd name="connsiteX3387" fmla="*/ 6881367 w 11701760"/>
              <a:gd name="connsiteY3387" fmla="*/ 1624092 h 6407421"/>
              <a:gd name="connsiteX3388" fmla="*/ 1034520 w 11701760"/>
              <a:gd name="connsiteY3388" fmla="*/ 1594489 h 6407421"/>
              <a:gd name="connsiteX3389" fmla="*/ 1064123 w 11701760"/>
              <a:gd name="connsiteY3389" fmla="*/ 1594489 h 6407421"/>
              <a:gd name="connsiteX3390" fmla="*/ 1064123 w 11701760"/>
              <a:gd name="connsiteY3390" fmla="*/ 1624092 h 6407421"/>
              <a:gd name="connsiteX3391" fmla="*/ 1034520 w 11701760"/>
              <a:gd name="connsiteY3391" fmla="*/ 1624092 h 6407421"/>
              <a:gd name="connsiteX3392" fmla="*/ 6615170 w 11701760"/>
              <a:gd name="connsiteY3392" fmla="*/ 1594486 h 6407421"/>
              <a:gd name="connsiteX3393" fmla="*/ 6644773 w 11701760"/>
              <a:gd name="connsiteY3393" fmla="*/ 1594486 h 6407421"/>
              <a:gd name="connsiteX3394" fmla="*/ 6644773 w 11701760"/>
              <a:gd name="connsiteY3394" fmla="*/ 1624090 h 6407421"/>
              <a:gd name="connsiteX3395" fmla="*/ 6615170 w 11701760"/>
              <a:gd name="connsiteY3395" fmla="*/ 1624090 h 6407421"/>
              <a:gd name="connsiteX3396" fmla="*/ 768327 w 11701760"/>
              <a:gd name="connsiteY3396" fmla="*/ 1594486 h 6407421"/>
              <a:gd name="connsiteX3397" fmla="*/ 797926 w 11701760"/>
              <a:gd name="connsiteY3397" fmla="*/ 1594486 h 6407421"/>
              <a:gd name="connsiteX3398" fmla="*/ 797926 w 11701760"/>
              <a:gd name="connsiteY3398" fmla="*/ 1624090 h 6407421"/>
              <a:gd name="connsiteX3399" fmla="*/ 768327 w 11701760"/>
              <a:gd name="connsiteY3399" fmla="*/ 1624090 h 6407421"/>
              <a:gd name="connsiteX3400" fmla="*/ 6349081 w 11701760"/>
              <a:gd name="connsiteY3400" fmla="*/ 1594484 h 6407421"/>
              <a:gd name="connsiteX3401" fmla="*/ 6378683 w 11701760"/>
              <a:gd name="connsiteY3401" fmla="*/ 1594484 h 6407421"/>
              <a:gd name="connsiteX3402" fmla="*/ 6378683 w 11701760"/>
              <a:gd name="connsiteY3402" fmla="*/ 1624087 h 6407421"/>
              <a:gd name="connsiteX3403" fmla="*/ 6349081 w 11701760"/>
              <a:gd name="connsiteY3403" fmla="*/ 1624087 h 6407421"/>
              <a:gd name="connsiteX3404" fmla="*/ 502236 w 11701760"/>
              <a:gd name="connsiteY3404" fmla="*/ 1594484 h 6407421"/>
              <a:gd name="connsiteX3405" fmla="*/ 531838 w 11701760"/>
              <a:gd name="connsiteY3405" fmla="*/ 1594484 h 6407421"/>
              <a:gd name="connsiteX3406" fmla="*/ 531838 w 11701760"/>
              <a:gd name="connsiteY3406" fmla="*/ 1624087 h 6407421"/>
              <a:gd name="connsiteX3407" fmla="*/ 502236 w 11701760"/>
              <a:gd name="connsiteY3407" fmla="*/ 1624087 h 6407421"/>
              <a:gd name="connsiteX3408" fmla="*/ 6082884 w 11701760"/>
              <a:gd name="connsiteY3408" fmla="*/ 1594482 h 6407421"/>
              <a:gd name="connsiteX3409" fmla="*/ 6112486 w 11701760"/>
              <a:gd name="connsiteY3409" fmla="*/ 1594482 h 6407421"/>
              <a:gd name="connsiteX3410" fmla="*/ 6112486 w 11701760"/>
              <a:gd name="connsiteY3410" fmla="*/ 1624085 h 6407421"/>
              <a:gd name="connsiteX3411" fmla="*/ 6082884 w 11701760"/>
              <a:gd name="connsiteY3411" fmla="*/ 1624085 h 6407421"/>
              <a:gd name="connsiteX3412" fmla="*/ 236037 w 11701760"/>
              <a:gd name="connsiteY3412" fmla="*/ 1594482 h 6407421"/>
              <a:gd name="connsiteX3413" fmla="*/ 265639 w 11701760"/>
              <a:gd name="connsiteY3413" fmla="*/ 1594482 h 6407421"/>
              <a:gd name="connsiteX3414" fmla="*/ 265639 w 11701760"/>
              <a:gd name="connsiteY3414" fmla="*/ 1624085 h 6407421"/>
              <a:gd name="connsiteX3415" fmla="*/ 236037 w 11701760"/>
              <a:gd name="connsiteY3415" fmla="*/ 1624085 h 6407421"/>
              <a:gd name="connsiteX3416" fmla="*/ 1 w 11701760"/>
              <a:gd name="connsiteY3416" fmla="*/ 1594482 h 6407421"/>
              <a:gd name="connsiteX3417" fmla="*/ 29603 w 11701760"/>
              <a:gd name="connsiteY3417" fmla="*/ 1594482 h 6407421"/>
              <a:gd name="connsiteX3418" fmla="*/ 29603 w 11701760"/>
              <a:gd name="connsiteY3418" fmla="*/ 1624085 h 6407421"/>
              <a:gd name="connsiteX3419" fmla="*/ 1 w 11701760"/>
              <a:gd name="connsiteY3419" fmla="*/ 1624085 h 6407421"/>
              <a:gd name="connsiteX3420" fmla="*/ 11672158 w 11701760"/>
              <a:gd name="connsiteY3420" fmla="*/ 1328772 h 6407421"/>
              <a:gd name="connsiteX3421" fmla="*/ 11701760 w 11701760"/>
              <a:gd name="connsiteY3421" fmla="*/ 1328772 h 6407421"/>
              <a:gd name="connsiteX3422" fmla="*/ 11701760 w 11701760"/>
              <a:gd name="connsiteY3422" fmla="*/ 1358375 h 6407421"/>
              <a:gd name="connsiteX3423" fmla="*/ 11672158 w 11701760"/>
              <a:gd name="connsiteY3423" fmla="*/ 1358375 h 6407421"/>
              <a:gd name="connsiteX3424" fmla="*/ 5825310 w 11701760"/>
              <a:gd name="connsiteY3424" fmla="*/ 1328772 h 6407421"/>
              <a:gd name="connsiteX3425" fmla="*/ 5854913 w 11701760"/>
              <a:gd name="connsiteY3425" fmla="*/ 1328772 h 6407421"/>
              <a:gd name="connsiteX3426" fmla="*/ 5854913 w 11701760"/>
              <a:gd name="connsiteY3426" fmla="*/ 1358375 h 6407421"/>
              <a:gd name="connsiteX3427" fmla="*/ 5825310 w 11701760"/>
              <a:gd name="connsiteY3427" fmla="*/ 1358375 h 6407421"/>
              <a:gd name="connsiteX3428" fmla="*/ 11405961 w 11701760"/>
              <a:gd name="connsiteY3428" fmla="*/ 1328769 h 6407421"/>
              <a:gd name="connsiteX3429" fmla="*/ 11435563 w 11701760"/>
              <a:gd name="connsiteY3429" fmla="*/ 1328769 h 6407421"/>
              <a:gd name="connsiteX3430" fmla="*/ 11435563 w 11701760"/>
              <a:gd name="connsiteY3430" fmla="*/ 1358372 h 6407421"/>
              <a:gd name="connsiteX3431" fmla="*/ 11405961 w 11701760"/>
              <a:gd name="connsiteY3431" fmla="*/ 1358372 h 6407421"/>
              <a:gd name="connsiteX3432" fmla="*/ 5559113 w 11701760"/>
              <a:gd name="connsiteY3432" fmla="*/ 1328769 h 6407421"/>
              <a:gd name="connsiteX3433" fmla="*/ 5588715 w 11701760"/>
              <a:gd name="connsiteY3433" fmla="*/ 1328769 h 6407421"/>
              <a:gd name="connsiteX3434" fmla="*/ 5588715 w 11701760"/>
              <a:gd name="connsiteY3434" fmla="*/ 1358372 h 6407421"/>
              <a:gd name="connsiteX3435" fmla="*/ 5559113 w 11701760"/>
              <a:gd name="connsiteY3435" fmla="*/ 1358372 h 6407421"/>
              <a:gd name="connsiteX3436" fmla="*/ 11139872 w 11701760"/>
              <a:gd name="connsiteY3436" fmla="*/ 1328766 h 6407421"/>
              <a:gd name="connsiteX3437" fmla="*/ 11169474 w 11701760"/>
              <a:gd name="connsiteY3437" fmla="*/ 1328766 h 6407421"/>
              <a:gd name="connsiteX3438" fmla="*/ 11169474 w 11701760"/>
              <a:gd name="connsiteY3438" fmla="*/ 1358370 h 6407421"/>
              <a:gd name="connsiteX3439" fmla="*/ 11139872 w 11701760"/>
              <a:gd name="connsiteY3439" fmla="*/ 1358370 h 6407421"/>
              <a:gd name="connsiteX3440" fmla="*/ 5293024 w 11701760"/>
              <a:gd name="connsiteY3440" fmla="*/ 1328766 h 6407421"/>
              <a:gd name="connsiteX3441" fmla="*/ 5322626 w 11701760"/>
              <a:gd name="connsiteY3441" fmla="*/ 1328766 h 6407421"/>
              <a:gd name="connsiteX3442" fmla="*/ 5322626 w 11701760"/>
              <a:gd name="connsiteY3442" fmla="*/ 1358370 h 6407421"/>
              <a:gd name="connsiteX3443" fmla="*/ 5293024 w 11701760"/>
              <a:gd name="connsiteY3443" fmla="*/ 1358370 h 6407421"/>
              <a:gd name="connsiteX3444" fmla="*/ 10873675 w 11701760"/>
              <a:gd name="connsiteY3444" fmla="*/ 1328764 h 6407421"/>
              <a:gd name="connsiteX3445" fmla="*/ 10903277 w 11701760"/>
              <a:gd name="connsiteY3445" fmla="*/ 1328764 h 6407421"/>
              <a:gd name="connsiteX3446" fmla="*/ 10903277 w 11701760"/>
              <a:gd name="connsiteY3446" fmla="*/ 1358367 h 6407421"/>
              <a:gd name="connsiteX3447" fmla="*/ 10873675 w 11701760"/>
              <a:gd name="connsiteY3447" fmla="*/ 1358367 h 6407421"/>
              <a:gd name="connsiteX3448" fmla="*/ 5026827 w 11701760"/>
              <a:gd name="connsiteY3448" fmla="*/ 1328764 h 6407421"/>
              <a:gd name="connsiteX3449" fmla="*/ 5056429 w 11701760"/>
              <a:gd name="connsiteY3449" fmla="*/ 1328764 h 6407421"/>
              <a:gd name="connsiteX3450" fmla="*/ 5056429 w 11701760"/>
              <a:gd name="connsiteY3450" fmla="*/ 1358367 h 6407421"/>
              <a:gd name="connsiteX3451" fmla="*/ 5026827 w 11701760"/>
              <a:gd name="connsiteY3451" fmla="*/ 1358367 h 6407421"/>
              <a:gd name="connsiteX3452" fmla="*/ 10607478 w 11701760"/>
              <a:gd name="connsiteY3452" fmla="*/ 1328761 h 6407421"/>
              <a:gd name="connsiteX3453" fmla="*/ 10637188 w 11701760"/>
              <a:gd name="connsiteY3453" fmla="*/ 1328761 h 6407421"/>
              <a:gd name="connsiteX3454" fmla="*/ 10637188 w 11701760"/>
              <a:gd name="connsiteY3454" fmla="*/ 1358365 h 6407421"/>
              <a:gd name="connsiteX3455" fmla="*/ 10607478 w 11701760"/>
              <a:gd name="connsiteY3455" fmla="*/ 1358365 h 6407421"/>
              <a:gd name="connsiteX3456" fmla="*/ 4760630 w 11701760"/>
              <a:gd name="connsiteY3456" fmla="*/ 1328761 h 6407421"/>
              <a:gd name="connsiteX3457" fmla="*/ 4790340 w 11701760"/>
              <a:gd name="connsiteY3457" fmla="*/ 1328761 h 6407421"/>
              <a:gd name="connsiteX3458" fmla="*/ 4790340 w 11701760"/>
              <a:gd name="connsiteY3458" fmla="*/ 1358365 h 6407421"/>
              <a:gd name="connsiteX3459" fmla="*/ 4760630 w 11701760"/>
              <a:gd name="connsiteY3459" fmla="*/ 1358365 h 6407421"/>
              <a:gd name="connsiteX3460" fmla="*/ 10341389 w 11701760"/>
              <a:gd name="connsiteY3460" fmla="*/ 1328759 h 6407421"/>
              <a:gd name="connsiteX3461" fmla="*/ 10370992 w 11701760"/>
              <a:gd name="connsiteY3461" fmla="*/ 1328759 h 6407421"/>
              <a:gd name="connsiteX3462" fmla="*/ 10370992 w 11701760"/>
              <a:gd name="connsiteY3462" fmla="*/ 1358362 h 6407421"/>
              <a:gd name="connsiteX3463" fmla="*/ 10341389 w 11701760"/>
              <a:gd name="connsiteY3463" fmla="*/ 1358362 h 6407421"/>
              <a:gd name="connsiteX3464" fmla="*/ 4494541 w 11701760"/>
              <a:gd name="connsiteY3464" fmla="*/ 1328759 h 6407421"/>
              <a:gd name="connsiteX3465" fmla="*/ 4524144 w 11701760"/>
              <a:gd name="connsiteY3465" fmla="*/ 1328759 h 6407421"/>
              <a:gd name="connsiteX3466" fmla="*/ 4524144 w 11701760"/>
              <a:gd name="connsiteY3466" fmla="*/ 1358362 h 6407421"/>
              <a:gd name="connsiteX3467" fmla="*/ 4494541 w 11701760"/>
              <a:gd name="connsiteY3467" fmla="*/ 1358362 h 6407421"/>
              <a:gd name="connsiteX3468" fmla="*/ 10075192 w 11701760"/>
              <a:gd name="connsiteY3468" fmla="*/ 1328756 h 6407421"/>
              <a:gd name="connsiteX3469" fmla="*/ 10104794 w 11701760"/>
              <a:gd name="connsiteY3469" fmla="*/ 1328756 h 6407421"/>
              <a:gd name="connsiteX3470" fmla="*/ 10104794 w 11701760"/>
              <a:gd name="connsiteY3470" fmla="*/ 1358359 h 6407421"/>
              <a:gd name="connsiteX3471" fmla="*/ 10075192 w 11701760"/>
              <a:gd name="connsiteY3471" fmla="*/ 1358359 h 6407421"/>
              <a:gd name="connsiteX3472" fmla="*/ 4228344 w 11701760"/>
              <a:gd name="connsiteY3472" fmla="*/ 1328756 h 6407421"/>
              <a:gd name="connsiteX3473" fmla="*/ 4257946 w 11701760"/>
              <a:gd name="connsiteY3473" fmla="*/ 1328756 h 6407421"/>
              <a:gd name="connsiteX3474" fmla="*/ 4257946 w 11701760"/>
              <a:gd name="connsiteY3474" fmla="*/ 1358359 h 6407421"/>
              <a:gd name="connsiteX3475" fmla="*/ 4228344 w 11701760"/>
              <a:gd name="connsiteY3475" fmla="*/ 1358359 h 6407421"/>
              <a:gd name="connsiteX3476" fmla="*/ 9809103 w 11701760"/>
              <a:gd name="connsiteY3476" fmla="*/ 1328753 h 6407421"/>
              <a:gd name="connsiteX3477" fmla="*/ 9838705 w 11701760"/>
              <a:gd name="connsiteY3477" fmla="*/ 1328753 h 6407421"/>
              <a:gd name="connsiteX3478" fmla="*/ 9838705 w 11701760"/>
              <a:gd name="connsiteY3478" fmla="*/ 1358357 h 6407421"/>
              <a:gd name="connsiteX3479" fmla="*/ 9809103 w 11701760"/>
              <a:gd name="connsiteY3479" fmla="*/ 1358357 h 6407421"/>
              <a:gd name="connsiteX3480" fmla="*/ 3962255 w 11701760"/>
              <a:gd name="connsiteY3480" fmla="*/ 1328753 h 6407421"/>
              <a:gd name="connsiteX3481" fmla="*/ 3991857 w 11701760"/>
              <a:gd name="connsiteY3481" fmla="*/ 1328753 h 6407421"/>
              <a:gd name="connsiteX3482" fmla="*/ 3991857 w 11701760"/>
              <a:gd name="connsiteY3482" fmla="*/ 1358357 h 6407421"/>
              <a:gd name="connsiteX3483" fmla="*/ 3962255 w 11701760"/>
              <a:gd name="connsiteY3483" fmla="*/ 1358357 h 6407421"/>
              <a:gd name="connsiteX3484" fmla="*/ 9542906 w 11701760"/>
              <a:gd name="connsiteY3484" fmla="*/ 1328751 h 6407421"/>
              <a:gd name="connsiteX3485" fmla="*/ 9572509 w 11701760"/>
              <a:gd name="connsiteY3485" fmla="*/ 1328751 h 6407421"/>
              <a:gd name="connsiteX3486" fmla="*/ 9572509 w 11701760"/>
              <a:gd name="connsiteY3486" fmla="*/ 1358354 h 6407421"/>
              <a:gd name="connsiteX3487" fmla="*/ 9542906 w 11701760"/>
              <a:gd name="connsiteY3487" fmla="*/ 1358354 h 6407421"/>
              <a:gd name="connsiteX3488" fmla="*/ 3696058 w 11701760"/>
              <a:gd name="connsiteY3488" fmla="*/ 1328751 h 6407421"/>
              <a:gd name="connsiteX3489" fmla="*/ 3725661 w 11701760"/>
              <a:gd name="connsiteY3489" fmla="*/ 1328751 h 6407421"/>
              <a:gd name="connsiteX3490" fmla="*/ 3725661 w 11701760"/>
              <a:gd name="connsiteY3490" fmla="*/ 1358354 h 6407421"/>
              <a:gd name="connsiteX3491" fmla="*/ 3696058 w 11701760"/>
              <a:gd name="connsiteY3491" fmla="*/ 1358354 h 6407421"/>
              <a:gd name="connsiteX3492" fmla="*/ 9276817 w 11701760"/>
              <a:gd name="connsiteY3492" fmla="*/ 1328748 h 6407421"/>
              <a:gd name="connsiteX3493" fmla="*/ 9306420 w 11701760"/>
              <a:gd name="connsiteY3493" fmla="*/ 1328748 h 6407421"/>
              <a:gd name="connsiteX3494" fmla="*/ 9306420 w 11701760"/>
              <a:gd name="connsiteY3494" fmla="*/ 1358351 h 6407421"/>
              <a:gd name="connsiteX3495" fmla="*/ 9276817 w 11701760"/>
              <a:gd name="connsiteY3495" fmla="*/ 1358351 h 6407421"/>
              <a:gd name="connsiteX3496" fmla="*/ 3429969 w 11701760"/>
              <a:gd name="connsiteY3496" fmla="*/ 1328748 h 6407421"/>
              <a:gd name="connsiteX3497" fmla="*/ 3459572 w 11701760"/>
              <a:gd name="connsiteY3497" fmla="*/ 1328748 h 6407421"/>
              <a:gd name="connsiteX3498" fmla="*/ 3459572 w 11701760"/>
              <a:gd name="connsiteY3498" fmla="*/ 1358351 h 6407421"/>
              <a:gd name="connsiteX3499" fmla="*/ 3429969 w 11701760"/>
              <a:gd name="connsiteY3499" fmla="*/ 1358351 h 6407421"/>
              <a:gd name="connsiteX3500" fmla="*/ 9010620 w 11701760"/>
              <a:gd name="connsiteY3500" fmla="*/ 1328745 h 6407421"/>
              <a:gd name="connsiteX3501" fmla="*/ 9040222 w 11701760"/>
              <a:gd name="connsiteY3501" fmla="*/ 1328745 h 6407421"/>
              <a:gd name="connsiteX3502" fmla="*/ 9040222 w 11701760"/>
              <a:gd name="connsiteY3502" fmla="*/ 1358349 h 6407421"/>
              <a:gd name="connsiteX3503" fmla="*/ 9010620 w 11701760"/>
              <a:gd name="connsiteY3503" fmla="*/ 1358349 h 6407421"/>
              <a:gd name="connsiteX3504" fmla="*/ 3163772 w 11701760"/>
              <a:gd name="connsiteY3504" fmla="*/ 1328745 h 6407421"/>
              <a:gd name="connsiteX3505" fmla="*/ 3193374 w 11701760"/>
              <a:gd name="connsiteY3505" fmla="*/ 1328745 h 6407421"/>
              <a:gd name="connsiteX3506" fmla="*/ 3193374 w 11701760"/>
              <a:gd name="connsiteY3506" fmla="*/ 1358349 h 6407421"/>
              <a:gd name="connsiteX3507" fmla="*/ 3163772 w 11701760"/>
              <a:gd name="connsiteY3507" fmla="*/ 1358349 h 6407421"/>
              <a:gd name="connsiteX3508" fmla="*/ 8744423 w 11701760"/>
              <a:gd name="connsiteY3508" fmla="*/ 1328743 h 6407421"/>
              <a:gd name="connsiteX3509" fmla="*/ 8774026 w 11701760"/>
              <a:gd name="connsiteY3509" fmla="*/ 1328743 h 6407421"/>
              <a:gd name="connsiteX3510" fmla="*/ 8774026 w 11701760"/>
              <a:gd name="connsiteY3510" fmla="*/ 1358346 h 6407421"/>
              <a:gd name="connsiteX3511" fmla="*/ 8744423 w 11701760"/>
              <a:gd name="connsiteY3511" fmla="*/ 1358346 h 6407421"/>
              <a:gd name="connsiteX3512" fmla="*/ 2897575 w 11701760"/>
              <a:gd name="connsiteY3512" fmla="*/ 1328743 h 6407421"/>
              <a:gd name="connsiteX3513" fmla="*/ 2927178 w 11701760"/>
              <a:gd name="connsiteY3513" fmla="*/ 1328743 h 6407421"/>
              <a:gd name="connsiteX3514" fmla="*/ 2927178 w 11701760"/>
              <a:gd name="connsiteY3514" fmla="*/ 1358346 h 6407421"/>
              <a:gd name="connsiteX3515" fmla="*/ 2897575 w 11701760"/>
              <a:gd name="connsiteY3515" fmla="*/ 1358346 h 6407421"/>
              <a:gd name="connsiteX3516" fmla="*/ 8478226 w 11701760"/>
              <a:gd name="connsiteY3516" fmla="*/ 1328740 h 6407421"/>
              <a:gd name="connsiteX3517" fmla="*/ 8507828 w 11701760"/>
              <a:gd name="connsiteY3517" fmla="*/ 1328740 h 6407421"/>
              <a:gd name="connsiteX3518" fmla="*/ 8507828 w 11701760"/>
              <a:gd name="connsiteY3518" fmla="*/ 1358344 h 6407421"/>
              <a:gd name="connsiteX3519" fmla="*/ 8478226 w 11701760"/>
              <a:gd name="connsiteY3519" fmla="*/ 1358344 h 6407421"/>
              <a:gd name="connsiteX3520" fmla="*/ 2631378 w 11701760"/>
              <a:gd name="connsiteY3520" fmla="*/ 1328740 h 6407421"/>
              <a:gd name="connsiteX3521" fmla="*/ 2660980 w 11701760"/>
              <a:gd name="connsiteY3521" fmla="*/ 1328740 h 6407421"/>
              <a:gd name="connsiteX3522" fmla="*/ 2660980 w 11701760"/>
              <a:gd name="connsiteY3522" fmla="*/ 1358344 h 6407421"/>
              <a:gd name="connsiteX3523" fmla="*/ 2631378 w 11701760"/>
              <a:gd name="connsiteY3523" fmla="*/ 1358344 h 6407421"/>
              <a:gd name="connsiteX3524" fmla="*/ 8212137 w 11701760"/>
              <a:gd name="connsiteY3524" fmla="*/ 1328738 h 6407421"/>
              <a:gd name="connsiteX3525" fmla="*/ 8241740 w 11701760"/>
              <a:gd name="connsiteY3525" fmla="*/ 1328738 h 6407421"/>
              <a:gd name="connsiteX3526" fmla="*/ 8241740 w 11701760"/>
              <a:gd name="connsiteY3526" fmla="*/ 1358341 h 6407421"/>
              <a:gd name="connsiteX3527" fmla="*/ 8212137 w 11701760"/>
              <a:gd name="connsiteY3527" fmla="*/ 1358341 h 6407421"/>
              <a:gd name="connsiteX3528" fmla="*/ 2365289 w 11701760"/>
              <a:gd name="connsiteY3528" fmla="*/ 1328738 h 6407421"/>
              <a:gd name="connsiteX3529" fmla="*/ 2394892 w 11701760"/>
              <a:gd name="connsiteY3529" fmla="*/ 1328738 h 6407421"/>
              <a:gd name="connsiteX3530" fmla="*/ 2394892 w 11701760"/>
              <a:gd name="connsiteY3530" fmla="*/ 1358341 h 6407421"/>
              <a:gd name="connsiteX3531" fmla="*/ 2365289 w 11701760"/>
              <a:gd name="connsiteY3531" fmla="*/ 1358341 h 6407421"/>
              <a:gd name="connsiteX3532" fmla="*/ 7945940 w 11701760"/>
              <a:gd name="connsiteY3532" fmla="*/ 1328735 h 6407421"/>
              <a:gd name="connsiteX3533" fmla="*/ 7975543 w 11701760"/>
              <a:gd name="connsiteY3533" fmla="*/ 1328735 h 6407421"/>
              <a:gd name="connsiteX3534" fmla="*/ 7975543 w 11701760"/>
              <a:gd name="connsiteY3534" fmla="*/ 1358338 h 6407421"/>
              <a:gd name="connsiteX3535" fmla="*/ 7945940 w 11701760"/>
              <a:gd name="connsiteY3535" fmla="*/ 1358338 h 6407421"/>
              <a:gd name="connsiteX3536" fmla="*/ 2099092 w 11701760"/>
              <a:gd name="connsiteY3536" fmla="*/ 1328735 h 6407421"/>
              <a:gd name="connsiteX3537" fmla="*/ 2128695 w 11701760"/>
              <a:gd name="connsiteY3537" fmla="*/ 1328735 h 6407421"/>
              <a:gd name="connsiteX3538" fmla="*/ 2128695 w 11701760"/>
              <a:gd name="connsiteY3538" fmla="*/ 1358338 h 6407421"/>
              <a:gd name="connsiteX3539" fmla="*/ 2099092 w 11701760"/>
              <a:gd name="connsiteY3539" fmla="*/ 1358338 h 6407421"/>
              <a:gd name="connsiteX3540" fmla="*/ 7679743 w 11701760"/>
              <a:gd name="connsiteY3540" fmla="*/ 1328732 h 6407421"/>
              <a:gd name="connsiteX3541" fmla="*/ 7709346 w 11701760"/>
              <a:gd name="connsiteY3541" fmla="*/ 1328732 h 6407421"/>
              <a:gd name="connsiteX3542" fmla="*/ 7709346 w 11701760"/>
              <a:gd name="connsiteY3542" fmla="*/ 1358336 h 6407421"/>
              <a:gd name="connsiteX3543" fmla="*/ 7679743 w 11701760"/>
              <a:gd name="connsiteY3543" fmla="*/ 1358336 h 6407421"/>
              <a:gd name="connsiteX3544" fmla="*/ 1832898 w 11701760"/>
              <a:gd name="connsiteY3544" fmla="*/ 1328732 h 6407421"/>
              <a:gd name="connsiteX3545" fmla="*/ 1862498 w 11701760"/>
              <a:gd name="connsiteY3545" fmla="*/ 1328732 h 6407421"/>
              <a:gd name="connsiteX3546" fmla="*/ 1862498 w 11701760"/>
              <a:gd name="connsiteY3546" fmla="*/ 1358336 h 6407421"/>
              <a:gd name="connsiteX3547" fmla="*/ 1832898 w 11701760"/>
              <a:gd name="connsiteY3547" fmla="*/ 1358336 h 6407421"/>
              <a:gd name="connsiteX3548" fmla="*/ 7413653 w 11701760"/>
              <a:gd name="connsiteY3548" fmla="*/ 1328730 h 6407421"/>
              <a:gd name="connsiteX3549" fmla="*/ 7443256 w 11701760"/>
              <a:gd name="connsiteY3549" fmla="*/ 1328730 h 6407421"/>
              <a:gd name="connsiteX3550" fmla="*/ 7443256 w 11701760"/>
              <a:gd name="connsiteY3550" fmla="*/ 1358333 h 6407421"/>
              <a:gd name="connsiteX3551" fmla="*/ 7413653 w 11701760"/>
              <a:gd name="connsiteY3551" fmla="*/ 1358333 h 6407421"/>
              <a:gd name="connsiteX3552" fmla="*/ 1566808 w 11701760"/>
              <a:gd name="connsiteY3552" fmla="*/ 1328730 h 6407421"/>
              <a:gd name="connsiteX3553" fmla="*/ 1596409 w 11701760"/>
              <a:gd name="connsiteY3553" fmla="*/ 1328730 h 6407421"/>
              <a:gd name="connsiteX3554" fmla="*/ 1596409 w 11701760"/>
              <a:gd name="connsiteY3554" fmla="*/ 1358333 h 6407421"/>
              <a:gd name="connsiteX3555" fmla="*/ 1566808 w 11701760"/>
              <a:gd name="connsiteY3555" fmla="*/ 1358333 h 6407421"/>
              <a:gd name="connsiteX3556" fmla="*/ 7147456 w 11701760"/>
              <a:gd name="connsiteY3556" fmla="*/ 1328727 h 6407421"/>
              <a:gd name="connsiteX3557" fmla="*/ 7177058 w 11701760"/>
              <a:gd name="connsiteY3557" fmla="*/ 1328727 h 6407421"/>
              <a:gd name="connsiteX3558" fmla="*/ 7177058 w 11701760"/>
              <a:gd name="connsiteY3558" fmla="*/ 1358330 h 6407421"/>
              <a:gd name="connsiteX3559" fmla="*/ 7147456 w 11701760"/>
              <a:gd name="connsiteY3559" fmla="*/ 1358330 h 6407421"/>
              <a:gd name="connsiteX3560" fmla="*/ 1300611 w 11701760"/>
              <a:gd name="connsiteY3560" fmla="*/ 1328727 h 6407421"/>
              <a:gd name="connsiteX3561" fmla="*/ 1330213 w 11701760"/>
              <a:gd name="connsiteY3561" fmla="*/ 1328727 h 6407421"/>
              <a:gd name="connsiteX3562" fmla="*/ 1330213 w 11701760"/>
              <a:gd name="connsiteY3562" fmla="*/ 1358330 h 6407421"/>
              <a:gd name="connsiteX3563" fmla="*/ 1300611 w 11701760"/>
              <a:gd name="connsiteY3563" fmla="*/ 1358330 h 6407421"/>
              <a:gd name="connsiteX3564" fmla="*/ 6881367 w 11701760"/>
              <a:gd name="connsiteY3564" fmla="*/ 1328724 h 6407421"/>
              <a:gd name="connsiteX3565" fmla="*/ 6910970 w 11701760"/>
              <a:gd name="connsiteY3565" fmla="*/ 1328724 h 6407421"/>
              <a:gd name="connsiteX3566" fmla="*/ 6910970 w 11701760"/>
              <a:gd name="connsiteY3566" fmla="*/ 1358328 h 6407421"/>
              <a:gd name="connsiteX3567" fmla="*/ 6881367 w 11701760"/>
              <a:gd name="connsiteY3567" fmla="*/ 1358328 h 6407421"/>
              <a:gd name="connsiteX3568" fmla="*/ 1034520 w 11701760"/>
              <a:gd name="connsiteY3568" fmla="*/ 1328724 h 6407421"/>
              <a:gd name="connsiteX3569" fmla="*/ 1064123 w 11701760"/>
              <a:gd name="connsiteY3569" fmla="*/ 1328724 h 6407421"/>
              <a:gd name="connsiteX3570" fmla="*/ 1064123 w 11701760"/>
              <a:gd name="connsiteY3570" fmla="*/ 1358328 h 6407421"/>
              <a:gd name="connsiteX3571" fmla="*/ 1034520 w 11701760"/>
              <a:gd name="connsiteY3571" fmla="*/ 1358328 h 6407421"/>
              <a:gd name="connsiteX3572" fmla="*/ 6615170 w 11701760"/>
              <a:gd name="connsiteY3572" fmla="*/ 1328722 h 6407421"/>
              <a:gd name="connsiteX3573" fmla="*/ 6644773 w 11701760"/>
              <a:gd name="connsiteY3573" fmla="*/ 1328722 h 6407421"/>
              <a:gd name="connsiteX3574" fmla="*/ 6644773 w 11701760"/>
              <a:gd name="connsiteY3574" fmla="*/ 1358325 h 6407421"/>
              <a:gd name="connsiteX3575" fmla="*/ 6615170 w 11701760"/>
              <a:gd name="connsiteY3575" fmla="*/ 1358325 h 6407421"/>
              <a:gd name="connsiteX3576" fmla="*/ 768327 w 11701760"/>
              <a:gd name="connsiteY3576" fmla="*/ 1328722 h 6407421"/>
              <a:gd name="connsiteX3577" fmla="*/ 797926 w 11701760"/>
              <a:gd name="connsiteY3577" fmla="*/ 1328722 h 6407421"/>
              <a:gd name="connsiteX3578" fmla="*/ 797926 w 11701760"/>
              <a:gd name="connsiteY3578" fmla="*/ 1358325 h 6407421"/>
              <a:gd name="connsiteX3579" fmla="*/ 768327 w 11701760"/>
              <a:gd name="connsiteY3579" fmla="*/ 1358325 h 6407421"/>
              <a:gd name="connsiteX3580" fmla="*/ 6349081 w 11701760"/>
              <a:gd name="connsiteY3580" fmla="*/ 1328719 h 6407421"/>
              <a:gd name="connsiteX3581" fmla="*/ 6378683 w 11701760"/>
              <a:gd name="connsiteY3581" fmla="*/ 1328719 h 6407421"/>
              <a:gd name="connsiteX3582" fmla="*/ 6378683 w 11701760"/>
              <a:gd name="connsiteY3582" fmla="*/ 1358323 h 6407421"/>
              <a:gd name="connsiteX3583" fmla="*/ 6349081 w 11701760"/>
              <a:gd name="connsiteY3583" fmla="*/ 1358323 h 6407421"/>
              <a:gd name="connsiteX3584" fmla="*/ 502236 w 11701760"/>
              <a:gd name="connsiteY3584" fmla="*/ 1328719 h 6407421"/>
              <a:gd name="connsiteX3585" fmla="*/ 531838 w 11701760"/>
              <a:gd name="connsiteY3585" fmla="*/ 1328719 h 6407421"/>
              <a:gd name="connsiteX3586" fmla="*/ 531838 w 11701760"/>
              <a:gd name="connsiteY3586" fmla="*/ 1358323 h 6407421"/>
              <a:gd name="connsiteX3587" fmla="*/ 502236 w 11701760"/>
              <a:gd name="connsiteY3587" fmla="*/ 1358323 h 6407421"/>
              <a:gd name="connsiteX3588" fmla="*/ 6082884 w 11701760"/>
              <a:gd name="connsiteY3588" fmla="*/ 1328717 h 6407421"/>
              <a:gd name="connsiteX3589" fmla="*/ 6112486 w 11701760"/>
              <a:gd name="connsiteY3589" fmla="*/ 1328717 h 6407421"/>
              <a:gd name="connsiteX3590" fmla="*/ 6112486 w 11701760"/>
              <a:gd name="connsiteY3590" fmla="*/ 1358320 h 6407421"/>
              <a:gd name="connsiteX3591" fmla="*/ 6082884 w 11701760"/>
              <a:gd name="connsiteY3591" fmla="*/ 1358320 h 6407421"/>
              <a:gd name="connsiteX3592" fmla="*/ 236036 w 11701760"/>
              <a:gd name="connsiteY3592" fmla="*/ 1328717 h 6407421"/>
              <a:gd name="connsiteX3593" fmla="*/ 265639 w 11701760"/>
              <a:gd name="connsiteY3593" fmla="*/ 1328717 h 6407421"/>
              <a:gd name="connsiteX3594" fmla="*/ 265639 w 11701760"/>
              <a:gd name="connsiteY3594" fmla="*/ 1358320 h 6407421"/>
              <a:gd name="connsiteX3595" fmla="*/ 236036 w 11701760"/>
              <a:gd name="connsiteY3595" fmla="*/ 1358320 h 6407421"/>
              <a:gd name="connsiteX3596" fmla="*/ 1 w 11701760"/>
              <a:gd name="connsiteY3596" fmla="*/ 1328717 h 6407421"/>
              <a:gd name="connsiteX3597" fmla="*/ 29602 w 11701760"/>
              <a:gd name="connsiteY3597" fmla="*/ 1328717 h 6407421"/>
              <a:gd name="connsiteX3598" fmla="*/ 29602 w 11701760"/>
              <a:gd name="connsiteY3598" fmla="*/ 1358320 h 6407421"/>
              <a:gd name="connsiteX3599" fmla="*/ 1 w 11701760"/>
              <a:gd name="connsiteY3599" fmla="*/ 1358320 h 6407421"/>
              <a:gd name="connsiteX3600" fmla="*/ 11672158 w 11701760"/>
              <a:gd name="connsiteY3600" fmla="*/ 1063123 h 6407421"/>
              <a:gd name="connsiteX3601" fmla="*/ 11701760 w 11701760"/>
              <a:gd name="connsiteY3601" fmla="*/ 1063123 h 6407421"/>
              <a:gd name="connsiteX3602" fmla="*/ 11701760 w 11701760"/>
              <a:gd name="connsiteY3602" fmla="*/ 1092617 h 6407421"/>
              <a:gd name="connsiteX3603" fmla="*/ 11672158 w 11701760"/>
              <a:gd name="connsiteY3603" fmla="*/ 1092617 h 6407421"/>
              <a:gd name="connsiteX3604" fmla="*/ 5825310 w 11701760"/>
              <a:gd name="connsiteY3604" fmla="*/ 1063123 h 6407421"/>
              <a:gd name="connsiteX3605" fmla="*/ 5854913 w 11701760"/>
              <a:gd name="connsiteY3605" fmla="*/ 1063123 h 6407421"/>
              <a:gd name="connsiteX3606" fmla="*/ 5854913 w 11701760"/>
              <a:gd name="connsiteY3606" fmla="*/ 1092617 h 6407421"/>
              <a:gd name="connsiteX3607" fmla="*/ 5825310 w 11701760"/>
              <a:gd name="connsiteY3607" fmla="*/ 1092617 h 6407421"/>
              <a:gd name="connsiteX3608" fmla="*/ 11405961 w 11701760"/>
              <a:gd name="connsiteY3608" fmla="*/ 1063120 h 6407421"/>
              <a:gd name="connsiteX3609" fmla="*/ 11435563 w 11701760"/>
              <a:gd name="connsiteY3609" fmla="*/ 1063120 h 6407421"/>
              <a:gd name="connsiteX3610" fmla="*/ 11435563 w 11701760"/>
              <a:gd name="connsiteY3610" fmla="*/ 1092615 h 6407421"/>
              <a:gd name="connsiteX3611" fmla="*/ 11405961 w 11701760"/>
              <a:gd name="connsiteY3611" fmla="*/ 1092615 h 6407421"/>
              <a:gd name="connsiteX3612" fmla="*/ 5559113 w 11701760"/>
              <a:gd name="connsiteY3612" fmla="*/ 1063120 h 6407421"/>
              <a:gd name="connsiteX3613" fmla="*/ 5588715 w 11701760"/>
              <a:gd name="connsiteY3613" fmla="*/ 1063120 h 6407421"/>
              <a:gd name="connsiteX3614" fmla="*/ 5588715 w 11701760"/>
              <a:gd name="connsiteY3614" fmla="*/ 1092615 h 6407421"/>
              <a:gd name="connsiteX3615" fmla="*/ 5559113 w 11701760"/>
              <a:gd name="connsiteY3615" fmla="*/ 1092615 h 6407421"/>
              <a:gd name="connsiteX3616" fmla="*/ 11139872 w 11701760"/>
              <a:gd name="connsiteY3616" fmla="*/ 1063117 h 6407421"/>
              <a:gd name="connsiteX3617" fmla="*/ 11169474 w 11701760"/>
              <a:gd name="connsiteY3617" fmla="*/ 1063117 h 6407421"/>
              <a:gd name="connsiteX3618" fmla="*/ 11169474 w 11701760"/>
              <a:gd name="connsiteY3618" fmla="*/ 1092612 h 6407421"/>
              <a:gd name="connsiteX3619" fmla="*/ 11139872 w 11701760"/>
              <a:gd name="connsiteY3619" fmla="*/ 1092612 h 6407421"/>
              <a:gd name="connsiteX3620" fmla="*/ 5293024 w 11701760"/>
              <a:gd name="connsiteY3620" fmla="*/ 1063117 h 6407421"/>
              <a:gd name="connsiteX3621" fmla="*/ 5322626 w 11701760"/>
              <a:gd name="connsiteY3621" fmla="*/ 1063117 h 6407421"/>
              <a:gd name="connsiteX3622" fmla="*/ 5322626 w 11701760"/>
              <a:gd name="connsiteY3622" fmla="*/ 1092612 h 6407421"/>
              <a:gd name="connsiteX3623" fmla="*/ 5293024 w 11701760"/>
              <a:gd name="connsiteY3623" fmla="*/ 1092612 h 6407421"/>
              <a:gd name="connsiteX3624" fmla="*/ 10873675 w 11701760"/>
              <a:gd name="connsiteY3624" fmla="*/ 1063114 h 6407421"/>
              <a:gd name="connsiteX3625" fmla="*/ 10903277 w 11701760"/>
              <a:gd name="connsiteY3625" fmla="*/ 1063114 h 6407421"/>
              <a:gd name="connsiteX3626" fmla="*/ 10903277 w 11701760"/>
              <a:gd name="connsiteY3626" fmla="*/ 1092608 h 6407421"/>
              <a:gd name="connsiteX3627" fmla="*/ 10873675 w 11701760"/>
              <a:gd name="connsiteY3627" fmla="*/ 1092608 h 6407421"/>
              <a:gd name="connsiteX3628" fmla="*/ 5026827 w 11701760"/>
              <a:gd name="connsiteY3628" fmla="*/ 1063114 h 6407421"/>
              <a:gd name="connsiteX3629" fmla="*/ 5056429 w 11701760"/>
              <a:gd name="connsiteY3629" fmla="*/ 1063114 h 6407421"/>
              <a:gd name="connsiteX3630" fmla="*/ 5056429 w 11701760"/>
              <a:gd name="connsiteY3630" fmla="*/ 1092608 h 6407421"/>
              <a:gd name="connsiteX3631" fmla="*/ 5026827 w 11701760"/>
              <a:gd name="connsiteY3631" fmla="*/ 1092608 h 6407421"/>
              <a:gd name="connsiteX3632" fmla="*/ 10607478 w 11701760"/>
              <a:gd name="connsiteY3632" fmla="*/ 1063111 h 6407421"/>
              <a:gd name="connsiteX3633" fmla="*/ 10637188 w 11701760"/>
              <a:gd name="connsiteY3633" fmla="*/ 1063111 h 6407421"/>
              <a:gd name="connsiteX3634" fmla="*/ 10637188 w 11701760"/>
              <a:gd name="connsiteY3634" fmla="*/ 1092605 h 6407421"/>
              <a:gd name="connsiteX3635" fmla="*/ 10607478 w 11701760"/>
              <a:gd name="connsiteY3635" fmla="*/ 1092605 h 6407421"/>
              <a:gd name="connsiteX3636" fmla="*/ 4760630 w 11701760"/>
              <a:gd name="connsiteY3636" fmla="*/ 1063111 h 6407421"/>
              <a:gd name="connsiteX3637" fmla="*/ 4790340 w 11701760"/>
              <a:gd name="connsiteY3637" fmla="*/ 1063111 h 6407421"/>
              <a:gd name="connsiteX3638" fmla="*/ 4790340 w 11701760"/>
              <a:gd name="connsiteY3638" fmla="*/ 1092605 h 6407421"/>
              <a:gd name="connsiteX3639" fmla="*/ 4760630 w 11701760"/>
              <a:gd name="connsiteY3639" fmla="*/ 1092605 h 6407421"/>
              <a:gd name="connsiteX3640" fmla="*/ 10341389 w 11701760"/>
              <a:gd name="connsiteY3640" fmla="*/ 1063108 h 6407421"/>
              <a:gd name="connsiteX3641" fmla="*/ 10370992 w 11701760"/>
              <a:gd name="connsiteY3641" fmla="*/ 1063108 h 6407421"/>
              <a:gd name="connsiteX3642" fmla="*/ 10370992 w 11701760"/>
              <a:gd name="connsiteY3642" fmla="*/ 1092602 h 6407421"/>
              <a:gd name="connsiteX3643" fmla="*/ 10341389 w 11701760"/>
              <a:gd name="connsiteY3643" fmla="*/ 1092602 h 6407421"/>
              <a:gd name="connsiteX3644" fmla="*/ 4494541 w 11701760"/>
              <a:gd name="connsiteY3644" fmla="*/ 1063108 h 6407421"/>
              <a:gd name="connsiteX3645" fmla="*/ 4524144 w 11701760"/>
              <a:gd name="connsiteY3645" fmla="*/ 1063108 h 6407421"/>
              <a:gd name="connsiteX3646" fmla="*/ 4524144 w 11701760"/>
              <a:gd name="connsiteY3646" fmla="*/ 1092602 h 6407421"/>
              <a:gd name="connsiteX3647" fmla="*/ 4494541 w 11701760"/>
              <a:gd name="connsiteY3647" fmla="*/ 1092602 h 6407421"/>
              <a:gd name="connsiteX3648" fmla="*/ 10075192 w 11701760"/>
              <a:gd name="connsiteY3648" fmla="*/ 1063105 h 6407421"/>
              <a:gd name="connsiteX3649" fmla="*/ 10104794 w 11701760"/>
              <a:gd name="connsiteY3649" fmla="*/ 1063105 h 6407421"/>
              <a:gd name="connsiteX3650" fmla="*/ 10104794 w 11701760"/>
              <a:gd name="connsiteY3650" fmla="*/ 1092599 h 6407421"/>
              <a:gd name="connsiteX3651" fmla="*/ 10075192 w 11701760"/>
              <a:gd name="connsiteY3651" fmla="*/ 1092599 h 6407421"/>
              <a:gd name="connsiteX3652" fmla="*/ 4228344 w 11701760"/>
              <a:gd name="connsiteY3652" fmla="*/ 1063105 h 6407421"/>
              <a:gd name="connsiteX3653" fmla="*/ 4257946 w 11701760"/>
              <a:gd name="connsiteY3653" fmla="*/ 1063105 h 6407421"/>
              <a:gd name="connsiteX3654" fmla="*/ 4257946 w 11701760"/>
              <a:gd name="connsiteY3654" fmla="*/ 1092599 h 6407421"/>
              <a:gd name="connsiteX3655" fmla="*/ 4228344 w 11701760"/>
              <a:gd name="connsiteY3655" fmla="*/ 1092599 h 6407421"/>
              <a:gd name="connsiteX3656" fmla="*/ 9809103 w 11701760"/>
              <a:gd name="connsiteY3656" fmla="*/ 1063102 h 6407421"/>
              <a:gd name="connsiteX3657" fmla="*/ 9838705 w 11701760"/>
              <a:gd name="connsiteY3657" fmla="*/ 1063102 h 6407421"/>
              <a:gd name="connsiteX3658" fmla="*/ 9838705 w 11701760"/>
              <a:gd name="connsiteY3658" fmla="*/ 1092596 h 6407421"/>
              <a:gd name="connsiteX3659" fmla="*/ 9809103 w 11701760"/>
              <a:gd name="connsiteY3659" fmla="*/ 1092596 h 6407421"/>
              <a:gd name="connsiteX3660" fmla="*/ 3962255 w 11701760"/>
              <a:gd name="connsiteY3660" fmla="*/ 1063102 h 6407421"/>
              <a:gd name="connsiteX3661" fmla="*/ 3991857 w 11701760"/>
              <a:gd name="connsiteY3661" fmla="*/ 1063102 h 6407421"/>
              <a:gd name="connsiteX3662" fmla="*/ 3991857 w 11701760"/>
              <a:gd name="connsiteY3662" fmla="*/ 1092596 h 6407421"/>
              <a:gd name="connsiteX3663" fmla="*/ 3962255 w 11701760"/>
              <a:gd name="connsiteY3663" fmla="*/ 1092596 h 6407421"/>
              <a:gd name="connsiteX3664" fmla="*/ 9542906 w 11701760"/>
              <a:gd name="connsiteY3664" fmla="*/ 1063099 h 6407421"/>
              <a:gd name="connsiteX3665" fmla="*/ 9572509 w 11701760"/>
              <a:gd name="connsiteY3665" fmla="*/ 1063099 h 6407421"/>
              <a:gd name="connsiteX3666" fmla="*/ 9572509 w 11701760"/>
              <a:gd name="connsiteY3666" fmla="*/ 1092593 h 6407421"/>
              <a:gd name="connsiteX3667" fmla="*/ 9542906 w 11701760"/>
              <a:gd name="connsiteY3667" fmla="*/ 1092593 h 6407421"/>
              <a:gd name="connsiteX3668" fmla="*/ 3696058 w 11701760"/>
              <a:gd name="connsiteY3668" fmla="*/ 1063099 h 6407421"/>
              <a:gd name="connsiteX3669" fmla="*/ 3725661 w 11701760"/>
              <a:gd name="connsiteY3669" fmla="*/ 1063099 h 6407421"/>
              <a:gd name="connsiteX3670" fmla="*/ 3725661 w 11701760"/>
              <a:gd name="connsiteY3670" fmla="*/ 1092593 h 6407421"/>
              <a:gd name="connsiteX3671" fmla="*/ 3696058 w 11701760"/>
              <a:gd name="connsiteY3671" fmla="*/ 1092593 h 6407421"/>
              <a:gd name="connsiteX3672" fmla="*/ 9276817 w 11701760"/>
              <a:gd name="connsiteY3672" fmla="*/ 1063096 h 6407421"/>
              <a:gd name="connsiteX3673" fmla="*/ 9306420 w 11701760"/>
              <a:gd name="connsiteY3673" fmla="*/ 1063096 h 6407421"/>
              <a:gd name="connsiteX3674" fmla="*/ 9306420 w 11701760"/>
              <a:gd name="connsiteY3674" fmla="*/ 1092590 h 6407421"/>
              <a:gd name="connsiteX3675" fmla="*/ 9276817 w 11701760"/>
              <a:gd name="connsiteY3675" fmla="*/ 1092590 h 6407421"/>
              <a:gd name="connsiteX3676" fmla="*/ 3429969 w 11701760"/>
              <a:gd name="connsiteY3676" fmla="*/ 1063096 h 6407421"/>
              <a:gd name="connsiteX3677" fmla="*/ 3459572 w 11701760"/>
              <a:gd name="connsiteY3677" fmla="*/ 1063096 h 6407421"/>
              <a:gd name="connsiteX3678" fmla="*/ 3459572 w 11701760"/>
              <a:gd name="connsiteY3678" fmla="*/ 1092590 h 6407421"/>
              <a:gd name="connsiteX3679" fmla="*/ 3429969 w 11701760"/>
              <a:gd name="connsiteY3679" fmla="*/ 1092590 h 6407421"/>
              <a:gd name="connsiteX3680" fmla="*/ 9010620 w 11701760"/>
              <a:gd name="connsiteY3680" fmla="*/ 1063093 h 6407421"/>
              <a:gd name="connsiteX3681" fmla="*/ 9040222 w 11701760"/>
              <a:gd name="connsiteY3681" fmla="*/ 1063093 h 6407421"/>
              <a:gd name="connsiteX3682" fmla="*/ 9040222 w 11701760"/>
              <a:gd name="connsiteY3682" fmla="*/ 1092587 h 6407421"/>
              <a:gd name="connsiteX3683" fmla="*/ 9010620 w 11701760"/>
              <a:gd name="connsiteY3683" fmla="*/ 1092587 h 6407421"/>
              <a:gd name="connsiteX3684" fmla="*/ 3163772 w 11701760"/>
              <a:gd name="connsiteY3684" fmla="*/ 1063093 h 6407421"/>
              <a:gd name="connsiteX3685" fmla="*/ 3193374 w 11701760"/>
              <a:gd name="connsiteY3685" fmla="*/ 1063093 h 6407421"/>
              <a:gd name="connsiteX3686" fmla="*/ 3193374 w 11701760"/>
              <a:gd name="connsiteY3686" fmla="*/ 1092587 h 6407421"/>
              <a:gd name="connsiteX3687" fmla="*/ 3163772 w 11701760"/>
              <a:gd name="connsiteY3687" fmla="*/ 1092587 h 6407421"/>
              <a:gd name="connsiteX3688" fmla="*/ 8744423 w 11701760"/>
              <a:gd name="connsiteY3688" fmla="*/ 1063090 h 6407421"/>
              <a:gd name="connsiteX3689" fmla="*/ 8774026 w 11701760"/>
              <a:gd name="connsiteY3689" fmla="*/ 1063090 h 6407421"/>
              <a:gd name="connsiteX3690" fmla="*/ 8774026 w 11701760"/>
              <a:gd name="connsiteY3690" fmla="*/ 1092584 h 6407421"/>
              <a:gd name="connsiteX3691" fmla="*/ 8744423 w 11701760"/>
              <a:gd name="connsiteY3691" fmla="*/ 1092584 h 6407421"/>
              <a:gd name="connsiteX3692" fmla="*/ 2897575 w 11701760"/>
              <a:gd name="connsiteY3692" fmla="*/ 1063090 h 6407421"/>
              <a:gd name="connsiteX3693" fmla="*/ 2927178 w 11701760"/>
              <a:gd name="connsiteY3693" fmla="*/ 1063090 h 6407421"/>
              <a:gd name="connsiteX3694" fmla="*/ 2927178 w 11701760"/>
              <a:gd name="connsiteY3694" fmla="*/ 1092584 h 6407421"/>
              <a:gd name="connsiteX3695" fmla="*/ 2897575 w 11701760"/>
              <a:gd name="connsiteY3695" fmla="*/ 1092584 h 6407421"/>
              <a:gd name="connsiteX3696" fmla="*/ 8478226 w 11701760"/>
              <a:gd name="connsiteY3696" fmla="*/ 1063087 h 6407421"/>
              <a:gd name="connsiteX3697" fmla="*/ 8507828 w 11701760"/>
              <a:gd name="connsiteY3697" fmla="*/ 1063087 h 6407421"/>
              <a:gd name="connsiteX3698" fmla="*/ 8507828 w 11701760"/>
              <a:gd name="connsiteY3698" fmla="*/ 1092581 h 6407421"/>
              <a:gd name="connsiteX3699" fmla="*/ 8478226 w 11701760"/>
              <a:gd name="connsiteY3699" fmla="*/ 1092581 h 6407421"/>
              <a:gd name="connsiteX3700" fmla="*/ 2631378 w 11701760"/>
              <a:gd name="connsiteY3700" fmla="*/ 1063087 h 6407421"/>
              <a:gd name="connsiteX3701" fmla="*/ 2660980 w 11701760"/>
              <a:gd name="connsiteY3701" fmla="*/ 1063087 h 6407421"/>
              <a:gd name="connsiteX3702" fmla="*/ 2660980 w 11701760"/>
              <a:gd name="connsiteY3702" fmla="*/ 1092581 h 6407421"/>
              <a:gd name="connsiteX3703" fmla="*/ 2631378 w 11701760"/>
              <a:gd name="connsiteY3703" fmla="*/ 1092581 h 6407421"/>
              <a:gd name="connsiteX3704" fmla="*/ 8212137 w 11701760"/>
              <a:gd name="connsiteY3704" fmla="*/ 1063084 h 6407421"/>
              <a:gd name="connsiteX3705" fmla="*/ 8241740 w 11701760"/>
              <a:gd name="connsiteY3705" fmla="*/ 1063084 h 6407421"/>
              <a:gd name="connsiteX3706" fmla="*/ 8241740 w 11701760"/>
              <a:gd name="connsiteY3706" fmla="*/ 1092578 h 6407421"/>
              <a:gd name="connsiteX3707" fmla="*/ 8212137 w 11701760"/>
              <a:gd name="connsiteY3707" fmla="*/ 1092578 h 6407421"/>
              <a:gd name="connsiteX3708" fmla="*/ 2365289 w 11701760"/>
              <a:gd name="connsiteY3708" fmla="*/ 1063084 h 6407421"/>
              <a:gd name="connsiteX3709" fmla="*/ 2394892 w 11701760"/>
              <a:gd name="connsiteY3709" fmla="*/ 1063084 h 6407421"/>
              <a:gd name="connsiteX3710" fmla="*/ 2394892 w 11701760"/>
              <a:gd name="connsiteY3710" fmla="*/ 1092578 h 6407421"/>
              <a:gd name="connsiteX3711" fmla="*/ 2365289 w 11701760"/>
              <a:gd name="connsiteY3711" fmla="*/ 1092578 h 6407421"/>
              <a:gd name="connsiteX3712" fmla="*/ 7945940 w 11701760"/>
              <a:gd name="connsiteY3712" fmla="*/ 1063081 h 6407421"/>
              <a:gd name="connsiteX3713" fmla="*/ 7975543 w 11701760"/>
              <a:gd name="connsiteY3713" fmla="*/ 1063081 h 6407421"/>
              <a:gd name="connsiteX3714" fmla="*/ 7975543 w 11701760"/>
              <a:gd name="connsiteY3714" fmla="*/ 1092575 h 6407421"/>
              <a:gd name="connsiteX3715" fmla="*/ 7945940 w 11701760"/>
              <a:gd name="connsiteY3715" fmla="*/ 1092575 h 6407421"/>
              <a:gd name="connsiteX3716" fmla="*/ 2099092 w 11701760"/>
              <a:gd name="connsiteY3716" fmla="*/ 1063081 h 6407421"/>
              <a:gd name="connsiteX3717" fmla="*/ 2128695 w 11701760"/>
              <a:gd name="connsiteY3717" fmla="*/ 1063081 h 6407421"/>
              <a:gd name="connsiteX3718" fmla="*/ 2128695 w 11701760"/>
              <a:gd name="connsiteY3718" fmla="*/ 1092575 h 6407421"/>
              <a:gd name="connsiteX3719" fmla="*/ 2099092 w 11701760"/>
              <a:gd name="connsiteY3719" fmla="*/ 1092575 h 6407421"/>
              <a:gd name="connsiteX3720" fmla="*/ 7679743 w 11701760"/>
              <a:gd name="connsiteY3720" fmla="*/ 1063078 h 6407421"/>
              <a:gd name="connsiteX3721" fmla="*/ 7709346 w 11701760"/>
              <a:gd name="connsiteY3721" fmla="*/ 1063078 h 6407421"/>
              <a:gd name="connsiteX3722" fmla="*/ 7709346 w 11701760"/>
              <a:gd name="connsiteY3722" fmla="*/ 1092572 h 6407421"/>
              <a:gd name="connsiteX3723" fmla="*/ 7679743 w 11701760"/>
              <a:gd name="connsiteY3723" fmla="*/ 1092572 h 6407421"/>
              <a:gd name="connsiteX3724" fmla="*/ 1832898 w 11701760"/>
              <a:gd name="connsiteY3724" fmla="*/ 1063078 h 6407421"/>
              <a:gd name="connsiteX3725" fmla="*/ 1862498 w 11701760"/>
              <a:gd name="connsiteY3725" fmla="*/ 1063078 h 6407421"/>
              <a:gd name="connsiteX3726" fmla="*/ 1862498 w 11701760"/>
              <a:gd name="connsiteY3726" fmla="*/ 1092572 h 6407421"/>
              <a:gd name="connsiteX3727" fmla="*/ 1832898 w 11701760"/>
              <a:gd name="connsiteY3727" fmla="*/ 1092572 h 6407421"/>
              <a:gd name="connsiteX3728" fmla="*/ 7413653 w 11701760"/>
              <a:gd name="connsiteY3728" fmla="*/ 1063075 h 6407421"/>
              <a:gd name="connsiteX3729" fmla="*/ 7443256 w 11701760"/>
              <a:gd name="connsiteY3729" fmla="*/ 1063075 h 6407421"/>
              <a:gd name="connsiteX3730" fmla="*/ 7443256 w 11701760"/>
              <a:gd name="connsiteY3730" fmla="*/ 1092569 h 6407421"/>
              <a:gd name="connsiteX3731" fmla="*/ 7413653 w 11701760"/>
              <a:gd name="connsiteY3731" fmla="*/ 1092569 h 6407421"/>
              <a:gd name="connsiteX3732" fmla="*/ 1566808 w 11701760"/>
              <a:gd name="connsiteY3732" fmla="*/ 1063075 h 6407421"/>
              <a:gd name="connsiteX3733" fmla="*/ 1596409 w 11701760"/>
              <a:gd name="connsiteY3733" fmla="*/ 1063075 h 6407421"/>
              <a:gd name="connsiteX3734" fmla="*/ 1596409 w 11701760"/>
              <a:gd name="connsiteY3734" fmla="*/ 1092569 h 6407421"/>
              <a:gd name="connsiteX3735" fmla="*/ 1566808 w 11701760"/>
              <a:gd name="connsiteY3735" fmla="*/ 1092569 h 6407421"/>
              <a:gd name="connsiteX3736" fmla="*/ 7147456 w 11701760"/>
              <a:gd name="connsiteY3736" fmla="*/ 1063072 h 6407421"/>
              <a:gd name="connsiteX3737" fmla="*/ 7177058 w 11701760"/>
              <a:gd name="connsiteY3737" fmla="*/ 1063072 h 6407421"/>
              <a:gd name="connsiteX3738" fmla="*/ 7177058 w 11701760"/>
              <a:gd name="connsiteY3738" fmla="*/ 1092566 h 6407421"/>
              <a:gd name="connsiteX3739" fmla="*/ 7147456 w 11701760"/>
              <a:gd name="connsiteY3739" fmla="*/ 1092566 h 6407421"/>
              <a:gd name="connsiteX3740" fmla="*/ 1300611 w 11701760"/>
              <a:gd name="connsiteY3740" fmla="*/ 1063072 h 6407421"/>
              <a:gd name="connsiteX3741" fmla="*/ 1330213 w 11701760"/>
              <a:gd name="connsiteY3741" fmla="*/ 1063072 h 6407421"/>
              <a:gd name="connsiteX3742" fmla="*/ 1330213 w 11701760"/>
              <a:gd name="connsiteY3742" fmla="*/ 1092566 h 6407421"/>
              <a:gd name="connsiteX3743" fmla="*/ 1300611 w 11701760"/>
              <a:gd name="connsiteY3743" fmla="*/ 1092566 h 6407421"/>
              <a:gd name="connsiteX3744" fmla="*/ 6881367 w 11701760"/>
              <a:gd name="connsiteY3744" fmla="*/ 1063069 h 6407421"/>
              <a:gd name="connsiteX3745" fmla="*/ 6910970 w 11701760"/>
              <a:gd name="connsiteY3745" fmla="*/ 1063069 h 6407421"/>
              <a:gd name="connsiteX3746" fmla="*/ 6910970 w 11701760"/>
              <a:gd name="connsiteY3746" fmla="*/ 1092563 h 6407421"/>
              <a:gd name="connsiteX3747" fmla="*/ 6881367 w 11701760"/>
              <a:gd name="connsiteY3747" fmla="*/ 1092563 h 6407421"/>
              <a:gd name="connsiteX3748" fmla="*/ 1034520 w 11701760"/>
              <a:gd name="connsiteY3748" fmla="*/ 1063069 h 6407421"/>
              <a:gd name="connsiteX3749" fmla="*/ 1064123 w 11701760"/>
              <a:gd name="connsiteY3749" fmla="*/ 1063069 h 6407421"/>
              <a:gd name="connsiteX3750" fmla="*/ 1064123 w 11701760"/>
              <a:gd name="connsiteY3750" fmla="*/ 1092563 h 6407421"/>
              <a:gd name="connsiteX3751" fmla="*/ 1034520 w 11701760"/>
              <a:gd name="connsiteY3751" fmla="*/ 1092563 h 6407421"/>
              <a:gd name="connsiteX3752" fmla="*/ 6615170 w 11701760"/>
              <a:gd name="connsiteY3752" fmla="*/ 1063066 h 6407421"/>
              <a:gd name="connsiteX3753" fmla="*/ 6644773 w 11701760"/>
              <a:gd name="connsiteY3753" fmla="*/ 1063066 h 6407421"/>
              <a:gd name="connsiteX3754" fmla="*/ 6644773 w 11701760"/>
              <a:gd name="connsiteY3754" fmla="*/ 1092560 h 6407421"/>
              <a:gd name="connsiteX3755" fmla="*/ 6615170 w 11701760"/>
              <a:gd name="connsiteY3755" fmla="*/ 1092560 h 6407421"/>
              <a:gd name="connsiteX3756" fmla="*/ 768326 w 11701760"/>
              <a:gd name="connsiteY3756" fmla="*/ 1063066 h 6407421"/>
              <a:gd name="connsiteX3757" fmla="*/ 797926 w 11701760"/>
              <a:gd name="connsiteY3757" fmla="*/ 1063066 h 6407421"/>
              <a:gd name="connsiteX3758" fmla="*/ 797926 w 11701760"/>
              <a:gd name="connsiteY3758" fmla="*/ 1092560 h 6407421"/>
              <a:gd name="connsiteX3759" fmla="*/ 768326 w 11701760"/>
              <a:gd name="connsiteY3759" fmla="*/ 1092560 h 6407421"/>
              <a:gd name="connsiteX3760" fmla="*/ 6349081 w 11701760"/>
              <a:gd name="connsiteY3760" fmla="*/ 1063063 h 6407421"/>
              <a:gd name="connsiteX3761" fmla="*/ 6378683 w 11701760"/>
              <a:gd name="connsiteY3761" fmla="*/ 1063063 h 6407421"/>
              <a:gd name="connsiteX3762" fmla="*/ 6378683 w 11701760"/>
              <a:gd name="connsiteY3762" fmla="*/ 1092557 h 6407421"/>
              <a:gd name="connsiteX3763" fmla="*/ 6349081 w 11701760"/>
              <a:gd name="connsiteY3763" fmla="*/ 1092557 h 6407421"/>
              <a:gd name="connsiteX3764" fmla="*/ 502235 w 11701760"/>
              <a:gd name="connsiteY3764" fmla="*/ 1063063 h 6407421"/>
              <a:gd name="connsiteX3765" fmla="*/ 531838 w 11701760"/>
              <a:gd name="connsiteY3765" fmla="*/ 1063063 h 6407421"/>
              <a:gd name="connsiteX3766" fmla="*/ 531838 w 11701760"/>
              <a:gd name="connsiteY3766" fmla="*/ 1092557 h 6407421"/>
              <a:gd name="connsiteX3767" fmla="*/ 502235 w 11701760"/>
              <a:gd name="connsiteY3767" fmla="*/ 1092557 h 6407421"/>
              <a:gd name="connsiteX3768" fmla="*/ 6082884 w 11701760"/>
              <a:gd name="connsiteY3768" fmla="*/ 1063059 h 6407421"/>
              <a:gd name="connsiteX3769" fmla="*/ 6112486 w 11701760"/>
              <a:gd name="connsiteY3769" fmla="*/ 1063059 h 6407421"/>
              <a:gd name="connsiteX3770" fmla="*/ 6112486 w 11701760"/>
              <a:gd name="connsiteY3770" fmla="*/ 1092554 h 6407421"/>
              <a:gd name="connsiteX3771" fmla="*/ 6082884 w 11701760"/>
              <a:gd name="connsiteY3771" fmla="*/ 1092554 h 6407421"/>
              <a:gd name="connsiteX3772" fmla="*/ 236036 w 11701760"/>
              <a:gd name="connsiteY3772" fmla="*/ 1063059 h 6407421"/>
              <a:gd name="connsiteX3773" fmla="*/ 265639 w 11701760"/>
              <a:gd name="connsiteY3773" fmla="*/ 1063059 h 6407421"/>
              <a:gd name="connsiteX3774" fmla="*/ 265639 w 11701760"/>
              <a:gd name="connsiteY3774" fmla="*/ 1092554 h 6407421"/>
              <a:gd name="connsiteX3775" fmla="*/ 236036 w 11701760"/>
              <a:gd name="connsiteY3775" fmla="*/ 1092554 h 6407421"/>
              <a:gd name="connsiteX3776" fmla="*/ 0 w 11701760"/>
              <a:gd name="connsiteY3776" fmla="*/ 1063059 h 6407421"/>
              <a:gd name="connsiteX3777" fmla="*/ 29602 w 11701760"/>
              <a:gd name="connsiteY3777" fmla="*/ 1063059 h 6407421"/>
              <a:gd name="connsiteX3778" fmla="*/ 29602 w 11701760"/>
              <a:gd name="connsiteY3778" fmla="*/ 1092554 h 6407421"/>
              <a:gd name="connsiteX3779" fmla="*/ 0 w 11701760"/>
              <a:gd name="connsiteY3779" fmla="*/ 1092554 h 6407421"/>
              <a:gd name="connsiteX3780" fmla="*/ 11672158 w 11701760"/>
              <a:gd name="connsiteY3780" fmla="*/ 797337 h 6407421"/>
              <a:gd name="connsiteX3781" fmla="*/ 11701760 w 11701760"/>
              <a:gd name="connsiteY3781" fmla="*/ 797337 h 6407421"/>
              <a:gd name="connsiteX3782" fmla="*/ 11701760 w 11701760"/>
              <a:gd name="connsiteY3782" fmla="*/ 826844 h 6407421"/>
              <a:gd name="connsiteX3783" fmla="*/ 11672158 w 11701760"/>
              <a:gd name="connsiteY3783" fmla="*/ 826844 h 6407421"/>
              <a:gd name="connsiteX3784" fmla="*/ 5825310 w 11701760"/>
              <a:gd name="connsiteY3784" fmla="*/ 797337 h 6407421"/>
              <a:gd name="connsiteX3785" fmla="*/ 5854913 w 11701760"/>
              <a:gd name="connsiteY3785" fmla="*/ 797337 h 6407421"/>
              <a:gd name="connsiteX3786" fmla="*/ 5854913 w 11701760"/>
              <a:gd name="connsiteY3786" fmla="*/ 826844 h 6407421"/>
              <a:gd name="connsiteX3787" fmla="*/ 5825310 w 11701760"/>
              <a:gd name="connsiteY3787" fmla="*/ 826844 h 6407421"/>
              <a:gd name="connsiteX3788" fmla="*/ 11405961 w 11701760"/>
              <a:gd name="connsiteY3788" fmla="*/ 797335 h 6407421"/>
              <a:gd name="connsiteX3789" fmla="*/ 11435563 w 11701760"/>
              <a:gd name="connsiteY3789" fmla="*/ 797335 h 6407421"/>
              <a:gd name="connsiteX3790" fmla="*/ 11435563 w 11701760"/>
              <a:gd name="connsiteY3790" fmla="*/ 826841 h 6407421"/>
              <a:gd name="connsiteX3791" fmla="*/ 11405961 w 11701760"/>
              <a:gd name="connsiteY3791" fmla="*/ 826841 h 6407421"/>
              <a:gd name="connsiteX3792" fmla="*/ 5559113 w 11701760"/>
              <a:gd name="connsiteY3792" fmla="*/ 797335 h 6407421"/>
              <a:gd name="connsiteX3793" fmla="*/ 5588715 w 11701760"/>
              <a:gd name="connsiteY3793" fmla="*/ 797335 h 6407421"/>
              <a:gd name="connsiteX3794" fmla="*/ 5588715 w 11701760"/>
              <a:gd name="connsiteY3794" fmla="*/ 826841 h 6407421"/>
              <a:gd name="connsiteX3795" fmla="*/ 5559113 w 11701760"/>
              <a:gd name="connsiteY3795" fmla="*/ 826841 h 6407421"/>
              <a:gd name="connsiteX3796" fmla="*/ 11139872 w 11701760"/>
              <a:gd name="connsiteY3796" fmla="*/ 797333 h 6407421"/>
              <a:gd name="connsiteX3797" fmla="*/ 11169474 w 11701760"/>
              <a:gd name="connsiteY3797" fmla="*/ 797333 h 6407421"/>
              <a:gd name="connsiteX3798" fmla="*/ 11169474 w 11701760"/>
              <a:gd name="connsiteY3798" fmla="*/ 826839 h 6407421"/>
              <a:gd name="connsiteX3799" fmla="*/ 11139872 w 11701760"/>
              <a:gd name="connsiteY3799" fmla="*/ 826839 h 6407421"/>
              <a:gd name="connsiteX3800" fmla="*/ 5293024 w 11701760"/>
              <a:gd name="connsiteY3800" fmla="*/ 797333 h 6407421"/>
              <a:gd name="connsiteX3801" fmla="*/ 5322626 w 11701760"/>
              <a:gd name="connsiteY3801" fmla="*/ 797333 h 6407421"/>
              <a:gd name="connsiteX3802" fmla="*/ 5322626 w 11701760"/>
              <a:gd name="connsiteY3802" fmla="*/ 826839 h 6407421"/>
              <a:gd name="connsiteX3803" fmla="*/ 5293024 w 11701760"/>
              <a:gd name="connsiteY3803" fmla="*/ 826839 h 6407421"/>
              <a:gd name="connsiteX3804" fmla="*/ 10873675 w 11701760"/>
              <a:gd name="connsiteY3804" fmla="*/ 797331 h 6407421"/>
              <a:gd name="connsiteX3805" fmla="*/ 10903277 w 11701760"/>
              <a:gd name="connsiteY3805" fmla="*/ 797331 h 6407421"/>
              <a:gd name="connsiteX3806" fmla="*/ 10903277 w 11701760"/>
              <a:gd name="connsiteY3806" fmla="*/ 826836 h 6407421"/>
              <a:gd name="connsiteX3807" fmla="*/ 10873675 w 11701760"/>
              <a:gd name="connsiteY3807" fmla="*/ 826836 h 6407421"/>
              <a:gd name="connsiteX3808" fmla="*/ 5026827 w 11701760"/>
              <a:gd name="connsiteY3808" fmla="*/ 797331 h 6407421"/>
              <a:gd name="connsiteX3809" fmla="*/ 5056429 w 11701760"/>
              <a:gd name="connsiteY3809" fmla="*/ 797331 h 6407421"/>
              <a:gd name="connsiteX3810" fmla="*/ 5056429 w 11701760"/>
              <a:gd name="connsiteY3810" fmla="*/ 826836 h 6407421"/>
              <a:gd name="connsiteX3811" fmla="*/ 5026827 w 11701760"/>
              <a:gd name="connsiteY3811" fmla="*/ 826836 h 6407421"/>
              <a:gd name="connsiteX3812" fmla="*/ 10607478 w 11701760"/>
              <a:gd name="connsiteY3812" fmla="*/ 797329 h 6407421"/>
              <a:gd name="connsiteX3813" fmla="*/ 10637188 w 11701760"/>
              <a:gd name="connsiteY3813" fmla="*/ 797329 h 6407421"/>
              <a:gd name="connsiteX3814" fmla="*/ 10637188 w 11701760"/>
              <a:gd name="connsiteY3814" fmla="*/ 826833 h 6407421"/>
              <a:gd name="connsiteX3815" fmla="*/ 10607478 w 11701760"/>
              <a:gd name="connsiteY3815" fmla="*/ 826833 h 6407421"/>
              <a:gd name="connsiteX3816" fmla="*/ 4760630 w 11701760"/>
              <a:gd name="connsiteY3816" fmla="*/ 797329 h 6407421"/>
              <a:gd name="connsiteX3817" fmla="*/ 4790340 w 11701760"/>
              <a:gd name="connsiteY3817" fmla="*/ 797329 h 6407421"/>
              <a:gd name="connsiteX3818" fmla="*/ 4790340 w 11701760"/>
              <a:gd name="connsiteY3818" fmla="*/ 826833 h 6407421"/>
              <a:gd name="connsiteX3819" fmla="*/ 4760630 w 11701760"/>
              <a:gd name="connsiteY3819" fmla="*/ 826833 h 6407421"/>
              <a:gd name="connsiteX3820" fmla="*/ 10341389 w 11701760"/>
              <a:gd name="connsiteY3820" fmla="*/ 797327 h 6407421"/>
              <a:gd name="connsiteX3821" fmla="*/ 10370992 w 11701760"/>
              <a:gd name="connsiteY3821" fmla="*/ 797327 h 6407421"/>
              <a:gd name="connsiteX3822" fmla="*/ 10370992 w 11701760"/>
              <a:gd name="connsiteY3822" fmla="*/ 826831 h 6407421"/>
              <a:gd name="connsiteX3823" fmla="*/ 10341389 w 11701760"/>
              <a:gd name="connsiteY3823" fmla="*/ 826831 h 6407421"/>
              <a:gd name="connsiteX3824" fmla="*/ 4494541 w 11701760"/>
              <a:gd name="connsiteY3824" fmla="*/ 797327 h 6407421"/>
              <a:gd name="connsiteX3825" fmla="*/ 4524144 w 11701760"/>
              <a:gd name="connsiteY3825" fmla="*/ 797327 h 6407421"/>
              <a:gd name="connsiteX3826" fmla="*/ 4524144 w 11701760"/>
              <a:gd name="connsiteY3826" fmla="*/ 826831 h 6407421"/>
              <a:gd name="connsiteX3827" fmla="*/ 4494541 w 11701760"/>
              <a:gd name="connsiteY3827" fmla="*/ 826831 h 6407421"/>
              <a:gd name="connsiteX3828" fmla="*/ 10075192 w 11701760"/>
              <a:gd name="connsiteY3828" fmla="*/ 797325 h 6407421"/>
              <a:gd name="connsiteX3829" fmla="*/ 10104794 w 11701760"/>
              <a:gd name="connsiteY3829" fmla="*/ 797325 h 6407421"/>
              <a:gd name="connsiteX3830" fmla="*/ 10104794 w 11701760"/>
              <a:gd name="connsiteY3830" fmla="*/ 826828 h 6407421"/>
              <a:gd name="connsiteX3831" fmla="*/ 10075192 w 11701760"/>
              <a:gd name="connsiteY3831" fmla="*/ 826828 h 6407421"/>
              <a:gd name="connsiteX3832" fmla="*/ 4228344 w 11701760"/>
              <a:gd name="connsiteY3832" fmla="*/ 797325 h 6407421"/>
              <a:gd name="connsiteX3833" fmla="*/ 4257946 w 11701760"/>
              <a:gd name="connsiteY3833" fmla="*/ 797325 h 6407421"/>
              <a:gd name="connsiteX3834" fmla="*/ 4257946 w 11701760"/>
              <a:gd name="connsiteY3834" fmla="*/ 826828 h 6407421"/>
              <a:gd name="connsiteX3835" fmla="*/ 4228344 w 11701760"/>
              <a:gd name="connsiteY3835" fmla="*/ 826828 h 6407421"/>
              <a:gd name="connsiteX3836" fmla="*/ 9809103 w 11701760"/>
              <a:gd name="connsiteY3836" fmla="*/ 797323 h 6407421"/>
              <a:gd name="connsiteX3837" fmla="*/ 9838705 w 11701760"/>
              <a:gd name="connsiteY3837" fmla="*/ 797323 h 6407421"/>
              <a:gd name="connsiteX3838" fmla="*/ 9838705 w 11701760"/>
              <a:gd name="connsiteY3838" fmla="*/ 826826 h 6407421"/>
              <a:gd name="connsiteX3839" fmla="*/ 9809103 w 11701760"/>
              <a:gd name="connsiteY3839" fmla="*/ 826826 h 6407421"/>
              <a:gd name="connsiteX3840" fmla="*/ 3962255 w 11701760"/>
              <a:gd name="connsiteY3840" fmla="*/ 797323 h 6407421"/>
              <a:gd name="connsiteX3841" fmla="*/ 3991857 w 11701760"/>
              <a:gd name="connsiteY3841" fmla="*/ 797323 h 6407421"/>
              <a:gd name="connsiteX3842" fmla="*/ 3991857 w 11701760"/>
              <a:gd name="connsiteY3842" fmla="*/ 826826 h 6407421"/>
              <a:gd name="connsiteX3843" fmla="*/ 3962255 w 11701760"/>
              <a:gd name="connsiteY3843" fmla="*/ 826826 h 6407421"/>
              <a:gd name="connsiteX3844" fmla="*/ 9542906 w 11701760"/>
              <a:gd name="connsiteY3844" fmla="*/ 797321 h 6407421"/>
              <a:gd name="connsiteX3845" fmla="*/ 9572509 w 11701760"/>
              <a:gd name="connsiteY3845" fmla="*/ 797321 h 6407421"/>
              <a:gd name="connsiteX3846" fmla="*/ 9572509 w 11701760"/>
              <a:gd name="connsiteY3846" fmla="*/ 826823 h 6407421"/>
              <a:gd name="connsiteX3847" fmla="*/ 9542906 w 11701760"/>
              <a:gd name="connsiteY3847" fmla="*/ 826823 h 6407421"/>
              <a:gd name="connsiteX3848" fmla="*/ 3696058 w 11701760"/>
              <a:gd name="connsiteY3848" fmla="*/ 797321 h 6407421"/>
              <a:gd name="connsiteX3849" fmla="*/ 3725661 w 11701760"/>
              <a:gd name="connsiteY3849" fmla="*/ 797321 h 6407421"/>
              <a:gd name="connsiteX3850" fmla="*/ 3725661 w 11701760"/>
              <a:gd name="connsiteY3850" fmla="*/ 826823 h 6407421"/>
              <a:gd name="connsiteX3851" fmla="*/ 3696058 w 11701760"/>
              <a:gd name="connsiteY3851" fmla="*/ 826823 h 6407421"/>
              <a:gd name="connsiteX3852" fmla="*/ 9276817 w 11701760"/>
              <a:gd name="connsiteY3852" fmla="*/ 797319 h 6407421"/>
              <a:gd name="connsiteX3853" fmla="*/ 9306420 w 11701760"/>
              <a:gd name="connsiteY3853" fmla="*/ 797319 h 6407421"/>
              <a:gd name="connsiteX3854" fmla="*/ 9306420 w 11701760"/>
              <a:gd name="connsiteY3854" fmla="*/ 826820 h 6407421"/>
              <a:gd name="connsiteX3855" fmla="*/ 9276817 w 11701760"/>
              <a:gd name="connsiteY3855" fmla="*/ 826820 h 6407421"/>
              <a:gd name="connsiteX3856" fmla="*/ 3429969 w 11701760"/>
              <a:gd name="connsiteY3856" fmla="*/ 797319 h 6407421"/>
              <a:gd name="connsiteX3857" fmla="*/ 3459572 w 11701760"/>
              <a:gd name="connsiteY3857" fmla="*/ 797319 h 6407421"/>
              <a:gd name="connsiteX3858" fmla="*/ 3459572 w 11701760"/>
              <a:gd name="connsiteY3858" fmla="*/ 826820 h 6407421"/>
              <a:gd name="connsiteX3859" fmla="*/ 3429969 w 11701760"/>
              <a:gd name="connsiteY3859" fmla="*/ 826820 h 6407421"/>
              <a:gd name="connsiteX3860" fmla="*/ 9010620 w 11701760"/>
              <a:gd name="connsiteY3860" fmla="*/ 797317 h 6407421"/>
              <a:gd name="connsiteX3861" fmla="*/ 9040222 w 11701760"/>
              <a:gd name="connsiteY3861" fmla="*/ 797317 h 6407421"/>
              <a:gd name="connsiteX3862" fmla="*/ 9040222 w 11701760"/>
              <a:gd name="connsiteY3862" fmla="*/ 826818 h 6407421"/>
              <a:gd name="connsiteX3863" fmla="*/ 9010620 w 11701760"/>
              <a:gd name="connsiteY3863" fmla="*/ 826818 h 6407421"/>
              <a:gd name="connsiteX3864" fmla="*/ 3163772 w 11701760"/>
              <a:gd name="connsiteY3864" fmla="*/ 797317 h 6407421"/>
              <a:gd name="connsiteX3865" fmla="*/ 3193374 w 11701760"/>
              <a:gd name="connsiteY3865" fmla="*/ 797317 h 6407421"/>
              <a:gd name="connsiteX3866" fmla="*/ 3193374 w 11701760"/>
              <a:gd name="connsiteY3866" fmla="*/ 826818 h 6407421"/>
              <a:gd name="connsiteX3867" fmla="*/ 3163772 w 11701760"/>
              <a:gd name="connsiteY3867" fmla="*/ 826818 h 6407421"/>
              <a:gd name="connsiteX3868" fmla="*/ 8744423 w 11701760"/>
              <a:gd name="connsiteY3868" fmla="*/ 797315 h 6407421"/>
              <a:gd name="connsiteX3869" fmla="*/ 8774026 w 11701760"/>
              <a:gd name="connsiteY3869" fmla="*/ 797315 h 6407421"/>
              <a:gd name="connsiteX3870" fmla="*/ 8774026 w 11701760"/>
              <a:gd name="connsiteY3870" fmla="*/ 826815 h 6407421"/>
              <a:gd name="connsiteX3871" fmla="*/ 8744423 w 11701760"/>
              <a:gd name="connsiteY3871" fmla="*/ 826815 h 6407421"/>
              <a:gd name="connsiteX3872" fmla="*/ 2897575 w 11701760"/>
              <a:gd name="connsiteY3872" fmla="*/ 797315 h 6407421"/>
              <a:gd name="connsiteX3873" fmla="*/ 2927178 w 11701760"/>
              <a:gd name="connsiteY3873" fmla="*/ 797315 h 6407421"/>
              <a:gd name="connsiteX3874" fmla="*/ 2927178 w 11701760"/>
              <a:gd name="connsiteY3874" fmla="*/ 826815 h 6407421"/>
              <a:gd name="connsiteX3875" fmla="*/ 2897575 w 11701760"/>
              <a:gd name="connsiteY3875" fmla="*/ 826815 h 6407421"/>
              <a:gd name="connsiteX3876" fmla="*/ 8478226 w 11701760"/>
              <a:gd name="connsiteY3876" fmla="*/ 797312 h 6407421"/>
              <a:gd name="connsiteX3877" fmla="*/ 8507828 w 11701760"/>
              <a:gd name="connsiteY3877" fmla="*/ 797312 h 6407421"/>
              <a:gd name="connsiteX3878" fmla="*/ 8507828 w 11701760"/>
              <a:gd name="connsiteY3878" fmla="*/ 826812 h 6407421"/>
              <a:gd name="connsiteX3879" fmla="*/ 8478226 w 11701760"/>
              <a:gd name="connsiteY3879" fmla="*/ 826812 h 6407421"/>
              <a:gd name="connsiteX3880" fmla="*/ 2631378 w 11701760"/>
              <a:gd name="connsiteY3880" fmla="*/ 797312 h 6407421"/>
              <a:gd name="connsiteX3881" fmla="*/ 2660980 w 11701760"/>
              <a:gd name="connsiteY3881" fmla="*/ 797312 h 6407421"/>
              <a:gd name="connsiteX3882" fmla="*/ 2660980 w 11701760"/>
              <a:gd name="connsiteY3882" fmla="*/ 826812 h 6407421"/>
              <a:gd name="connsiteX3883" fmla="*/ 2631378 w 11701760"/>
              <a:gd name="connsiteY3883" fmla="*/ 826812 h 6407421"/>
              <a:gd name="connsiteX3884" fmla="*/ 8212137 w 11701760"/>
              <a:gd name="connsiteY3884" fmla="*/ 797310 h 6407421"/>
              <a:gd name="connsiteX3885" fmla="*/ 8241740 w 11701760"/>
              <a:gd name="connsiteY3885" fmla="*/ 797310 h 6407421"/>
              <a:gd name="connsiteX3886" fmla="*/ 8241740 w 11701760"/>
              <a:gd name="connsiteY3886" fmla="*/ 826810 h 6407421"/>
              <a:gd name="connsiteX3887" fmla="*/ 8212137 w 11701760"/>
              <a:gd name="connsiteY3887" fmla="*/ 826810 h 6407421"/>
              <a:gd name="connsiteX3888" fmla="*/ 2365289 w 11701760"/>
              <a:gd name="connsiteY3888" fmla="*/ 797310 h 6407421"/>
              <a:gd name="connsiteX3889" fmla="*/ 2394892 w 11701760"/>
              <a:gd name="connsiteY3889" fmla="*/ 797310 h 6407421"/>
              <a:gd name="connsiteX3890" fmla="*/ 2394892 w 11701760"/>
              <a:gd name="connsiteY3890" fmla="*/ 826810 h 6407421"/>
              <a:gd name="connsiteX3891" fmla="*/ 2365289 w 11701760"/>
              <a:gd name="connsiteY3891" fmla="*/ 826810 h 6407421"/>
              <a:gd name="connsiteX3892" fmla="*/ 7945940 w 11701760"/>
              <a:gd name="connsiteY3892" fmla="*/ 797308 h 6407421"/>
              <a:gd name="connsiteX3893" fmla="*/ 7975543 w 11701760"/>
              <a:gd name="connsiteY3893" fmla="*/ 797308 h 6407421"/>
              <a:gd name="connsiteX3894" fmla="*/ 7975543 w 11701760"/>
              <a:gd name="connsiteY3894" fmla="*/ 826807 h 6407421"/>
              <a:gd name="connsiteX3895" fmla="*/ 7945940 w 11701760"/>
              <a:gd name="connsiteY3895" fmla="*/ 826807 h 6407421"/>
              <a:gd name="connsiteX3896" fmla="*/ 2099092 w 11701760"/>
              <a:gd name="connsiteY3896" fmla="*/ 797308 h 6407421"/>
              <a:gd name="connsiteX3897" fmla="*/ 2128695 w 11701760"/>
              <a:gd name="connsiteY3897" fmla="*/ 797308 h 6407421"/>
              <a:gd name="connsiteX3898" fmla="*/ 2128695 w 11701760"/>
              <a:gd name="connsiteY3898" fmla="*/ 826807 h 6407421"/>
              <a:gd name="connsiteX3899" fmla="*/ 2099092 w 11701760"/>
              <a:gd name="connsiteY3899" fmla="*/ 826807 h 6407421"/>
              <a:gd name="connsiteX3900" fmla="*/ 7679743 w 11701760"/>
              <a:gd name="connsiteY3900" fmla="*/ 797306 h 6407421"/>
              <a:gd name="connsiteX3901" fmla="*/ 7709346 w 11701760"/>
              <a:gd name="connsiteY3901" fmla="*/ 797306 h 6407421"/>
              <a:gd name="connsiteX3902" fmla="*/ 7709346 w 11701760"/>
              <a:gd name="connsiteY3902" fmla="*/ 826805 h 6407421"/>
              <a:gd name="connsiteX3903" fmla="*/ 7679743 w 11701760"/>
              <a:gd name="connsiteY3903" fmla="*/ 826805 h 6407421"/>
              <a:gd name="connsiteX3904" fmla="*/ 1832898 w 11701760"/>
              <a:gd name="connsiteY3904" fmla="*/ 797306 h 6407421"/>
              <a:gd name="connsiteX3905" fmla="*/ 1862498 w 11701760"/>
              <a:gd name="connsiteY3905" fmla="*/ 797306 h 6407421"/>
              <a:gd name="connsiteX3906" fmla="*/ 1862498 w 11701760"/>
              <a:gd name="connsiteY3906" fmla="*/ 826805 h 6407421"/>
              <a:gd name="connsiteX3907" fmla="*/ 1832898 w 11701760"/>
              <a:gd name="connsiteY3907" fmla="*/ 826805 h 6407421"/>
              <a:gd name="connsiteX3908" fmla="*/ 7413653 w 11701760"/>
              <a:gd name="connsiteY3908" fmla="*/ 797304 h 6407421"/>
              <a:gd name="connsiteX3909" fmla="*/ 7443256 w 11701760"/>
              <a:gd name="connsiteY3909" fmla="*/ 797304 h 6407421"/>
              <a:gd name="connsiteX3910" fmla="*/ 7443256 w 11701760"/>
              <a:gd name="connsiteY3910" fmla="*/ 826802 h 6407421"/>
              <a:gd name="connsiteX3911" fmla="*/ 7413653 w 11701760"/>
              <a:gd name="connsiteY3911" fmla="*/ 826802 h 6407421"/>
              <a:gd name="connsiteX3912" fmla="*/ 1566808 w 11701760"/>
              <a:gd name="connsiteY3912" fmla="*/ 797304 h 6407421"/>
              <a:gd name="connsiteX3913" fmla="*/ 1596409 w 11701760"/>
              <a:gd name="connsiteY3913" fmla="*/ 797304 h 6407421"/>
              <a:gd name="connsiteX3914" fmla="*/ 1596409 w 11701760"/>
              <a:gd name="connsiteY3914" fmla="*/ 826802 h 6407421"/>
              <a:gd name="connsiteX3915" fmla="*/ 1566808 w 11701760"/>
              <a:gd name="connsiteY3915" fmla="*/ 826802 h 6407421"/>
              <a:gd name="connsiteX3916" fmla="*/ 7147456 w 11701760"/>
              <a:gd name="connsiteY3916" fmla="*/ 797302 h 6407421"/>
              <a:gd name="connsiteX3917" fmla="*/ 7177058 w 11701760"/>
              <a:gd name="connsiteY3917" fmla="*/ 797302 h 6407421"/>
              <a:gd name="connsiteX3918" fmla="*/ 7177058 w 11701760"/>
              <a:gd name="connsiteY3918" fmla="*/ 826799 h 6407421"/>
              <a:gd name="connsiteX3919" fmla="*/ 7147456 w 11701760"/>
              <a:gd name="connsiteY3919" fmla="*/ 826799 h 6407421"/>
              <a:gd name="connsiteX3920" fmla="*/ 1300611 w 11701760"/>
              <a:gd name="connsiteY3920" fmla="*/ 797302 h 6407421"/>
              <a:gd name="connsiteX3921" fmla="*/ 1330213 w 11701760"/>
              <a:gd name="connsiteY3921" fmla="*/ 797302 h 6407421"/>
              <a:gd name="connsiteX3922" fmla="*/ 1330213 w 11701760"/>
              <a:gd name="connsiteY3922" fmla="*/ 826799 h 6407421"/>
              <a:gd name="connsiteX3923" fmla="*/ 1300611 w 11701760"/>
              <a:gd name="connsiteY3923" fmla="*/ 826799 h 6407421"/>
              <a:gd name="connsiteX3924" fmla="*/ 6881367 w 11701760"/>
              <a:gd name="connsiteY3924" fmla="*/ 797300 h 6407421"/>
              <a:gd name="connsiteX3925" fmla="*/ 6910970 w 11701760"/>
              <a:gd name="connsiteY3925" fmla="*/ 797300 h 6407421"/>
              <a:gd name="connsiteX3926" fmla="*/ 6910970 w 11701760"/>
              <a:gd name="connsiteY3926" fmla="*/ 826797 h 6407421"/>
              <a:gd name="connsiteX3927" fmla="*/ 6881367 w 11701760"/>
              <a:gd name="connsiteY3927" fmla="*/ 826797 h 6407421"/>
              <a:gd name="connsiteX3928" fmla="*/ 1034520 w 11701760"/>
              <a:gd name="connsiteY3928" fmla="*/ 797300 h 6407421"/>
              <a:gd name="connsiteX3929" fmla="*/ 1064123 w 11701760"/>
              <a:gd name="connsiteY3929" fmla="*/ 797300 h 6407421"/>
              <a:gd name="connsiteX3930" fmla="*/ 1064123 w 11701760"/>
              <a:gd name="connsiteY3930" fmla="*/ 826797 h 6407421"/>
              <a:gd name="connsiteX3931" fmla="*/ 1034520 w 11701760"/>
              <a:gd name="connsiteY3931" fmla="*/ 826797 h 6407421"/>
              <a:gd name="connsiteX3932" fmla="*/ 6615170 w 11701760"/>
              <a:gd name="connsiteY3932" fmla="*/ 797298 h 6407421"/>
              <a:gd name="connsiteX3933" fmla="*/ 6644773 w 11701760"/>
              <a:gd name="connsiteY3933" fmla="*/ 797298 h 6407421"/>
              <a:gd name="connsiteX3934" fmla="*/ 6644773 w 11701760"/>
              <a:gd name="connsiteY3934" fmla="*/ 826794 h 6407421"/>
              <a:gd name="connsiteX3935" fmla="*/ 6615170 w 11701760"/>
              <a:gd name="connsiteY3935" fmla="*/ 826794 h 6407421"/>
              <a:gd name="connsiteX3936" fmla="*/ 768326 w 11701760"/>
              <a:gd name="connsiteY3936" fmla="*/ 797298 h 6407421"/>
              <a:gd name="connsiteX3937" fmla="*/ 797926 w 11701760"/>
              <a:gd name="connsiteY3937" fmla="*/ 797298 h 6407421"/>
              <a:gd name="connsiteX3938" fmla="*/ 797926 w 11701760"/>
              <a:gd name="connsiteY3938" fmla="*/ 826794 h 6407421"/>
              <a:gd name="connsiteX3939" fmla="*/ 768326 w 11701760"/>
              <a:gd name="connsiteY3939" fmla="*/ 826794 h 6407421"/>
              <a:gd name="connsiteX3940" fmla="*/ 6349081 w 11701760"/>
              <a:gd name="connsiteY3940" fmla="*/ 797296 h 6407421"/>
              <a:gd name="connsiteX3941" fmla="*/ 6378683 w 11701760"/>
              <a:gd name="connsiteY3941" fmla="*/ 797296 h 6407421"/>
              <a:gd name="connsiteX3942" fmla="*/ 6378683 w 11701760"/>
              <a:gd name="connsiteY3942" fmla="*/ 826792 h 6407421"/>
              <a:gd name="connsiteX3943" fmla="*/ 6349081 w 11701760"/>
              <a:gd name="connsiteY3943" fmla="*/ 826792 h 6407421"/>
              <a:gd name="connsiteX3944" fmla="*/ 502235 w 11701760"/>
              <a:gd name="connsiteY3944" fmla="*/ 797296 h 6407421"/>
              <a:gd name="connsiteX3945" fmla="*/ 531838 w 11701760"/>
              <a:gd name="connsiteY3945" fmla="*/ 797296 h 6407421"/>
              <a:gd name="connsiteX3946" fmla="*/ 531838 w 11701760"/>
              <a:gd name="connsiteY3946" fmla="*/ 826792 h 6407421"/>
              <a:gd name="connsiteX3947" fmla="*/ 502235 w 11701760"/>
              <a:gd name="connsiteY3947" fmla="*/ 826792 h 6407421"/>
              <a:gd name="connsiteX3948" fmla="*/ 6082884 w 11701760"/>
              <a:gd name="connsiteY3948" fmla="*/ 797294 h 6407421"/>
              <a:gd name="connsiteX3949" fmla="*/ 6112486 w 11701760"/>
              <a:gd name="connsiteY3949" fmla="*/ 797294 h 6407421"/>
              <a:gd name="connsiteX3950" fmla="*/ 6112486 w 11701760"/>
              <a:gd name="connsiteY3950" fmla="*/ 826789 h 6407421"/>
              <a:gd name="connsiteX3951" fmla="*/ 6082884 w 11701760"/>
              <a:gd name="connsiteY3951" fmla="*/ 826789 h 6407421"/>
              <a:gd name="connsiteX3952" fmla="*/ 236036 w 11701760"/>
              <a:gd name="connsiteY3952" fmla="*/ 797294 h 6407421"/>
              <a:gd name="connsiteX3953" fmla="*/ 265639 w 11701760"/>
              <a:gd name="connsiteY3953" fmla="*/ 797294 h 6407421"/>
              <a:gd name="connsiteX3954" fmla="*/ 265639 w 11701760"/>
              <a:gd name="connsiteY3954" fmla="*/ 826789 h 6407421"/>
              <a:gd name="connsiteX3955" fmla="*/ 236036 w 11701760"/>
              <a:gd name="connsiteY3955" fmla="*/ 826789 h 6407421"/>
              <a:gd name="connsiteX3956" fmla="*/ 0 w 11701760"/>
              <a:gd name="connsiteY3956" fmla="*/ 797294 h 6407421"/>
              <a:gd name="connsiteX3957" fmla="*/ 29602 w 11701760"/>
              <a:gd name="connsiteY3957" fmla="*/ 797294 h 6407421"/>
              <a:gd name="connsiteX3958" fmla="*/ 29602 w 11701760"/>
              <a:gd name="connsiteY3958" fmla="*/ 826789 h 6407421"/>
              <a:gd name="connsiteX3959" fmla="*/ 0 w 11701760"/>
              <a:gd name="connsiteY3959" fmla="*/ 826789 h 6407421"/>
              <a:gd name="connsiteX3960" fmla="*/ 11672158 w 11701760"/>
              <a:gd name="connsiteY3960" fmla="*/ 531575 h 6407421"/>
              <a:gd name="connsiteX3961" fmla="*/ 11701760 w 11701760"/>
              <a:gd name="connsiteY3961" fmla="*/ 531575 h 6407421"/>
              <a:gd name="connsiteX3962" fmla="*/ 11701760 w 11701760"/>
              <a:gd name="connsiteY3962" fmla="*/ 561177 h 6407421"/>
              <a:gd name="connsiteX3963" fmla="*/ 11672158 w 11701760"/>
              <a:gd name="connsiteY3963" fmla="*/ 561177 h 6407421"/>
              <a:gd name="connsiteX3964" fmla="*/ 5825310 w 11701760"/>
              <a:gd name="connsiteY3964" fmla="*/ 531575 h 6407421"/>
              <a:gd name="connsiteX3965" fmla="*/ 5854913 w 11701760"/>
              <a:gd name="connsiteY3965" fmla="*/ 531575 h 6407421"/>
              <a:gd name="connsiteX3966" fmla="*/ 5854913 w 11701760"/>
              <a:gd name="connsiteY3966" fmla="*/ 561177 h 6407421"/>
              <a:gd name="connsiteX3967" fmla="*/ 5825310 w 11701760"/>
              <a:gd name="connsiteY3967" fmla="*/ 561177 h 6407421"/>
              <a:gd name="connsiteX3968" fmla="*/ 11405961 w 11701760"/>
              <a:gd name="connsiteY3968" fmla="*/ 531573 h 6407421"/>
              <a:gd name="connsiteX3969" fmla="*/ 11435563 w 11701760"/>
              <a:gd name="connsiteY3969" fmla="*/ 531573 h 6407421"/>
              <a:gd name="connsiteX3970" fmla="*/ 11435563 w 11701760"/>
              <a:gd name="connsiteY3970" fmla="*/ 561175 h 6407421"/>
              <a:gd name="connsiteX3971" fmla="*/ 11405961 w 11701760"/>
              <a:gd name="connsiteY3971" fmla="*/ 561175 h 6407421"/>
              <a:gd name="connsiteX3972" fmla="*/ 5559113 w 11701760"/>
              <a:gd name="connsiteY3972" fmla="*/ 531573 h 6407421"/>
              <a:gd name="connsiteX3973" fmla="*/ 5588715 w 11701760"/>
              <a:gd name="connsiteY3973" fmla="*/ 531573 h 6407421"/>
              <a:gd name="connsiteX3974" fmla="*/ 5588715 w 11701760"/>
              <a:gd name="connsiteY3974" fmla="*/ 561175 h 6407421"/>
              <a:gd name="connsiteX3975" fmla="*/ 5559113 w 11701760"/>
              <a:gd name="connsiteY3975" fmla="*/ 561175 h 6407421"/>
              <a:gd name="connsiteX3976" fmla="*/ 11139872 w 11701760"/>
              <a:gd name="connsiteY3976" fmla="*/ 531571 h 6407421"/>
              <a:gd name="connsiteX3977" fmla="*/ 11169474 w 11701760"/>
              <a:gd name="connsiteY3977" fmla="*/ 531571 h 6407421"/>
              <a:gd name="connsiteX3978" fmla="*/ 11169474 w 11701760"/>
              <a:gd name="connsiteY3978" fmla="*/ 561173 h 6407421"/>
              <a:gd name="connsiteX3979" fmla="*/ 11139872 w 11701760"/>
              <a:gd name="connsiteY3979" fmla="*/ 561173 h 6407421"/>
              <a:gd name="connsiteX3980" fmla="*/ 5293024 w 11701760"/>
              <a:gd name="connsiteY3980" fmla="*/ 531571 h 6407421"/>
              <a:gd name="connsiteX3981" fmla="*/ 5322626 w 11701760"/>
              <a:gd name="connsiteY3981" fmla="*/ 531571 h 6407421"/>
              <a:gd name="connsiteX3982" fmla="*/ 5322626 w 11701760"/>
              <a:gd name="connsiteY3982" fmla="*/ 561173 h 6407421"/>
              <a:gd name="connsiteX3983" fmla="*/ 5293024 w 11701760"/>
              <a:gd name="connsiteY3983" fmla="*/ 561173 h 6407421"/>
              <a:gd name="connsiteX3984" fmla="*/ 10873675 w 11701760"/>
              <a:gd name="connsiteY3984" fmla="*/ 531568 h 6407421"/>
              <a:gd name="connsiteX3985" fmla="*/ 10903277 w 11701760"/>
              <a:gd name="connsiteY3985" fmla="*/ 531568 h 6407421"/>
              <a:gd name="connsiteX3986" fmla="*/ 10903277 w 11701760"/>
              <a:gd name="connsiteY3986" fmla="*/ 561170 h 6407421"/>
              <a:gd name="connsiteX3987" fmla="*/ 10873675 w 11701760"/>
              <a:gd name="connsiteY3987" fmla="*/ 561170 h 6407421"/>
              <a:gd name="connsiteX3988" fmla="*/ 5026827 w 11701760"/>
              <a:gd name="connsiteY3988" fmla="*/ 531568 h 6407421"/>
              <a:gd name="connsiteX3989" fmla="*/ 5056429 w 11701760"/>
              <a:gd name="connsiteY3989" fmla="*/ 531568 h 6407421"/>
              <a:gd name="connsiteX3990" fmla="*/ 5056429 w 11701760"/>
              <a:gd name="connsiteY3990" fmla="*/ 561170 h 6407421"/>
              <a:gd name="connsiteX3991" fmla="*/ 5026827 w 11701760"/>
              <a:gd name="connsiteY3991" fmla="*/ 561170 h 6407421"/>
              <a:gd name="connsiteX3992" fmla="*/ 10607478 w 11701760"/>
              <a:gd name="connsiteY3992" fmla="*/ 531566 h 6407421"/>
              <a:gd name="connsiteX3993" fmla="*/ 10637188 w 11701760"/>
              <a:gd name="connsiteY3993" fmla="*/ 531566 h 6407421"/>
              <a:gd name="connsiteX3994" fmla="*/ 10637188 w 11701760"/>
              <a:gd name="connsiteY3994" fmla="*/ 561168 h 6407421"/>
              <a:gd name="connsiteX3995" fmla="*/ 10607478 w 11701760"/>
              <a:gd name="connsiteY3995" fmla="*/ 561168 h 6407421"/>
              <a:gd name="connsiteX3996" fmla="*/ 4760630 w 11701760"/>
              <a:gd name="connsiteY3996" fmla="*/ 531566 h 6407421"/>
              <a:gd name="connsiteX3997" fmla="*/ 4790340 w 11701760"/>
              <a:gd name="connsiteY3997" fmla="*/ 531566 h 6407421"/>
              <a:gd name="connsiteX3998" fmla="*/ 4790340 w 11701760"/>
              <a:gd name="connsiteY3998" fmla="*/ 561168 h 6407421"/>
              <a:gd name="connsiteX3999" fmla="*/ 4760630 w 11701760"/>
              <a:gd name="connsiteY3999" fmla="*/ 561168 h 6407421"/>
              <a:gd name="connsiteX4000" fmla="*/ 10341389 w 11701760"/>
              <a:gd name="connsiteY4000" fmla="*/ 531564 h 6407421"/>
              <a:gd name="connsiteX4001" fmla="*/ 10370992 w 11701760"/>
              <a:gd name="connsiteY4001" fmla="*/ 531564 h 6407421"/>
              <a:gd name="connsiteX4002" fmla="*/ 10370992 w 11701760"/>
              <a:gd name="connsiteY4002" fmla="*/ 561166 h 6407421"/>
              <a:gd name="connsiteX4003" fmla="*/ 10341389 w 11701760"/>
              <a:gd name="connsiteY4003" fmla="*/ 561166 h 6407421"/>
              <a:gd name="connsiteX4004" fmla="*/ 4494541 w 11701760"/>
              <a:gd name="connsiteY4004" fmla="*/ 531564 h 6407421"/>
              <a:gd name="connsiteX4005" fmla="*/ 4524144 w 11701760"/>
              <a:gd name="connsiteY4005" fmla="*/ 531564 h 6407421"/>
              <a:gd name="connsiteX4006" fmla="*/ 4524144 w 11701760"/>
              <a:gd name="connsiteY4006" fmla="*/ 561166 h 6407421"/>
              <a:gd name="connsiteX4007" fmla="*/ 4494541 w 11701760"/>
              <a:gd name="connsiteY4007" fmla="*/ 561166 h 6407421"/>
              <a:gd name="connsiteX4008" fmla="*/ 10075192 w 11701760"/>
              <a:gd name="connsiteY4008" fmla="*/ 531562 h 6407421"/>
              <a:gd name="connsiteX4009" fmla="*/ 10104794 w 11701760"/>
              <a:gd name="connsiteY4009" fmla="*/ 531562 h 6407421"/>
              <a:gd name="connsiteX4010" fmla="*/ 10104794 w 11701760"/>
              <a:gd name="connsiteY4010" fmla="*/ 561164 h 6407421"/>
              <a:gd name="connsiteX4011" fmla="*/ 10075192 w 11701760"/>
              <a:gd name="connsiteY4011" fmla="*/ 561164 h 6407421"/>
              <a:gd name="connsiteX4012" fmla="*/ 4228344 w 11701760"/>
              <a:gd name="connsiteY4012" fmla="*/ 531562 h 6407421"/>
              <a:gd name="connsiteX4013" fmla="*/ 4257946 w 11701760"/>
              <a:gd name="connsiteY4013" fmla="*/ 531562 h 6407421"/>
              <a:gd name="connsiteX4014" fmla="*/ 4257946 w 11701760"/>
              <a:gd name="connsiteY4014" fmla="*/ 561164 h 6407421"/>
              <a:gd name="connsiteX4015" fmla="*/ 4228344 w 11701760"/>
              <a:gd name="connsiteY4015" fmla="*/ 561164 h 6407421"/>
              <a:gd name="connsiteX4016" fmla="*/ 9809103 w 11701760"/>
              <a:gd name="connsiteY4016" fmla="*/ 531560 h 6407421"/>
              <a:gd name="connsiteX4017" fmla="*/ 9838705 w 11701760"/>
              <a:gd name="connsiteY4017" fmla="*/ 531560 h 6407421"/>
              <a:gd name="connsiteX4018" fmla="*/ 9838705 w 11701760"/>
              <a:gd name="connsiteY4018" fmla="*/ 561162 h 6407421"/>
              <a:gd name="connsiteX4019" fmla="*/ 9809103 w 11701760"/>
              <a:gd name="connsiteY4019" fmla="*/ 561162 h 6407421"/>
              <a:gd name="connsiteX4020" fmla="*/ 3962255 w 11701760"/>
              <a:gd name="connsiteY4020" fmla="*/ 531560 h 6407421"/>
              <a:gd name="connsiteX4021" fmla="*/ 3991857 w 11701760"/>
              <a:gd name="connsiteY4021" fmla="*/ 531560 h 6407421"/>
              <a:gd name="connsiteX4022" fmla="*/ 3991857 w 11701760"/>
              <a:gd name="connsiteY4022" fmla="*/ 561162 h 6407421"/>
              <a:gd name="connsiteX4023" fmla="*/ 3962255 w 11701760"/>
              <a:gd name="connsiteY4023" fmla="*/ 561162 h 6407421"/>
              <a:gd name="connsiteX4024" fmla="*/ 9542906 w 11701760"/>
              <a:gd name="connsiteY4024" fmla="*/ 531558 h 6407421"/>
              <a:gd name="connsiteX4025" fmla="*/ 9572509 w 11701760"/>
              <a:gd name="connsiteY4025" fmla="*/ 531558 h 6407421"/>
              <a:gd name="connsiteX4026" fmla="*/ 9572509 w 11701760"/>
              <a:gd name="connsiteY4026" fmla="*/ 561160 h 6407421"/>
              <a:gd name="connsiteX4027" fmla="*/ 9542906 w 11701760"/>
              <a:gd name="connsiteY4027" fmla="*/ 561160 h 6407421"/>
              <a:gd name="connsiteX4028" fmla="*/ 3696058 w 11701760"/>
              <a:gd name="connsiteY4028" fmla="*/ 531558 h 6407421"/>
              <a:gd name="connsiteX4029" fmla="*/ 3725661 w 11701760"/>
              <a:gd name="connsiteY4029" fmla="*/ 531558 h 6407421"/>
              <a:gd name="connsiteX4030" fmla="*/ 3725661 w 11701760"/>
              <a:gd name="connsiteY4030" fmla="*/ 561160 h 6407421"/>
              <a:gd name="connsiteX4031" fmla="*/ 3696058 w 11701760"/>
              <a:gd name="connsiteY4031" fmla="*/ 561160 h 6407421"/>
              <a:gd name="connsiteX4032" fmla="*/ 9276817 w 11701760"/>
              <a:gd name="connsiteY4032" fmla="*/ 531556 h 6407421"/>
              <a:gd name="connsiteX4033" fmla="*/ 9306420 w 11701760"/>
              <a:gd name="connsiteY4033" fmla="*/ 531556 h 6407421"/>
              <a:gd name="connsiteX4034" fmla="*/ 9306420 w 11701760"/>
              <a:gd name="connsiteY4034" fmla="*/ 561158 h 6407421"/>
              <a:gd name="connsiteX4035" fmla="*/ 9276817 w 11701760"/>
              <a:gd name="connsiteY4035" fmla="*/ 561158 h 6407421"/>
              <a:gd name="connsiteX4036" fmla="*/ 3429969 w 11701760"/>
              <a:gd name="connsiteY4036" fmla="*/ 531556 h 6407421"/>
              <a:gd name="connsiteX4037" fmla="*/ 3459572 w 11701760"/>
              <a:gd name="connsiteY4037" fmla="*/ 531556 h 6407421"/>
              <a:gd name="connsiteX4038" fmla="*/ 3459572 w 11701760"/>
              <a:gd name="connsiteY4038" fmla="*/ 561158 h 6407421"/>
              <a:gd name="connsiteX4039" fmla="*/ 3429969 w 11701760"/>
              <a:gd name="connsiteY4039" fmla="*/ 561158 h 6407421"/>
              <a:gd name="connsiteX4040" fmla="*/ 9010620 w 11701760"/>
              <a:gd name="connsiteY4040" fmla="*/ 531554 h 6407421"/>
              <a:gd name="connsiteX4041" fmla="*/ 9040222 w 11701760"/>
              <a:gd name="connsiteY4041" fmla="*/ 531554 h 6407421"/>
              <a:gd name="connsiteX4042" fmla="*/ 9040222 w 11701760"/>
              <a:gd name="connsiteY4042" fmla="*/ 561156 h 6407421"/>
              <a:gd name="connsiteX4043" fmla="*/ 9010620 w 11701760"/>
              <a:gd name="connsiteY4043" fmla="*/ 561156 h 6407421"/>
              <a:gd name="connsiteX4044" fmla="*/ 3163772 w 11701760"/>
              <a:gd name="connsiteY4044" fmla="*/ 531554 h 6407421"/>
              <a:gd name="connsiteX4045" fmla="*/ 3193374 w 11701760"/>
              <a:gd name="connsiteY4045" fmla="*/ 531554 h 6407421"/>
              <a:gd name="connsiteX4046" fmla="*/ 3193374 w 11701760"/>
              <a:gd name="connsiteY4046" fmla="*/ 561156 h 6407421"/>
              <a:gd name="connsiteX4047" fmla="*/ 3163772 w 11701760"/>
              <a:gd name="connsiteY4047" fmla="*/ 561156 h 6407421"/>
              <a:gd name="connsiteX4048" fmla="*/ 8744423 w 11701760"/>
              <a:gd name="connsiteY4048" fmla="*/ 531551 h 6407421"/>
              <a:gd name="connsiteX4049" fmla="*/ 8774026 w 11701760"/>
              <a:gd name="connsiteY4049" fmla="*/ 531551 h 6407421"/>
              <a:gd name="connsiteX4050" fmla="*/ 8774026 w 11701760"/>
              <a:gd name="connsiteY4050" fmla="*/ 561154 h 6407421"/>
              <a:gd name="connsiteX4051" fmla="*/ 8744423 w 11701760"/>
              <a:gd name="connsiteY4051" fmla="*/ 561154 h 6407421"/>
              <a:gd name="connsiteX4052" fmla="*/ 2897575 w 11701760"/>
              <a:gd name="connsiteY4052" fmla="*/ 531551 h 6407421"/>
              <a:gd name="connsiteX4053" fmla="*/ 2927178 w 11701760"/>
              <a:gd name="connsiteY4053" fmla="*/ 531551 h 6407421"/>
              <a:gd name="connsiteX4054" fmla="*/ 2927178 w 11701760"/>
              <a:gd name="connsiteY4054" fmla="*/ 561154 h 6407421"/>
              <a:gd name="connsiteX4055" fmla="*/ 2897575 w 11701760"/>
              <a:gd name="connsiteY4055" fmla="*/ 561154 h 6407421"/>
              <a:gd name="connsiteX4056" fmla="*/ 8478226 w 11701760"/>
              <a:gd name="connsiteY4056" fmla="*/ 531549 h 6407421"/>
              <a:gd name="connsiteX4057" fmla="*/ 8507828 w 11701760"/>
              <a:gd name="connsiteY4057" fmla="*/ 531549 h 6407421"/>
              <a:gd name="connsiteX4058" fmla="*/ 8507828 w 11701760"/>
              <a:gd name="connsiteY4058" fmla="*/ 561152 h 6407421"/>
              <a:gd name="connsiteX4059" fmla="*/ 8478226 w 11701760"/>
              <a:gd name="connsiteY4059" fmla="*/ 561152 h 6407421"/>
              <a:gd name="connsiteX4060" fmla="*/ 2631378 w 11701760"/>
              <a:gd name="connsiteY4060" fmla="*/ 531549 h 6407421"/>
              <a:gd name="connsiteX4061" fmla="*/ 2660980 w 11701760"/>
              <a:gd name="connsiteY4061" fmla="*/ 531549 h 6407421"/>
              <a:gd name="connsiteX4062" fmla="*/ 2660980 w 11701760"/>
              <a:gd name="connsiteY4062" fmla="*/ 561152 h 6407421"/>
              <a:gd name="connsiteX4063" fmla="*/ 2631378 w 11701760"/>
              <a:gd name="connsiteY4063" fmla="*/ 561152 h 6407421"/>
              <a:gd name="connsiteX4064" fmla="*/ 8212137 w 11701760"/>
              <a:gd name="connsiteY4064" fmla="*/ 531547 h 6407421"/>
              <a:gd name="connsiteX4065" fmla="*/ 8241740 w 11701760"/>
              <a:gd name="connsiteY4065" fmla="*/ 531547 h 6407421"/>
              <a:gd name="connsiteX4066" fmla="*/ 8241740 w 11701760"/>
              <a:gd name="connsiteY4066" fmla="*/ 561149 h 6407421"/>
              <a:gd name="connsiteX4067" fmla="*/ 8212137 w 11701760"/>
              <a:gd name="connsiteY4067" fmla="*/ 561149 h 6407421"/>
              <a:gd name="connsiteX4068" fmla="*/ 2365289 w 11701760"/>
              <a:gd name="connsiteY4068" fmla="*/ 531547 h 6407421"/>
              <a:gd name="connsiteX4069" fmla="*/ 2394892 w 11701760"/>
              <a:gd name="connsiteY4069" fmla="*/ 531547 h 6407421"/>
              <a:gd name="connsiteX4070" fmla="*/ 2394892 w 11701760"/>
              <a:gd name="connsiteY4070" fmla="*/ 561149 h 6407421"/>
              <a:gd name="connsiteX4071" fmla="*/ 2365289 w 11701760"/>
              <a:gd name="connsiteY4071" fmla="*/ 561149 h 6407421"/>
              <a:gd name="connsiteX4072" fmla="*/ 7945940 w 11701760"/>
              <a:gd name="connsiteY4072" fmla="*/ 531545 h 6407421"/>
              <a:gd name="connsiteX4073" fmla="*/ 7975543 w 11701760"/>
              <a:gd name="connsiteY4073" fmla="*/ 531545 h 6407421"/>
              <a:gd name="connsiteX4074" fmla="*/ 7975543 w 11701760"/>
              <a:gd name="connsiteY4074" fmla="*/ 561147 h 6407421"/>
              <a:gd name="connsiteX4075" fmla="*/ 7945940 w 11701760"/>
              <a:gd name="connsiteY4075" fmla="*/ 561147 h 6407421"/>
              <a:gd name="connsiteX4076" fmla="*/ 2099092 w 11701760"/>
              <a:gd name="connsiteY4076" fmla="*/ 531545 h 6407421"/>
              <a:gd name="connsiteX4077" fmla="*/ 2128695 w 11701760"/>
              <a:gd name="connsiteY4077" fmla="*/ 531545 h 6407421"/>
              <a:gd name="connsiteX4078" fmla="*/ 2128695 w 11701760"/>
              <a:gd name="connsiteY4078" fmla="*/ 561147 h 6407421"/>
              <a:gd name="connsiteX4079" fmla="*/ 2099092 w 11701760"/>
              <a:gd name="connsiteY4079" fmla="*/ 561147 h 6407421"/>
              <a:gd name="connsiteX4080" fmla="*/ 7679743 w 11701760"/>
              <a:gd name="connsiteY4080" fmla="*/ 531543 h 6407421"/>
              <a:gd name="connsiteX4081" fmla="*/ 7709346 w 11701760"/>
              <a:gd name="connsiteY4081" fmla="*/ 531543 h 6407421"/>
              <a:gd name="connsiteX4082" fmla="*/ 7709346 w 11701760"/>
              <a:gd name="connsiteY4082" fmla="*/ 561145 h 6407421"/>
              <a:gd name="connsiteX4083" fmla="*/ 7679743 w 11701760"/>
              <a:gd name="connsiteY4083" fmla="*/ 561145 h 6407421"/>
              <a:gd name="connsiteX4084" fmla="*/ 1832898 w 11701760"/>
              <a:gd name="connsiteY4084" fmla="*/ 531543 h 6407421"/>
              <a:gd name="connsiteX4085" fmla="*/ 1862498 w 11701760"/>
              <a:gd name="connsiteY4085" fmla="*/ 531543 h 6407421"/>
              <a:gd name="connsiteX4086" fmla="*/ 1862498 w 11701760"/>
              <a:gd name="connsiteY4086" fmla="*/ 561145 h 6407421"/>
              <a:gd name="connsiteX4087" fmla="*/ 1832898 w 11701760"/>
              <a:gd name="connsiteY4087" fmla="*/ 561145 h 6407421"/>
              <a:gd name="connsiteX4088" fmla="*/ 7413653 w 11701760"/>
              <a:gd name="connsiteY4088" fmla="*/ 531541 h 6407421"/>
              <a:gd name="connsiteX4089" fmla="*/ 7443256 w 11701760"/>
              <a:gd name="connsiteY4089" fmla="*/ 531541 h 6407421"/>
              <a:gd name="connsiteX4090" fmla="*/ 7443256 w 11701760"/>
              <a:gd name="connsiteY4090" fmla="*/ 561143 h 6407421"/>
              <a:gd name="connsiteX4091" fmla="*/ 7413653 w 11701760"/>
              <a:gd name="connsiteY4091" fmla="*/ 561143 h 6407421"/>
              <a:gd name="connsiteX4092" fmla="*/ 1566808 w 11701760"/>
              <a:gd name="connsiteY4092" fmla="*/ 531541 h 6407421"/>
              <a:gd name="connsiteX4093" fmla="*/ 1596409 w 11701760"/>
              <a:gd name="connsiteY4093" fmla="*/ 531541 h 6407421"/>
              <a:gd name="connsiteX4094" fmla="*/ 1596409 w 11701760"/>
              <a:gd name="connsiteY4094" fmla="*/ 561143 h 6407421"/>
              <a:gd name="connsiteX4095" fmla="*/ 1566808 w 11701760"/>
              <a:gd name="connsiteY4095" fmla="*/ 561143 h 6407421"/>
              <a:gd name="connsiteX4096" fmla="*/ 7147456 w 11701760"/>
              <a:gd name="connsiteY4096" fmla="*/ 531539 h 6407421"/>
              <a:gd name="connsiteX4097" fmla="*/ 7177058 w 11701760"/>
              <a:gd name="connsiteY4097" fmla="*/ 531539 h 6407421"/>
              <a:gd name="connsiteX4098" fmla="*/ 7177058 w 11701760"/>
              <a:gd name="connsiteY4098" fmla="*/ 561141 h 6407421"/>
              <a:gd name="connsiteX4099" fmla="*/ 7147456 w 11701760"/>
              <a:gd name="connsiteY4099" fmla="*/ 561141 h 6407421"/>
              <a:gd name="connsiteX4100" fmla="*/ 1300611 w 11701760"/>
              <a:gd name="connsiteY4100" fmla="*/ 531539 h 6407421"/>
              <a:gd name="connsiteX4101" fmla="*/ 1330213 w 11701760"/>
              <a:gd name="connsiteY4101" fmla="*/ 531539 h 6407421"/>
              <a:gd name="connsiteX4102" fmla="*/ 1330213 w 11701760"/>
              <a:gd name="connsiteY4102" fmla="*/ 561141 h 6407421"/>
              <a:gd name="connsiteX4103" fmla="*/ 1300611 w 11701760"/>
              <a:gd name="connsiteY4103" fmla="*/ 561141 h 6407421"/>
              <a:gd name="connsiteX4104" fmla="*/ 6881367 w 11701760"/>
              <a:gd name="connsiteY4104" fmla="*/ 531537 h 6407421"/>
              <a:gd name="connsiteX4105" fmla="*/ 6910970 w 11701760"/>
              <a:gd name="connsiteY4105" fmla="*/ 531537 h 6407421"/>
              <a:gd name="connsiteX4106" fmla="*/ 6910970 w 11701760"/>
              <a:gd name="connsiteY4106" fmla="*/ 561139 h 6407421"/>
              <a:gd name="connsiteX4107" fmla="*/ 6881367 w 11701760"/>
              <a:gd name="connsiteY4107" fmla="*/ 561139 h 6407421"/>
              <a:gd name="connsiteX4108" fmla="*/ 1034520 w 11701760"/>
              <a:gd name="connsiteY4108" fmla="*/ 531537 h 6407421"/>
              <a:gd name="connsiteX4109" fmla="*/ 1064123 w 11701760"/>
              <a:gd name="connsiteY4109" fmla="*/ 531537 h 6407421"/>
              <a:gd name="connsiteX4110" fmla="*/ 1064123 w 11701760"/>
              <a:gd name="connsiteY4110" fmla="*/ 561139 h 6407421"/>
              <a:gd name="connsiteX4111" fmla="*/ 1034520 w 11701760"/>
              <a:gd name="connsiteY4111" fmla="*/ 561139 h 6407421"/>
              <a:gd name="connsiteX4112" fmla="*/ 6615170 w 11701760"/>
              <a:gd name="connsiteY4112" fmla="*/ 531534 h 6407421"/>
              <a:gd name="connsiteX4113" fmla="*/ 6644773 w 11701760"/>
              <a:gd name="connsiteY4113" fmla="*/ 531534 h 6407421"/>
              <a:gd name="connsiteX4114" fmla="*/ 6644773 w 11701760"/>
              <a:gd name="connsiteY4114" fmla="*/ 561137 h 6407421"/>
              <a:gd name="connsiteX4115" fmla="*/ 6615170 w 11701760"/>
              <a:gd name="connsiteY4115" fmla="*/ 561137 h 6407421"/>
              <a:gd name="connsiteX4116" fmla="*/ 768326 w 11701760"/>
              <a:gd name="connsiteY4116" fmla="*/ 531534 h 6407421"/>
              <a:gd name="connsiteX4117" fmla="*/ 797926 w 11701760"/>
              <a:gd name="connsiteY4117" fmla="*/ 531534 h 6407421"/>
              <a:gd name="connsiteX4118" fmla="*/ 797926 w 11701760"/>
              <a:gd name="connsiteY4118" fmla="*/ 561137 h 6407421"/>
              <a:gd name="connsiteX4119" fmla="*/ 768326 w 11701760"/>
              <a:gd name="connsiteY4119" fmla="*/ 561137 h 6407421"/>
              <a:gd name="connsiteX4120" fmla="*/ 6349081 w 11701760"/>
              <a:gd name="connsiteY4120" fmla="*/ 531532 h 6407421"/>
              <a:gd name="connsiteX4121" fmla="*/ 6378683 w 11701760"/>
              <a:gd name="connsiteY4121" fmla="*/ 531532 h 6407421"/>
              <a:gd name="connsiteX4122" fmla="*/ 6378683 w 11701760"/>
              <a:gd name="connsiteY4122" fmla="*/ 561135 h 6407421"/>
              <a:gd name="connsiteX4123" fmla="*/ 6349081 w 11701760"/>
              <a:gd name="connsiteY4123" fmla="*/ 561135 h 6407421"/>
              <a:gd name="connsiteX4124" fmla="*/ 502235 w 11701760"/>
              <a:gd name="connsiteY4124" fmla="*/ 531532 h 6407421"/>
              <a:gd name="connsiteX4125" fmla="*/ 531838 w 11701760"/>
              <a:gd name="connsiteY4125" fmla="*/ 531532 h 6407421"/>
              <a:gd name="connsiteX4126" fmla="*/ 531838 w 11701760"/>
              <a:gd name="connsiteY4126" fmla="*/ 561135 h 6407421"/>
              <a:gd name="connsiteX4127" fmla="*/ 502235 w 11701760"/>
              <a:gd name="connsiteY4127" fmla="*/ 561135 h 6407421"/>
              <a:gd name="connsiteX4128" fmla="*/ 6082884 w 11701760"/>
              <a:gd name="connsiteY4128" fmla="*/ 531530 h 6407421"/>
              <a:gd name="connsiteX4129" fmla="*/ 6112486 w 11701760"/>
              <a:gd name="connsiteY4129" fmla="*/ 531530 h 6407421"/>
              <a:gd name="connsiteX4130" fmla="*/ 6112486 w 11701760"/>
              <a:gd name="connsiteY4130" fmla="*/ 561133 h 6407421"/>
              <a:gd name="connsiteX4131" fmla="*/ 6082884 w 11701760"/>
              <a:gd name="connsiteY4131" fmla="*/ 561133 h 6407421"/>
              <a:gd name="connsiteX4132" fmla="*/ 236036 w 11701760"/>
              <a:gd name="connsiteY4132" fmla="*/ 531530 h 6407421"/>
              <a:gd name="connsiteX4133" fmla="*/ 265639 w 11701760"/>
              <a:gd name="connsiteY4133" fmla="*/ 531530 h 6407421"/>
              <a:gd name="connsiteX4134" fmla="*/ 265639 w 11701760"/>
              <a:gd name="connsiteY4134" fmla="*/ 561133 h 6407421"/>
              <a:gd name="connsiteX4135" fmla="*/ 236036 w 11701760"/>
              <a:gd name="connsiteY4135" fmla="*/ 561133 h 6407421"/>
              <a:gd name="connsiteX4136" fmla="*/ 0 w 11701760"/>
              <a:gd name="connsiteY4136" fmla="*/ 531530 h 6407421"/>
              <a:gd name="connsiteX4137" fmla="*/ 29602 w 11701760"/>
              <a:gd name="connsiteY4137" fmla="*/ 531530 h 6407421"/>
              <a:gd name="connsiteX4138" fmla="*/ 29602 w 11701760"/>
              <a:gd name="connsiteY4138" fmla="*/ 561133 h 6407421"/>
              <a:gd name="connsiteX4139" fmla="*/ 0 w 11701760"/>
              <a:gd name="connsiteY4139" fmla="*/ 561133 h 6407421"/>
              <a:gd name="connsiteX4140" fmla="*/ 11672158 w 11701760"/>
              <a:gd name="connsiteY4140" fmla="*/ 265811 h 6407421"/>
              <a:gd name="connsiteX4141" fmla="*/ 11701760 w 11701760"/>
              <a:gd name="connsiteY4141" fmla="*/ 265811 h 6407421"/>
              <a:gd name="connsiteX4142" fmla="*/ 11701760 w 11701760"/>
              <a:gd name="connsiteY4142" fmla="*/ 295414 h 6407421"/>
              <a:gd name="connsiteX4143" fmla="*/ 11672158 w 11701760"/>
              <a:gd name="connsiteY4143" fmla="*/ 295414 h 6407421"/>
              <a:gd name="connsiteX4144" fmla="*/ 5825310 w 11701760"/>
              <a:gd name="connsiteY4144" fmla="*/ 265811 h 6407421"/>
              <a:gd name="connsiteX4145" fmla="*/ 5854913 w 11701760"/>
              <a:gd name="connsiteY4145" fmla="*/ 265811 h 6407421"/>
              <a:gd name="connsiteX4146" fmla="*/ 5854913 w 11701760"/>
              <a:gd name="connsiteY4146" fmla="*/ 295414 h 6407421"/>
              <a:gd name="connsiteX4147" fmla="*/ 5825310 w 11701760"/>
              <a:gd name="connsiteY4147" fmla="*/ 295414 h 6407421"/>
              <a:gd name="connsiteX4148" fmla="*/ 11405961 w 11701760"/>
              <a:gd name="connsiteY4148" fmla="*/ 265809 h 6407421"/>
              <a:gd name="connsiteX4149" fmla="*/ 11435563 w 11701760"/>
              <a:gd name="connsiteY4149" fmla="*/ 265809 h 6407421"/>
              <a:gd name="connsiteX4150" fmla="*/ 11435563 w 11701760"/>
              <a:gd name="connsiteY4150" fmla="*/ 295412 h 6407421"/>
              <a:gd name="connsiteX4151" fmla="*/ 11405961 w 11701760"/>
              <a:gd name="connsiteY4151" fmla="*/ 295412 h 6407421"/>
              <a:gd name="connsiteX4152" fmla="*/ 5559113 w 11701760"/>
              <a:gd name="connsiteY4152" fmla="*/ 265809 h 6407421"/>
              <a:gd name="connsiteX4153" fmla="*/ 5588715 w 11701760"/>
              <a:gd name="connsiteY4153" fmla="*/ 265809 h 6407421"/>
              <a:gd name="connsiteX4154" fmla="*/ 5588715 w 11701760"/>
              <a:gd name="connsiteY4154" fmla="*/ 295412 h 6407421"/>
              <a:gd name="connsiteX4155" fmla="*/ 5559113 w 11701760"/>
              <a:gd name="connsiteY4155" fmla="*/ 295412 h 6407421"/>
              <a:gd name="connsiteX4156" fmla="*/ 11139872 w 11701760"/>
              <a:gd name="connsiteY4156" fmla="*/ 265807 h 6407421"/>
              <a:gd name="connsiteX4157" fmla="*/ 11169474 w 11701760"/>
              <a:gd name="connsiteY4157" fmla="*/ 265807 h 6407421"/>
              <a:gd name="connsiteX4158" fmla="*/ 11169474 w 11701760"/>
              <a:gd name="connsiteY4158" fmla="*/ 295409 h 6407421"/>
              <a:gd name="connsiteX4159" fmla="*/ 11139872 w 11701760"/>
              <a:gd name="connsiteY4159" fmla="*/ 295409 h 6407421"/>
              <a:gd name="connsiteX4160" fmla="*/ 5293024 w 11701760"/>
              <a:gd name="connsiteY4160" fmla="*/ 265807 h 6407421"/>
              <a:gd name="connsiteX4161" fmla="*/ 5322626 w 11701760"/>
              <a:gd name="connsiteY4161" fmla="*/ 265807 h 6407421"/>
              <a:gd name="connsiteX4162" fmla="*/ 5322626 w 11701760"/>
              <a:gd name="connsiteY4162" fmla="*/ 295409 h 6407421"/>
              <a:gd name="connsiteX4163" fmla="*/ 5293024 w 11701760"/>
              <a:gd name="connsiteY4163" fmla="*/ 295409 h 6407421"/>
              <a:gd name="connsiteX4164" fmla="*/ 10873675 w 11701760"/>
              <a:gd name="connsiteY4164" fmla="*/ 265805 h 6407421"/>
              <a:gd name="connsiteX4165" fmla="*/ 10903277 w 11701760"/>
              <a:gd name="connsiteY4165" fmla="*/ 265805 h 6407421"/>
              <a:gd name="connsiteX4166" fmla="*/ 10903277 w 11701760"/>
              <a:gd name="connsiteY4166" fmla="*/ 295407 h 6407421"/>
              <a:gd name="connsiteX4167" fmla="*/ 10873675 w 11701760"/>
              <a:gd name="connsiteY4167" fmla="*/ 295407 h 6407421"/>
              <a:gd name="connsiteX4168" fmla="*/ 5026827 w 11701760"/>
              <a:gd name="connsiteY4168" fmla="*/ 265805 h 6407421"/>
              <a:gd name="connsiteX4169" fmla="*/ 5056429 w 11701760"/>
              <a:gd name="connsiteY4169" fmla="*/ 265805 h 6407421"/>
              <a:gd name="connsiteX4170" fmla="*/ 5056429 w 11701760"/>
              <a:gd name="connsiteY4170" fmla="*/ 295407 h 6407421"/>
              <a:gd name="connsiteX4171" fmla="*/ 5026827 w 11701760"/>
              <a:gd name="connsiteY4171" fmla="*/ 295407 h 6407421"/>
              <a:gd name="connsiteX4172" fmla="*/ 10607478 w 11701760"/>
              <a:gd name="connsiteY4172" fmla="*/ 265803 h 6407421"/>
              <a:gd name="connsiteX4173" fmla="*/ 10637188 w 11701760"/>
              <a:gd name="connsiteY4173" fmla="*/ 265803 h 6407421"/>
              <a:gd name="connsiteX4174" fmla="*/ 10637188 w 11701760"/>
              <a:gd name="connsiteY4174" fmla="*/ 295405 h 6407421"/>
              <a:gd name="connsiteX4175" fmla="*/ 10607478 w 11701760"/>
              <a:gd name="connsiteY4175" fmla="*/ 295405 h 6407421"/>
              <a:gd name="connsiteX4176" fmla="*/ 4760630 w 11701760"/>
              <a:gd name="connsiteY4176" fmla="*/ 265803 h 6407421"/>
              <a:gd name="connsiteX4177" fmla="*/ 4790340 w 11701760"/>
              <a:gd name="connsiteY4177" fmla="*/ 265803 h 6407421"/>
              <a:gd name="connsiteX4178" fmla="*/ 4790340 w 11701760"/>
              <a:gd name="connsiteY4178" fmla="*/ 295405 h 6407421"/>
              <a:gd name="connsiteX4179" fmla="*/ 4760630 w 11701760"/>
              <a:gd name="connsiteY4179" fmla="*/ 295405 h 6407421"/>
              <a:gd name="connsiteX4180" fmla="*/ 10341389 w 11701760"/>
              <a:gd name="connsiteY4180" fmla="*/ 265800 h 6407421"/>
              <a:gd name="connsiteX4181" fmla="*/ 10370992 w 11701760"/>
              <a:gd name="connsiteY4181" fmla="*/ 265800 h 6407421"/>
              <a:gd name="connsiteX4182" fmla="*/ 10370992 w 11701760"/>
              <a:gd name="connsiteY4182" fmla="*/ 295403 h 6407421"/>
              <a:gd name="connsiteX4183" fmla="*/ 10341389 w 11701760"/>
              <a:gd name="connsiteY4183" fmla="*/ 295403 h 6407421"/>
              <a:gd name="connsiteX4184" fmla="*/ 4494541 w 11701760"/>
              <a:gd name="connsiteY4184" fmla="*/ 265800 h 6407421"/>
              <a:gd name="connsiteX4185" fmla="*/ 4524144 w 11701760"/>
              <a:gd name="connsiteY4185" fmla="*/ 265800 h 6407421"/>
              <a:gd name="connsiteX4186" fmla="*/ 4524144 w 11701760"/>
              <a:gd name="connsiteY4186" fmla="*/ 295403 h 6407421"/>
              <a:gd name="connsiteX4187" fmla="*/ 4494541 w 11701760"/>
              <a:gd name="connsiteY4187" fmla="*/ 295403 h 6407421"/>
              <a:gd name="connsiteX4188" fmla="*/ 10075192 w 11701760"/>
              <a:gd name="connsiteY4188" fmla="*/ 265798 h 6407421"/>
              <a:gd name="connsiteX4189" fmla="*/ 10104794 w 11701760"/>
              <a:gd name="connsiteY4189" fmla="*/ 265798 h 6407421"/>
              <a:gd name="connsiteX4190" fmla="*/ 10104794 w 11701760"/>
              <a:gd name="connsiteY4190" fmla="*/ 295401 h 6407421"/>
              <a:gd name="connsiteX4191" fmla="*/ 10075192 w 11701760"/>
              <a:gd name="connsiteY4191" fmla="*/ 295401 h 6407421"/>
              <a:gd name="connsiteX4192" fmla="*/ 4228344 w 11701760"/>
              <a:gd name="connsiteY4192" fmla="*/ 265798 h 6407421"/>
              <a:gd name="connsiteX4193" fmla="*/ 4257946 w 11701760"/>
              <a:gd name="connsiteY4193" fmla="*/ 265798 h 6407421"/>
              <a:gd name="connsiteX4194" fmla="*/ 4257946 w 11701760"/>
              <a:gd name="connsiteY4194" fmla="*/ 295401 h 6407421"/>
              <a:gd name="connsiteX4195" fmla="*/ 4228344 w 11701760"/>
              <a:gd name="connsiteY4195" fmla="*/ 295401 h 6407421"/>
              <a:gd name="connsiteX4196" fmla="*/ 9809103 w 11701760"/>
              <a:gd name="connsiteY4196" fmla="*/ 265796 h 6407421"/>
              <a:gd name="connsiteX4197" fmla="*/ 9838705 w 11701760"/>
              <a:gd name="connsiteY4197" fmla="*/ 265796 h 6407421"/>
              <a:gd name="connsiteX4198" fmla="*/ 9838705 w 11701760"/>
              <a:gd name="connsiteY4198" fmla="*/ 295398 h 6407421"/>
              <a:gd name="connsiteX4199" fmla="*/ 9809103 w 11701760"/>
              <a:gd name="connsiteY4199" fmla="*/ 295398 h 6407421"/>
              <a:gd name="connsiteX4200" fmla="*/ 3962255 w 11701760"/>
              <a:gd name="connsiteY4200" fmla="*/ 265796 h 6407421"/>
              <a:gd name="connsiteX4201" fmla="*/ 3991857 w 11701760"/>
              <a:gd name="connsiteY4201" fmla="*/ 265796 h 6407421"/>
              <a:gd name="connsiteX4202" fmla="*/ 3991857 w 11701760"/>
              <a:gd name="connsiteY4202" fmla="*/ 295398 h 6407421"/>
              <a:gd name="connsiteX4203" fmla="*/ 3962255 w 11701760"/>
              <a:gd name="connsiteY4203" fmla="*/ 295398 h 6407421"/>
              <a:gd name="connsiteX4204" fmla="*/ 9542906 w 11701760"/>
              <a:gd name="connsiteY4204" fmla="*/ 265794 h 6407421"/>
              <a:gd name="connsiteX4205" fmla="*/ 9572509 w 11701760"/>
              <a:gd name="connsiteY4205" fmla="*/ 265794 h 6407421"/>
              <a:gd name="connsiteX4206" fmla="*/ 9572509 w 11701760"/>
              <a:gd name="connsiteY4206" fmla="*/ 295396 h 6407421"/>
              <a:gd name="connsiteX4207" fmla="*/ 9542906 w 11701760"/>
              <a:gd name="connsiteY4207" fmla="*/ 295396 h 6407421"/>
              <a:gd name="connsiteX4208" fmla="*/ 3696058 w 11701760"/>
              <a:gd name="connsiteY4208" fmla="*/ 265794 h 6407421"/>
              <a:gd name="connsiteX4209" fmla="*/ 3725661 w 11701760"/>
              <a:gd name="connsiteY4209" fmla="*/ 265794 h 6407421"/>
              <a:gd name="connsiteX4210" fmla="*/ 3725661 w 11701760"/>
              <a:gd name="connsiteY4210" fmla="*/ 295396 h 6407421"/>
              <a:gd name="connsiteX4211" fmla="*/ 3696058 w 11701760"/>
              <a:gd name="connsiteY4211" fmla="*/ 295396 h 6407421"/>
              <a:gd name="connsiteX4212" fmla="*/ 9276817 w 11701760"/>
              <a:gd name="connsiteY4212" fmla="*/ 265792 h 6407421"/>
              <a:gd name="connsiteX4213" fmla="*/ 9306420 w 11701760"/>
              <a:gd name="connsiteY4213" fmla="*/ 265792 h 6407421"/>
              <a:gd name="connsiteX4214" fmla="*/ 9306420 w 11701760"/>
              <a:gd name="connsiteY4214" fmla="*/ 295394 h 6407421"/>
              <a:gd name="connsiteX4215" fmla="*/ 9276817 w 11701760"/>
              <a:gd name="connsiteY4215" fmla="*/ 295394 h 6407421"/>
              <a:gd name="connsiteX4216" fmla="*/ 3429969 w 11701760"/>
              <a:gd name="connsiteY4216" fmla="*/ 265792 h 6407421"/>
              <a:gd name="connsiteX4217" fmla="*/ 3459572 w 11701760"/>
              <a:gd name="connsiteY4217" fmla="*/ 265792 h 6407421"/>
              <a:gd name="connsiteX4218" fmla="*/ 3459572 w 11701760"/>
              <a:gd name="connsiteY4218" fmla="*/ 295394 h 6407421"/>
              <a:gd name="connsiteX4219" fmla="*/ 3429969 w 11701760"/>
              <a:gd name="connsiteY4219" fmla="*/ 295394 h 6407421"/>
              <a:gd name="connsiteX4220" fmla="*/ 9010620 w 11701760"/>
              <a:gd name="connsiteY4220" fmla="*/ 265789 h 6407421"/>
              <a:gd name="connsiteX4221" fmla="*/ 9040222 w 11701760"/>
              <a:gd name="connsiteY4221" fmla="*/ 265789 h 6407421"/>
              <a:gd name="connsiteX4222" fmla="*/ 9040222 w 11701760"/>
              <a:gd name="connsiteY4222" fmla="*/ 295392 h 6407421"/>
              <a:gd name="connsiteX4223" fmla="*/ 9010620 w 11701760"/>
              <a:gd name="connsiteY4223" fmla="*/ 295392 h 6407421"/>
              <a:gd name="connsiteX4224" fmla="*/ 3163772 w 11701760"/>
              <a:gd name="connsiteY4224" fmla="*/ 265789 h 6407421"/>
              <a:gd name="connsiteX4225" fmla="*/ 3193374 w 11701760"/>
              <a:gd name="connsiteY4225" fmla="*/ 265789 h 6407421"/>
              <a:gd name="connsiteX4226" fmla="*/ 3193374 w 11701760"/>
              <a:gd name="connsiteY4226" fmla="*/ 295392 h 6407421"/>
              <a:gd name="connsiteX4227" fmla="*/ 3163772 w 11701760"/>
              <a:gd name="connsiteY4227" fmla="*/ 295392 h 6407421"/>
              <a:gd name="connsiteX4228" fmla="*/ 8744423 w 11701760"/>
              <a:gd name="connsiteY4228" fmla="*/ 265787 h 6407421"/>
              <a:gd name="connsiteX4229" fmla="*/ 8774026 w 11701760"/>
              <a:gd name="connsiteY4229" fmla="*/ 265787 h 6407421"/>
              <a:gd name="connsiteX4230" fmla="*/ 8774026 w 11701760"/>
              <a:gd name="connsiteY4230" fmla="*/ 295390 h 6407421"/>
              <a:gd name="connsiteX4231" fmla="*/ 8744423 w 11701760"/>
              <a:gd name="connsiteY4231" fmla="*/ 295390 h 6407421"/>
              <a:gd name="connsiteX4232" fmla="*/ 2897575 w 11701760"/>
              <a:gd name="connsiteY4232" fmla="*/ 265787 h 6407421"/>
              <a:gd name="connsiteX4233" fmla="*/ 2927178 w 11701760"/>
              <a:gd name="connsiteY4233" fmla="*/ 265787 h 6407421"/>
              <a:gd name="connsiteX4234" fmla="*/ 2927178 w 11701760"/>
              <a:gd name="connsiteY4234" fmla="*/ 295390 h 6407421"/>
              <a:gd name="connsiteX4235" fmla="*/ 2897575 w 11701760"/>
              <a:gd name="connsiteY4235" fmla="*/ 295390 h 6407421"/>
              <a:gd name="connsiteX4236" fmla="*/ 8478226 w 11701760"/>
              <a:gd name="connsiteY4236" fmla="*/ 265785 h 6407421"/>
              <a:gd name="connsiteX4237" fmla="*/ 8507828 w 11701760"/>
              <a:gd name="connsiteY4237" fmla="*/ 265785 h 6407421"/>
              <a:gd name="connsiteX4238" fmla="*/ 8507828 w 11701760"/>
              <a:gd name="connsiteY4238" fmla="*/ 295387 h 6407421"/>
              <a:gd name="connsiteX4239" fmla="*/ 8478226 w 11701760"/>
              <a:gd name="connsiteY4239" fmla="*/ 295387 h 6407421"/>
              <a:gd name="connsiteX4240" fmla="*/ 2631378 w 11701760"/>
              <a:gd name="connsiteY4240" fmla="*/ 265785 h 6407421"/>
              <a:gd name="connsiteX4241" fmla="*/ 2660980 w 11701760"/>
              <a:gd name="connsiteY4241" fmla="*/ 265785 h 6407421"/>
              <a:gd name="connsiteX4242" fmla="*/ 2660980 w 11701760"/>
              <a:gd name="connsiteY4242" fmla="*/ 295387 h 6407421"/>
              <a:gd name="connsiteX4243" fmla="*/ 2631378 w 11701760"/>
              <a:gd name="connsiteY4243" fmla="*/ 295387 h 6407421"/>
              <a:gd name="connsiteX4244" fmla="*/ 8212137 w 11701760"/>
              <a:gd name="connsiteY4244" fmla="*/ 265783 h 6407421"/>
              <a:gd name="connsiteX4245" fmla="*/ 8241740 w 11701760"/>
              <a:gd name="connsiteY4245" fmla="*/ 265783 h 6407421"/>
              <a:gd name="connsiteX4246" fmla="*/ 8241740 w 11701760"/>
              <a:gd name="connsiteY4246" fmla="*/ 295385 h 6407421"/>
              <a:gd name="connsiteX4247" fmla="*/ 8212137 w 11701760"/>
              <a:gd name="connsiteY4247" fmla="*/ 295385 h 6407421"/>
              <a:gd name="connsiteX4248" fmla="*/ 2365289 w 11701760"/>
              <a:gd name="connsiteY4248" fmla="*/ 265783 h 6407421"/>
              <a:gd name="connsiteX4249" fmla="*/ 2394892 w 11701760"/>
              <a:gd name="connsiteY4249" fmla="*/ 265783 h 6407421"/>
              <a:gd name="connsiteX4250" fmla="*/ 2394892 w 11701760"/>
              <a:gd name="connsiteY4250" fmla="*/ 295385 h 6407421"/>
              <a:gd name="connsiteX4251" fmla="*/ 2365289 w 11701760"/>
              <a:gd name="connsiteY4251" fmla="*/ 295385 h 6407421"/>
              <a:gd name="connsiteX4252" fmla="*/ 7945940 w 11701760"/>
              <a:gd name="connsiteY4252" fmla="*/ 265781 h 6407421"/>
              <a:gd name="connsiteX4253" fmla="*/ 7975543 w 11701760"/>
              <a:gd name="connsiteY4253" fmla="*/ 265781 h 6407421"/>
              <a:gd name="connsiteX4254" fmla="*/ 7975543 w 11701760"/>
              <a:gd name="connsiteY4254" fmla="*/ 295383 h 6407421"/>
              <a:gd name="connsiteX4255" fmla="*/ 7945940 w 11701760"/>
              <a:gd name="connsiteY4255" fmla="*/ 295383 h 6407421"/>
              <a:gd name="connsiteX4256" fmla="*/ 2099092 w 11701760"/>
              <a:gd name="connsiteY4256" fmla="*/ 265781 h 6407421"/>
              <a:gd name="connsiteX4257" fmla="*/ 2128695 w 11701760"/>
              <a:gd name="connsiteY4257" fmla="*/ 265781 h 6407421"/>
              <a:gd name="connsiteX4258" fmla="*/ 2128695 w 11701760"/>
              <a:gd name="connsiteY4258" fmla="*/ 295383 h 6407421"/>
              <a:gd name="connsiteX4259" fmla="*/ 2099092 w 11701760"/>
              <a:gd name="connsiteY4259" fmla="*/ 295383 h 6407421"/>
              <a:gd name="connsiteX4260" fmla="*/ 7679743 w 11701760"/>
              <a:gd name="connsiteY4260" fmla="*/ 265778 h 6407421"/>
              <a:gd name="connsiteX4261" fmla="*/ 7709346 w 11701760"/>
              <a:gd name="connsiteY4261" fmla="*/ 265778 h 6407421"/>
              <a:gd name="connsiteX4262" fmla="*/ 7709346 w 11701760"/>
              <a:gd name="connsiteY4262" fmla="*/ 295381 h 6407421"/>
              <a:gd name="connsiteX4263" fmla="*/ 7679743 w 11701760"/>
              <a:gd name="connsiteY4263" fmla="*/ 295381 h 6407421"/>
              <a:gd name="connsiteX4264" fmla="*/ 1832898 w 11701760"/>
              <a:gd name="connsiteY4264" fmla="*/ 265778 h 6407421"/>
              <a:gd name="connsiteX4265" fmla="*/ 1862498 w 11701760"/>
              <a:gd name="connsiteY4265" fmla="*/ 265778 h 6407421"/>
              <a:gd name="connsiteX4266" fmla="*/ 1862498 w 11701760"/>
              <a:gd name="connsiteY4266" fmla="*/ 295381 h 6407421"/>
              <a:gd name="connsiteX4267" fmla="*/ 1832898 w 11701760"/>
              <a:gd name="connsiteY4267" fmla="*/ 295381 h 6407421"/>
              <a:gd name="connsiteX4268" fmla="*/ 7413653 w 11701760"/>
              <a:gd name="connsiteY4268" fmla="*/ 265776 h 6407421"/>
              <a:gd name="connsiteX4269" fmla="*/ 7443256 w 11701760"/>
              <a:gd name="connsiteY4269" fmla="*/ 265776 h 6407421"/>
              <a:gd name="connsiteX4270" fmla="*/ 7443256 w 11701760"/>
              <a:gd name="connsiteY4270" fmla="*/ 295379 h 6407421"/>
              <a:gd name="connsiteX4271" fmla="*/ 7413653 w 11701760"/>
              <a:gd name="connsiteY4271" fmla="*/ 295379 h 6407421"/>
              <a:gd name="connsiteX4272" fmla="*/ 1566808 w 11701760"/>
              <a:gd name="connsiteY4272" fmla="*/ 265776 h 6407421"/>
              <a:gd name="connsiteX4273" fmla="*/ 1596409 w 11701760"/>
              <a:gd name="connsiteY4273" fmla="*/ 265776 h 6407421"/>
              <a:gd name="connsiteX4274" fmla="*/ 1596409 w 11701760"/>
              <a:gd name="connsiteY4274" fmla="*/ 295379 h 6407421"/>
              <a:gd name="connsiteX4275" fmla="*/ 1566808 w 11701760"/>
              <a:gd name="connsiteY4275" fmla="*/ 295379 h 6407421"/>
              <a:gd name="connsiteX4276" fmla="*/ 7147456 w 11701760"/>
              <a:gd name="connsiteY4276" fmla="*/ 265774 h 6407421"/>
              <a:gd name="connsiteX4277" fmla="*/ 7177058 w 11701760"/>
              <a:gd name="connsiteY4277" fmla="*/ 265774 h 6407421"/>
              <a:gd name="connsiteX4278" fmla="*/ 7177058 w 11701760"/>
              <a:gd name="connsiteY4278" fmla="*/ 295376 h 6407421"/>
              <a:gd name="connsiteX4279" fmla="*/ 7147456 w 11701760"/>
              <a:gd name="connsiteY4279" fmla="*/ 295376 h 6407421"/>
              <a:gd name="connsiteX4280" fmla="*/ 1300611 w 11701760"/>
              <a:gd name="connsiteY4280" fmla="*/ 265774 h 6407421"/>
              <a:gd name="connsiteX4281" fmla="*/ 1330213 w 11701760"/>
              <a:gd name="connsiteY4281" fmla="*/ 265774 h 6407421"/>
              <a:gd name="connsiteX4282" fmla="*/ 1330213 w 11701760"/>
              <a:gd name="connsiteY4282" fmla="*/ 295376 h 6407421"/>
              <a:gd name="connsiteX4283" fmla="*/ 1300611 w 11701760"/>
              <a:gd name="connsiteY4283" fmla="*/ 295376 h 6407421"/>
              <a:gd name="connsiteX4284" fmla="*/ 6881367 w 11701760"/>
              <a:gd name="connsiteY4284" fmla="*/ 265772 h 6407421"/>
              <a:gd name="connsiteX4285" fmla="*/ 6910970 w 11701760"/>
              <a:gd name="connsiteY4285" fmla="*/ 265772 h 6407421"/>
              <a:gd name="connsiteX4286" fmla="*/ 6910970 w 11701760"/>
              <a:gd name="connsiteY4286" fmla="*/ 295374 h 6407421"/>
              <a:gd name="connsiteX4287" fmla="*/ 6881367 w 11701760"/>
              <a:gd name="connsiteY4287" fmla="*/ 295374 h 6407421"/>
              <a:gd name="connsiteX4288" fmla="*/ 1034520 w 11701760"/>
              <a:gd name="connsiteY4288" fmla="*/ 265772 h 6407421"/>
              <a:gd name="connsiteX4289" fmla="*/ 1064123 w 11701760"/>
              <a:gd name="connsiteY4289" fmla="*/ 265772 h 6407421"/>
              <a:gd name="connsiteX4290" fmla="*/ 1064123 w 11701760"/>
              <a:gd name="connsiteY4290" fmla="*/ 295374 h 6407421"/>
              <a:gd name="connsiteX4291" fmla="*/ 1034520 w 11701760"/>
              <a:gd name="connsiteY4291" fmla="*/ 295374 h 6407421"/>
              <a:gd name="connsiteX4292" fmla="*/ 6615170 w 11701760"/>
              <a:gd name="connsiteY4292" fmla="*/ 265770 h 6407421"/>
              <a:gd name="connsiteX4293" fmla="*/ 6644773 w 11701760"/>
              <a:gd name="connsiteY4293" fmla="*/ 265770 h 6407421"/>
              <a:gd name="connsiteX4294" fmla="*/ 6644773 w 11701760"/>
              <a:gd name="connsiteY4294" fmla="*/ 295372 h 6407421"/>
              <a:gd name="connsiteX4295" fmla="*/ 6615170 w 11701760"/>
              <a:gd name="connsiteY4295" fmla="*/ 295372 h 6407421"/>
              <a:gd name="connsiteX4296" fmla="*/ 768326 w 11701760"/>
              <a:gd name="connsiteY4296" fmla="*/ 265770 h 6407421"/>
              <a:gd name="connsiteX4297" fmla="*/ 797926 w 11701760"/>
              <a:gd name="connsiteY4297" fmla="*/ 265770 h 6407421"/>
              <a:gd name="connsiteX4298" fmla="*/ 797926 w 11701760"/>
              <a:gd name="connsiteY4298" fmla="*/ 295372 h 6407421"/>
              <a:gd name="connsiteX4299" fmla="*/ 768326 w 11701760"/>
              <a:gd name="connsiteY4299" fmla="*/ 295372 h 6407421"/>
              <a:gd name="connsiteX4300" fmla="*/ 6349081 w 11701760"/>
              <a:gd name="connsiteY4300" fmla="*/ 265767 h 6407421"/>
              <a:gd name="connsiteX4301" fmla="*/ 6378683 w 11701760"/>
              <a:gd name="connsiteY4301" fmla="*/ 265767 h 6407421"/>
              <a:gd name="connsiteX4302" fmla="*/ 6378683 w 11701760"/>
              <a:gd name="connsiteY4302" fmla="*/ 295370 h 6407421"/>
              <a:gd name="connsiteX4303" fmla="*/ 6349081 w 11701760"/>
              <a:gd name="connsiteY4303" fmla="*/ 295370 h 6407421"/>
              <a:gd name="connsiteX4304" fmla="*/ 502235 w 11701760"/>
              <a:gd name="connsiteY4304" fmla="*/ 265767 h 6407421"/>
              <a:gd name="connsiteX4305" fmla="*/ 531838 w 11701760"/>
              <a:gd name="connsiteY4305" fmla="*/ 265767 h 6407421"/>
              <a:gd name="connsiteX4306" fmla="*/ 531838 w 11701760"/>
              <a:gd name="connsiteY4306" fmla="*/ 295370 h 6407421"/>
              <a:gd name="connsiteX4307" fmla="*/ 502235 w 11701760"/>
              <a:gd name="connsiteY4307" fmla="*/ 295370 h 6407421"/>
              <a:gd name="connsiteX4308" fmla="*/ 6082884 w 11701760"/>
              <a:gd name="connsiteY4308" fmla="*/ 265765 h 6407421"/>
              <a:gd name="connsiteX4309" fmla="*/ 6112486 w 11701760"/>
              <a:gd name="connsiteY4309" fmla="*/ 265765 h 6407421"/>
              <a:gd name="connsiteX4310" fmla="*/ 6112486 w 11701760"/>
              <a:gd name="connsiteY4310" fmla="*/ 295368 h 6407421"/>
              <a:gd name="connsiteX4311" fmla="*/ 6082884 w 11701760"/>
              <a:gd name="connsiteY4311" fmla="*/ 295368 h 6407421"/>
              <a:gd name="connsiteX4312" fmla="*/ 236036 w 11701760"/>
              <a:gd name="connsiteY4312" fmla="*/ 265765 h 6407421"/>
              <a:gd name="connsiteX4313" fmla="*/ 265639 w 11701760"/>
              <a:gd name="connsiteY4313" fmla="*/ 265765 h 6407421"/>
              <a:gd name="connsiteX4314" fmla="*/ 265639 w 11701760"/>
              <a:gd name="connsiteY4314" fmla="*/ 295368 h 6407421"/>
              <a:gd name="connsiteX4315" fmla="*/ 236036 w 11701760"/>
              <a:gd name="connsiteY4315" fmla="*/ 295368 h 6407421"/>
              <a:gd name="connsiteX4316" fmla="*/ 0 w 11701760"/>
              <a:gd name="connsiteY4316" fmla="*/ 265765 h 6407421"/>
              <a:gd name="connsiteX4317" fmla="*/ 29602 w 11701760"/>
              <a:gd name="connsiteY4317" fmla="*/ 265765 h 6407421"/>
              <a:gd name="connsiteX4318" fmla="*/ 29602 w 11701760"/>
              <a:gd name="connsiteY4318" fmla="*/ 295368 h 6407421"/>
              <a:gd name="connsiteX4319" fmla="*/ 0 w 11701760"/>
              <a:gd name="connsiteY4319" fmla="*/ 295368 h 6407421"/>
              <a:gd name="connsiteX4320" fmla="*/ 11672158 w 11701760"/>
              <a:gd name="connsiteY4320" fmla="*/ 48 h 6407421"/>
              <a:gd name="connsiteX4321" fmla="*/ 11701760 w 11701760"/>
              <a:gd name="connsiteY4321" fmla="*/ 48 h 6407421"/>
              <a:gd name="connsiteX4322" fmla="*/ 11701760 w 11701760"/>
              <a:gd name="connsiteY4322" fmla="*/ 29651 h 6407421"/>
              <a:gd name="connsiteX4323" fmla="*/ 11672158 w 11701760"/>
              <a:gd name="connsiteY4323" fmla="*/ 29651 h 6407421"/>
              <a:gd name="connsiteX4324" fmla="*/ 5825310 w 11701760"/>
              <a:gd name="connsiteY4324" fmla="*/ 48 h 6407421"/>
              <a:gd name="connsiteX4325" fmla="*/ 5854913 w 11701760"/>
              <a:gd name="connsiteY4325" fmla="*/ 48 h 6407421"/>
              <a:gd name="connsiteX4326" fmla="*/ 5854913 w 11701760"/>
              <a:gd name="connsiteY4326" fmla="*/ 29651 h 6407421"/>
              <a:gd name="connsiteX4327" fmla="*/ 5825310 w 11701760"/>
              <a:gd name="connsiteY4327" fmla="*/ 29651 h 6407421"/>
              <a:gd name="connsiteX4328" fmla="*/ 11405961 w 11701760"/>
              <a:gd name="connsiteY4328" fmla="*/ 46 h 6407421"/>
              <a:gd name="connsiteX4329" fmla="*/ 11435563 w 11701760"/>
              <a:gd name="connsiteY4329" fmla="*/ 46 h 6407421"/>
              <a:gd name="connsiteX4330" fmla="*/ 11435563 w 11701760"/>
              <a:gd name="connsiteY4330" fmla="*/ 29648 h 6407421"/>
              <a:gd name="connsiteX4331" fmla="*/ 11405961 w 11701760"/>
              <a:gd name="connsiteY4331" fmla="*/ 29648 h 6407421"/>
              <a:gd name="connsiteX4332" fmla="*/ 5559113 w 11701760"/>
              <a:gd name="connsiteY4332" fmla="*/ 46 h 6407421"/>
              <a:gd name="connsiteX4333" fmla="*/ 5588715 w 11701760"/>
              <a:gd name="connsiteY4333" fmla="*/ 46 h 6407421"/>
              <a:gd name="connsiteX4334" fmla="*/ 5588715 w 11701760"/>
              <a:gd name="connsiteY4334" fmla="*/ 29648 h 6407421"/>
              <a:gd name="connsiteX4335" fmla="*/ 5559113 w 11701760"/>
              <a:gd name="connsiteY4335" fmla="*/ 29648 h 6407421"/>
              <a:gd name="connsiteX4336" fmla="*/ 11139872 w 11701760"/>
              <a:gd name="connsiteY4336" fmla="*/ 44 h 6407421"/>
              <a:gd name="connsiteX4337" fmla="*/ 11169474 w 11701760"/>
              <a:gd name="connsiteY4337" fmla="*/ 44 h 6407421"/>
              <a:gd name="connsiteX4338" fmla="*/ 11169474 w 11701760"/>
              <a:gd name="connsiteY4338" fmla="*/ 29646 h 6407421"/>
              <a:gd name="connsiteX4339" fmla="*/ 11139872 w 11701760"/>
              <a:gd name="connsiteY4339" fmla="*/ 29646 h 6407421"/>
              <a:gd name="connsiteX4340" fmla="*/ 5293024 w 11701760"/>
              <a:gd name="connsiteY4340" fmla="*/ 44 h 6407421"/>
              <a:gd name="connsiteX4341" fmla="*/ 5322626 w 11701760"/>
              <a:gd name="connsiteY4341" fmla="*/ 44 h 6407421"/>
              <a:gd name="connsiteX4342" fmla="*/ 5322626 w 11701760"/>
              <a:gd name="connsiteY4342" fmla="*/ 29646 h 6407421"/>
              <a:gd name="connsiteX4343" fmla="*/ 5293024 w 11701760"/>
              <a:gd name="connsiteY4343" fmla="*/ 29646 h 6407421"/>
              <a:gd name="connsiteX4344" fmla="*/ 10873675 w 11701760"/>
              <a:gd name="connsiteY4344" fmla="*/ 41 h 6407421"/>
              <a:gd name="connsiteX4345" fmla="*/ 10903277 w 11701760"/>
              <a:gd name="connsiteY4345" fmla="*/ 41 h 6407421"/>
              <a:gd name="connsiteX4346" fmla="*/ 10903277 w 11701760"/>
              <a:gd name="connsiteY4346" fmla="*/ 29644 h 6407421"/>
              <a:gd name="connsiteX4347" fmla="*/ 10873675 w 11701760"/>
              <a:gd name="connsiteY4347" fmla="*/ 29644 h 6407421"/>
              <a:gd name="connsiteX4348" fmla="*/ 5026827 w 11701760"/>
              <a:gd name="connsiteY4348" fmla="*/ 41 h 6407421"/>
              <a:gd name="connsiteX4349" fmla="*/ 5056429 w 11701760"/>
              <a:gd name="connsiteY4349" fmla="*/ 41 h 6407421"/>
              <a:gd name="connsiteX4350" fmla="*/ 5056429 w 11701760"/>
              <a:gd name="connsiteY4350" fmla="*/ 29644 h 6407421"/>
              <a:gd name="connsiteX4351" fmla="*/ 5026827 w 11701760"/>
              <a:gd name="connsiteY4351" fmla="*/ 29644 h 6407421"/>
              <a:gd name="connsiteX4352" fmla="*/ 10607478 w 11701760"/>
              <a:gd name="connsiteY4352" fmla="*/ 39 h 6407421"/>
              <a:gd name="connsiteX4353" fmla="*/ 10637188 w 11701760"/>
              <a:gd name="connsiteY4353" fmla="*/ 39 h 6407421"/>
              <a:gd name="connsiteX4354" fmla="*/ 10637188 w 11701760"/>
              <a:gd name="connsiteY4354" fmla="*/ 29641 h 6407421"/>
              <a:gd name="connsiteX4355" fmla="*/ 10607478 w 11701760"/>
              <a:gd name="connsiteY4355" fmla="*/ 29641 h 6407421"/>
              <a:gd name="connsiteX4356" fmla="*/ 4760630 w 11701760"/>
              <a:gd name="connsiteY4356" fmla="*/ 39 h 6407421"/>
              <a:gd name="connsiteX4357" fmla="*/ 4790340 w 11701760"/>
              <a:gd name="connsiteY4357" fmla="*/ 39 h 6407421"/>
              <a:gd name="connsiteX4358" fmla="*/ 4790340 w 11701760"/>
              <a:gd name="connsiteY4358" fmla="*/ 29641 h 6407421"/>
              <a:gd name="connsiteX4359" fmla="*/ 4760630 w 11701760"/>
              <a:gd name="connsiteY4359" fmla="*/ 29641 h 6407421"/>
              <a:gd name="connsiteX4360" fmla="*/ 10341389 w 11701760"/>
              <a:gd name="connsiteY4360" fmla="*/ 37 h 6407421"/>
              <a:gd name="connsiteX4361" fmla="*/ 10370992 w 11701760"/>
              <a:gd name="connsiteY4361" fmla="*/ 37 h 6407421"/>
              <a:gd name="connsiteX4362" fmla="*/ 10370992 w 11701760"/>
              <a:gd name="connsiteY4362" fmla="*/ 29639 h 6407421"/>
              <a:gd name="connsiteX4363" fmla="*/ 10341389 w 11701760"/>
              <a:gd name="connsiteY4363" fmla="*/ 29639 h 6407421"/>
              <a:gd name="connsiteX4364" fmla="*/ 4494541 w 11701760"/>
              <a:gd name="connsiteY4364" fmla="*/ 37 h 6407421"/>
              <a:gd name="connsiteX4365" fmla="*/ 4524144 w 11701760"/>
              <a:gd name="connsiteY4365" fmla="*/ 37 h 6407421"/>
              <a:gd name="connsiteX4366" fmla="*/ 4524144 w 11701760"/>
              <a:gd name="connsiteY4366" fmla="*/ 29639 h 6407421"/>
              <a:gd name="connsiteX4367" fmla="*/ 4494541 w 11701760"/>
              <a:gd name="connsiteY4367" fmla="*/ 29639 h 6407421"/>
              <a:gd name="connsiteX4368" fmla="*/ 10075192 w 11701760"/>
              <a:gd name="connsiteY4368" fmla="*/ 34 h 6407421"/>
              <a:gd name="connsiteX4369" fmla="*/ 10104794 w 11701760"/>
              <a:gd name="connsiteY4369" fmla="*/ 34 h 6407421"/>
              <a:gd name="connsiteX4370" fmla="*/ 10104794 w 11701760"/>
              <a:gd name="connsiteY4370" fmla="*/ 29637 h 6407421"/>
              <a:gd name="connsiteX4371" fmla="*/ 10075192 w 11701760"/>
              <a:gd name="connsiteY4371" fmla="*/ 29637 h 6407421"/>
              <a:gd name="connsiteX4372" fmla="*/ 4228344 w 11701760"/>
              <a:gd name="connsiteY4372" fmla="*/ 34 h 6407421"/>
              <a:gd name="connsiteX4373" fmla="*/ 4257946 w 11701760"/>
              <a:gd name="connsiteY4373" fmla="*/ 34 h 6407421"/>
              <a:gd name="connsiteX4374" fmla="*/ 4257946 w 11701760"/>
              <a:gd name="connsiteY4374" fmla="*/ 29637 h 6407421"/>
              <a:gd name="connsiteX4375" fmla="*/ 4228344 w 11701760"/>
              <a:gd name="connsiteY4375" fmla="*/ 29637 h 6407421"/>
              <a:gd name="connsiteX4376" fmla="*/ 9809103 w 11701760"/>
              <a:gd name="connsiteY4376" fmla="*/ 32 h 6407421"/>
              <a:gd name="connsiteX4377" fmla="*/ 9838705 w 11701760"/>
              <a:gd name="connsiteY4377" fmla="*/ 32 h 6407421"/>
              <a:gd name="connsiteX4378" fmla="*/ 9838705 w 11701760"/>
              <a:gd name="connsiteY4378" fmla="*/ 29635 h 6407421"/>
              <a:gd name="connsiteX4379" fmla="*/ 9809103 w 11701760"/>
              <a:gd name="connsiteY4379" fmla="*/ 29635 h 6407421"/>
              <a:gd name="connsiteX4380" fmla="*/ 3962255 w 11701760"/>
              <a:gd name="connsiteY4380" fmla="*/ 32 h 6407421"/>
              <a:gd name="connsiteX4381" fmla="*/ 3991857 w 11701760"/>
              <a:gd name="connsiteY4381" fmla="*/ 32 h 6407421"/>
              <a:gd name="connsiteX4382" fmla="*/ 3991857 w 11701760"/>
              <a:gd name="connsiteY4382" fmla="*/ 29635 h 6407421"/>
              <a:gd name="connsiteX4383" fmla="*/ 3962255 w 11701760"/>
              <a:gd name="connsiteY4383" fmla="*/ 29635 h 6407421"/>
              <a:gd name="connsiteX4384" fmla="*/ 9542906 w 11701760"/>
              <a:gd name="connsiteY4384" fmla="*/ 30 h 6407421"/>
              <a:gd name="connsiteX4385" fmla="*/ 9572509 w 11701760"/>
              <a:gd name="connsiteY4385" fmla="*/ 30 h 6407421"/>
              <a:gd name="connsiteX4386" fmla="*/ 9572509 w 11701760"/>
              <a:gd name="connsiteY4386" fmla="*/ 29632 h 6407421"/>
              <a:gd name="connsiteX4387" fmla="*/ 9542906 w 11701760"/>
              <a:gd name="connsiteY4387" fmla="*/ 29632 h 6407421"/>
              <a:gd name="connsiteX4388" fmla="*/ 3696058 w 11701760"/>
              <a:gd name="connsiteY4388" fmla="*/ 30 h 6407421"/>
              <a:gd name="connsiteX4389" fmla="*/ 3725661 w 11701760"/>
              <a:gd name="connsiteY4389" fmla="*/ 30 h 6407421"/>
              <a:gd name="connsiteX4390" fmla="*/ 3725661 w 11701760"/>
              <a:gd name="connsiteY4390" fmla="*/ 29632 h 6407421"/>
              <a:gd name="connsiteX4391" fmla="*/ 3696058 w 11701760"/>
              <a:gd name="connsiteY4391" fmla="*/ 29632 h 6407421"/>
              <a:gd name="connsiteX4392" fmla="*/ 9276817 w 11701760"/>
              <a:gd name="connsiteY4392" fmla="*/ 28 h 6407421"/>
              <a:gd name="connsiteX4393" fmla="*/ 9306420 w 11701760"/>
              <a:gd name="connsiteY4393" fmla="*/ 28 h 6407421"/>
              <a:gd name="connsiteX4394" fmla="*/ 9306420 w 11701760"/>
              <a:gd name="connsiteY4394" fmla="*/ 29630 h 6407421"/>
              <a:gd name="connsiteX4395" fmla="*/ 9276817 w 11701760"/>
              <a:gd name="connsiteY4395" fmla="*/ 29630 h 6407421"/>
              <a:gd name="connsiteX4396" fmla="*/ 3429969 w 11701760"/>
              <a:gd name="connsiteY4396" fmla="*/ 28 h 6407421"/>
              <a:gd name="connsiteX4397" fmla="*/ 3459572 w 11701760"/>
              <a:gd name="connsiteY4397" fmla="*/ 28 h 6407421"/>
              <a:gd name="connsiteX4398" fmla="*/ 3459572 w 11701760"/>
              <a:gd name="connsiteY4398" fmla="*/ 29630 h 6407421"/>
              <a:gd name="connsiteX4399" fmla="*/ 3429969 w 11701760"/>
              <a:gd name="connsiteY4399" fmla="*/ 29630 h 6407421"/>
              <a:gd name="connsiteX4400" fmla="*/ 9010620 w 11701760"/>
              <a:gd name="connsiteY4400" fmla="*/ 25 h 6407421"/>
              <a:gd name="connsiteX4401" fmla="*/ 9040222 w 11701760"/>
              <a:gd name="connsiteY4401" fmla="*/ 25 h 6407421"/>
              <a:gd name="connsiteX4402" fmla="*/ 9040222 w 11701760"/>
              <a:gd name="connsiteY4402" fmla="*/ 29628 h 6407421"/>
              <a:gd name="connsiteX4403" fmla="*/ 9010620 w 11701760"/>
              <a:gd name="connsiteY4403" fmla="*/ 29628 h 6407421"/>
              <a:gd name="connsiteX4404" fmla="*/ 3163772 w 11701760"/>
              <a:gd name="connsiteY4404" fmla="*/ 25 h 6407421"/>
              <a:gd name="connsiteX4405" fmla="*/ 3193374 w 11701760"/>
              <a:gd name="connsiteY4405" fmla="*/ 25 h 6407421"/>
              <a:gd name="connsiteX4406" fmla="*/ 3193374 w 11701760"/>
              <a:gd name="connsiteY4406" fmla="*/ 29628 h 6407421"/>
              <a:gd name="connsiteX4407" fmla="*/ 3163772 w 11701760"/>
              <a:gd name="connsiteY4407" fmla="*/ 29628 h 6407421"/>
              <a:gd name="connsiteX4408" fmla="*/ 8744423 w 11701760"/>
              <a:gd name="connsiteY4408" fmla="*/ 23 h 6407421"/>
              <a:gd name="connsiteX4409" fmla="*/ 8774026 w 11701760"/>
              <a:gd name="connsiteY4409" fmla="*/ 23 h 6407421"/>
              <a:gd name="connsiteX4410" fmla="*/ 8774026 w 11701760"/>
              <a:gd name="connsiteY4410" fmla="*/ 29625 h 6407421"/>
              <a:gd name="connsiteX4411" fmla="*/ 8744423 w 11701760"/>
              <a:gd name="connsiteY4411" fmla="*/ 29625 h 6407421"/>
              <a:gd name="connsiteX4412" fmla="*/ 2897575 w 11701760"/>
              <a:gd name="connsiteY4412" fmla="*/ 23 h 6407421"/>
              <a:gd name="connsiteX4413" fmla="*/ 2927178 w 11701760"/>
              <a:gd name="connsiteY4413" fmla="*/ 23 h 6407421"/>
              <a:gd name="connsiteX4414" fmla="*/ 2927178 w 11701760"/>
              <a:gd name="connsiteY4414" fmla="*/ 29625 h 6407421"/>
              <a:gd name="connsiteX4415" fmla="*/ 2897575 w 11701760"/>
              <a:gd name="connsiteY4415" fmla="*/ 29625 h 6407421"/>
              <a:gd name="connsiteX4416" fmla="*/ 8478226 w 11701760"/>
              <a:gd name="connsiteY4416" fmla="*/ 21 h 6407421"/>
              <a:gd name="connsiteX4417" fmla="*/ 8507828 w 11701760"/>
              <a:gd name="connsiteY4417" fmla="*/ 21 h 6407421"/>
              <a:gd name="connsiteX4418" fmla="*/ 8507828 w 11701760"/>
              <a:gd name="connsiteY4418" fmla="*/ 29623 h 6407421"/>
              <a:gd name="connsiteX4419" fmla="*/ 8478226 w 11701760"/>
              <a:gd name="connsiteY4419" fmla="*/ 29623 h 6407421"/>
              <a:gd name="connsiteX4420" fmla="*/ 2631378 w 11701760"/>
              <a:gd name="connsiteY4420" fmla="*/ 21 h 6407421"/>
              <a:gd name="connsiteX4421" fmla="*/ 2660980 w 11701760"/>
              <a:gd name="connsiteY4421" fmla="*/ 21 h 6407421"/>
              <a:gd name="connsiteX4422" fmla="*/ 2660980 w 11701760"/>
              <a:gd name="connsiteY4422" fmla="*/ 29623 h 6407421"/>
              <a:gd name="connsiteX4423" fmla="*/ 2631378 w 11701760"/>
              <a:gd name="connsiteY4423" fmla="*/ 29623 h 6407421"/>
              <a:gd name="connsiteX4424" fmla="*/ 8212137 w 11701760"/>
              <a:gd name="connsiteY4424" fmla="*/ 18 h 6407421"/>
              <a:gd name="connsiteX4425" fmla="*/ 8241740 w 11701760"/>
              <a:gd name="connsiteY4425" fmla="*/ 18 h 6407421"/>
              <a:gd name="connsiteX4426" fmla="*/ 8241740 w 11701760"/>
              <a:gd name="connsiteY4426" fmla="*/ 29621 h 6407421"/>
              <a:gd name="connsiteX4427" fmla="*/ 8212137 w 11701760"/>
              <a:gd name="connsiteY4427" fmla="*/ 29621 h 6407421"/>
              <a:gd name="connsiteX4428" fmla="*/ 2365289 w 11701760"/>
              <a:gd name="connsiteY4428" fmla="*/ 18 h 6407421"/>
              <a:gd name="connsiteX4429" fmla="*/ 2394892 w 11701760"/>
              <a:gd name="connsiteY4429" fmla="*/ 18 h 6407421"/>
              <a:gd name="connsiteX4430" fmla="*/ 2394892 w 11701760"/>
              <a:gd name="connsiteY4430" fmla="*/ 29621 h 6407421"/>
              <a:gd name="connsiteX4431" fmla="*/ 2365289 w 11701760"/>
              <a:gd name="connsiteY4431" fmla="*/ 29621 h 6407421"/>
              <a:gd name="connsiteX4432" fmla="*/ 7945940 w 11701760"/>
              <a:gd name="connsiteY4432" fmla="*/ 16 h 6407421"/>
              <a:gd name="connsiteX4433" fmla="*/ 7975543 w 11701760"/>
              <a:gd name="connsiteY4433" fmla="*/ 16 h 6407421"/>
              <a:gd name="connsiteX4434" fmla="*/ 7975543 w 11701760"/>
              <a:gd name="connsiteY4434" fmla="*/ 29618 h 6407421"/>
              <a:gd name="connsiteX4435" fmla="*/ 7945940 w 11701760"/>
              <a:gd name="connsiteY4435" fmla="*/ 29618 h 6407421"/>
              <a:gd name="connsiteX4436" fmla="*/ 2099092 w 11701760"/>
              <a:gd name="connsiteY4436" fmla="*/ 16 h 6407421"/>
              <a:gd name="connsiteX4437" fmla="*/ 2128695 w 11701760"/>
              <a:gd name="connsiteY4437" fmla="*/ 16 h 6407421"/>
              <a:gd name="connsiteX4438" fmla="*/ 2128695 w 11701760"/>
              <a:gd name="connsiteY4438" fmla="*/ 29618 h 6407421"/>
              <a:gd name="connsiteX4439" fmla="*/ 2099092 w 11701760"/>
              <a:gd name="connsiteY4439" fmla="*/ 29618 h 6407421"/>
              <a:gd name="connsiteX4440" fmla="*/ 7679743 w 11701760"/>
              <a:gd name="connsiteY4440" fmla="*/ 14 h 6407421"/>
              <a:gd name="connsiteX4441" fmla="*/ 7709346 w 11701760"/>
              <a:gd name="connsiteY4441" fmla="*/ 14 h 6407421"/>
              <a:gd name="connsiteX4442" fmla="*/ 7709346 w 11701760"/>
              <a:gd name="connsiteY4442" fmla="*/ 29616 h 6407421"/>
              <a:gd name="connsiteX4443" fmla="*/ 7679743 w 11701760"/>
              <a:gd name="connsiteY4443" fmla="*/ 29616 h 6407421"/>
              <a:gd name="connsiteX4444" fmla="*/ 1832898 w 11701760"/>
              <a:gd name="connsiteY4444" fmla="*/ 14 h 6407421"/>
              <a:gd name="connsiteX4445" fmla="*/ 1862498 w 11701760"/>
              <a:gd name="connsiteY4445" fmla="*/ 14 h 6407421"/>
              <a:gd name="connsiteX4446" fmla="*/ 1862498 w 11701760"/>
              <a:gd name="connsiteY4446" fmla="*/ 29616 h 6407421"/>
              <a:gd name="connsiteX4447" fmla="*/ 1832898 w 11701760"/>
              <a:gd name="connsiteY4447" fmla="*/ 29616 h 6407421"/>
              <a:gd name="connsiteX4448" fmla="*/ 7413653 w 11701760"/>
              <a:gd name="connsiteY4448" fmla="*/ 12 h 6407421"/>
              <a:gd name="connsiteX4449" fmla="*/ 7443256 w 11701760"/>
              <a:gd name="connsiteY4449" fmla="*/ 12 h 6407421"/>
              <a:gd name="connsiteX4450" fmla="*/ 7443256 w 11701760"/>
              <a:gd name="connsiteY4450" fmla="*/ 29614 h 6407421"/>
              <a:gd name="connsiteX4451" fmla="*/ 7413653 w 11701760"/>
              <a:gd name="connsiteY4451" fmla="*/ 29614 h 6407421"/>
              <a:gd name="connsiteX4452" fmla="*/ 1566808 w 11701760"/>
              <a:gd name="connsiteY4452" fmla="*/ 12 h 6407421"/>
              <a:gd name="connsiteX4453" fmla="*/ 1596409 w 11701760"/>
              <a:gd name="connsiteY4453" fmla="*/ 12 h 6407421"/>
              <a:gd name="connsiteX4454" fmla="*/ 1596409 w 11701760"/>
              <a:gd name="connsiteY4454" fmla="*/ 29614 h 6407421"/>
              <a:gd name="connsiteX4455" fmla="*/ 1566808 w 11701760"/>
              <a:gd name="connsiteY4455" fmla="*/ 29614 h 6407421"/>
              <a:gd name="connsiteX4456" fmla="*/ 7147456 w 11701760"/>
              <a:gd name="connsiteY4456" fmla="*/ 9 h 6407421"/>
              <a:gd name="connsiteX4457" fmla="*/ 7177058 w 11701760"/>
              <a:gd name="connsiteY4457" fmla="*/ 9 h 6407421"/>
              <a:gd name="connsiteX4458" fmla="*/ 7177058 w 11701760"/>
              <a:gd name="connsiteY4458" fmla="*/ 29612 h 6407421"/>
              <a:gd name="connsiteX4459" fmla="*/ 7147456 w 11701760"/>
              <a:gd name="connsiteY4459" fmla="*/ 29612 h 6407421"/>
              <a:gd name="connsiteX4460" fmla="*/ 1300611 w 11701760"/>
              <a:gd name="connsiteY4460" fmla="*/ 9 h 6407421"/>
              <a:gd name="connsiteX4461" fmla="*/ 1330213 w 11701760"/>
              <a:gd name="connsiteY4461" fmla="*/ 9 h 6407421"/>
              <a:gd name="connsiteX4462" fmla="*/ 1330213 w 11701760"/>
              <a:gd name="connsiteY4462" fmla="*/ 29612 h 6407421"/>
              <a:gd name="connsiteX4463" fmla="*/ 1300611 w 11701760"/>
              <a:gd name="connsiteY4463" fmla="*/ 29612 h 6407421"/>
              <a:gd name="connsiteX4464" fmla="*/ 6881367 w 11701760"/>
              <a:gd name="connsiteY4464" fmla="*/ 7 h 6407421"/>
              <a:gd name="connsiteX4465" fmla="*/ 6910970 w 11701760"/>
              <a:gd name="connsiteY4465" fmla="*/ 7 h 6407421"/>
              <a:gd name="connsiteX4466" fmla="*/ 6910970 w 11701760"/>
              <a:gd name="connsiteY4466" fmla="*/ 29609 h 6407421"/>
              <a:gd name="connsiteX4467" fmla="*/ 6881367 w 11701760"/>
              <a:gd name="connsiteY4467" fmla="*/ 29609 h 6407421"/>
              <a:gd name="connsiteX4468" fmla="*/ 1034520 w 11701760"/>
              <a:gd name="connsiteY4468" fmla="*/ 7 h 6407421"/>
              <a:gd name="connsiteX4469" fmla="*/ 1064123 w 11701760"/>
              <a:gd name="connsiteY4469" fmla="*/ 7 h 6407421"/>
              <a:gd name="connsiteX4470" fmla="*/ 1064123 w 11701760"/>
              <a:gd name="connsiteY4470" fmla="*/ 29609 h 6407421"/>
              <a:gd name="connsiteX4471" fmla="*/ 1034520 w 11701760"/>
              <a:gd name="connsiteY4471" fmla="*/ 29609 h 6407421"/>
              <a:gd name="connsiteX4472" fmla="*/ 6615170 w 11701760"/>
              <a:gd name="connsiteY4472" fmla="*/ 5 h 6407421"/>
              <a:gd name="connsiteX4473" fmla="*/ 6644773 w 11701760"/>
              <a:gd name="connsiteY4473" fmla="*/ 5 h 6407421"/>
              <a:gd name="connsiteX4474" fmla="*/ 6644773 w 11701760"/>
              <a:gd name="connsiteY4474" fmla="*/ 29607 h 6407421"/>
              <a:gd name="connsiteX4475" fmla="*/ 6615170 w 11701760"/>
              <a:gd name="connsiteY4475" fmla="*/ 29607 h 6407421"/>
              <a:gd name="connsiteX4476" fmla="*/ 768326 w 11701760"/>
              <a:gd name="connsiteY4476" fmla="*/ 5 h 6407421"/>
              <a:gd name="connsiteX4477" fmla="*/ 797926 w 11701760"/>
              <a:gd name="connsiteY4477" fmla="*/ 5 h 6407421"/>
              <a:gd name="connsiteX4478" fmla="*/ 797926 w 11701760"/>
              <a:gd name="connsiteY4478" fmla="*/ 29607 h 6407421"/>
              <a:gd name="connsiteX4479" fmla="*/ 768326 w 11701760"/>
              <a:gd name="connsiteY4479" fmla="*/ 29607 h 6407421"/>
              <a:gd name="connsiteX4480" fmla="*/ 6349081 w 11701760"/>
              <a:gd name="connsiteY4480" fmla="*/ 2 h 6407421"/>
              <a:gd name="connsiteX4481" fmla="*/ 6378683 w 11701760"/>
              <a:gd name="connsiteY4481" fmla="*/ 2 h 6407421"/>
              <a:gd name="connsiteX4482" fmla="*/ 6378683 w 11701760"/>
              <a:gd name="connsiteY4482" fmla="*/ 29605 h 6407421"/>
              <a:gd name="connsiteX4483" fmla="*/ 6349081 w 11701760"/>
              <a:gd name="connsiteY4483" fmla="*/ 29605 h 6407421"/>
              <a:gd name="connsiteX4484" fmla="*/ 502235 w 11701760"/>
              <a:gd name="connsiteY4484" fmla="*/ 2 h 6407421"/>
              <a:gd name="connsiteX4485" fmla="*/ 531838 w 11701760"/>
              <a:gd name="connsiteY4485" fmla="*/ 2 h 6407421"/>
              <a:gd name="connsiteX4486" fmla="*/ 531838 w 11701760"/>
              <a:gd name="connsiteY4486" fmla="*/ 29605 h 6407421"/>
              <a:gd name="connsiteX4487" fmla="*/ 502235 w 11701760"/>
              <a:gd name="connsiteY4487" fmla="*/ 29605 h 6407421"/>
              <a:gd name="connsiteX4488" fmla="*/ 6082884 w 11701760"/>
              <a:gd name="connsiteY4488" fmla="*/ 0 h 6407421"/>
              <a:gd name="connsiteX4489" fmla="*/ 6112486 w 11701760"/>
              <a:gd name="connsiteY4489" fmla="*/ 0 h 6407421"/>
              <a:gd name="connsiteX4490" fmla="*/ 6112486 w 11701760"/>
              <a:gd name="connsiteY4490" fmla="*/ 29602 h 6407421"/>
              <a:gd name="connsiteX4491" fmla="*/ 6082884 w 11701760"/>
              <a:gd name="connsiteY4491" fmla="*/ 29602 h 6407421"/>
              <a:gd name="connsiteX4492" fmla="*/ 236036 w 11701760"/>
              <a:gd name="connsiteY4492" fmla="*/ 0 h 6407421"/>
              <a:gd name="connsiteX4493" fmla="*/ 265638 w 11701760"/>
              <a:gd name="connsiteY4493" fmla="*/ 0 h 6407421"/>
              <a:gd name="connsiteX4494" fmla="*/ 265638 w 11701760"/>
              <a:gd name="connsiteY4494" fmla="*/ 29602 h 6407421"/>
              <a:gd name="connsiteX4495" fmla="*/ 236036 w 11701760"/>
              <a:gd name="connsiteY4495" fmla="*/ 29602 h 6407421"/>
              <a:gd name="connsiteX4496" fmla="*/ 0 w 11701760"/>
              <a:gd name="connsiteY4496" fmla="*/ 0 h 6407421"/>
              <a:gd name="connsiteX4497" fmla="*/ 29602 w 11701760"/>
              <a:gd name="connsiteY4497" fmla="*/ 0 h 6407421"/>
              <a:gd name="connsiteX4498" fmla="*/ 29602 w 11701760"/>
              <a:gd name="connsiteY4498" fmla="*/ 29602 h 6407421"/>
              <a:gd name="connsiteX4499" fmla="*/ 0 w 11701760"/>
              <a:gd name="connsiteY449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Lst>
            <a:rect l="l" t="t" r="r" b="b"/>
            <a:pathLst>
              <a:path w="11701760" h="6407421">
                <a:moveTo>
                  <a:pt x="11672158" y="6377925"/>
                </a:moveTo>
                <a:lnTo>
                  <a:pt x="11701760" y="6377925"/>
                </a:lnTo>
                <a:lnTo>
                  <a:pt x="11701760" y="6407421"/>
                </a:lnTo>
                <a:lnTo>
                  <a:pt x="11672158" y="6407421"/>
                </a:lnTo>
                <a:close/>
                <a:moveTo>
                  <a:pt x="11405961" y="6377925"/>
                </a:moveTo>
                <a:lnTo>
                  <a:pt x="11435563" y="6377925"/>
                </a:lnTo>
                <a:lnTo>
                  <a:pt x="11435563" y="6407421"/>
                </a:lnTo>
                <a:lnTo>
                  <a:pt x="11405961" y="6407421"/>
                </a:lnTo>
                <a:close/>
                <a:moveTo>
                  <a:pt x="11139872" y="6377925"/>
                </a:moveTo>
                <a:lnTo>
                  <a:pt x="11169474" y="6377925"/>
                </a:lnTo>
                <a:lnTo>
                  <a:pt x="11169474" y="6407421"/>
                </a:lnTo>
                <a:lnTo>
                  <a:pt x="11139872" y="6407421"/>
                </a:lnTo>
                <a:close/>
                <a:moveTo>
                  <a:pt x="10873675" y="6377925"/>
                </a:moveTo>
                <a:lnTo>
                  <a:pt x="10903277" y="6377925"/>
                </a:lnTo>
                <a:lnTo>
                  <a:pt x="10903277" y="6407421"/>
                </a:lnTo>
                <a:lnTo>
                  <a:pt x="10873675" y="6407421"/>
                </a:lnTo>
                <a:close/>
                <a:moveTo>
                  <a:pt x="10607478" y="6377925"/>
                </a:moveTo>
                <a:lnTo>
                  <a:pt x="10637188" y="6377925"/>
                </a:lnTo>
                <a:lnTo>
                  <a:pt x="10637188" y="6407421"/>
                </a:lnTo>
                <a:lnTo>
                  <a:pt x="10607478" y="6407421"/>
                </a:lnTo>
                <a:close/>
                <a:moveTo>
                  <a:pt x="10341389" y="6377925"/>
                </a:moveTo>
                <a:lnTo>
                  <a:pt x="10370992" y="6377925"/>
                </a:lnTo>
                <a:lnTo>
                  <a:pt x="10370992" y="6407421"/>
                </a:lnTo>
                <a:lnTo>
                  <a:pt x="10341389" y="6407421"/>
                </a:lnTo>
                <a:close/>
                <a:moveTo>
                  <a:pt x="10075192" y="6377925"/>
                </a:moveTo>
                <a:lnTo>
                  <a:pt x="10104794" y="6377925"/>
                </a:lnTo>
                <a:lnTo>
                  <a:pt x="10104794" y="6407421"/>
                </a:lnTo>
                <a:lnTo>
                  <a:pt x="10075192" y="6407421"/>
                </a:lnTo>
                <a:close/>
                <a:moveTo>
                  <a:pt x="9809103" y="6377925"/>
                </a:moveTo>
                <a:lnTo>
                  <a:pt x="9838705" y="6377925"/>
                </a:lnTo>
                <a:lnTo>
                  <a:pt x="9838705" y="6407421"/>
                </a:lnTo>
                <a:lnTo>
                  <a:pt x="9809103" y="6407421"/>
                </a:lnTo>
                <a:close/>
                <a:moveTo>
                  <a:pt x="9542906" y="6377925"/>
                </a:moveTo>
                <a:lnTo>
                  <a:pt x="9572509" y="6377925"/>
                </a:lnTo>
                <a:lnTo>
                  <a:pt x="9572509" y="6407421"/>
                </a:lnTo>
                <a:lnTo>
                  <a:pt x="9542906" y="6407421"/>
                </a:lnTo>
                <a:close/>
                <a:moveTo>
                  <a:pt x="9276817" y="6377925"/>
                </a:moveTo>
                <a:lnTo>
                  <a:pt x="9306420" y="6377925"/>
                </a:lnTo>
                <a:lnTo>
                  <a:pt x="9306420" y="6407421"/>
                </a:lnTo>
                <a:lnTo>
                  <a:pt x="9276817" y="6407421"/>
                </a:lnTo>
                <a:close/>
                <a:moveTo>
                  <a:pt x="9010620" y="6377925"/>
                </a:moveTo>
                <a:lnTo>
                  <a:pt x="9040222" y="6377925"/>
                </a:lnTo>
                <a:lnTo>
                  <a:pt x="9040222" y="6407421"/>
                </a:lnTo>
                <a:lnTo>
                  <a:pt x="9010620" y="6407421"/>
                </a:lnTo>
                <a:close/>
                <a:moveTo>
                  <a:pt x="8744423" y="6377925"/>
                </a:moveTo>
                <a:lnTo>
                  <a:pt x="8774026" y="6377925"/>
                </a:lnTo>
                <a:lnTo>
                  <a:pt x="8774026" y="6407421"/>
                </a:lnTo>
                <a:lnTo>
                  <a:pt x="8744423" y="6407421"/>
                </a:lnTo>
                <a:close/>
                <a:moveTo>
                  <a:pt x="8478226" y="6377925"/>
                </a:moveTo>
                <a:lnTo>
                  <a:pt x="8507828" y="6377925"/>
                </a:lnTo>
                <a:lnTo>
                  <a:pt x="8507828" y="6407421"/>
                </a:lnTo>
                <a:lnTo>
                  <a:pt x="8478226" y="6407421"/>
                </a:lnTo>
                <a:close/>
                <a:moveTo>
                  <a:pt x="8212137" y="6377925"/>
                </a:moveTo>
                <a:lnTo>
                  <a:pt x="8241740" y="6377925"/>
                </a:lnTo>
                <a:lnTo>
                  <a:pt x="8241740" y="6407421"/>
                </a:lnTo>
                <a:lnTo>
                  <a:pt x="8212137" y="6407421"/>
                </a:lnTo>
                <a:close/>
                <a:moveTo>
                  <a:pt x="7945940" y="6377925"/>
                </a:moveTo>
                <a:lnTo>
                  <a:pt x="7975543" y="6377925"/>
                </a:lnTo>
                <a:lnTo>
                  <a:pt x="7975543" y="6407421"/>
                </a:lnTo>
                <a:lnTo>
                  <a:pt x="7945940" y="6407421"/>
                </a:lnTo>
                <a:close/>
                <a:moveTo>
                  <a:pt x="7679743" y="6377925"/>
                </a:moveTo>
                <a:lnTo>
                  <a:pt x="7709346" y="6377925"/>
                </a:lnTo>
                <a:lnTo>
                  <a:pt x="7709346" y="6407421"/>
                </a:lnTo>
                <a:lnTo>
                  <a:pt x="7679743" y="6407421"/>
                </a:lnTo>
                <a:close/>
                <a:moveTo>
                  <a:pt x="7413653" y="6377925"/>
                </a:moveTo>
                <a:lnTo>
                  <a:pt x="7443256" y="6377925"/>
                </a:lnTo>
                <a:lnTo>
                  <a:pt x="7443256" y="6407421"/>
                </a:lnTo>
                <a:lnTo>
                  <a:pt x="7413653" y="6407421"/>
                </a:lnTo>
                <a:close/>
                <a:moveTo>
                  <a:pt x="7147456" y="6377925"/>
                </a:moveTo>
                <a:lnTo>
                  <a:pt x="7177058" y="6377925"/>
                </a:lnTo>
                <a:lnTo>
                  <a:pt x="7177058" y="6407421"/>
                </a:lnTo>
                <a:lnTo>
                  <a:pt x="7147456" y="6407421"/>
                </a:lnTo>
                <a:close/>
                <a:moveTo>
                  <a:pt x="6881367" y="6377925"/>
                </a:moveTo>
                <a:lnTo>
                  <a:pt x="6910970" y="6377925"/>
                </a:lnTo>
                <a:lnTo>
                  <a:pt x="6910970" y="6407421"/>
                </a:lnTo>
                <a:lnTo>
                  <a:pt x="6881367" y="6407421"/>
                </a:lnTo>
                <a:close/>
                <a:moveTo>
                  <a:pt x="6615170" y="6377925"/>
                </a:moveTo>
                <a:lnTo>
                  <a:pt x="6644773" y="6377925"/>
                </a:lnTo>
                <a:lnTo>
                  <a:pt x="6644773" y="6407421"/>
                </a:lnTo>
                <a:lnTo>
                  <a:pt x="6615170" y="6407421"/>
                </a:lnTo>
                <a:close/>
                <a:moveTo>
                  <a:pt x="6349081" y="6377925"/>
                </a:moveTo>
                <a:lnTo>
                  <a:pt x="6378683" y="6377925"/>
                </a:lnTo>
                <a:lnTo>
                  <a:pt x="6378683" y="6407421"/>
                </a:lnTo>
                <a:lnTo>
                  <a:pt x="6349081" y="6407421"/>
                </a:lnTo>
                <a:close/>
                <a:moveTo>
                  <a:pt x="6082884" y="6377925"/>
                </a:moveTo>
                <a:lnTo>
                  <a:pt x="6112486" y="6377925"/>
                </a:lnTo>
                <a:lnTo>
                  <a:pt x="6112486" y="6407421"/>
                </a:lnTo>
                <a:lnTo>
                  <a:pt x="6082884" y="6407421"/>
                </a:lnTo>
                <a:close/>
                <a:moveTo>
                  <a:pt x="5825310" y="6377925"/>
                </a:moveTo>
                <a:lnTo>
                  <a:pt x="5854913" y="6377925"/>
                </a:lnTo>
                <a:lnTo>
                  <a:pt x="5854913" y="6407421"/>
                </a:lnTo>
                <a:lnTo>
                  <a:pt x="5825310" y="6407421"/>
                </a:lnTo>
                <a:close/>
                <a:moveTo>
                  <a:pt x="5559113" y="6377925"/>
                </a:moveTo>
                <a:lnTo>
                  <a:pt x="5588715" y="6377925"/>
                </a:lnTo>
                <a:lnTo>
                  <a:pt x="5588715" y="6407421"/>
                </a:lnTo>
                <a:lnTo>
                  <a:pt x="5559113" y="6407421"/>
                </a:lnTo>
                <a:close/>
                <a:moveTo>
                  <a:pt x="5293024" y="6377925"/>
                </a:moveTo>
                <a:lnTo>
                  <a:pt x="5322626" y="6377925"/>
                </a:lnTo>
                <a:lnTo>
                  <a:pt x="5322626" y="6407421"/>
                </a:lnTo>
                <a:lnTo>
                  <a:pt x="5293024" y="6407421"/>
                </a:lnTo>
                <a:close/>
                <a:moveTo>
                  <a:pt x="5026827" y="6377925"/>
                </a:moveTo>
                <a:lnTo>
                  <a:pt x="5056429" y="6377925"/>
                </a:lnTo>
                <a:lnTo>
                  <a:pt x="5056429" y="6407421"/>
                </a:lnTo>
                <a:lnTo>
                  <a:pt x="5026827" y="6407421"/>
                </a:lnTo>
                <a:close/>
                <a:moveTo>
                  <a:pt x="4760630" y="6377925"/>
                </a:moveTo>
                <a:lnTo>
                  <a:pt x="4790340" y="6377925"/>
                </a:lnTo>
                <a:lnTo>
                  <a:pt x="4790340" y="6407421"/>
                </a:lnTo>
                <a:lnTo>
                  <a:pt x="4760630" y="6407421"/>
                </a:lnTo>
                <a:close/>
                <a:moveTo>
                  <a:pt x="4494541" y="6377925"/>
                </a:moveTo>
                <a:lnTo>
                  <a:pt x="4524144" y="6377925"/>
                </a:lnTo>
                <a:lnTo>
                  <a:pt x="4524144" y="6407421"/>
                </a:lnTo>
                <a:lnTo>
                  <a:pt x="4494541" y="6407421"/>
                </a:lnTo>
                <a:close/>
                <a:moveTo>
                  <a:pt x="4228344" y="6377925"/>
                </a:moveTo>
                <a:lnTo>
                  <a:pt x="4257946" y="6377925"/>
                </a:lnTo>
                <a:lnTo>
                  <a:pt x="4257946" y="6407421"/>
                </a:lnTo>
                <a:lnTo>
                  <a:pt x="4228344" y="6407421"/>
                </a:lnTo>
                <a:close/>
                <a:moveTo>
                  <a:pt x="3962255" y="6377925"/>
                </a:moveTo>
                <a:lnTo>
                  <a:pt x="3991857" y="6377925"/>
                </a:lnTo>
                <a:lnTo>
                  <a:pt x="3991857" y="6407421"/>
                </a:lnTo>
                <a:lnTo>
                  <a:pt x="3962255" y="6407421"/>
                </a:lnTo>
                <a:close/>
                <a:moveTo>
                  <a:pt x="3696058" y="6377925"/>
                </a:moveTo>
                <a:lnTo>
                  <a:pt x="3725661" y="6377925"/>
                </a:lnTo>
                <a:lnTo>
                  <a:pt x="3725661" y="6407421"/>
                </a:lnTo>
                <a:lnTo>
                  <a:pt x="3696058" y="6407421"/>
                </a:lnTo>
                <a:close/>
                <a:moveTo>
                  <a:pt x="3429969" y="6377925"/>
                </a:moveTo>
                <a:lnTo>
                  <a:pt x="3459572" y="6377925"/>
                </a:lnTo>
                <a:lnTo>
                  <a:pt x="3459572" y="6407421"/>
                </a:lnTo>
                <a:lnTo>
                  <a:pt x="3429969" y="6407421"/>
                </a:lnTo>
                <a:close/>
                <a:moveTo>
                  <a:pt x="3163772" y="6377925"/>
                </a:moveTo>
                <a:lnTo>
                  <a:pt x="3193374" y="6377925"/>
                </a:lnTo>
                <a:lnTo>
                  <a:pt x="3193374" y="6407421"/>
                </a:lnTo>
                <a:lnTo>
                  <a:pt x="3163772" y="6407421"/>
                </a:lnTo>
                <a:close/>
                <a:moveTo>
                  <a:pt x="2897575" y="6377925"/>
                </a:moveTo>
                <a:lnTo>
                  <a:pt x="2927178" y="6377925"/>
                </a:lnTo>
                <a:lnTo>
                  <a:pt x="2927178" y="6407421"/>
                </a:lnTo>
                <a:lnTo>
                  <a:pt x="2897575" y="6407421"/>
                </a:lnTo>
                <a:close/>
                <a:moveTo>
                  <a:pt x="2631378" y="6377925"/>
                </a:moveTo>
                <a:lnTo>
                  <a:pt x="2660980" y="6377925"/>
                </a:lnTo>
                <a:lnTo>
                  <a:pt x="2660980" y="6407421"/>
                </a:lnTo>
                <a:lnTo>
                  <a:pt x="2631378" y="6407421"/>
                </a:lnTo>
                <a:close/>
                <a:moveTo>
                  <a:pt x="2365289" y="6377925"/>
                </a:moveTo>
                <a:lnTo>
                  <a:pt x="2394892" y="6377925"/>
                </a:lnTo>
                <a:lnTo>
                  <a:pt x="2394892" y="6407421"/>
                </a:lnTo>
                <a:lnTo>
                  <a:pt x="2365289" y="6407421"/>
                </a:lnTo>
                <a:close/>
                <a:moveTo>
                  <a:pt x="2099092" y="6377925"/>
                </a:moveTo>
                <a:lnTo>
                  <a:pt x="2128695" y="6377925"/>
                </a:lnTo>
                <a:lnTo>
                  <a:pt x="2128695" y="6407421"/>
                </a:lnTo>
                <a:lnTo>
                  <a:pt x="2099092" y="6407421"/>
                </a:lnTo>
                <a:close/>
                <a:moveTo>
                  <a:pt x="1832898" y="6377925"/>
                </a:moveTo>
                <a:lnTo>
                  <a:pt x="1862498" y="6377925"/>
                </a:lnTo>
                <a:lnTo>
                  <a:pt x="1862498" y="6407421"/>
                </a:lnTo>
                <a:lnTo>
                  <a:pt x="1832898" y="6407421"/>
                </a:lnTo>
                <a:close/>
                <a:moveTo>
                  <a:pt x="1566808" y="6377925"/>
                </a:moveTo>
                <a:lnTo>
                  <a:pt x="1596409" y="6377925"/>
                </a:lnTo>
                <a:lnTo>
                  <a:pt x="1596409" y="6407421"/>
                </a:lnTo>
                <a:lnTo>
                  <a:pt x="1566808" y="6407421"/>
                </a:lnTo>
                <a:close/>
                <a:moveTo>
                  <a:pt x="1300611" y="6377925"/>
                </a:moveTo>
                <a:lnTo>
                  <a:pt x="1330213" y="6377925"/>
                </a:lnTo>
                <a:lnTo>
                  <a:pt x="1330213" y="6407421"/>
                </a:lnTo>
                <a:lnTo>
                  <a:pt x="1300611" y="6407421"/>
                </a:lnTo>
                <a:close/>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1672158" y="6112161"/>
                </a:moveTo>
                <a:lnTo>
                  <a:pt x="11701760" y="6112161"/>
                </a:lnTo>
                <a:lnTo>
                  <a:pt x="11701760" y="6141763"/>
                </a:lnTo>
                <a:lnTo>
                  <a:pt x="11672158" y="6141763"/>
                </a:lnTo>
                <a:close/>
                <a:moveTo>
                  <a:pt x="11405961" y="6112161"/>
                </a:moveTo>
                <a:lnTo>
                  <a:pt x="11435563" y="6112161"/>
                </a:lnTo>
                <a:lnTo>
                  <a:pt x="11435563" y="6141763"/>
                </a:lnTo>
                <a:lnTo>
                  <a:pt x="11405961" y="6141763"/>
                </a:lnTo>
                <a:close/>
                <a:moveTo>
                  <a:pt x="11139872" y="6112161"/>
                </a:moveTo>
                <a:lnTo>
                  <a:pt x="11169474" y="6112161"/>
                </a:lnTo>
                <a:lnTo>
                  <a:pt x="11169474" y="6141763"/>
                </a:lnTo>
                <a:lnTo>
                  <a:pt x="11139872" y="6141763"/>
                </a:lnTo>
                <a:close/>
                <a:moveTo>
                  <a:pt x="10873675" y="6112161"/>
                </a:moveTo>
                <a:lnTo>
                  <a:pt x="10903277" y="6112161"/>
                </a:lnTo>
                <a:lnTo>
                  <a:pt x="10903277" y="6141763"/>
                </a:lnTo>
                <a:lnTo>
                  <a:pt x="10873675" y="6141763"/>
                </a:lnTo>
                <a:close/>
                <a:moveTo>
                  <a:pt x="10607478" y="6112161"/>
                </a:moveTo>
                <a:lnTo>
                  <a:pt x="10637188" y="6112161"/>
                </a:lnTo>
                <a:lnTo>
                  <a:pt x="10637188" y="6141763"/>
                </a:lnTo>
                <a:lnTo>
                  <a:pt x="10607478" y="6141763"/>
                </a:lnTo>
                <a:close/>
                <a:moveTo>
                  <a:pt x="10341389" y="6112161"/>
                </a:moveTo>
                <a:lnTo>
                  <a:pt x="10370992" y="6112161"/>
                </a:lnTo>
                <a:lnTo>
                  <a:pt x="10370992" y="6141763"/>
                </a:lnTo>
                <a:lnTo>
                  <a:pt x="10341389" y="6141763"/>
                </a:lnTo>
                <a:close/>
                <a:moveTo>
                  <a:pt x="10075192" y="6112161"/>
                </a:moveTo>
                <a:lnTo>
                  <a:pt x="10104794" y="6112161"/>
                </a:lnTo>
                <a:lnTo>
                  <a:pt x="10104794" y="6141763"/>
                </a:lnTo>
                <a:lnTo>
                  <a:pt x="10075192" y="6141763"/>
                </a:lnTo>
                <a:close/>
                <a:moveTo>
                  <a:pt x="9809103" y="6112161"/>
                </a:moveTo>
                <a:lnTo>
                  <a:pt x="9838705" y="6112161"/>
                </a:lnTo>
                <a:lnTo>
                  <a:pt x="9838705" y="6141763"/>
                </a:lnTo>
                <a:lnTo>
                  <a:pt x="9809103" y="6141763"/>
                </a:lnTo>
                <a:close/>
                <a:moveTo>
                  <a:pt x="9542906" y="6112161"/>
                </a:moveTo>
                <a:lnTo>
                  <a:pt x="9572509" y="6112161"/>
                </a:lnTo>
                <a:lnTo>
                  <a:pt x="9572509" y="6141763"/>
                </a:lnTo>
                <a:lnTo>
                  <a:pt x="9542906" y="6141763"/>
                </a:lnTo>
                <a:close/>
                <a:moveTo>
                  <a:pt x="9276817" y="6112161"/>
                </a:moveTo>
                <a:lnTo>
                  <a:pt x="9306420" y="6112161"/>
                </a:lnTo>
                <a:lnTo>
                  <a:pt x="9306420" y="6141763"/>
                </a:lnTo>
                <a:lnTo>
                  <a:pt x="9276817" y="6141763"/>
                </a:lnTo>
                <a:close/>
                <a:moveTo>
                  <a:pt x="9010620" y="6112161"/>
                </a:moveTo>
                <a:lnTo>
                  <a:pt x="9040222" y="6112161"/>
                </a:lnTo>
                <a:lnTo>
                  <a:pt x="9040222" y="6141763"/>
                </a:lnTo>
                <a:lnTo>
                  <a:pt x="9010620" y="6141763"/>
                </a:lnTo>
                <a:close/>
                <a:moveTo>
                  <a:pt x="8744423" y="6112161"/>
                </a:moveTo>
                <a:lnTo>
                  <a:pt x="8774026" y="6112161"/>
                </a:lnTo>
                <a:lnTo>
                  <a:pt x="8774026" y="6141763"/>
                </a:lnTo>
                <a:lnTo>
                  <a:pt x="8744423" y="6141763"/>
                </a:lnTo>
                <a:close/>
                <a:moveTo>
                  <a:pt x="8478226" y="6112161"/>
                </a:moveTo>
                <a:lnTo>
                  <a:pt x="8507828" y="6112161"/>
                </a:lnTo>
                <a:lnTo>
                  <a:pt x="8507828" y="6141763"/>
                </a:lnTo>
                <a:lnTo>
                  <a:pt x="8478226" y="6141763"/>
                </a:lnTo>
                <a:close/>
                <a:moveTo>
                  <a:pt x="8212137" y="6112161"/>
                </a:moveTo>
                <a:lnTo>
                  <a:pt x="8241740" y="6112161"/>
                </a:lnTo>
                <a:lnTo>
                  <a:pt x="8241740" y="6141763"/>
                </a:lnTo>
                <a:lnTo>
                  <a:pt x="8212137" y="6141763"/>
                </a:lnTo>
                <a:close/>
                <a:moveTo>
                  <a:pt x="7945940" y="6112161"/>
                </a:moveTo>
                <a:lnTo>
                  <a:pt x="7975543" y="6112161"/>
                </a:lnTo>
                <a:lnTo>
                  <a:pt x="7975543" y="6141763"/>
                </a:lnTo>
                <a:lnTo>
                  <a:pt x="7945940" y="6141763"/>
                </a:lnTo>
                <a:close/>
                <a:moveTo>
                  <a:pt x="7679743" y="6112161"/>
                </a:moveTo>
                <a:lnTo>
                  <a:pt x="7709346" y="6112161"/>
                </a:lnTo>
                <a:lnTo>
                  <a:pt x="7709346" y="6141763"/>
                </a:lnTo>
                <a:lnTo>
                  <a:pt x="7679743" y="6141763"/>
                </a:lnTo>
                <a:close/>
                <a:moveTo>
                  <a:pt x="7413653" y="6112161"/>
                </a:moveTo>
                <a:lnTo>
                  <a:pt x="7443256" y="6112161"/>
                </a:lnTo>
                <a:lnTo>
                  <a:pt x="7443256" y="6141763"/>
                </a:lnTo>
                <a:lnTo>
                  <a:pt x="7413653" y="6141763"/>
                </a:lnTo>
                <a:close/>
                <a:moveTo>
                  <a:pt x="7147456" y="6112161"/>
                </a:moveTo>
                <a:lnTo>
                  <a:pt x="7177058" y="6112161"/>
                </a:lnTo>
                <a:lnTo>
                  <a:pt x="7177058" y="6141763"/>
                </a:lnTo>
                <a:lnTo>
                  <a:pt x="7147456" y="6141763"/>
                </a:lnTo>
                <a:close/>
                <a:moveTo>
                  <a:pt x="6881367" y="6112161"/>
                </a:moveTo>
                <a:lnTo>
                  <a:pt x="6910970" y="6112161"/>
                </a:lnTo>
                <a:lnTo>
                  <a:pt x="6910970" y="6141763"/>
                </a:lnTo>
                <a:lnTo>
                  <a:pt x="6881367" y="6141763"/>
                </a:lnTo>
                <a:close/>
                <a:moveTo>
                  <a:pt x="6615170" y="6112161"/>
                </a:moveTo>
                <a:lnTo>
                  <a:pt x="6644773" y="6112161"/>
                </a:lnTo>
                <a:lnTo>
                  <a:pt x="6644773" y="6141763"/>
                </a:lnTo>
                <a:lnTo>
                  <a:pt x="6615170" y="6141763"/>
                </a:lnTo>
                <a:close/>
                <a:moveTo>
                  <a:pt x="6349081" y="6112161"/>
                </a:moveTo>
                <a:lnTo>
                  <a:pt x="6378683" y="6112161"/>
                </a:lnTo>
                <a:lnTo>
                  <a:pt x="6378683" y="6141763"/>
                </a:lnTo>
                <a:lnTo>
                  <a:pt x="6349081" y="6141763"/>
                </a:lnTo>
                <a:close/>
                <a:moveTo>
                  <a:pt x="6082884" y="6112161"/>
                </a:moveTo>
                <a:lnTo>
                  <a:pt x="6112486" y="6112161"/>
                </a:lnTo>
                <a:lnTo>
                  <a:pt x="6112486" y="6141763"/>
                </a:lnTo>
                <a:lnTo>
                  <a:pt x="6082884" y="6141763"/>
                </a:lnTo>
                <a:close/>
                <a:moveTo>
                  <a:pt x="5825310" y="6112161"/>
                </a:moveTo>
                <a:lnTo>
                  <a:pt x="5854913" y="6112161"/>
                </a:lnTo>
                <a:lnTo>
                  <a:pt x="5854913" y="6141763"/>
                </a:lnTo>
                <a:lnTo>
                  <a:pt x="5825310" y="6141763"/>
                </a:lnTo>
                <a:close/>
                <a:moveTo>
                  <a:pt x="5559113" y="6112161"/>
                </a:moveTo>
                <a:lnTo>
                  <a:pt x="5588715" y="6112161"/>
                </a:lnTo>
                <a:lnTo>
                  <a:pt x="5588715" y="6141763"/>
                </a:lnTo>
                <a:lnTo>
                  <a:pt x="5559113" y="6141763"/>
                </a:lnTo>
                <a:close/>
                <a:moveTo>
                  <a:pt x="5293024" y="6112161"/>
                </a:moveTo>
                <a:lnTo>
                  <a:pt x="5322626" y="6112161"/>
                </a:lnTo>
                <a:lnTo>
                  <a:pt x="5322626" y="6141763"/>
                </a:lnTo>
                <a:lnTo>
                  <a:pt x="5293024" y="6141763"/>
                </a:lnTo>
                <a:close/>
                <a:moveTo>
                  <a:pt x="5026827" y="6112161"/>
                </a:moveTo>
                <a:lnTo>
                  <a:pt x="5056429" y="6112161"/>
                </a:lnTo>
                <a:lnTo>
                  <a:pt x="5056429" y="6141763"/>
                </a:lnTo>
                <a:lnTo>
                  <a:pt x="5026827" y="6141763"/>
                </a:lnTo>
                <a:close/>
                <a:moveTo>
                  <a:pt x="4760630" y="6112161"/>
                </a:moveTo>
                <a:lnTo>
                  <a:pt x="4790340" y="6112161"/>
                </a:lnTo>
                <a:lnTo>
                  <a:pt x="4790340" y="6141763"/>
                </a:lnTo>
                <a:lnTo>
                  <a:pt x="4760630" y="6141763"/>
                </a:lnTo>
                <a:close/>
                <a:moveTo>
                  <a:pt x="4494541" y="6112161"/>
                </a:moveTo>
                <a:lnTo>
                  <a:pt x="4524144" y="6112161"/>
                </a:lnTo>
                <a:lnTo>
                  <a:pt x="4524144" y="6141763"/>
                </a:lnTo>
                <a:lnTo>
                  <a:pt x="4494541" y="6141763"/>
                </a:lnTo>
                <a:close/>
                <a:moveTo>
                  <a:pt x="4228344" y="6112161"/>
                </a:moveTo>
                <a:lnTo>
                  <a:pt x="4257946" y="6112161"/>
                </a:lnTo>
                <a:lnTo>
                  <a:pt x="4257946" y="6141763"/>
                </a:lnTo>
                <a:lnTo>
                  <a:pt x="4228344" y="6141763"/>
                </a:lnTo>
                <a:close/>
                <a:moveTo>
                  <a:pt x="3962255" y="6112161"/>
                </a:moveTo>
                <a:lnTo>
                  <a:pt x="3991857" y="6112161"/>
                </a:lnTo>
                <a:lnTo>
                  <a:pt x="3991857" y="6141763"/>
                </a:lnTo>
                <a:lnTo>
                  <a:pt x="3962255" y="6141763"/>
                </a:lnTo>
                <a:close/>
                <a:moveTo>
                  <a:pt x="3696058" y="6112161"/>
                </a:moveTo>
                <a:lnTo>
                  <a:pt x="3725661" y="6112161"/>
                </a:lnTo>
                <a:lnTo>
                  <a:pt x="3725661" y="6141763"/>
                </a:lnTo>
                <a:lnTo>
                  <a:pt x="3696058" y="6141763"/>
                </a:lnTo>
                <a:close/>
                <a:moveTo>
                  <a:pt x="3429969" y="6112161"/>
                </a:moveTo>
                <a:lnTo>
                  <a:pt x="3459572" y="6112161"/>
                </a:lnTo>
                <a:lnTo>
                  <a:pt x="3459572" y="6141763"/>
                </a:lnTo>
                <a:lnTo>
                  <a:pt x="3429969" y="6141763"/>
                </a:lnTo>
                <a:close/>
                <a:moveTo>
                  <a:pt x="3163772" y="6112161"/>
                </a:moveTo>
                <a:lnTo>
                  <a:pt x="3193374" y="6112161"/>
                </a:lnTo>
                <a:lnTo>
                  <a:pt x="3193374" y="6141763"/>
                </a:lnTo>
                <a:lnTo>
                  <a:pt x="3163772" y="6141763"/>
                </a:lnTo>
                <a:close/>
                <a:moveTo>
                  <a:pt x="2897575" y="6112161"/>
                </a:moveTo>
                <a:lnTo>
                  <a:pt x="2927178" y="6112161"/>
                </a:lnTo>
                <a:lnTo>
                  <a:pt x="2927178" y="6141763"/>
                </a:lnTo>
                <a:lnTo>
                  <a:pt x="2897575" y="6141763"/>
                </a:lnTo>
                <a:close/>
                <a:moveTo>
                  <a:pt x="2631378" y="6112161"/>
                </a:moveTo>
                <a:lnTo>
                  <a:pt x="2660980" y="6112161"/>
                </a:lnTo>
                <a:lnTo>
                  <a:pt x="2660980" y="6141763"/>
                </a:lnTo>
                <a:lnTo>
                  <a:pt x="2631378" y="6141763"/>
                </a:lnTo>
                <a:close/>
                <a:moveTo>
                  <a:pt x="2365289" y="6112161"/>
                </a:moveTo>
                <a:lnTo>
                  <a:pt x="2394892" y="6112161"/>
                </a:lnTo>
                <a:lnTo>
                  <a:pt x="2394892" y="6141763"/>
                </a:lnTo>
                <a:lnTo>
                  <a:pt x="2365289" y="6141763"/>
                </a:lnTo>
                <a:close/>
                <a:moveTo>
                  <a:pt x="2099092" y="6112161"/>
                </a:moveTo>
                <a:lnTo>
                  <a:pt x="2128695" y="6112161"/>
                </a:lnTo>
                <a:lnTo>
                  <a:pt x="2128695" y="6141763"/>
                </a:lnTo>
                <a:lnTo>
                  <a:pt x="2099092" y="6141763"/>
                </a:lnTo>
                <a:close/>
                <a:moveTo>
                  <a:pt x="1832898" y="6112161"/>
                </a:moveTo>
                <a:lnTo>
                  <a:pt x="1862498" y="6112161"/>
                </a:lnTo>
                <a:lnTo>
                  <a:pt x="1862498" y="6141763"/>
                </a:lnTo>
                <a:lnTo>
                  <a:pt x="1832898" y="6141763"/>
                </a:lnTo>
                <a:close/>
                <a:moveTo>
                  <a:pt x="1566808" y="6112161"/>
                </a:moveTo>
                <a:lnTo>
                  <a:pt x="1596409" y="6112161"/>
                </a:lnTo>
                <a:lnTo>
                  <a:pt x="1596409" y="6141763"/>
                </a:lnTo>
                <a:lnTo>
                  <a:pt x="1566808" y="6141763"/>
                </a:lnTo>
                <a:close/>
                <a:moveTo>
                  <a:pt x="1300611" y="6112161"/>
                </a:moveTo>
                <a:lnTo>
                  <a:pt x="1330213" y="6112161"/>
                </a:lnTo>
                <a:lnTo>
                  <a:pt x="1330213" y="6141763"/>
                </a:lnTo>
                <a:lnTo>
                  <a:pt x="1300611" y="6141763"/>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1672158" y="5846396"/>
                </a:moveTo>
                <a:lnTo>
                  <a:pt x="11701760" y="5846396"/>
                </a:lnTo>
                <a:lnTo>
                  <a:pt x="11701760" y="5875998"/>
                </a:lnTo>
                <a:lnTo>
                  <a:pt x="11672158" y="5875998"/>
                </a:lnTo>
                <a:close/>
                <a:moveTo>
                  <a:pt x="11405961" y="5846396"/>
                </a:moveTo>
                <a:lnTo>
                  <a:pt x="11435563" y="5846396"/>
                </a:lnTo>
                <a:lnTo>
                  <a:pt x="11435563" y="5875998"/>
                </a:lnTo>
                <a:lnTo>
                  <a:pt x="11405961" y="5875998"/>
                </a:lnTo>
                <a:close/>
                <a:moveTo>
                  <a:pt x="11139872" y="5846396"/>
                </a:moveTo>
                <a:lnTo>
                  <a:pt x="11169474" y="5846396"/>
                </a:lnTo>
                <a:lnTo>
                  <a:pt x="11169474" y="5875998"/>
                </a:lnTo>
                <a:lnTo>
                  <a:pt x="11139872" y="5875998"/>
                </a:lnTo>
                <a:close/>
                <a:moveTo>
                  <a:pt x="10873675" y="5846396"/>
                </a:moveTo>
                <a:lnTo>
                  <a:pt x="10903277" y="5846396"/>
                </a:lnTo>
                <a:lnTo>
                  <a:pt x="10903277" y="5875998"/>
                </a:lnTo>
                <a:lnTo>
                  <a:pt x="10873675" y="5875998"/>
                </a:lnTo>
                <a:close/>
                <a:moveTo>
                  <a:pt x="10607478" y="5846396"/>
                </a:moveTo>
                <a:lnTo>
                  <a:pt x="10637188" y="5846396"/>
                </a:lnTo>
                <a:lnTo>
                  <a:pt x="10637188" y="5875998"/>
                </a:lnTo>
                <a:lnTo>
                  <a:pt x="10607478" y="5875998"/>
                </a:lnTo>
                <a:close/>
                <a:moveTo>
                  <a:pt x="10341389" y="5846396"/>
                </a:moveTo>
                <a:lnTo>
                  <a:pt x="10370992" y="5846396"/>
                </a:lnTo>
                <a:lnTo>
                  <a:pt x="10370992" y="5875998"/>
                </a:lnTo>
                <a:lnTo>
                  <a:pt x="10341389" y="5875998"/>
                </a:lnTo>
                <a:close/>
                <a:moveTo>
                  <a:pt x="10075192" y="5846396"/>
                </a:moveTo>
                <a:lnTo>
                  <a:pt x="10104794" y="5846396"/>
                </a:lnTo>
                <a:lnTo>
                  <a:pt x="10104794" y="5875998"/>
                </a:lnTo>
                <a:lnTo>
                  <a:pt x="10075192" y="5875998"/>
                </a:lnTo>
                <a:close/>
                <a:moveTo>
                  <a:pt x="9809103" y="5846396"/>
                </a:moveTo>
                <a:lnTo>
                  <a:pt x="9838705" y="5846396"/>
                </a:lnTo>
                <a:lnTo>
                  <a:pt x="9838705" y="5875998"/>
                </a:lnTo>
                <a:lnTo>
                  <a:pt x="9809103" y="5875998"/>
                </a:lnTo>
                <a:close/>
                <a:moveTo>
                  <a:pt x="9542906" y="5846396"/>
                </a:moveTo>
                <a:lnTo>
                  <a:pt x="9572509" y="5846396"/>
                </a:lnTo>
                <a:lnTo>
                  <a:pt x="9572509" y="5875998"/>
                </a:lnTo>
                <a:lnTo>
                  <a:pt x="9542906" y="5875998"/>
                </a:lnTo>
                <a:close/>
                <a:moveTo>
                  <a:pt x="9276817" y="5846396"/>
                </a:moveTo>
                <a:lnTo>
                  <a:pt x="9306420" y="5846396"/>
                </a:lnTo>
                <a:lnTo>
                  <a:pt x="9306420" y="5875998"/>
                </a:lnTo>
                <a:lnTo>
                  <a:pt x="9276817" y="5875998"/>
                </a:lnTo>
                <a:close/>
                <a:moveTo>
                  <a:pt x="9010620" y="5846396"/>
                </a:moveTo>
                <a:lnTo>
                  <a:pt x="9040222" y="5846396"/>
                </a:lnTo>
                <a:lnTo>
                  <a:pt x="9040222" y="5875998"/>
                </a:lnTo>
                <a:lnTo>
                  <a:pt x="9010620" y="5875998"/>
                </a:lnTo>
                <a:close/>
                <a:moveTo>
                  <a:pt x="8744423" y="5846396"/>
                </a:moveTo>
                <a:lnTo>
                  <a:pt x="8774026" y="5846396"/>
                </a:lnTo>
                <a:lnTo>
                  <a:pt x="8774026" y="5875998"/>
                </a:lnTo>
                <a:lnTo>
                  <a:pt x="8744423" y="5875998"/>
                </a:lnTo>
                <a:close/>
                <a:moveTo>
                  <a:pt x="8478226" y="5846396"/>
                </a:moveTo>
                <a:lnTo>
                  <a:pt x="8507828" y="5846396"/>
                </a:lnTo>
                <a:lnTo>
                  <a:pt x="8507828" y="5875998"/>
                </a:lnTo>
                <a:lnTo>
                  <a:pt x="8478226" y="5875998"/>
                </a:lnTo>
                <a:close/>
                <a:moveTo>
                  <a:pt x="8212137" y="5846396"/>
                </a:moveTo>
                <a:lnTo>
                  <a:pt x="8241740" y="5846396"/>
                </a:lnTo>
                <a:lnTo>
                  <a:pt x="8241740" y="5875998"/>
                </a:lnTo>
                <a:lnTo>
                  <a:pt x="8212137" y="5875998"/>
                </a:lnTo>
                <a:close/>
                <a:moveTo>
                  <a:pt x="7945940" y="5846396"/>
                </a:moveTo>
                <a:lnTo>
                  <a:pt x="7975543" y="5846396"/>
                </a:lnTo>
                <a:lnTo>
                  <a:pt x="7975543" y="5875998"/>
                </a:lnTo>
                <a:lnTo>
                  <a:pt x="7945940" y="5875998"/>
                </a:lnTo>
                <a:close/>
                <a:moveTo>
                  <a:pt x="7679743" y="5846396"/>
                </a:moveTo>
                <a:lnTo>
                  <a:pt x="7709346" y="5846396"/>
                </a:lnTo>
                <a:lnTo>
                  <a:pt x="7709346" y="5875998"/>
                </a:lnTo>
                <a:lnTo>
                  <a:pt x="7679743" y="5875998"/>
                </a:lnTo>
                <a:close/>
                <a:moveTo>
                  <a:pt x="7413653" y="5846396"/>
                </a:moveTo>
                <a:lnTo>
                  <a:pt x="7443256" y="5846396"/>
                </a:lnTo>
                <a:lnTo>
                  <a:pt x="7443256" y="5875998"/>
                </a:lnTo>
                <a:lnTo>
                  <a:pt x="7413653" y="5875998"/>
                </a:lnTo>
                <a:close/>
                <a:moveTo>
                  <a:pt x="7147456" y="5846396"/>
                </a:moveTo>
                <a:lnTo>
                  <a:pt x="7177058" y="5846396"/>
                </a:lnTo>
                <a:lnTo>
                  <a:pt x="7177058" y="5875998"/>
                </a:lnTo>
                <a:lnTo>
                  <a:pt x="7147456" y="5875998"/>
                </a:lnTo>
                <a:close/>
                <a:moveTo>
                  <a:pt x="6881367" y="5846396"/>
                </a:moveTo>
                <a:lnTo>
                  <a:pt x="6910970" y="5846396"/>
                </a:lnTo>
                <a:lnTo>
                  <a:pt x="6910970" y="5875998"/>
                </a:lnTo>
                <a:lnTo>
                  <a:pt x="6881367" y="5875998"/>
                </a:lnTo>
                <a:close/>
                <a:moveTo>
                  <a:pt x="6615170" y="5846396"/>
                </a:moveTo>
                <a:lnTo>
                  <a:pt x="6644773" y="5846396"/>
                </a:lnTo>
                <a:lnTo>
                  <a:pt x="6644773" y="5875998"/>
                </a:lnTo>
                <a:lnTo>
                  <a:pt x="6615170" y="5875998"/>
                </a:lnTo>
                <a:close/>
                <a:moveTo>
                  <a:pt x="6349081" y="5846396"/>
                </a:moveTo>
                <a:lnTo>
                  <a:pt x="6378683" y="5846396"/>
                </a:lnTo>
                <a:lnTo>
                  <a:pt x="6378683" y="5875998"/>
                </a:lnTo>
                <a:lnTo>
                  <a:pt x="6349081" y="5875998"/>
                </a:lnTo>
                <a:close/>
                <a:moveTo>
                  <a:pt x="6082884" y="5846396"/>
                </a:moveTo>
                <a:lnTo>
                  <a:pt x="6112486" y="5846396"/>
                </a:lnTo>
                <a:lnTo>
                  <a:pt x="6112486" y="5875998"/>
                </a:lnTo>
                <a:lnTo>
                  <a:pt x="6082884" y="5875998"/>
                </a:lnTo>
                <a:close/>
                <a:moveTo>
                  <a:pt x="5825310" y="5846396"/>
                </a:moveTo>
                <a:lnTo>
                  <a:pt x="5854913" y="5846396"/>
                </a:lnTo>
                <a:lnTo>
                  <a:pt x="5854913" y="5875998"/>
                </a:lnTo>
                <a:lnTo>
                  <a:pt x="5825310" y="5875998"/>
                </a:lnTo>
                <a:close/>
                <a:moveTo>
                  <a:pt x="5559113" y="5846396"/>
                </a:moveTo>
                <a:lnTo>
                  <a:pt x="5588715" y="5846396"/>
                </a:lnTo>
                <a:lnTo>
                  <a:pt x="5588715" y="5875998"/>
                </a:lnTo>
                <a:lnTo>
                  <a:pt x="5559113" y="5875998"/>
                </a:lnTo>
                <a:close/>
                <a:moveTo>
                  <a:pt x="5293024" y="5846396"/>
                </a:moveTo>
                <a:lnTo>
                  <a:pt x="5322626" y="5846396"/>
                </a:lnTo>
                <a:lnTo>
                  <a:pt x="5322626" y="5875998"/>
                </a:lnTo>
                <a:lnTo>
                  <a:pt x="5293024" y="5875998"/>
                </a:lnTo>
                <a:close/>
                <a:moveTo>
                  <a:pt x="5026827" y="5846396"/>
                </a:moveTo>
                <a:lnTo>
                  <a:pt x="5056429" y="5846396"/>
                </a:lnTo>
                <a:lnTo>
                  <a:pt x="5056429" y="5875998"/>
                </a:lnTo>
                <a:lnTo>
                  <a:pt x="5026827" y="5875998"/>
                </a:lnTo>
                <a:close/>
                <a:moveTo>
                  <a:pt x="4760630" y="5846396"/>
                </a:moveTo>
                <a:lnTo>
                  <a:pt x="4790340" y="5846396"/>
                </a:lnTo>
                <a:lnTo>
                  <a:pt x="4790340" y="5875998"/>
                </a:lnTo>
                <a:lnTo>
                  <a:pt x="4760630" y="5875998"/>
                </a:lnTo>
                <a:close/>
                <a:moveTo>
                  <a:pt x="4494541" y="5846396"/>
                </a:moveTo>
                <a:lnTo>
                  <a:pt x="4524144" y="5846396"/>
                </a:lnTo>
                <a:lnTo>
                  <a:pt x="4524144" y="5875998"/>
                </a:lnTo>
                <a:lnTo>
                  <a:pt x="4494541" y="5875998"/>
                </a:lnTo>
                <a:close/>
                <a:moveTo>
                  <a:pt x="4228344" y="5846396"/>
                </a:moveTo>
                <a:lnTo>
                  <a:pt x="4257946" y="5846396"/>
                </a:lnTo>
                <a:lnTo>
                  <a:pt x="4257946" y="5875998"/>
                </a:lnTo>
                <a:lnTo>
                  <a:pt x="4228344" y="5875998"/>
                </a:lnTo>
                <a:close/>
                <a:moveTo>
                  <a:pt x="3962255" y="5846396"/>
                </a:moveTo>
                <a:lnTo>
                  <a:pt x="3991857" y="5846396"/>
                </a:lnTo>
                <a:lnTo>
                  <a:pt x="3991857" y="5875998"/>
                </a:lnTo>
                <a:lnTo>
                  <a:pt x="3962255" y="5875998"/>
                </a:lnTo>
                <a:close/>
                <a:moveTo>
                  <a:pt x="3696058" y="5846396"/>
                </a:moveTo>
                <a:lnTo>
                  <a:pt x="3725661" y="5846396"/>
                </a:lnTo>
                <a:lnTo>
                  <a:pt x="3725661" y="5875998"/>
                </a:lnTo>
                <a:lnTo>
                  <a:pt x="3696058" y="5875998"/>
                </a:lnTo>
                <a:close/>
                <a:moveTo>
                  <a:pt x="3429969" y="5846396"/>
                </a:moveTo>
                <a:lnTo>
                  <a:pt x="3459572" y="5846396"/>
                </a:lnTo>
                <a:lnTo>
                  <a:pt x="3459572" y="5875998"/>
                </a:lnTo>
                <a:lnTo>
                  <a:pt x="3429969" y="5875998"/>
                </a:lnTo>
                <a:close/>
                <a:moveTo>
                  <a:pt x="3163772" y="5846396"/>
                </a:moveTo>
                <a:lnTo>
                  <a:pt x="3193374" y="5846396"/>
                </a:lnTo>
                <a:lnTo>
                  <a:pt x="3193374" y="5875998"/>
                </a:lnTo>
                <a:lnTo>
                  <a:pt x="3163772" y="5875998"/>
                </a:lnTo>
                <a:close/>
                <a:moveTo>
                  <a:pt x="2897575" y="5846396"/>
                </a:moveTo>
                <a:lnTo>
                  <a:pt x="2927178" y="5846396"/>
                </a:lnTo>
                <a:lnTo>
                  <a:pt x="2927178" y="5875998"/>
                </a:lnTo>
                <a:lnTo>
                  <a:pt x="2897575" y="5875998"/>
                </a:lnTo>
                <a:close/>
                <a:moveTo>
                  <a:pt x="2631378" y="5846396"/>
                </a:moveTo>
                <a:lnTo>
                  <a:pt x="2660980" y="5846396"/>
                </a:lnTo>
                <a:lnTo>
                  <a:pt x="2660980" y="5875998"/>
                </a:lnTo>
                <a:lnTo>
                  <a:pt x="2631378" y="5875998"/>
                </a:lnTo>
                <a:close/>
                <a:moveTo>
                  <a:pt x="2365289" y="5846396"/>
                </a:moveTo>
                <a:lnTo>
                  <a:pt x="2394892" y="5846396"/>
                </a:lnTo>
                <a:lnTo>
                  <a:pt x="2394892" y="5875998"/>
                </a:lnTo>
                <a:lnTo>
                  <a:pt x="2365289" y="5875998"/>
                </a:lnTo>
                <a:close/>
                <a:moveTo>
                  <a:pt x="2099092" y="5846396"/>
                </a:moveTo>
                <a:lnTo>
                  <a:pt x="2128695" y="5846396"/>
                </a:lnTo>
                <a:lnTo>
                  <a:pt x="2128695" y="5875998"/>
                </a:lnTo>
                <a:lnTo>
                  <a:pt x="2099092" y="5875998"/>
                </a:lnTo>
                <a:close/>
                <a:moveTo>
                  <a:pt x="1832898" y="5846396"/>
                </a:moveTo>
                <a:lnTo>
                  <a:pt x="1862498" y="5846396"/>
                </a:lnTo>
                <a:lnTo>
                  <a:pt x="1862498" y="5875998"/>
                </a:lnTo>
                <a:lnTo>
                  <a:pt x="1832898" y="5875998"/>
                </a:lnTo>
                <a:close/>
                <a:moveTo>
                  <a:pt x="1566808" y="5846396"/>
                </a:moveTo>
                <a:lnTo>
                  <a:pt x="1596409" y="5846396"/>
                </a:lnTo>
                <a:lnTo>
                  <a:pt x="1596409" y="5875998"/>
                </a:lnTo>
                <a:lnTo>
                  <a:pt x="1566808" y="5875998"/>
                </a:lnTo>
                <a:close/>
                <a:moveTo>
                  <a:pt x="1300611" y="5846396"/>
                </a:moveTo>
                <a:lnTo>
                  <a:pt x="1330213" y="5846396"/>
                </a:lnTo>
                <a:lnTo>
                  <a:pt x="1330213" y="5875998"/>
                </a:lnTo>
                <a:lnTo>
                  <a:pt x="1300611" y="5875998"/>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1672158" y="5580631"/>
                </a:moveTo>
                <a:lnTo>
                  <a:pt x="11701760" y="5580631"/>
                </a:lnTo>
                <a:lnTo>
                  <a:pt x="11701760" y="5610233"/>
                </a:lnTo>
                <a:lnTo>
                  <a:pt x="11672158" y="5610233"/>
                </a:lnTo>
                <a:close/>
                <a:moveTo>
                  <a:pt x="11405961" y="5580631"/>
                </a:moveTo>
                <a:lnTo>
                  <a:pt x="11435563" y="5580631"/>
                </a:lnTo>
                <a:lnTo>
                  <a:pt x="11435563" y="5610233"/>
                </a:lnTo>
                <a:lnTo>
                  <a:pt x="11405961" y="5610233"/>
                </a:lnTo>
                <a:close/>
                <a:moveTo>
                  <a:pt x="11139872" y="5580631"/>
                </a:moveTo>
                <a:lnTo>
                  <a:pt x="11169474" y="5580631"/>
                </a:lnTo>
                <a:lnTo>
                  <a:pt x="11169474" y="5610233"/>
                </a:lnTo>
                <a:lnTo>
                  <a:pt x="11139872" y="5610233"/>
                </a:lnTo>
                <a:close/>
                <a:moveTo>
                  <a:pt x="10873675" y="5580631"/>
                </a:moveTo>
                <a:lnTo>
                  <a:pt x="10903277" y="5580631"/>
                </a:lnTo>
                <a:lnTo>
                  <a:pt x="10903277" y="5610233"/>
                </a:lnTo>
                <a:lnTo>
                  <a:pt x="10873675" y="5610233"/>
                </a:lnTo>
                <a:close/>
                <a:moveTo>
                  <a:pt x="10607478" y="5580631"/>
                </a:moveTo>
                <a:lnTo>
                  <a:pt x="10637188" y="5580631"/>
                </a:lnTo>
                <a:lnTo>
                  <a:pt x="10637188" y="5610233"/>
                </a:lnTo>
                <a:lnTo>
                  <a:pt x="10607478" y="5610233"/>
                </a:lnTo>
                <a:close/>
                <a:moveTo>
                  <a:pt x="10341389" y="5580631"/>
                </a:moveTo>
                <a:lnTo>
                  <a:pt x="10370992" y="5580631"/>
                </a:lnTo>
                <a:lnTo>
                  <a:pt x="10370992" y="5610233"/>
                </a:lnTo>
                <a:lnTo>
                  <a:pt x="10341389" y="5610233"/>
                </a:lnTo>
                <a:close/>
                <a:moveTo>
                  <a:pt x="10075192" y="5580631"/>
                </a:moveTo>
                <a:lnTo>
                  <a:pt x="10104794" y="5580631"/>
                </a:lnTo>
                <a:lnTo>
                  <a:pt x="10104794" y="5610233"/>
                </a:lnTo>
                <a:lnTo>
                  <a:pt x="10075192" y="5610233"/>
                </a:lnTo>
                <a:close/>
                <a:moveTo>
                  <a:pt x="9809103" y="5580631"/>
                </a:moveTo>
                <a:lnTo>
                  <a:pt x="9838705" y="5580631"/>
                </a:lnTo>
                <a:lnTo>
                  <a:pt x="9838705" y="5610233"/>
                </a:lnTo>
                <a:lnTo>
                  <a:pt x="9809103" y="5610233"/>
                </a:lnTo>
                <a:close/>
                <a:moveTo>
                  <a:pt x="9542906" y="5580631"/>
                </a:moveTo>
                <a:lnTo>
                  <a:pt x="9572509" y="5580631"/>
                </a:lnTo>
                <a:lnTo>
                  <a:pt x="9572509" y="5610233"/>
                </a:lnTo>
                <a:lnTo>
                  <a:pt x="9542906" y="5610233"/>
                </a:lnTo>
                <a:close/>
                <a:moveTo>
                  <a:pt x="9276817" y="5580631"/>
                </a:moveTo>
                <a:lnTo>
                  <a:pt x="9306420" y="5580631"/>
                </a:lnTo>
                <a:lnTo>
                  <a:pt x="9306420" y="5610233"/>
                </a:lnTo>
                <a:lnTo>
                  <a:pt x="9276817" y="5610233"/>
                </a:lnTo>
                <a:close/>
                <a:moveTo>
                  <a:pt x="9010620" y="5580631"/>
                </a:moveTo>
                <a:lnTo>
                  <a:pt x="9040222" y="5580631"/>
                </a:lnTo>
                <a:lnTo>
                  <a:pt x="9040222" y="5610233"/>
                </a:lnTo>
                <a:lnTo>
                  <a:pt x="9010620" y="5610233"/>
                </a:lnTo>
                <a:close/>
                <a:moveTo>
                  <a:pt x="8744423" y="5580631"/>
                </a:moveTo>
                <a:lnTo>
                  <a:pt x="8774026" y="5580631"/>
                </a:lnTo>
                <a:lnTo>
                  <a:pt x="8774026" y="5610233"/>
                </a:lnTo>
                <a:lnTo>
                  <a:pt x="8744423" y="5610233"/>
                </a:lnTo>
                <a:close/>
                <a:moveTo>
                  <a:pt x="8478226" y="5580631"/>
                </a:moveTo>
                <a:lnTo>
                  <a:pt x="8507828" y="5580631"/>
                </a:lnTo>
                <a:lnTo>
                  <a:pt x="8507828" y="5610233"/>
                </a:lnTo>
                <a:lnTo>
                  <a:pt x="8478226" y="5610233"/>
                </a:lnTo>
                <a:close/>
                <a:moveTo>
                  <a:pt x="8212137" y="5580631"/>
                </a:moveTo>
                <a:lnTo>
                  <a:pt x="8241740" y="5580631"/>
                </a:lnTo>
                <a:lnTo>
                  <a:pt x="8241740" y="5610233"/>
                </a:lnTo>
                <a:lnTo>
                  <a:pt x="8212137" y="5610233"/>
                </a:lnTo>
                <a:close/>
                <a:moveTo>
                  <a:pt x="7945940" y="5580631"/>
                </a:moveTo>
                <a:lnTo>
                  <a:pt x="7975543" y="5580631"/>
                </a:lnTo>
                <a:lnTo>
                  <a:pt x="7975543" y="5610233"/>
                </a:lnTo>
                <a:lnTo>
                  <a:pt x="7945940" y="5610233"/>
                </a:lnTo>
                <a:close/>
                <a:moveTo>
                  <a:pt x="7679743" y="5580631"/>
                </a:moveTo>
                <a:lnTo>
                  <a:pt x="7709346" y="5580631"/>
                </a:lnTo>
                <a:lnTo>
                  <a:pt x="7709346" y="5610233"/>
                </a:lnTo>
                <a:lnTo>
                  <a:pt x="7679743" y="5610233"/>
                </a:lnTo>
                <a:close/>
                <a:moveTo>
                  <a:pt x="7413653" y="5580631"/>
                </a:moveTo>
                <a:lnTo>
                  <a:pt x="7443256" y="5580631"/>
                </a:lnTo>
                <a:lnTo>
                  <a:pt x="7443256" y="5610233"/>
                </a:lnTo>
                <a:lnTo>
                  <a:pt x="7413653" y="5610233"/>
                </a:lnTo>
                <a:close/>
                <a:moveTo>
                  <a:pt x="7147456" y="5580631"/>
                </a:moveTo>
                <a:lnTo>
                  <a:pt x="7177058" y="5580631"/>
                </a:lnTo>
                <a:lnTo>
                  <a:pt x="7177058" y="5610233"/>
                </a:lnTo>
                <a:lnTo>
                  <a:pt x="7147456" y="5610233"/>
                </a:lnTo>
                <a:close/>
                <a:moveTo>
                  <a:pt x="6881367" y="5580631"/>
                </a:moveTo>
                <a:lnTo>
                  <a:pt x="6910970" y="5580631"/>
                </a:lnTo>
                <a:lnTo>
                  <a:pt x="6910970" y="5610233"/>
                </a:lnTo>
                <a:lnTo>
                  <a:pt x="6881367" y="5610233"/>
                </a:lnTo>
                <a:close/>
                <a:moveTo>
                  <a:pt x="6615170" y="5580631"/>
                </a:moveTo>
                <a:lnTo>
                  <a:pt x="6644773" y="5580631"/>
                </a:lnTo>
                <a:lnTo>
                  <a:pt x="6644773" y="5610233"/>
                </a:lnTo>
                <a:lnTo>
                  <a:pt x="6615170" y="5610233"/>
                </a:lnTo>
                <a:close/>
                <a:moveTo>
                  <a:pt x="6349081" y="5580631"/>
                </a:moveTo>
                <a:lnTo>
                  <a:pt x="6378683" y="5580631"/>
                </a:lnTo>
                <a:lnTo>
                  <a:pt x="6378683" y="5610233"/>
                </a:lnTo>
                <a:lnTo>
                  <a:pt x="6349081" y="5610233"/>
                </a:lnTo>
                <a:close/>
                <a:moveTo>
                  <a:pt x="6082884" y="5580631"/>
                </a:moveTo>
                <a:lnTo>
                  <a:pt x="6112486" y="5580631"/>
                </a:lnTo>
                <a:lnTo>
                  <a:pt x="6112486" y="5610233"/>
                </a:lnTo>
                <a:lnTo>
                  <a:pt x="6082884" y="5610233"/>
                </a:lnTo>
                <a:close/>
                <a:moveTo>
                  <a:pt x="5825310" y="5580631"/>
                </a:moveTo>
                <a:lnTo>
                  <a:pt x="5854913" y="5580631"/>
                </a:lnTo>
                <a:lnTo>
                  <a:pt x="5854913" y="5610233"/>
                </a:lnTo>
                <a:lnTo>
                  <a:pt x="5825310" y="5610233"/>
                </a:lnTo>
                <a:close/>
                <a:moveTo>
                  <a:pt x="5559113" y="5580631"/>
                </a:moveTo>
                <a:lnTo>
                  <a:pt x="5588715" y="5580631"/>
                </a:lnTo>
                <a:lnTo>
                  <a:pt x="5588715" y="5610233"/>
                </a:lnTo>
                <a:lnTo>
                  <a:pt x="5559113" y="5610233"/>
                </a:lnTo>
                <a:close/>
                <a:moveTo>
                  <a:pt x="5293024" y="5580631"/>
                </a:moveTo>
                <a:lnTo>
                  <a:pt x="5322626" y="5580631"/>
                </a:lnTo>
                <a:lnTo>
                  <a:pt x="5322626" y="5610233"/>
                </a:lnTo>
                <a:lnTo>
                  <a:pt x="5293024" y="5610233"/>
                </a:lnTo>
                <a:close/>
                <a:moveTo>
                  <a:pt x="5026827" y="5580631"/>
                </a:moveTo>
                <a:lnTo>
                  <a:pt x="5056429" y="5580631"/>
                </a:lnTo>
                <a:lnTo>
                  <a:pt x="5056429" y="5610233"/>
                </a:lnTo>
                <a:lnTo>
                  <a:pt x="5026827" y="5610233"/>
                </a:lnTo>
                <a:close/>
                <a:moveTo>
                  <a:pt x="4760630" y="5580631"/>
                </a:moveTo>
                <a:lnTo>
                  <a:pt x="4790340" y="5580631"/>
                </a:lnTo>
                <a:lnTo>
                  <a:pt x="4790340" y="5610233"/>
                </a:lnTo>
                <a:lnTo>
                  <a:pt x="4760630" y="5610233"/>
                </a:lnTo>
                <a:close/>
                <a:moveTo>
                  <a:pt x="4494541" y="5580631"/>
                </a:moveTo>
                <a:lnTo>
                  <a:pt x="4524144" y="5580631"/>
                </a:lnTo>
                <a:lnTo>
                  <a:pt x="4524144" y="5610233"/>
                </a:lnTo>
                <a:lnTo>
                  <a:pt x="4494541" y="5610233"/>
                </a:lnTo>
                <a:close/>
                <a:moveTo>
                  <a:pt x="4228344" y="5580631"/>
                </a:moveTo>
                <a:lnTo>
                  <a:pt x="4257946" y="5580631"/>
                </a:lnTo>
                <a:lnTo>
                  <a:pt x="4257946" y="5610233"/>
                </a:lnTo>
                <a:lnTo>
                  <a:pt x="4228344" y="5610233"/>
                </a:lnTo>
                <a:close/>
                <a:moveTo>
                  <a:pt x="3962255" y="5580631"/>
                </a:moveTo>
                <a:lnTo>
                  <a:pt x="3991857" y="5580631"/>
                </a:lnTo>
                <a:lnTo>
                  <a:pt x="3991857" y="5610233"/>
                </a:lnTo>
                <a:lnTo>
                  <a:pt x="3962255" y="5610233"/>
                </a:lnTo>
                <a:close/>
                <a:moveTo>
                  <a:pt x="3696058" y="5580631"/>
                </a:moveTo>
                <a:lnTo>
                  <a:pt x="3725661" y="5580631"/>
                </a:lnTo>
                <a:lnTo>
                  <a:pt x="3725661" y="5610233"/>
                </a:lnTo>
                <a:lnTo>
                  <a:pt x="3696058" y="5610233"/>
                </a:lnTo>
                <a:close/>
                <a:moveTo>
                  <a:pt x="3429969" y="5580631"/>
                </a:moveTo>
                <a:lnTo>
                  <a:pt x="3459572" y="5580631"/>
                </a:lnTo>
                <a:lnTo>
                  <a:pt x="3459572" y="5610233"/>
                </a:lnTo>
                <a:lnTo>
                  <a:pt x="3429969" y="5610233"/>
                </a:lnTo>
                <a:close/>
                <a:moveTo>
                  <a:pt x="3163772" y="5580631"/>
                </a:moveTo>
                <a:lnTo>
                  <a:pt x="3193374" y="5580631"/>
                </a:lnTo>
                <a:lnTo>
                  <a:pt x="3193374" y="5610233"/>
                </a:lnTo>
                <a:lnTo>
                  <a:pt x="3163772" y="5610233"/>
                </a:lnTo>
                <a:close/>
                <a:moveTo>
                  <a:pt x="2897575" y="5580631"/>
                </a:moveTo>
                <a:lnTo>
                  <a:pt x="2927178" y="5580631"/>
                </a:lnTo>
                <a:lnTo>
                  <a:pt x="2927178" y="5610233"/>
                </a:lnTo>
                <a:lnTo>
                  <a:pt x="2897575" y="5610233"/>
                </a:lnTo>
                <a:close/>
                <a:moveTo>
                  <a:pt x="2631378" y="5580631"/>
                </a:moveTo>
                <a:lnTo>
                  <a:pt x="2660980" y="5580631"/>
                </a:lnTo>
                <a:lnTo>
                  <a:pt x="2660980" y="5610233"/>
                </a:lnTo>
                <a:lnTo>
                  <a:pt x="2631378" y="5610233"/>
                </a:lnTo>
                <a:close/>
                <a:moveTo>
                  <a:pt x="2365289" y="5580631"/>
                </a:moveTo>
                <a:lnTo>
                  <a:pt x="2394892" y="5580631"/>
                </a:lnTo>
                <a:lnTo>
                  <a:pt x="2394892" y="5610233"/>
                </a:lnTo>
                <a:lnTo>
                  <a:pt x="2365289" y="5610233"/>
                </a:lnTo>
                <a:close/>
                <a:moveTo>
                  <a:pt x="2099092" y="5580631"/>
                </a:moveTo>
                <a:lnTo>
                  <a:pt x="2128695" y="5580631"/>
                </a:lnTo>
                <a:lnTo>
                  <a:pt x="2128695" y="5610233"/>
                </a:lnTo>
                <a:lnTo>
                  <a:pt x="2099092" y="5610233"/>
                </a:lnTo>
                <a:close/>
                <a:moveTo>
                  <a:pt x="1832898" y="5580631"/>
                </a:moveTo>
                <a:lnTo>
                  <a:pt x="1862498" y="5580631"/>
                </a:lnTo>
                <a:lnTo>
                  <a:pt x="1862498" y="5610233"/>
                </a:lnTo>
                <a:lnTo>
                  <a:pt x="1832898" y="5610233"/>
                </a:lnTo>
                <a:close/>
                <a:moveTo>
                  <a:pt x="1566808" y="5580631"/>
                </a:moveTo>
                <a:lnTo>
                  <a:pt x="1596409" y="5580631"/>
                </a:lnTo>
                <a:lnTo>
                  <a:pt x="1596409" y="5610233"/>
                </a:lnTo>
                <a:lnTo>
                  <a:pt x="1566808" y="5610233"/>
                </a:lnTo>
                <a:close/>
                <a:moveTo>
                  <a:pt x="1300611" y="5580631"/>
                </a:moveTo>
                <a:lnTo>
                  <a:pt x="1330213" y="5580631"/>
                </a:lnTo>
                <a:lnTo>
                  <a:pt x="1330213" y="5610233"/>
                </a:lnTo>
                <a:lnTo>
                  <a:pt x="1300611" y="5610233"/>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1672158" y="5314974"/>
                </a:moveTo>
                <a:lnTo>
                  <a:pt x="11701760" y="5314974"/>
                </a:lnTo>
                <a:lnTo>
                  <a:pt x="11701760" y="5344468"/>
                </a:lnTo>
                <a:lnTo>
                  <a:pt x="11672158" y="5344468"/>
                </a:lnTo>
                <a:close/>
                <a:moveTo>
                  <a:pt x="11405961" y="5314974"/>
                </a:moveTo>
                <a:lnTo>
                  <a:pt x="11435563" y="5314974"/>
                </a:lnTo>
                <a:lnTo>
                  <a:pt x="11435563" y="5344468"/>
                </a:lnTo>
                <a:lnTo>
                  <a:pt x="11405961" y="5344468"/>
                </a:lnTo>
                <a:close/>
                <a:moveTo>
                  <a:pt x="11139872" y="5314974"/>
                </a:moveTo>
                <a:lnTo>
                  <a:pt x="11169474" y="5314974"/>
                </a:lnTo>
                <a:lnTo>
                  <a:pt x="11169474" y="5344468"/>
                </a:lnTo>
                <a:lnTo>
                  <a:pt x="11139872" y="5344468"/>
                </a:lnTo>
                <a:close/>
                <a:moveTo>
                  <a:pt x="10873675" y="5314974"/>
                </a:moveTo>
                <a:lnTo>
                  <a:pt x="10903277" y="5314974"/>
                </a:lnTo>
                <a:lnTo>
                  <a:pt x="10903277" y="5344468"/>
                </a:lnTo>
                <a:lnTo>
                  <a:pt x="10873675" y="5344468"/>
                </a:lnTo>
                <a:close/>
                <a:moveTo>
                  <a:pt x="10607478" y="5314974"/>
                </a:moveTo>
                <a:lnTo>
                  <a:pt x="10637188" y="5314974"/>
                </a:lnTo>
                <a:lnTo>
                  <a:pt x="10637188" y="5344468"/>
                </a:lnTo>
                <a:lnTo>
                  <a:pt x="10607478" y="5344468"/>
                </a:lnTo>
                <a:close/>
                <a:moveTo>
                  <a:pt x="10341389" y="5314974"/>
                </a:moveTo>
                <a:lnTo>
                  <a:pt x="10370992" y="5314974"/>
                </a:lnTo>
                <a:lnTo>
                  <a:pt x="10370992" y="5344468"/>
                </a:lnTo>
                <a:lnTo>
                  <a:pt x="10341389" y="5344468"/>
                </a:lnTo>
                <a:close/>
                <a:moveTo>
                  <a:pt x="10075192" y="5314974"/>
                </a:moveTo>
                <a:lnTo>
                  <a:pt x="10104794" y="5314974"/>
                </a:lnTo>
                <a:lnTo>
                  <a:pt x="10104794" y="5344468"/>
                </a:lnTo>
                <a:lnTo>
                  <a:pt x="10075192" y="5344468"/>
                </a:lnTo>
                <a:close/>
                <a:moveTo>
                  <a:pt x="9809103" y="5314974"/>
                </a:moveTo>
                <a:lnTo>
                  <a:pt x="9838705" y="5314974"/>
                </a:lnTo>
                <a:lnTo>
                  <a:pt x="9838705" y="5344468"/>
                </a:lnTo>
                <a:lnTo>
                  <a:pt x="9809103" y="5344468"/>
                </a:lnTo>
                <a:close/>
                <a:moveTo>
                  <a:pt x="9542906" y="5314974"/>
                </a:moveTo>
                <a:lnTo>
                  <a:pt x="9572509" y="5314974"/>
                </a:lnTo>
                <a:lnTo>
                  <a:pt x="9572509" y="5344468"/>
                </a:lnTo>
                <a:lnTo>
                  <a:pt x="9542906" y="5344468"/>
                </a:lnTo>
                <a:close/>
                <a:moveTo>
                  <a:pt x="9276817" y="5314974"/>
                </a:moveTo>
                <a:lnTo>
                  <a:pt x="9306420" y="5314974"/>
                </a:lnTo>
                <a:lnTo>
                  <a:pt x="9306420" y="5344468"/>
                </a:lnTo>
                <a:lnTo>
                  <a:pt x="9276817" y="5344468"/>
                </a:lnTo>
                <a:close/>
                <a:moveTo>
                  <a:pt x="9010620" y="5314974"/>
                </a:moveTo>
                <a:lnTo>
                  <a:pt x="9040222" y="5314974"/>
                </a:lnTo>
                <a:lnTo>
                  <a:pt x="9040222" y="5344468"/>
                </a:lnTo>
                <a:lnTo>
                  <a:pt x="9010620" y="5344468"/>
                </a:lnTo>
                <a:close/>
                <a:moveTo>
                  <a:pt x="8744423" y="5314974"/>
                </a:moveTo>
                <a:lnTo>
                  <a:pt x="8774026" y="5314974"/>
                </a:lnTo>
                <a:lnTo>
                  <a:pt x="8774026" y="5344468"/>
                </a:lnTo>
                <a:lnTo>
                  <a:pt x="8744423" y="5344468"/>
                </a:lnTo>
                <a:close/>
                <a:moveTo>
                  <a:pt x="8478226" y="5314974"/>
                </a:moveTo>
                <a:lnTo>
                  <a:pt x="8507828" y="5314974"/>
                </a:lnTo>
                <a:lnTo>
                  <a:pt x="8507828" y="5344468"/>
                </a:lnTo>
                <a:lnTo>
                  <a:pt x="8478226" y="5344468"/>
                </a:lnTo>
                <a:close/>
                <a:moveTo>
                  <a:pt x="8212137" y="5314974"/>
                </a:moveTo>
                <a:lnTo>
                  <a:pt x="8241740" y="5314974"/>
                </a:lnTo>
                <a:lnTo>
                  <a:pt x="8241740" y="5344468"/>
                </a:lnTo>
                <a:lnTo>
                  <a:pt x="8212137" y="5344468"/>
                </a:lnTo>
                <a:close/>
                <a:moveTo>
                  <a:pt x="7945940" y="5314974"/>
                </a:moveTo>
                <a:lnTo>
                  <a:pt x="7975543" y="5314974"/>
                </a:lnTo>
                <a:lnTo>
                  <a:pt x="7975543" y="5344468"/>
                </a:lnTo>
                <a:lnTo>
                  <a:pt x="7945940" y="5344468"/>
                </a:lnTo>
                <a:close/>
                <a:moveTo>
                  <a:pt x="7679743" y="5314974"/>
                </a:moveTo>
                <a:lnTo>
                  <a:pt x="7709346" y="5314974"/>
                </a:lnTo>
                <a:lnTo>
                  <a:pt x="7709346" y="5344468"/>
                </a:lnTo>
                <a:lnTo>
                  <a:pt x="7679743" y="5344468"/>
                </a:lnTo>
                <a:close/>
                <a:moveTo>
                  <a:pt x="7413653" y="5314974"/>
                </a:moveTo>
                <a:lnTo>
                  <a:pt x="7443256" y="5314974"/>
                </a:lnTo>
                <a:lnTo>
                  <a:pt x="7443256" y="5344468"/>
                </a:lnTo>
                <a:lnTo>
                  <a:pt x="7413653" y="5344468"/>
                </a:lnTo>
                <a:close/>
                <a:moveTo>
                  <a:pt x="7147456" y="5314974"/>
                </a:moveTo>
                <a:lnTo>
                  <a:pt x="7177058" y="5314974"/>
                </a:lnTo>
                <a:lnTo>
                  <a:pt x="7177058" y="5344468"/>
                </a:lnTo>
                <a:lnTo>
                  <a:pt x="7147456" y="5344468"/>
                </a:lnTo>
                <a:close/>
                <a:moveTo>
                  <a:pt x="6881367" y="5314974"/>
                </a:moveTo>
                <a:lnTo>
                  <a:pt x="6910970" y="5314974"/>
                </a:lnTo>
                <a:lnTo>
                  <a:pt x="6910970" y="5344468"/>
                </a:lnTo>
                <a:lnTo>
                  <a:pt x="6881367" y="5344468"/>
                </a:lnTo>
                <a:close/>
                <a:moveTo>
                  <a:pt x="6615170" y="5314974"/>
                </a:moveTo>
                <a:lnTo>
                  <a:pt x="6644773" y="5314974"/>
                </a:lnTo>
                <a:lnTo>
                  <a:pt x="6644773" y="5344468"/>
                </a:lnTo>
                <a:lnTo>
                  <a:pt x="6615170" y="5344468"/>
                </a:lnTo>
                <a:close/>
                <a:moveTo>
                  <a:pt x="6349081" y="5314974"/>
                </a:moveTo>
                <a:lnTo>
                  <a:pt x="6378683" y="5314974"/>
                </a:lnTo>
                <a:lnTo>
                  <a:pt x="6378683" y="5344468"/>
                </a:lnTo>
                <a:lnTo>
                  <a:pt x="6349081" y="5344468"/>
                </a:lnTo>
                <a:close/>
                <a:moveTo>
                  <a:pt x="6082884" y="5314974"/>
                </a:moveTo>
                <a:lnTo>
                  <a:pt x="6112486" y="5314974"/>
                </a:lnTo>
                <a:lnTo>
                  <a:pt x="6112486" y="5344468"/>
                </a:lnTo>
                <a:lnTo>
                  <a:pt x="6082884" y="5344468"/>
                </a:lnTo>
                <a:close/>
                <a:moveTo>
                  <a:pt x="5825310" y="5314974"/>
                </a:moveTo>
                <a:lnTo>
                  <a:pt x="5854913" y="5314974"/>
                </a:lnTo>
                <a:lnTo>
                  <a:pt x="5854913" y="5344468"/>
                </a:lnTo>
                <a:lnTo>
                  <a:pt x="5825310" y="5344468"/>
                </a:lnTo>
                <a:close/>
                <a:moveTo>
                  <a:pt x="5559113" y="5314974"/>
                </a:moveTo>
                <a:lnTo>
                  <a:pt x="5588715" y="5314974"/>
                </a:lnTo>
                <a:lnTo>
                  <a:pt x="5588715" y="5344468"/>
                </a:lnTo>
                <a:lnTo>
                  <a:pt x="5559113" y="5344468"/>
                </a:lnTo>
                <a:close/>
                <a:moveTo>
                  <a:pt x="5293024" y="5314974"/>
                </a:moveTo>
                <a:lnTo>
                  <a:pt x="5322626" y="5314974"/>
                </a:lnTo>
                <a:lnTo>
                  <a:pt x="5322626" y="5344468"/>
                </a:lnTo>
                <a:lnTo>
                  <a:pt x="5293024" y="5344468"/>
                </a:lnTo>
                <a:close/>
                <a:moveTo>
                  <a:pt x="5026827" y="5314974"/>
                </a:moveTo>
                <a:lnTo>
                  <a:pt x="5056429" y="5314974"/>
                </a:lnTo>
                <a:lnTo>
                  <a:pt x="5056429" y="5344468"/>
                </a:lnTo>
                <a:lnTo>
                  <a:pt x="5026827" y="5344468"/>
                </a:lnTo>
                <a:close/>
                <a:moveTo>
                  <a:pt x="4760630" y="5314974"/>
                </a:moveTo>
                <a:lnTo>
                  <a:pt x="4790340" y="5314974"/>
                </a:lnTo>
                <a:lnTo>
                  <a:pt x="4790340" y="5344468"/>
                </a:lnTo>
                <a:lnTo>
                  <a:pt x="4760630" y="5344468"/>
                </a:lnTo>
                <a:close/>
                <a:moveTo>
                  <a:pt x="4494541" y="5314974"/>
                </a:moveTo>
                <a:lnTo>
                  <a:pt x="4524144" y="5314974"/>
                </a:lnTo>
                <a:lnTo>
                  <a:pt x="4524144" y="5344468"/>
                </a:lnTo>
                <a:lnTo>
                  <a:pt x="4494541" y="5344468"/>
                </a:lnTo>
                <a:close/>
                <a:moveTo>
                  <a:pt x="4228344" y="5314974"/>
                </a:moveTo>
                <a:lnTo>
                  <a:pt x="4257946" y="5314974"/>
                </a:lnTo>
                <a:lnTo>
                  <a:pt x="4257946" y="5344468"/>
                </a:lnTo>
                <a:lnTo>
                  <a:pt x="4228344" y="5344468"/>
                </a:lnTo>
                <a:close/>
                <a:moveTo>
                  <a:pt x="3962255" y="5314974"/>
                </a:moveTo>
                <a:lnTo>
                  <a:pt x="3991857" y="5314974"/>
                </a:lnTo>
                <a:lnTo>
                  <a:pt x="3991857" y="5344468"/>
                </a:lnTo>
                <a:lnTo>
                  <a:pt x="3962255" y="5344468"/>
                </a:lnTo>
                <a:close/>
                <a:moveTo>
                  <a:pt x="3696058" y="5314974"/>
                </a:moveTo>
                <a:lnTo>
                  <a:pt x="3725661" y="5314974"/>
                </a:lnTo>
                <a:lnTo>
                  <a:pt x="3725661" y="5344468"/>
                </a:lnTo>
                <a:lnTo>
                  <a:pt x="3696058" y="5344468"/>
                </a:lnTo>
                <a:close/>
                <a:moveTo>
                  <a:pt x="3429969" y="5314974"/>
                </a:moveTo>
                <a:lnTo>
                  <a:pt x="3459572" y="5314974"/>
                </a:lnTo>
                <a:lnTo>
                  <a:pt x="3459572" y="5344468"/>
                </a:lnTo>
                <a:lnTo>
                  <a:pt x="3429969" y="5344468"/>
                </a:lnTo>
                <a:close/>
                <a:moveTo>
                  <a:pt x="3163772" y="5314974"/>
                </a:moveTo>
                <a:lnTo>
                  <a:pt x="3193374" y="5314974"/>
                </a:lnTo>
                <a:lnTo>
                  <a:pt x="3193374" y="5344468"/>
                </a:lnTo>
                <a:lnTo>
                  <a:pt x="3163772" y="5344468"/>
                </a:lnTo>
                <a:close/>
                <a:moveTo>
                  <a:pt x="2897575" y="5314974"/>
                </a:moveTo>
                <a:lnTo>
                  <a:pt x="2927178" y="5314974"/>
                </a:lnTo>
                <a:lnTo>
                  <a:pt x="2927178" y="5344468"/>
                </a:lnTo>
                <a:lnTo>
                  <a:pt x="2897575" y="5344468"/>
                </a:lnTo>
                <a:close/>
                <a:moveTo>
                  <a:pt x="2631378" y="5314974"/>
                </a:moveTo>
                <a:lnTo>
                  <a:pt x="2660980" y="5314974"/>
                </a:lnTo>
                <a:lnTo>
                  <a:pt x="2660980" y="5344468"/>
                </a:lnTo>
                <a:lnTo>
                  <a:pt x="2631378" y="5344468"/>
                </a:lnTo>
                <a:close/>
                <a:moveTo>
                  <a:pt x="2365289" y="5314974"/>
                </a:moveTo>
                <a:lnTo>
                  <a:pt x="2394892" y="5314974"/>
                </a:lnTo>
                <a:lnTo>
                  <a:pt x="2394892" y="5344468"/>
                </a:lnTo>
                <a:lnTo>
                  <a:pt x="2365289" y="5344468"/>
                </a:lnTo>
                <a:close/>
                <a:moveTo>
                  <a:pt x="2099092" y="5314974"/>
                </a:moveTo>
                <a:lnTo>
                  <a:pt x="2128695" y="5314974"/>
                </a:lnTo>
                <a:lnTo>
                  <a:pt x="2128695" y="5344468"/>
                </a:lnTo>
                <a:lnTo>
                  <a:pt x="2099092" y="5344468"/>
                </a:lnTo>
                <a:close/>
                <a:moveTo>
                  <a:pt x="1832898" y="5314974"/>
                </a:moveTo>
                <a:lnTo>
                  <a:pt x="1862498" y="5314974"/>
                </a:lnTo>
                <a:lnTo>
                  <a:pt x="1862498" y="5344468"/>
                </a:lnTo>
                <a:lnTo>
                  <a:pt x="1832898" y="5344468"/>
                </a:lnTo>
                <a:close/>
                <a:moveTo>
                  <a:pt x="1566808" y="5314974"/>
                </a:moveTo>
                <a:lnTo>
                  <a:pt x="1596409" y="5314974"/>
                </a:lnTo>
                <a:lnTo>
                  <a:pt x="1596409" y="5344468"/>
                </a:lnTo>
                <a:lnTo>
                  <a:pt x="1566808" y="5344468"/>
                </a:lnTo>
                <a:close/>
                <a:moveTo>
                  <a:pt x="1300611" y="5314974"/>
                </a:moveTo>
                <a:lnTo>
                  <a:pt x="1330213" y="5314974"/>
                </a:lnTo>
                <a:lnTo>
                  <a:pt x="1330213" y="5344468"/>
                </a:lnTo>
                <a:lnTo>
                  <a:pt x="1300611" y="5344468"/>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1672158" y="5049209"/>
                </a:moveTo>
                <a:lnTo>
                  <a:pt x="11701760" y="5049209"/>
                </a:lnTo>
                <a:lnTo>
                  <a:pt x="11701760" y="5078812"/>
                </a:lnTo>
                <a:lnTo>
                  <a:pt x="11672158" y="5078812"/>
                </a:lnTo>
                <a:close/>
                <a:moveTo>
                  <a:pt x="11405961" y="5049209"/>
                </a:moveTo>
                <a:lnTo>
                  <a:pt x="11435563" y="5049209"/>
                </a:lnTo>
                <a:lnTo>
                  <a:pt x="11435563" y="5078812"/>
                </a:lnTo>
                <a:lnTo>
                  <a:pt x="11405961" y="5078812"/>
                </a:lnTo>
                <a:close/>
                <a:moveTo>
                  <a:pt x="11139872" y="5049209"/>
                </a:moveTo>
                <a:lnTo>
                  <a:pt x="11169474" y="5049209"/>
                </a:lnTo>
                <a:lnTo>
                  <a:pt x="11169474" y="5078812"/>
                </a:lnTo>
                <a:lnTo>
                  <a:pt x="11139872" y="5078812"/>
                </a:lnTo>
                <a:close/>
                <a:moveTo>
                  <a:pt x="10873675" y="5049209"/>
                </a:moveTo>
                <a:lnTo>
                  <a:pt x="10903277" y="5049209"/>
                </a:lnTo>
                <a:lnTo>
                  <a:pt x="10903277" y="5078812"/>
                </a:lnTo>
                <a:lnTo>
                  <a:pt x="10873675" y="5078812"/>
                </a:lnTo>
                <a:close/>
                <a:moveTo>
                  <a:pt x="10607478" y="5049209"/>
                </a:moveTo>
                <a:lnTo>
                  <a:pt x="10637188" y="5049209"/>
                </a:lnTo>
                <a:lnTo>
                  <a:pt x="10637188" y="5078812"/>
                </a:lnTo>
                <a:lnTo>
                  <a:pt x="10607478" y="5078812"/>
                </a:lnTo>
                <a:close/>
                <a:moveTo>
                  <a:pt x="10341389" y="5049209"/>
                </a:moveTo>
                <a:lnTo>
                  <a:pt x="10370992" y="5049209"/>
                </a:lnTo>
                <a:lnTo>
                  <a:pt x="10370992" y="5078812"/>
                </a:lnTo>
                <a:lnTo>
                  <a:pt x="10341389" y="5078812"/>
                </a:lnTo>
                <a:close/>
                <a:moveTo>
                  <a:pt x="10075192" y="5049209"/>
                </a:moveTo>
                <a:lnTo>
                  <a:pt x="10104794" y="5049209"/>
                </a:lnTo>
                <a:lnTo>
                  <a:pt x="10104794" y="5078812"/>
                </a:lnTo>
                <a:lnTo>
                  <a:pt x="10075192" y="5078812"/>
                </a:lnTo>
                <a:close/>
                <a:moveTo>
                  <a:pt x="9809103" y="5049209"/>
                </a:moveTo>
                <a:lnTo>
                  <a:pt x="9838705" y="5049209"/>
                </a:lnTo>
                <a:lnTo>
                  <a:pt x="9838705" y="5078812"/>
                </a:lnTo>
                <a:lnTo>
                  <a:pt x="9809103" y="5078812"/>
                </a:lnTo>
                <a:close/>
                <a:moveTo>
                  <a:pt x="9542906" y="5049209"/>
                </a:moveTo>
                <a:lnTo>
                  <a:pt x="9572509" y="5049209"/>
                </a:lnTo>
                <a:lnTo>
                  <a:pt x="9572509" y="5078812"/>
                </a:lnTo>
                <a:lnTo>
                  <a:pt x="9542906" y="5078812"/>
                </a:lnTo>
                <a:close/>
                <a:moveTo>
                  <a:pt x="9276817" y="5049209"/>
                </a:moveTo>
                <a:lnTo>
                  <a:pt x="9306420" y="5049209"/>
                </a:lnTo>
                <a:lnTo>
                  <a:pt x="9306420" y="5078812"/>
                </a:lnTo>
                <a:lnTo>
                  <a:pt x="9276817" y="5078812"/>
                </a:lnTo>
                <a:close/>
                <a:moveTo>
                  <a:pt x="9010620" y="5049209"/>
                </a:moveTo>
                <a:lnTo>
                  <a:pt x="9040222" y="5049209"/>
                </a:lnTo>
                <a:lnTo>
                  <a:pt x="9040222" y="5078812"/>
                </a:lnTo>
                <a:lnTo>
                  <a:pt x="9010620" y="5078812"/>
                </a:lnTo>
                <a:close/>
                <a:moveTo>
                  <a:pt x="8744423" y="5049209"/>
                </a:moveTo>
                <a:lnTo>
                  <a:pt x="8774026" y="5049209"/>
                </a:lnTo>
                <a:lnTo>
                  <a:pt x="8774026" y="5078812"/>
                </a:lnTo>
                <a:lnTo>
                  <a:pt x="8744423" y="5078812"/>
                </a:lnTo>
                <a:close/>
                <a:moveTo>
                  <a:pt x="8478226" y="5049209"/>
                </a:moveTo>
                <a:lnTo>
                  <a:pt x="8507828" y="5049209"/>
                </a:lnTo>
                <a:lnTo>
                  <a:pt x="8507828" y="5078812"/>
                </a:lnTo>
                <a:lnTo>
                  <a:pt x="8478226" y="5078812"/>
                </a:lnTo>
                <a:close/>
                <a:moveTo>
                  <a:pt x="8212137" y="5049209"/>
                </a:moveTo>
                <a:lnTo>
                  <a:pt x="8241740" y="5049209"/>
                </a:lnTo>
                <a:lnTo>
                  <a:pt x="8241740" y="5078812"/>
                </a:lnTo>
                <a:lnTo>
                  <a:pt x="8212137" y="5078812"/>
                </a:lnTo>
                <a:close/>
                <a:moveTo>
                  <a:pt x="7945940" y="5049209"/>
                </a:moveTo>
                <a:lnTo>
                  <a:pt x="7975543" y="5049209"/>
                </a:lnTo>
                <a:lnTo>
                  <a:pt x="7975543" y="5078812"/>
                </a:lnTo>
                <a:lnTo>
                  <a:pt x="7945940" y="5078812"/>
                </a:lnTo>
                <a:close/>
                <a:moveTo>
                  <a:pt x="7679743" y="5049209"/>
                </a:moveTo>
                <a:lnTo>
                  <a:pt x="7709346" y="5049209"/>
                </a:lnTo>
                <a:lnTo>
                  <a:pt x="7709346" y="5078812"/>
                </a:lnTo>
                <a:lnTo>
                  <a:pt x="7679743" y="5078812"/>
                </a:lnTo>
                <a:close/>
                <a:moveTo>
                  <a:pt x="7413653" y="5049209"/>
                </a:moveTo>
                <a:lnTo>
                  <a:pt x="7443256" y="5049209"/>
                </a:lnTo>
                <a:lnTo>
                  <a:pt x="7443256" y="5078812"/>
                </a:lnTo>
                <a:lnTo>
                  <a:pt x="7413653" y="5078812"/>
                </a:lnTo>
                <a:close/>
                <a:moveTo>
                  <a:pt x="7147456" y="5049209"/>
                </a:moveTo>
                <a:lnTo>
                  <a:pt x="7177058" y="5049209"/>
                </a:lnTo>
                <a:lnTo>
                  <a:pt x="7177058" y="5078812"/>
                </a:lnTo>
                <a:lnTo>
                  <a:pt x="7147456" y="5078812"/>
                </a:lnTo>
                <a:close/>
                <a:moveTo>
                  <a:pt x="6881367" y="5049209"/>
                </a:moveTo>
                <a:lnTo>
                  <a:pt x="6910970" y="5049209"/>
                </a:lnTo>
                <a:lnTo>
                  <a:pt x="6910970" y="5078812"/>
                </a:lnTo>
                <a:lnTo>
                  <a:pt x="6881367" y="5078812"/>
                </a:lnTo>
                <a:close/>
                <a:moveTo>
                  <a:pt x="6615170" y="5049209"/>
                </a:moveTo>
                <a:lnTo>
                  <a:pt x="6644773" y="5049209"/>
                </a:lnTo>
                <a:lnTo>
                  <a:pt x="6644773" y="5078812"/>
                </a:lnTo>
                <a:lnTo>
                  <a:pt x="6615170" y="5078812"/>
                </a:lnTo>
                <a:close/>
                <a:moveTo>
                  <a:pt x="6349081" y="5049209"/>
                </a:moveTo>
                <a:lnTo>
                  <a:pt x="6378683" y="5049209"/>
                </a:lnTo>
                <a:lnTo>
                  <a:pt x="6378683" y="5078812"/>
                </a:lnTo>
                <a:lnTo>
                  <a:pt x="6349081" y="5078812"/>
                </a:lnTo>
                <a:close/>
                <a:moveTo>
                  <a:pt x="6082884" y="5049209"/>
                </a:moveTo>
                <a:lnTo>
                  <a:pt x="6112486" y="5049209"/>
                </a:lnTo>
                <a:lnTo>
                  <a:pt x="6112486" y="5078812"/>
                </a:lnTo>
                <a:lnTo>
                  <a:pt x="6082884" y="5078812"/>
                </a:lnTo>
                <a:close/>
                <a:moveTo>
                  <a:pt x="5825310" y="5049209"/>
                </a:moveTo>
                <a:lnTo>
                  <a:pt x="5854913" y="5049209"/>
                </a:lnTo>
                <a:lnTo>
                  <a:pt x="5854913" y="5078812"/>
                </a:lnTo>
                <a:lnTo>
                  <a:pt x="5825310" y="5078812"/>
                </a:lnTo>
                <a:close/>
                <a:moveTo>
                  <a:pt x="5559113" y="5049209"/>
                </a:moveTo>
                <a:lnTo>
                  <a:pt x="5588715" y="5049209"/>
                </a:lnTo>
                <a:lnTo>
                  <a:pt x="5588715" y="5078812"/>
                </a:lnTo>
                <a:lnTo>
                  <a:pt x="5559113" y="5078812"/>
                </a:lnTo>
                <a:close/>
                <a:moveTo>
                  <a:pt x="5293024" y="5049209"/>
                </a:moveTo>
                <a:lnTo>
                  <a:pt x="5322626" y="5049209"/>
                </a:lnTo>
                <a:lnTo>
                  <a:pt x="5322626" y="5078812"/>
                </a:lnTo>
                <a:lnTo>
                  <a:pt x="5293024" y="5078812"/>
                </a:lnTo>
                <a:close/>
                <a:moveTo>
                  <a:pt x="5026827" y="5049209"/>
                </a:moveTo>
                <a:lnTo>
                  <a:pt x="5056429" y="5049209"/>
                </a:lnTo>
                <a:lnTo>
                  <a:pt x="5056429" y="5078812"/>
                </a:lnTo>
                <a:lnTo>
                  <a:pt x="5026827" y="5078812"/>
                </a:lnTo>
                <a:close/>
                <a:moveTo>
                  <a:pt x="4760630" y="5049209"/>
                </a:moveTo>
                <a:lnTo>
                  <a:pt x="4790340" y="5049209"/>
                </a:lnTo>
                <a:lnTo>
                  <a:pt x="4790340" y="5078812"/>
                </a:lnTo>
                <a:lnTo>
                  <a:pt x="4760630" y="5078812"/>
                </a:lnTo>
                <a:close/>
                <a:moveTo>
                  <a:pt x="4494541" y="5049209"/>
                </a:moveTo>
                <a:lnTo>
                  <a:pt x="4524144" y="5049209"/>
                </a:lnTo>
                <a:lnTo>
                  <a:pt x="4524144" y="5078812"/>
                </a:lnTo>
                <a:lnTo>
                  <a:pt x="4494541" y="5078812"/>
                </a:lnTo>
                <a:close/>
                <a:moveTo>
                  <a:pt x="4228344" y="5049209"/>
                </a:moveTo>
                <a:lnTo>
                  <a:pt x="4257946" y="5049209"/>
                </a:lnTo>
                <a:lnTo>
                  <a:pt x="4257946" y="5078812"/>
                </a:lnTo>
                <a:lnTo>
                  <a:pt x="4228344" y="5078812"/>
                </a:lnTo>
                <a:close/>
                <a:moveTo>
                  <a:pt x="3962255" y="5049209"/>
                </a:moveTo>
                <a:lnTo>
                  <a:pt x="3991857" y="5049209"/>
                </a:lnTo>
                <a:lnTo>
                  <a:pt x="3991857" y="5078812"/>
                </a:lnTo>
                <a:lnTo>
                  <a:pt x="3962255" y="5078812"/>
                </a:lnTo>
                <a:close/>
                <a:moveTo>
                  <a:pt x="3696058" y="5049209"/>
                </a:moveTo>
                <a:lnTo>
                  <a:pt x="3725661" y="5049209"/>
                </a:lnTo>
                <a:lnTo>
                  <a:pt x="3725661" y="5078812"/>
                </a:lnTo>
                <a:lnTo>
                  <a:pt x="3696058" y="5078812"/>
                </a:lnTo>
                <a:close/>
                <a:moveTo>
                  <a:pt x="3429969" y="5049209"/>
                </a:moveTo>
                <a:lnTo>
                  <a:pt x="3459572" y="5049209"/>
                </a:lnTo>
                <a:lnTo>
                  <a:pt x="3459572" y="5078812"/>
                </a:lnTo>
                <a:lnTo>
                  <a:pt x="3429969" y="5078812"/>
                </a:lnTo>
                <a:close/>
                <a:moveTo>
                  <a:pt x="3163772" y="5049209"/>
                </a:moveTo>
                <a:lnTo>
                  <a:pt x="3193374" y="5049209"/>
                </a:lnTo>
                <a:lnTo>
                  <a:pt x="3193374" y="5078812"/>
                </a:lnTo>
                <a:lnTo>
                  <a:pt x="3163772" y="5078812"/>
                </a:lnTo>
                <a:close/>
                <a:moveTo>
                  <a:pt x="2897575" y="5049209"/>
                </a:moveTo>
                <a:lnTo>
                  <a:pt x="2927178" y="5049209"/>
                </a:lnTo>
                <a:lnTo>
                  <a:pt x="2927178" y="5078812"/>
                </a:lnTo>
                <a:lnTo>
                  <a:pt x="2897575" y="5078812"/>
                </a:lnTo>
                <a:close/>
                <a:moveTo>
                  <a:pt x="2631378" y="5049209"/>
                </a:moveTo>
                <a:lnTo>
                  <a:pt x="2660980" y="5049209"/>
                </a:lnTo>
                <a:lnTo>
                  <a:pt x="2660980" y="5078812"/>
                </a:lnTo>
                <a:lnTo>
                  <a:pt x="2631378" y="5078812"/>
                </a:lnTo>
                <a:close/>
                <a:moveTo>
                  <a:pt x="2365289" y="5049209"/>
                </a:moveTo>
                <a:lnTo>
                  <a:pt x="2394892" y="5049209"/>
                </a:lnTo>
                <a:lnTo>
                  <a:pt x="2394892" y="5078812"/>
                </a:lnTo>
                <a:lnTo>
                  <a:pt x="2365289" y="5078812"/>
                </a:lnTo>
                <a:close/>
                <a:moveTo>
                  <a:pt x="2099092" y="5049209"/>
                </a:moveTo>
                <a:lnTo>
                  <a:pt x="2128695" y="5049209"/>
                </a:lnTo>
                <a:lnTo>
                  <a:pt x="2128695" y="5078812"/>
                </a:lnTo>
                <a:lnTo>
                  <a:pt x="2099092" y="5078812"/>
                </a:lnTo>
                <a:close/>
                <a:moveTo>
                  <a:pt x="1832898" y="5049209"/>
                </a:moveTo>
                <a:lnTo>
                  <a:pt x="1862498" y="5049209"/>
                </a:lnTo>
                <a:lnTo>
                  <a:pt x="1862498" y="5078812"/>
                </a:lnTo>
                <a:lnTo>
                  <a:pt x="1832898" y="5078812"/>
                </a:lnTo>
                <a:close/>
                <a:moveTo>
                  <a:pt x="1566808" y="5049209"/>
                </a:moveTo>
                <a:lnTo>
                  <a:pt x="1596409" y="5049209"/>
                </a:lnTo>
                <a:lnTo>
                  <a:pt x="1596409" y="5078812"/>
                </a:lnTo>
                <a:lnTo>
                  <a:pt x="1566808" y="5078812"/>
                </a:lnTo>
                <a:close/>
                <a:moveTo>
                  <a:pt x="1300611" y="5049209"/>
                </a:moveTo>
                <a:lnTo>
                  <a:pt x="1330213" y="5049209"/>
                </a:lnTo>
                <a:lnTo>
                  <a:pt x="1330213" y="5078812"/>
                </a:lnTo>
                <a:lnTo>
                  <a:pt x="1300611" y="5078812"/>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1672158" y="4783444"/>
                </a:moveTo>
                <a:lnTo>
                  <a:pt x="11701760" y="4783444"/>
                </a:lnTo>
                <a:lnTo>
                  <a:pt x="11701760" y="4813046"/>
                </a:lnTo>
                <a:lnTo>
                  <a:pt x="11672158" y="4813046"/>
                </a:lnTo>
                <a:close/>
                <a:moveTo>
                  <a:pt x="11405961" y="4783444"/>
                </a:moveTo>
                <a:lnTo>
                  <a:pt x="11435563" y="4783444"/>
                </a:lnTo>
                <a:lnTo>
                  <a:pt x="11435563" y="4813046"/>
                </a:lnTo>
                <a:lnTo>
                  <a:pt x="11405961" y="4813046"/>
                </a:lnTo>
                <a:close/>
                <a:moveTo>
                  <a:pt x="11139872" y="4783444"/>
                </a:moveTo>
                <a:lnTo>
                  <a:pt x="11169474" y="4783444"/>
                </a:lnTo>
                <a:lnTo>
                  <a:pt x="11169474" y="4813046"/>
                </a:lnTo>
                <a:lnTo>
                  <a:pt x="11139872" y="4813046"/>
                </a:lnTo>
                <a:close/>
                <a:moveTo>
                  <a:pt x="10873675" y="4783444"/>
                </a:moveTo>
                <a:lnTo>
                  <a:pt x="10903277" y="4783444"/>
                </a:lnTo>
                <a:lnTo>
                  <a:pt x="10903277" y="4813046"/>
                </a:lnTo>
                <a:lnTo>
                  <a:pt x="10873675" y="4813046"/>
                </a:lnTo>
                <a:close/>
                <a:moveTo>
                  <a:pt x="10607478" y="4783444"/>
                </a:moveTo>
                <a:lnTo>
                  <a:pt x="10637188" y="4783444"/>
                </a:lnTo>
                <a:lnTo>
                  <a:pt x="10637188" y="4813046"/>
                </a:lnTo>
                <a:lnTo>
                  <a:pt x="10607478" y="4813046"/>
                </a:lnTo>
                <a:close/>
                <a:moveTo>
                  <a:pt x="10341389" y="4783444"/>
                </a:moveTo>
                <a:lnTo>
                  <a:pt x="10370992" y="4783444"/>
                </a:lnTo>
                <a:lnTo>
                  <a:pt x="10370992" y="4813046"/>
                </a:lnTo>
                <a:lnTo>
                  <a:pt x="10341389" y="4813046"/>
                </a:lnTo>
                <a:close/>
                <a:moveTo>
                  <a:pt x="10075192" y="4783444"/>
                </a:moveTo>
                <a:lnTo>
                  <a:pt x="10104794" y="4783444"/>
                </a:lnTo>
                <a:lnTo>
                  <a:pt x="10104794" y="4813046"/>
                </a:lnTo>
                <a:lnTo>
                  <a:pt x="10075192" y="4813046"/>
                </a:lnTo>
                <a:close/>
                <a:moveTo>
                  <a:pt x="9809103" y="4783444"/>
                </a:moveTo>
                <a:lnTo>
                  <a:pt x="9838705" y="4783444"/>
                </a:lnTo>
                <a:lnTo>
                  <a:pt x="9838705" y="4813046"/>
                </a:lnTo>
                <a:lnTo>
                  <a:pt x="9809103" y="4813046"/>
                </a:lnTo>
                <a:close/>
                <a:moveTo>
                  <a:pt x="9542906" y="4783444"/>
                </a:moveTo>
                <a:lnTo>
                  <a:pt x="9572509" y="4783444"/>
                </a:lnTo>
                <a:lnTo>
                  <a:pt x="9572509" y="4813046"/>
                </a:lnTo>
                <a:lnTo>
                  <a:pt x="9542906" y="4813046"/>
                </a:lnTo>
                <a:close/>
                <a:moveTo>
                  <a:pt x="9276817" y="4783444"/>
                </a:moveTo>
                <a:lnTo>
                  <a:pt x="9306420" y="4783444"/>
                </a:lnTo>
                <a:lnTo>
                  <a:pt x="9306420" y="4813046"/>
                </a:lnTo>
                <a:lnTo>
                  <a:pt x="9276817" y="4813046"/>
                </a:lnTo>
                <a:close/>
                <a:moveTo>
                  <a:pt x="9010620" y="4783444"/>
                </a:moveTo>
                <a:lnTo>
                  <a:pt x="9040222" y="4783444"/>
                </a:lnTo>
                <a:lnTo>
                  <a:pt x="9040222" y="4813046"/>
                </a:lnTo>
                <a:lnTo>
                  <a:pt x="9010620" y="4813046"/>
                </a:lnTo>
                <a:close/>
                <a:moveTo>
                  <a:pt x="8744423" y="4783444"/>
                </a:moveTo>
                <a:lnTo>
                  <a:pt x="8774026" y="4783444"/>
                </a:lnTo>
                <a:lnTo>
                  <a:pt x="8774026" y="4813046"/>
                </a:lnTo>
                <a:lnTo>
                  <a:pt x="8744423" y="4813046"/>
                </a:lnTo>
                <a:close/>
                <a:moveTo>
                  <a:pt x="8478226" y="4783444"/>
                </a:moveTo>
                <a:lnTo>
                  <a:pt x="8507828" y="4783444"/>
                </a:lnTo>
                <a:lnTo>
                  <a:pt x="8507828" y="4813046"/>
                </a:lnTo>
                <a:lnTo>
                  <a:pt x="8478226" y="4813046"/>
                </a:lnTo>
                <a:close/>
                <a:moveTo>
                  <a:pt x="8212137" y="4783444"/>
                </a:moveTo>
                <a:lnTo>
                  <a:pt x="8241740" y="4783444"/>
                </a:lnTo>
                <a:lnTo>
                  <a:pt x="8241740" y="4813046"/>
                </a:lnTo>
                <a:lnTo>
                  <a:pt x="8212137" y="4813046"/>
                </a:lnTo>
                <a:close/>
                <a:moveTo>
                  <a:pt x="7945940" y="4783444"/>
                </a:moveTo>
                <a:lnTo>
                  <a:pt x="7975543" y="4783444"/>
                </a:lnTo>
                <a:lnTo>
                  <a:pt x="7975543" y="4813046"/>
                </a:lnTo>
                <a:lnTo>
                  <a:pt x="7945940" y="4813046"/>
                </a:lnTo>
                <a:close/>
                <a:moveTo>
                  <a:pt x="7679743" y="4783444"/>
                </a:moveTo>
                <a:lnTo>
                  <a:pt x="7709346" y="4783444"/>
                </a:lnTo>
                <a:lnTo>
                  <a:pt x="7709346" y="4813046"/>
                </a:lnTo>
                <a:lnTo>
                  <a:pt x="7679743" y="4813046"/>
                </a:lnTo>
                <a:close/>
                <a:moveTo>
                  <a:pt x="7413653" y="4783444"/>
                </a:moveTo>
                <a:lnTo>
                  <a:pt x="7443256" y="4783444"/>
                </a:lnTo>
                <a:lnTo>
                  <a:pt x="7443256" y="4813046"/>
                </a:lnTo>
                <a:lnTo>
                  <a:pt x="7413653" y="4813046"/>
                </a:lnTo>
                <a:close/>
                <a:moveTo>
                  <a:pt x="7147456" y="4783444"/>
                </a:moveTo>
                <a:lnTo>
                  <a:pt x="7177058" y="4783444"/>
                </a:lnTo>
                <a:lnTo>
                  <a:pt x="7177058" y="4813046"/>
                </a:lnTo>
                <a:lnTo>
                  <a:pt x="7147456" y="4813046"/>
                </a:lnTo>
                <a:close/>
                <a:moveTo>
                  <a:pt x="6881367" y="4783444"/>
                </a:moveTo>
                <a:lnTo>
                  <a:pt x="6910970" y="4783444"/>
                </a:lnTo>
                <a:lnTo>
                  <a:pt x="6910970" y="4813046"/>
                </a:lnTo>
                <a:lnTo>
                  <a:pt x="6881367" y="4813046"/>
                </a:lnTo>
                <a:close/>
                <a:moveTo>
                  <a:pt x="6615170" y="4783444"/>
                </a:moveTo>
                <a:lnTo>
                  <a:pt x="6644773" y="4783444"/>
                </a:lnTo>
                <a:lnTo>
                  <a:pt x="6644773" y="4813046"/>
                </a:lnTo>
                <a:lnTo>
                  <a:pt x="6615170" y="4813046"/>
                </a:lnTo>
                <a:close/>
                <a:moveTo>
                  <a:pt x="6349081" y="4783444"/>
                </a:moveTo>
                <a:lnTo>
                  <a:pt x="6378683" y="4783444"/>
                </a:lnTo>
                <a:lnTo>
                  <a:pt x="6378683" y="4813046"/>
                </a:lnTo>
                <a:lnTo>
                  <a:pt x="6349081" y="4813046"/>
                </a:lnTo>
                <a:close/>
                <a:moveTo>
                  <a:pt x="6082884" y="4783444"/>
                </a:moveTo>
                <a:lnTo>
                  <a:pt x="6112486" y="4783444"/>
                </a:lnTo>
                <a:lnTo>
                  <a:pt x="6112486" y="4813046"/>
                </a:lnTo>
                <a:lnTo>
                  <a:pt x="6082884" y="4813046"/>
                </a:lnTo>
                <a:close/>
                <a:moveTo>
                  <a:pt x="5825310" y="4783444"/>
                </a:moveTo>
                <a:lnTo>
                  <a:pt x="5854913" y="4783444"/>
                </a:lnTo>
                <a:lnTo>
                  <a:pt x="5854913" y="4813046"/>
                </a:lnTo>
                <a:lnTo>
                  <a:pt x="5825310" y="4813046"/>
                </a:lnTo>
                <a:close/>
                <a:moveTo>
                  <a:pt x="5559113" y="4783444"/>
                </a:moveTo>
                <a:lnTo>
                  <a:pt x="5588715" y="4783444"/>
                </a:lnTo>
                <a:lnTo>
                  <a:pt x="5588715" y="4813046"/>
                </a:lnTo>
                <a:lnTo>
                  <a:pt x="5559113" y="4813046"/>
                </a:lnTo>
                <a:close/>
                <a:moveTo>
                  <a:pt x="5293024" y="4783444"/>
                </a:moveTo>
                <a:lnTo>
                  <a:pt x="5322626" y="4783444"/>
                </a:lnTo>
                <a:lnTo>
                  <a:pt x="5322626" y="4813046"/>
                </a:lnTo>
                <a:lnTo>
                  <a:pt x="5293024" y="4813046"/>
                </a:lnTo>
                <a:close/>
                <a:moveTo>
                  <a:pt x="5026827" y="4783444"/>
                </a:moveTo>
                <a:lnTo>
                  <a:pt x="5056429" y="4783444"/>
                </a:lnTo>
                <a:lnTo>
                  <a:pt x="5056429" y="4813046"/>
                </a:lnTo>
                <a:lnTo>
                  <a:pt x="5026827" y="4813046"/>
                </a:lnTo>
                <a:close/>
                <a:moveTo>
                  <a:pt x="4760630" y="4783444"/>
                </a:moveTo>
                <a:lnTo>
                  <a:pt x="4790340" y="4783444"/>
                </a:lnTo>
                <a:lnTo>
                  <a:pt x="4790340" y="4813046"/>
                </a:lnTo>
                <a:lnTo>
                  <a:pt x="4760630" y="4813046"/>
                </a:lnTo>
                <a:close/>
                <a:moveTo>
                  <a:pt x="4494541" y="4783444"/>
                </a:moveTo>
                <a:lnTo>
                  <a:pt x="4524144" y="4783444"/>
                </a:lnTo>
                <a:lnTo>
                  <a:pt x="4524144" y="4813046"/>
                </a:lnTo>
                <a:lnTo>
                  <a:pt x="4494541" y="4813046"/>
                </a:lnTo>
                <a:close/>
                <a:moveTo>
                  <a:pt x="4228344" y="4783444"/>
                </a:moveTo>
                <a:lnTo>
                  <a:pt x="4257946" y="4783444"/>
                </a:lnTo>
                <a:lnTo>
                  <a:pt x="4257946" y="4813046"/>
                </a:lnTo>
                <a:lnTo>
                  <a:pt x="4228344" y="4813046"/>
                </a:lnTo>
                <a:close/>
                <a:moveTo>
                  <a:pt x="3962255" y="4783444"/>
                </a:moveTo>
                <a:lnTo>
                  <a:pt x="3991857" y="4783444"/>
                </a:lnTo>
                <a:lnTo>
                  <a:pt x="3991857" y="4813046"/>
                </a:lnTo>
                <a:lnTo>
                  <a:pt x="3962255" y="4813046"/>
                </a:lnTo>
                <a:close/>
                <a:moveTo>
                  <a:pt x="3696058" y="4783444"/>
                </a:moveTo>
                <a:lnTo>
                  <a:pt x="3725661" y="4783444"/>
                </a:lnTo>
                <a:lnTo>
                  <a:pt x="3725661" y="4813046"/>
                </a:lnTo>
                <a:lnTo>
                  <a:pt x="3696058" y="4813046"/>
                </a:lnTo>
                <a:close/>
                <a:moveTo>
                  <a:pt x="3429969" y="4783444"/>
                </a:moveTo>
                <a:lnTo>
                  <a:pt x="3459572" y="4783444"/>
                </a:lnTo>
                <a:lnTo>
                  <a:pt x="3459572" y="4813046"/>
                </a:lnTo>
                <a:lnTo>
                  <a:pt x="3429969" y="4813046"/>
                </a:lnTo>
                <a:close/>
                <a:moveTo>
                  <a:pt x="3163772" y="4783444"/>
                </a:moveTo>
                <a:lnTo>
                  <a:pt x="3193374" y="4783444"/>
                </a:lnTo>
                <a:lnTo>
                  <a:pt x="3193374" y="4813046"/>
                </a:lnTo>
                <a:lnTo>
                  <a:pt x="3163772" y="4813046"/>
                </a:lnTo>
                <a:close/>
                <a:moveTo>
                  <a:pt x="2897575" y="4783444"/>
                </a:moveTo>
                <a:lnTo>
                  <a:pt x="2927178" y="4783444"/>
                </a:lnTo>
                <a:lnTo>
                  <a:pt x="2927178" y="4813046"/>
                </a:lnTo>
                <a:lnTo>
                  <a:pt x="2897575" y="4813046"/>
                </a:lnTo>
                <a:close/>
                <a:moveTo>
                  <a:pt x="2631378" y="4783444"/>
                </a:moveTo>
                <a:lnTo>
                  <a:pt x="2660980" y="4783444"/>
                </a:lnTo>
                <a:lnTo>
                  <a:pt x="2660980" y="4813046"/>
                </a:lnTo>
                <a:lnTo>
                  <a:pt x="2631378" y="4813046"/>
                </a:lnTo>
                <a:close/>
                <a:moveTo>
                  <a:pt x="2365289" y="4783444"/>
                </a:moveTo>
                <a:lnTo>
                  <a:pt x="2394892" y="4783444"/>
                </a:lnTo>
                <a:lnTo>
                  <a:pt x="2394892" y="4813046"/>
                </a:lnTo>
                <a:lnTo>
                  <a:pt x="2365289" y="4813046"/>
                </a:lnTo>
                <a:close/>
                <a:moveTo>
                  <a:pt x="2099092" y="4783444"/>
                </a:moveTo>
                <a:lnTo>
                  <a:pt x="2128695" y="4783444"/>
                </a:lnTo>
                <a:lnTo>
                  <a:pt x="2128695" y="4813046"/>
                </a:lnTo>
                <a:lnTo>
                  <a:pt x="2099092" y="4813046"/>
                </a:lnTo>
                <a:close/>
                <a:moveTo>
                  <a:pt x="1832898" y="4783444"/>
                </a:moveTo>
                <a:lnTo>
                  <a:pt x="1862498" y="4783444"/>
                </a:lnTo>
                <a:lnTo>
                  <a:pt x="1862498" y="4813046"/>
                </a:lnTo>
                <a:lnTo>
                  <a:pt x="1832898" y="4813046"/>
                </a:lnTo>
                <a:close/>
                <a:moveTo>
                  <a:pt x="1566808" y="4783444"/>
                </a:moveTo>
                <a:lnTo>
                  <a:pt x="1596409" y="4783444"/>
                </a:lnTo>
                <a:lnTo>
                  <a:pt x="1596409" y="4813046"/>
                </a:lnTo>
                <a:lnTo>
                  <a:pt x="1566808" y="4813046"/>
                </a:lnTo>
                <a:close/>
                <a:moveTo>
                  <a:pt x="1300611" y="4783444"/>
                </a:moveTo>
                <a:lnTo>
                  <a:pt x="1330213" y="4783444"/>
                </a:lnTo>
                <a:lnTo>
                  <a:pt x="1330213" y="4813046"/>
                </a:lnTo>
                <a:lnTo>
                  <a:pt x="1300611" y="4813046"/>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1672158" y="4517679"/>
                </a:moveTo>
                <a:lnTo>
                  <a:pt x="11701760" y="4517679"/>
                </a:lnTo>
                <a:lnTo>
                  <a:pt x="11701760" y="4547281"/>
                </a:lnTo>
                <a:lnTo>
                  <a:pt x="11672158" y="4547281"/>
                </a:lnTo>
                <a:close/>
                <a:moveTo>
                  <a:pt x="11405961" y="4517679"/>
                </a:moveTo>
                <a:lnTo>
                  <a:pt x="11435563" y="4517679"/>
                </a:lnTo>
                <a:lnTo>
                  <a:pt x="11435563" y="4547281"/>
                </a:lnTo>
                <a:lnTo>
                  <a:pt x="11405961" y="4547281"/>
                </a:lnTo>
                <a:close/>
                <a:moveTo>
                  <a:pt x="11139872" y="4517679"/>
                </a:moveTo>
                <a:lnTo>
                  <a:pt x="11169474" y="4517679"/>
                </a:lnTo>
                <a:lnTo>
                  <a:pt x="11169474" y="4547281"/>
                </a:lnTo>
                <a:lnTo>
                  <a:pt x="11139872" y="4547281"/>
                </a:lnTo>
                <a:close/>
                <a:moveTo>
                  <a:pt x="10873675" y="4517679"/>
                </a:moveTo>
                <a:lnTo>
                  <a:pt x="10903277" y="4517679"/>
                </a:lnTo>
                <a:lnTo>
                  <a:pt x="10903277" y="4547281"/>
                </a:lnTo>
                <a:lnTo>
                  <a:pt x="10873675" y="4547281"/>
                </a:lnTo>
                <a:close/>
                <a:moveTo>
                  <a:pt x="10607478" y="4517679"/>
                </a:moveTo>
                <a:lnTo>
                  <a:pt x="10637188" y="4517679"/>
                </a:lnTo>
                <a:lnTo>
                  <a:pt x="10637188" y="4547281"/>
                </a:lnTo>
                <a:lnTo>
                  <a:pt x="10607478" y="4547281"/>
                </a:lnTo>
                <a:close/>
                <a:moveTo>
                  <a:pt x="10341389" y="4517679"/>
                </a:moveTo>
                <a:lnTo>
                  <a:pt x="10370992" y="4517679"/>
                </a:lnTo>
                <a:lnTo>
                  <a:pt x="10370992" y="4547281"/>
                </a:lnTo>
                <a:lnTo>
                  <a:pt x="10341389" y="4547281"/>
                </a:lnTo>
                <a:close/>
                <a:moveTo>
                  <a:pt x="10075192" y="4517679"/>
                </a:moveTo>
                <a:lnTo>
                  <a:pt x="10104794" y="4517679"/>
                </a:lnTo>
                <a:lnTo>
                  <a:pt x="10104794" y="4547281"/>
                </a:lnTo>
                <a:lnTo>
                  <a:pt x="10075192" y="4547281"/>
                </a:lnTo>
                <a:close/>
                <a:moveTo>
                  <a:pt x="9809103" y="4517679"/>
                </a:moveTo>
                <a:lnTo>
                  <a:pt x="9838705" y="4517679"/>
                </a:lnTo>
                <a:lnTo>
                  <a:pt x="9838705" y="4547281"/>
                </a:lnTo>
                <a:lnTo>
                  <a:pt x="9809103" y="4547281"/>
                </a:lnTo>
                <a:close/>
                <a:moveTo>
                  <a:pt x="9542906" y="4517679"/>
                </a:moveTo>
                <a:lnTo>
                  <a:pt x="9572509" y="4517679"/>
                </a:lnTo>
                <a:lnTo>
                  <a:pt x="9572509" y="4547281"/>
                </a:lnTo>
                <a:lnTo>
                  <a:pt x="9542906" y="4547281"/>
                </a:lnTo>
                <a:close/>
                <a:moveTo>
                  <a:pt x="9276817" y="4517679"/>
                </a:moveTo>
                <a:lnTo>
                  <a:pt x="9306420" y="4517679"/>
                </a:lnTo>
                <a:lnTo>
                  <a:pt x="9306420" y="4547281"/>
                </a:lnTo>
                <a:lnTo>
                  <a:pt x="9276817" y="4547281"/>
                </a:lnTo>
                <a:close/>
                <a:moveTo>
                  <a:pt x="9010620" y="4517679"/>
                </a:moveTo>
                <a:lnTo>
                  <a:pt x="9040222" y="4517679"/>
                </a:lnTo>
                <a:lnTo>
                  <a:pt x="9040222" y="4547281"/>
                </a:lnTo>
                <a:lnTo>
                  <a:pt x="9010620" y="4547281"/>
                </a:lnTo>
                <a:close/>
                <a:moveTo>
                  <a:pt x="8744423" y="4517679"/>
                </a:moveTo>
                <a:lnTo>
                  <a:pt x="8774026" y="4517679"/>
                </a:lnTo>
                <a:lnTo>
                  <a:pt x="8774026" y="4547281"/>
                </a:lnTo>
                <a:lnTo>
                  <a:pt x="8744423" y="4547281"/>
                </a:lnTo>
                <a:close/>
                <a:moveTo>
                  <a:pt x="8478226" y="4517679"/>
                </a:moveTo>
                <a:lnTo>
                  <a:pt x="8507828" y="4517679"/>
                </a:lnTo>
                <a:lnTo>
                  <a:pt x="8507828" y="4547281"/>
                </a:lnTo>
                <a:lnTo>
                  <a:pt x="8478226" y="4547281"/>
                </a:lnTo>
                <a:close/>
                <a:moveTo>
                  <a:pt x="8212137" y="4517679"/>
                </a:moveTo>
                <a:lnTo>
                  <a:pt x="8241740" y="4517679"/>
                </a:lnTo>
                <a:lnTo>
                  <a:pt x="8241740" y="4547281"/>
                </a:lnTo>
                <a:lnTo>
                  <a:pt x="8212137" y="4547281"/>
                </a:lnTo>
                <a:close/>
                <a:moveTo>
                  <a:pt x="7945940" y="4517679"/>
                </a:moveTo>
                <a:lnTo>
                  <a:pt x="7975543" y="4517679"/>
                </a:lnTo>
                <a:lnTo>
                  <a:pt x="7975543" y="4547281"/>
                </a:lnTo>
                <a:lnTo>
                  <a:pt x="7945940" y="4547281"/>
                </a:lnTo>
                <a:close/>
                <a:moveTo>
                  <a:pt x="7679743" y="4517679"/>
                </a:moveTo>
                <a:lnTo>
                  <a:pt x="7709346" y="4517679"/>
                </a:lnTo>
                <a:lnTo>
                  <a:pt x="7709346" y="4547281"/>
                </a:lnTo>
                <a:lnTo>
                  <a:pt x="7679743" y="4547281"/>
                </a:lnTo>
                <a:close/>
                <a:moveTo>
                  <a:pt x="7413653" y="4517679"/>
                </a:moveTo>
                <a:lnTo>
                  <a:pt x="7443256" y="4517679"/>
                </a:lnTo>
                <a:lnTo>
                  <a:pt x="7443256" y="4547281"/>
                </a:lnTo>
                <a:lnTo>
                  <a:pt x="7413653" y="4547281"/>
                </a:lnTo>
                <a:close/>
                <a:moveTo>
                  <a:pt x="7147456" y="4517679"/>
                </a:moveTo>
                <a:lnTo>
                  <a:pt x="7177058" y="4517679"/>
                </a:lnTo>
                <a:lnTo>
                  <a:pt x="7177058" y="4547281"/>
                </a:lnTo>
                <a:lnTo>
                  <a:pt x="7147456" y="4547281"/>
                </a:lnTo>
                <a:close/>
                <a:moveTo>
                  <a:pt x="6881367" y="4517679"/>
                </a:moveTo>
                <a:lnTo>
                  <a:pt x="6910970" y="4517679"/>
                </a:lnTo>
                <a:lnTo>
                  <a:pt x="6910970" y="4547281"/>
                </a:lnTo>
                <a:lnTo>
                  <a:pt x="6881367" y="4547281"/>
                </a:lnTo>
                <a:close/>
                <a:moveTo>
                  <a:pt x="6615170" y="4517679"/>
                </a:moveTo>
                <a:lnTo>
                  <a:pt x="6644773" y="4517679"/>
                </a:lnTo>
                <a:lnTo>
                  <a:pt x="6644773" y="4547281"/>
                </a:lnTo>
                <a:lnTo>
                  <a:pt x="6615170" y="4547281"/>
                </a:lnTo>
                <a:close/>
                <a:moveTo>
                  <a:pt x="6349081" y="4517679"/>
                </a:moveTo>
                <a:lnTo>
                  <a:pt x="6378683" y="4517679"/>
                </a:lnTo>
                <a:lnTo>
                  <a:pt x="6378683" y="4547281"/>
                </a:lnTo>
                <a:lnTo>
                  <a:pt x="6349081" y="4547281"/>
                </a:lnTo>
                <a:close/>
                <a:moveTo>
                  <a:pt x="6082884" y="4517679"/>
                </a:moveTo>
                <a:lnTo>
                  <a:pt x="6112486" y="4517679"/>
                </a:lnTo>
                <a:lnTo>
                  <a:pt x="6112486" y="4547281"/>
                </a:lnTo>
                <a:lnTo>
                  <a:pt x="6082884" y="4547281"/>
                </a:lnTo>
                <a:close/>
                <a:moveTo>
                  <a:pt x="5825310" y="4517679"/>
                </a:moveTo>
                <a:lnTo>
                  <a:pt x="5854913" y="4517679"/>
                </a:lnTo>
                <a:lnTo>
                  <a:pt x="5854913" y="4547281"/>
                </a:lnTo>
                <a:lnTo>
                  <a:pt x="5825310" y="4547281"/>
                </a:lnTo>
                <a:close/>
                <a:moveTo>
                  <a:pt x="5559113" y="4517679"/>
                </a:moveTo>
                <a:lnTo>
                  <a:pt x="5588715" y="4517679"/>
                </a:lnTo>
                <a:lnTo>
                  <a:pt x="5588715" y="4547281"/>
                </a:lnTo>
                <a:lnTo>
                  <a:pt x="5559113" y="4547281"/>
                </a:lnTo>
                <a:close/>
                <a:moveTo>
                  <a:pt x="5293024" y="4517679"/>
                </a:moveTo>
                <a:lnTo>
                  <a:pt x="5322626" y="4517679"/>
                </a:lnTo>
                <a:lnTo>
                  <a:pt x="5322626" y="4547281"/>
                </a:lnTo>
                <a:lnTo>
                  <a:pt x="5293024" y="4547281"/>
                </a:lnTo>
                <a:close/>
                <a:moveTo>
                  <a:pt x="5026827" y="4517679"/>
                </a:moveTo>
                <a:lnTo>
                  <a:pt x="5056429" y="4517679"/>
                </a:lnTo>
                <a:lnTo>
                  <a:pt x="5056429" y="4547281"/>
                </a:lnTo>
                <a:lnTo>
                  <a:pt x="5026827" y="4547281"/>
                </a:lnTo>
                <a:close/>
                <a:moveTo>
                  <a:pt x="4760630" y="4517679"/>
                </a:moveTo>
                <a:lnTo>
                  <a:pt x="4790340" y="4517679"/>
                </a:lnTo>
                <a:lnTo>
                  <a:pt x="4790340" y="4547281"/>
                </a:lnTo>
                <a:lnTo>
                  <a:pt x="4760630" y="4547281"/>
                </a:lnTo>
                <a:close/>
                <a:moveTo>
                  <a:pt x="4494541" y="4517679"/>
                </a:moveTo>
                <a:lnTo>
                  <a:pt x="4524144" y="4517679"/>
                </a:lnTo>
                <a:lnTo>
                  <a:pt x="4524144" y="4547281"/>
                </a:lnTo>
                <a:lnTo>
                  <a:pt x="4494541" y="4547281"/>
                </a:lnTo>
                <a:close/>
                <a:moveTo>
                  <a:pt x="4228344" y="4517679"/>
                </a:moveTo>
                <a:lnTo>
                  <a:pt x="4257946" y="4517679"/>
                </a:lnTo>
                <a:lnTo>
                  <a:pt x="4257946" y="4547281"/>
                </a:lnTo>
                <a:lnTo>
                  <a:pt x="4228344" y="4547281"/>
                </a:lnTo>
                <a:close/>
                <a:moveTo>
                  <a:pt x="3962255" y="4517679"/>
                </a:moveTo>
                <a:lnTo>
                  <a:pt x="3991857" y="4517679"/>
                </a:lnTo>
                <a:lnTo>
                  <a:pt x="3991857" y="4547281"/>
                </a:lnTo>
                <a:lnTo>
                  <a:pt x="3962255" y="4547281"/>
                </a:lnTo>
                <a:close/>
                <a:moveTo>
                  <a:pt x="3696058" y="4517679"/>
                </a:moveTo>
                <a:lnTo>
                  <a:pt x="3725661" y="4517679"/>
                </a:lnTo>
                <a:lnTo>
                  <a:pt x="3725661" y="4547281"/>
                </a:lnTo>
                <a:lnTo>
                  <a:pt x="3696058" y="4547281"/>
                </a:lnTo>
                <a:close/>
                <a:moveTo>
                  <a:pt x="3429969" y="4517679"/>
                </a:moveTo>
                <a:lnTo>
                  <a:pt x="3459572" y="4517679"/>
                </a:lnTo>
                <a:lnTo>
                  <a:pt x="3459572" y="4547281"/>
                </a:lnTo>
                <a:lnTo>
                  <a:pt x="3429969" y="4547281"/>
                </a:lnTo>
                <a:close/>
                <a:moveTo>
                  <a:pt x="3163772" y="4517679"/>
                </a:moveTo>
                <a:lnTo>
                  <a:pt x="3193374" y="4517679"/>
                </a:lnTo>
                <a:lnTo>
                  <a:pt x="3193374" y="4547281"/>
                </a:lnTo>
                <a:lnTo>
                  <a:pt x="3163772" y="4547281"/>
                </a:lnTo>
                <a:close/>
                <a:moveTo>
                  <a:pt x="2897575" y="4517679"/>
                </a:moveTo>
                <a:lnTo>
                  <a:pt x="2927178" y="4517679"/>
                </a:lnTo>
                <a:lnTo>
                  <a:pt x="2927178" y="4547281"/>
                </a:lnTo>
                <a:lnTo>
                  <a:pt x="2897575" y="4547281"/>
                </a:lnTo>
                <a:close/>
                <a:moveTo>
                  <a:pt x="2631378" y="4517679"/>
                </a:moveTo>
                <a:lnTo>
                  <a:pt x="2660980" y="4517679"/>
                </a:lnTo>
                <a:lnTo>
                  <a:pt x="2660980" y="4547281"/>
                </a:lnTo>
                <a:lnTo>
                  <a:pt x="2631378" y="4547281"/>
                </a:lnTo>
                <a:close/>
                <a:moveTo>
                  <a:pt x="2365289" y="4517679"/>
                </a:moveTo>
                <a:lnTo>
                  <a:pt x="2394892" y="4517679"/>
                </a:lnTo>
                <a:lnTo>
                  <a:pt x="2394892" y="4547281"/>
                </a:lnTo>
                <a:lnTo>
                  <a:pt x="2365289" y="4547281"/>
                </a:lnTo>
                <a:close/>
                <a:moveTo>
                  <a:pt x="2099092" y="4517679"/>
                </a:moveTo>
                <a:lnTo>
                  <a:pt x="2128695" y="4517679"/>
                </a:lnTo>
                <a:lnTo>
                  <a:pt x="2128695" y="4547281"/>
                </a:lnTo>
                <a:lnTo>
                  <a:pt x="2099092" y="4547281"/>
                </a:lnTo>
                <a:close/>
                <a:moveTo>
                  <a:pt x="1832898" y="4517679"/>
                </a:moveTo>
                <a:lnTo>
                  <a:pt x="1862498" y="4517679"/>
                </a:lnTo>
                <a:lnTo>
                  <a:pt x="1862498" y="4547281"/>
                </a:lnTo>
                <a:lnTo>
                  <a:pt x="1832898" y="4547281"/>
                </a:lnTo>
                <a:close/>
                <a:moveTo>
                  <a:pt x="1566808" y="4517679"/>
                </a:moveTo>
                <a:lnTo>
                  <a:pt x="1596409" y="4517679"/>
                </a:lnTo>
                <a:lnTo>
                  <a:pt x="1596409" y="4547281"/>
                </a:lnTo>
                <a:lnTo>
                  <a:pt x="1566808" y="4547281"/>
                </a:lnTo>
                <a:close/>
                <a:moveTo>
                  <a:pt x="1300611" y="4517679"/>
                </a:moveTo>
                <a:lnTo>
                  <a:pt x="1330213" y="4517679"/>
                </a:lnTo>
                <a:lnTo>
                  <a:pt x="1330213" y="4547281"/>
                </a:lnTo>
                <a:lnTo>
                  <a:pt x="1300611" y="4547281"/>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1672158" y="4252022"/>
                </a:moveTo>
                <a:lnTo>
                  <a:pt x="11701760" y="4252022"/>
                </a:lnTo>
                <a:lnTo>
                  <a:pt x="11701760" y="4281516"/>
                </a:lnTo>
                <a:lnTo>
                  <a:pt x="11672158" y="4281516"/>
                </a:lnTo>
                <a:close/>
                <a:moveTo>
                  <a:pt x="11405961" y="4252022"/>
                </a:moveTo>
                <a:lnTo>
                  <a:pt x="11435563" y="4252022"/>
                </a:lnTo>
                <a:lnTo>
                  <a:pt x="11435563" y="4281516"/>
                </a:lnTo>
                <a:lnTo>
                  <a:pt x="11405961" y="4281516"/>
                </a:lnTo>
                <a:close/>
                <a:moveTo>
                  <a:pt x="11139872" y="4252022"/>
                </a:moveTo>
                <a:lnTo>
                  <a:pt x="11169474" y="4252022"/>
                </a:lnTo>
                <a:lnTo>
                  <a:pt x="11169474" y="4281516"/>
                </a:lnTo>
                <a:lnTo>
                  <a:pt x="11139872" y="4281516"/>
                </a:lnTo>
                <a:close/>
                <a:moveTo>
                  <a:pt x="10873675" y="4252022"/>
                </a:moveTo>
                <a:lnTo>
                  <a:pt x="10903277" y="4252022"/>
                </a:lnTo>
                <a:lnTo>
                  <a:pt x="10903277" y="4281516"/>
                </a:lnTo>
                <a:lnTo>
                  <a:pt x="10873675" y="4281516"/>
                </a:lnTo>
                <a:close/>
                <a:moveTo>
                  <a:pt x="10607478" y="4252022"/>
                </a:moveTo>
                <a:lnTo>
                  <a:pt x="10637188" y="4252022"/>
                </a:lnTo>
                <a:lnTo>
                  <a:pt x="10637188" y="4281516"/>
                </a:lnTo>
                <a:lnTo>
                  <a:pt x="10607478" y="4281516"/>
                </a:lnTo>
                <a:close/>
                <a:moveTo>
                  <a:pt x="10341389" y="4252022"/>
                </a:moveTo>
                <a:lnTo>
                  <a:pt x="10370992" y="4252022"/>
                </a:lnTo>
                <a:lnTo>
                  <a:pt x="10370992" y="4281516"/>
                </a:lnTo>
                <a:lnTo>
                  <a:pt x="10341389" y="4281516"/>
                </a:lnTo>
                <a:close/>
                <a:moveTo>
                  <a:pt x="10075192" y="4252022"/>
                </a:moveTo>
                <a:lnTo>
                  <a:pt x="10104794" y="4252022"/>
                </a:lnTo>
                <a:lnTo>
                  <a:pt x="10104794" y="4281516"/>
                </a:lnTo>
                <a:lnTo>
                  <a:pt x="10075192" y="4281516"/>
                </a:lnTo>
                <a:close/>
                <a:moveTo>
                  <a:pt x="9809103" y="4252022"/>
                </a:moveTo>
                <a:lnTo>
                  <a:pt x="9838705" y="4252022"/>
                </a:lnTo>
                <a:lnTo>
                  <a:pt x="9838705" y="4281516"/>
                </a:lnTo>
                <a:lnTo>
                  <a:pt x="9809103" y="4281516"/>
                </a:lnTo>
                <a:close/>
                <a:moveTo>
                  <a:pt x="9542906" y="4252022"/>
                </a:moveTo>
                <a:lnTo>
                  <a:pt x="9572509" y="4252022"/>
                </a:lnTo>
                <a:lnTo>
                  <a:pt x="9572509" y="4281516"/>
                </a:lnTo>
                <a:lnTo>
                  <a:pt x="9542906" y="4281516"/>
                </a:lnTo>
                <a:close/>
                <a:moveTo>
                  <a:pt x="9276817" y="4252022"/>
                </a:moveTo>
                <a:lnTo>
                  <a:pt x="9306420" y="4252022"/>
                </a:lnTo>
                <a:lnTo>
                  <a:pt x="9306420" y="4281516"/>
                </a:lnTo>
                <a:lnTo>
                  <a:pt x="9276817" y="4281516"/>
                </a:lnTo>
                <a:close/>
                <a:moveTo>
                  <a:pt x="9010620" y="4252022"/>
                </a:moveTo>
                <a:lnTo>
                  <a:pt x="9040222" y="4252022"/>
                </a:lnTo>
                <a:lnTo>
                  <a:pt x="9040222" y="4281516"/>
                </a:lnTo>
                <a:lnTo>
                  <a:pt x="9010620" y="4281516"/>
                </a:lnTo>
                <a:close/>
                <a:moveTo>
                  <a:pt x="8744423" y="4252022"/>
                </a:moveTo>
                <a:lnTo>
                  <a:pt x="8774026" y="4252022"/>
                </a:lnTo>
                <a:lnTo>
                  <a:pt x="8774026" y="4281516"/>
                </a:lnTo>
                <a:lnTo>
                  <a:pt x="8744423" y="4281516"/>
                </a:lnTo>
                <a:close/>
                <a:moveTo>
                  <a:pt x="8478226" y="4252022"/>
                </a:moveTo>
                <a:lnTo>
                  <a:pt x="8507828" y="4252022"/>
                </a:lnTo>
                <a:lnTo>
                  <a:pt x="8507828" y="4281516"/>
                </a:lnTo>
                <a:lnTo>
                  <a:pt x="8478226" y="4281516"/>
                </a:lnTo>
                <a:close/>
                <a:moveTo>
                  <a:pt x="8212137" y="4252022"/>
                </a:moveTo>
                <a:lnTo>
                  <a:pt x="8241740" y="4252022"/>
                </a:lnTo>
                <a:lnTo>
                  <a:pt x="8241740" y="4281516"/>
                </a:lnTo>
                <a:lnTo>
                  <a:pt x="8212137" y="4281516"/>
                </a:lnTo>
                <a:close/>
                <a:moveTo>
                  <a:pt x="7945940" y="4252022"/>
                </a:moveTo>
                <a:lnTo>
                  <a:pt x="7975543" y="4252022"/>
                </a:lnTo>
                <a:lnTo>
                  <a:pt x="7975543" y="4281516"/>
                </a:lnTo>
                <a:lnTo>
                  <a:pt x="7945940" y="4281516"/>
                </a:lnTo>
                <a:close/>
                <a:moveTo>
                  <a:pt x="7679743" y="4252022"/>
                </a:moveTo>
                <a:lnTo>
                  <a:pt x="7709346" y="4252022"/>
                </a:lnTo>
                <a:lnTo>
                  <a:pt x="7709346" y="4281516"/>
                </a:lnTo>
                <a:lnTo>
                  <a:pt x="7679743" y="4281516"/>
                </a:lnTo>
                <a:close/>
                <a:moveTo>
                  <a:pt x="7413653" y="4252022"/>
                </a:moveTo>
                <a:lnTo>
                  <a:pt x="7443256" y="4252022"/>
                </a:lnTo>
                <a:lnTo>
                  <a:pt x="7443256" y="4281516"/>
                </a:lnTo>
                <a:lnTo>
                  <a:pt x="7413653" y="4281516"/>
                </a:lnTo>
                <a:close/>
                <a:moveTo>
                  <a:pt x="7147456" y="4252022"/>
                </a:moveTo>
                <a:lnTo>
                  <a:pt x="7177058" y="4252022"/>
                </a:lnTo>
                <a:lnTo>
                  <a:pt x="7177058" y="4281516"/>
                </a:lnTo>
                <a:lnTo>
                  <a:pt x="7147456" y="4281516"/>
                </a:lnTo>
                <a:close/>
                <a:moveTo>
                  <a:pt x="6881367" y="4252022"/>
                </a:moveTo>
                <a:lnTo>
                  <a:pt x="6910970" y="4252022"/>
                </a:lnTo>
                <a:lnTo>
                  <a:pt x="6910970" y="4281516"/>
                </a:lnTo>
                <a:lnTo>
                  <a:pt x="6881367" y="4281516"/>
                </a:lnTo>
                <a:close/>
                <a:moveTo>
                  <a:pt x="6615170" y="4252022"/>
                </a:moveTo>
                <a:lnTo>
                  <a:pt x="6644773" y="4252022"/>
                </a:lnTo>
                <a:lnTo>
                  <a:pt x="6644773" y="4281516"/>
                </a:lnTo>
                <a:lnTo>
                  <a:pt x="6615170" y="4281516"/>
                </a:lnTo>
                <a:close/>
                <a:moveTo>
                  <a:pt x="6349081" y="4252022"/>
                </a:moveTo>
                <a:lnTo>
                  <a:pt x="6378683" y="4252022"/>
                </a:lnTo>
                <a:lnTo>
                  <a:pt x="6378683" y="4281516"/>
                </a:lnTo>
                <a:lnTo>
                  <a:pt x="6349081" y="4281516"/>
                </a:lnTo>
                <a:close/>
                <a:moveTo>
                  <a:pt x="6082884" y="4252022"/>
                </a:moveTo>
                <a:lnTo>
                  <a:pt x="6112486" y="4252022"/>
                </a:lnTo>
                <a:lnTo>
                  <a:pt x="6112486" y="4281516"/>
                </a:lnTo>
                <a:lnTo>
                  <a:pt x="6082884" y="4281516"/>
                </a:lnTo>
                <a:close/>
                <a:moveTo>
                  <a:pt x="5825310" y="4252022"/>
                </a:moveTo>
                <a:lnTo>
                  <a:pt x="5854913" y="4252022"/>
                </a:lnTo>
                <a:lnTo>
                  <a:pt x="5854913" y="4281516"/>
                </a:lnTo>
                <a:lnTo>
                  <a:pt x="5825310" y="4281516"/>
                </a:lnTo>
                <a:close/>
                <a:moveTo>
                  <a:pt x="5559113" y="4252022"/>
                </a:moveTo>
                <a:lnTo>
                  <a:pt x="5588715" y="4252022"/>
                </a:lnTo>
                <a:lnTo>
                  <a:pt x="5588715" y="4281516"/>
                </a:lnTo>
                <a:lnTo>
                  <a:pt x="5559113" y="4281516"/>
                </a:lnTo>
                <a:close/>
                <a:moveTo>
                  <a:pt x="5293024" y="4252022"/>
                </a:moveTo>
                <a:lnTo>
                  <a:pt x="5322626" y="4252022"/>
                </a:lnTo>
                <a:lnTo>
                  <a:pt x="5322626" y="4281516"/>
                </a:lnTo>
                <a:lnTo>
                  <a:pt x="5293024" y="4281516"/>
                </a:lnTo>
                <a:close/>
                <a:moveTo>
                  <a:pt x="5026827" y="4252022"/>
                </a:moveTo>
                <a:lnTo>
                  <a:pt x="5056429" y="4252022"/>
                </a:lnTo>
                <a:lnTo>
                  <a:pt x="5056429" y="4281516"/>
                </a:lnTo>
                <a:lnTo>
                  <a:pt x="5026827" y="4281516"/>
                </a:lnTo>
                <a:close/>
                <a:moveTo>
                  <a:pt x="4760630" y="4252022"/>
                </a:moveTo>
                <a:lnTo>
                  <a:pt x="4790340" y="4252022"/>
                </a:lnTo>
                <a:lnTo>
                  <a:pt x="4790340" y="4281516"/>
                </a:lnTo>
                <a:lnTo>
                  <a:pt x="4760630" y="4281516"/>
                </a:lnTo>
                <a:close/>
                <a:moveTo>
                  <a:pt x="4494541" y="4252022"/>
                </a:moveTo>
                <a:lnTo>
                  <a:pt x="4524144" y="4252022"/>
                </a:lnTo>
                <a:lnTo>
                  <a:pt x="4524144" y="4281516"/>
                </a:lnTo>
                <a:lnTo>
                  <a:pt x="4494541" y="4281516"/>
                </a:lnTo>
                <a:close/>
                <a:moveTo>
                  <a:pt x="4228344" y="4252022"/>
                </a:moveTo>
                <a:lnTo>
                  <a:pt x="4257946" y="4252022"/>
                </a:lnTo>
                <a:lnTo>
                  <a:pt x="4257946" y="4281516"/>
                </a:lnTo>
                <a:lnTo>
                  <a:pt x="4228344" y="4281516"/>
                </a:lnTo>
                <a:close/>
                <a:moveTo>
                  <a:pt x="3962255" y="4252022"/>
                </a:moveTo>
                <a:lnTo>
                  <a:pt x="3991857" y="4252022"/>
                </a:lnTo>
                <a:lnTo>
                  <a:pt x="3991857" y="4281516"/>
                </a:lnTo>
                <a:lnTo>
                  <a:pt x="3962255" y="4281516"/>
                </a:lnTo>
                <a:close/>
                <a:moveTo>
                  <a:pt x="3696058" y="4252022"/>
                </a:moveTo>
                <a:lnTo>
                  <a:pt x="3725661" y="4252022"/>
                </a:lnTo>
                <a:lnTo>
                  <a:pt x="3725661" y="4281516"/>
                </a:lnTo>
                <a:lnTo>
                  <a:pt x="3696058" y="4281516"/>
                </a:lnTo>
                <a:close/>
                <a:moveTo>
                  <a:pt x="3429969" y="4252022"/>
                </a:moveTo>
                <a:lnTo>
                  <a:pt x="3459572" y="4252022"/>
                </a:lnTo>
                <a:lnTo>
                  <a:pt x="3459572" y="4281516"/>
                </a:lnTo>
                <a:lnTo>
                  <a:pt x="3429969" y="4281516"/>
                </a:lnTo>
                <a:close/>
                <a:moveTo>
                  <a:pt x="3163772" y="4252022"/>
                </a:moveTo>
                <a:lnTo>
                  <a:pt x="3193374" y="4252022"/>
                </a:lnTo>
                <a:lnTo>
                  <a:pt x="3193374" y="4281516"/>
                </a:lnTo>
                <a:lnTo>
                  <a:pt x="3163772" y="4281516"/>
                </a:lnTo>
                <a:close/>
                <a:moveTo>
                  <a:pt x="2897575" y="4252022"/>
                </a:moveTo>
                <a:lnTo>
                  <a:pt x="2927178" y="4252022"/>
                </a:lnTo>
                <a:lnTo>
                  <a:pt x="2927178" y="4281516"/>
                </a:lnTo>
                <a:lnTo>
                  <a:pt x="2897575" y="4281516"/>
                </a:lnTo>
                <a:close/>
                <a:moveTo>
                  <a:pt x="2631378" y="4252022"/>
                </a:moveTo>
                <a:lnTo>
                  <a:pt x="2660980" y="4252022"/>
                </a:lnTo>
                <a:lnTo>
                  <a:pt x="2660980" y="4281516"/>
                </a:lnTo>
                <a:lnTo>
                  <a:pt x="2631378" y="4281516"/>
                </a:lnTo>
                <a:close/>
                <a:moveTo>
                  <a:pt x="2365289" y="4252022"/>
                </a:moveTo>
                <a:lnTo>
                  <a:pt x="2394892" y="4252022"/>
                </a:lnTo>
                <a:lnTo>
                  <a:pt x="2394892" y="4281516"/>
                </a:lnTo>
                <a:lnTo>
                  <a:pt x="2365289" y="4281516"/>
                </a:lnTo>
                <a:close/>
                <a:moveTo>
                  <a:pt x="2099092" y="4252022"/>
                </a:moveTo>
                <a:lnTo>
                  <a:pt x="2128695" y="4252022"/>
                </a:lnTo>
                <a:lnTo>
                  <a:pt x="2128695" y="4281516"/>
                </a:lnTo>
                <a:lnTo>
                  <a:pt x="2099092" y="4281516"/>
                </a:lnTo>
                <a:close/>
                <a:moveTo>
                  <a:pt x="1832898" y="4252022"/>
                </a:moveTo>
                <a:lnTo>
                  <a:pt x="1862498" y="4252022"/>
                </a:lnTo>
                <a:lnTo>
                  <a:pt x="1862498" y="4281516"/>
                </a:lnTo>
                <a:lnTo>
                  <a:pt x="1832898" y="4281516"/>
                </a:lnTo>
                <a:close/>
                <a:moveTo>
                  <a:pt x="1566808" y="4252022"/>
                </a:moveTo>
                <a:lnTo>
                  <a:pt x="1596409" y="4252022"/>
                </a:lnTo>
                <a:lnTo>
                  <a:pt x="1596409" y="4281516"/>
                </a:lnTo>
                <a:lnTo>
                  <a:pt x="1566808" y="4281516"/>
                </a:lnTo>
                <a:close/>
                <a:moveTo>
                  <a:pt x="1300611" y="4252022"/>
                </a:moveTo>
                <a:lnTo>
                  <a:pt x="1330213" y="4252022"/>
                </a:lnTo>
                <a:lnTo>
                  <a:pt x="1330213" y="4281516"/>
                </a:lnTo>
                <a:lnTo>
                  <a:pt x="1300611" y="4281516"/>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1672158" y="3986257"/>
                </a:moveTo>
                <a:lnTo>
                  <a:pt x="11701760" y="3986257"/>
                </a:lnTo>
                <a:lnTo>
                  <a:pt x="11701760" y="4015859"/>
                </a:lnTo>
                <a:lnTo>
                  <a:pt x="11672158" y="4015859"/>
                </a:lnTo>
                <a:close/>
                <a:moveTo>
                  <a:pt x="11405961" y="3986257"/>
                </a:moveTo>
                <a:lnTo>
                  <a:pt x="11435563" y="3986257"/>
                </a:lnTo>
                <a:lnTo>
                  <a:pt x="11435563" y="4015859"/>
                </a:lnTo>
                <a:lnTo>
                  <a:pt x="11405961" y="4015859"/>
                </a:lnTo>
                <a:close/>
                <a:moveTo>
                  <a:pt x="11139872" y="3986257"/>
                </a:moveTo>
                <a:lnTo>
                  <a:pt x="11169474" y="3986257"/>
                </a:lnTo>
                <a:lnTo>
                  <a:pt x="11169474" y="4015859"/>
                </a:lnTo>
                <a:lnTo>
                  <a:pt x="11139872" y="4015859"/>
                </a:lnTo>
                <a:close/>
                <a:moveTo>
                  <a:pt x="10873675" y="3986257"/>
                </a:moveTo>
                <a:lnTo>
                  <a:pt x="10903277" y="3986257"/>
                </a:lnTo>
                <a:lnTo>
                  <a:pt x="10903277" y="4015859"/>
                </a:lnTo>
                <a:lnTo>
                  <a:pt x="10873675" y="4015859"/>
                </a:lnTo>
                <a:close/>
                <a:moveTo>
                  <a:pt x="10607478" y="3986257"/>
                </a:moveTo>
                <a:lnTo>
                  <a:pt x="10637188" y="3986257"/>
                </a:lnTo>
                <a:lnTo>
                  <a:pt x="10637188" y="4015859"/>
                </a:lnTo>
                <a:lnTo>
                  <a:pt x="10607478" y="4015859"/>
                </a:lnTo>
                <a:close/>
                <a:moveTo>
                  <a:pt x="10341389" y="3986257"/>
                </a:moveTo>
                <a:lnTo>
                  <a:pt x="10370992" y="3986257"/>
                </a:lnTo>
                <a:lnTo>
                  <a:pt x="10370992" y="4015859"/>
                </a:lnTo>
                <a:lnTo>
                  <a:pt x="10341389" y="4015859"/>
                </a:lnTo>
                <a:close/>
                <a:moveTo>
                  <a:pt x="10075192" y="3986257"/>
                </a:moveTo>
                <a:lnTo>
                  <a:pt x="10104794" y="3986257"/>
                </a:lnTo>
                <a:lnTo>
                  <a:pt x="10104794" y="4015859"/>
                </a:lnTo>
                <a:lnTo>
                  <a:pt x="10075192" y="4015859"/>
                </a:lnTo>
                <a:close/>
                <a:moveTo>
                  <a:pt x="9809103" y="3986257"/>
                </a:moveTo>
                <a:lnTo>
                  <a:pt x="9838705" y="3986257"/>
                </a:lnTo>
                <a:lnTo>
                  <a:pt x="9838705" y="4015859"/>
                </a:lnTo>
                <a:lnTo>
                  <a:pt x="9809103" y="4015859"/>
                </a:lnTo>
                <a:close/>
                <a:moveTo>
                  <a:pt x="9542906" y="3986257"/>
                </a:moveTo>
                <a:lnTo>
                  <a:pt x="9572509" y="3986257"/>
                </a:lnTo>
                <a:lnTo>
                  <a:pt x="9572509" y="4015859"/>
                </a:lnTo>
                <a:lnTo>
                  <a:pt x="9542906" y="4015859"/>
                </a:lnTo>
                <a:close/>
                <a:moveTo>
                  <a:pt x="9276817" y="3986257"/>
                </a:moveTo>
                <a:lnTo>
                  <a:pt x="9306420" y="3986257"/>
                </a:lnTo>
                <a:lnTo>
                  <a:pt x="9306420" y="4015859"/>
                </a:lnTo>
                <a:lnTo>
                  <a:pt x="9276817" y="4015859"/>
                </a:lnTo>
                <a:close/>
                <a:moveTo>
                  <a:pt x="9010620" y="3986257"/>
                </a:moveTo>
                <a:lnTo>
                  <a:pt x="9040222" y="3986257"/>
                </a:lnTo>
                <a:lnTo>
                  <a:pt x="9040222" y="4015859"/>
                </a:lnTo>
                <a:lnTo>
                  <a:pt x="9010620" y="4015859"/>
                </a:lnTo>
                <a:close/>
                <a:moveTo>
                  <a:pt x="8744423" y="3986257"/>
                </a:moveTo>
                <a:lnTo>
                  <a:pt x="8774026" y="3986257"/>
                </a:lnTo>
                <a:lnTo>
                  <a:pt x="8774026" y="4015859"/>
                </a:lnTo>
                <a:lnTo>
                  <a:pt x="8744423" y="4015859"/>
                </a:lnTo>
                <a:close/>
                <a:moveTo>
                  <a:pt x="8478226" y="3986257"/>
                </a:moveTo>
                <a:lnTo>
                  <a:pt x="8507828" y="3986257"/>
                </a:lnTo>
                <a:lnTo>
                  <a:pt x="8507828" y="4015859"/>
                </a:lnTo>
                <a:lnTo>
                  <a:pt x="8478226" y="4015859"/>
                </a:lnTo>
                <a:close/>
                <a:moveTo>
                  <a:pt x="8212137" y="3986257"/>
                </a:moveTo>
                <a:lnTo>
                  <a:pt x="8241740" y="3986257"/>
                </a:lnTo>
                <a:lnTo>
                  <a:pt x="8241740" y="4015859"/>
                </a:lnTo>
                <a:lnTo>
                  <a:pt x="8212137" y="4015859"/>
                </a:lnTo>
                <a:close/>
                <a:moveTo>
                  <a:pt x="7945940" y="3986257"/>
                </a:moveTo>
                <a:lnTo>
                  <a:pt x="7975543" y="3986257"/>
                </a:lnTo>
                <a:lnTo>
                  <a:pt x="7975543" y="4015859"/>
                </a:lnTo>
                <a:lnTo>
                  <a:pt x="7945940" y="4015859"/>
                </a:lnTo>
                <a:close/>
                <a:moveTo>
                  <a:pt x="7679743" y="3986257"/>
                </a:moveTo>
                <a:lnTo>
                  <a:pt x="7709346" y="3986257"/>
                </a:lnTo>
                <a:lnTo>
                  <a:pt x="7709346" y="4015859"/>
                </a:lnTo>
                <a:lnTo>
                  <a:pt x="7679743" y="4015859"/>
                </a:lnTo>
                <a:close/>
                <a:moveTo>
                  <a:pt x="7413653" y="3986257"/>
                </a:moveTo>
                <a:lnTo>
                  <a:pt x="7443256" y="3986257"/>
                </a:lnTo>
                <a:lnTo>
                  <a:pt x="7443256" y="4015859"/>
                </a:lnTo>
                <a:lnTo>
                  <a:pt x="7413653" y="4015859"/>
                </a:lnTo>
                <a:close/>
                <a:moveTo>
                  <a:pt x="7147456" y="3986257"/>
                </a:moveTo>
                <a:lnTo>
                  <a:pt x="7177058" y="3986257"/>
                </a:lnTo>
                <a:lnTo>
                  <a:pt x="7177058" y="4015859"/>
                </a:lnTo>
                <a:lnTo>
                  <a:pt x="7147456" y="4015859"/>
                </a:lnTo>
                <a:close/>
                <a:moveTo>
                  <a:pt x="6881367" y="3986257"/>
                </a:moveTo>
                <a:lnTo>
                  <a:pt x="6910970" y="3986257"/>
                </a:lnTo>
                <a:lnTo>
                  <a:pt x="6910970" y="4015859"/>
                </a:lnTo>
                <a:lnTo>
                  <a:pt x="6881367" y="4015859"/>
                </a:lnTo>
                <a:close/>
                <a:moveTo>
                  <a:pt x="6615170" y="3986257"/>
                </a:moveTo>
                <a:lnTo>
                  <a:pt x="6644773" y="3986257"/>
                </a:lnTo>
                <a:lnTo>
                  <a:pt x="6644773" y="4015859"/>
                </a:lnTo>
                <a:lnTo>
                  <a:pt x="6615170" y="4015859"/>
                </a:lnTo>
                <a:close/>
                <a:moveTo>
                  <a:pt x="6349081" y="3986257"/>
                </a:moveTo>
                <a:lnTo>
                  <a:pt x="6378683" y="3986257"/>
                </a:lnTo>
                <a:lnTo>
                  <a:pt x="6378683" y="4015859"/>
                </a:lnTo>
                <a:lnTo>
                  <a:pt x="6349081" y="4015859"/>
                </a:lnTo>
                <a:close/>
                <a:moveTo>
                  <a:pt x="6082884" y="3986257"/>
                </a:moveTo>
                <a:lnTo>
                  <a:pt x="6112486" y="3986257"/>
                </a:lnTo>
                <a:lnTo>
                  <a:pt x="6112486" y="4015859"/>
                </a:lnTo>
                <a:lnTo>
                  <a:pt x="6082884" y="4015859"/>
                </a:lnTo>
                <a:close/>
                <a:moveTo>
                  <a:pt x="5825310" y="3986257"/>
                </a:moveTo>
                <a:lnTo>
                  <a:pt x="5854913" y="3986257"/>
                </a:lnTo>
                <a:lnTo>
                  <a:pt x="5854913" y="4015859"/>
                </a:lnTo>
                <a:lnTo>
                  <a:pt x="5825310" y="4015859"/>
                </a:lnTo>
                <a:close/>
                <a:moveTo>
                  <a:pt x="5559113" y="3986257"/>
                </a:moveTo>
                <a:lnTo>
                  <a:pt x="5588715" y="3986257"/>
                </a:lnTo>
                <a:lnTo>
                  <a:pt x="5588715" y="4015859"/>
                </a:lnTo>
                <a:lnTo>
                  <a:pt x="5559113" y="4015859"/>
                </a:lnTo>
                <a:close/>
                <a:moveTo>
                  <a:pt x="5293024" y="3986257"/>
                </a:moveTo>
                <a:lnTo>
                  <a:pt x="5322626" y="3986257"/>
                </a:lnTo>
                <a:lnTo>
                  <a:pt x="5322626" y="4015859"/>
                </a:lnTo>
                <a:lnTo>
                  <a:pt x="5293024" y="4015859"/>
                </a:lnTo>
                <a:close/>
                <a:moveTo>
                  <a:pt x="5026827" y="3986257"/>
                </a:moveTo>
                <a:lnTo>
                  <a:pt x="5056429" y="3986257"/>
                </a:lnTo>
                <a:lnTo>
                  <a:pt x="5056429" y="4015859"/>
                </a:lnTo>
                <a:lnTo>
                  <a:pt x="5026827" y="4015859"/>
                </a:lnTo>
                <a:close/>
                <a:moveTo>
                  <a:pt x="4760630" y="3986257"/>
                </a:moveTo>
                <a:lnTo>
                  <a:pt x="4790340" y="3986257"/>
                </a:lnTo>
                <a:lnTo>
                  <a:pt x="4790340" y="4015859"/>
                </a:lnTo>
                <a:lnTo>
                  <a:pt x="4760630" y="4015859"/>
                </a:lnTo>
                <a:close/>
                <a:moveTo>
                  <a:pt x="4494541" y="3986257"/>
                </a:moveTo>
                <a:lnTo>
                  <a:pt x="4524144" y="3986257"/>
                </a:lnTo>
                <a:lnTo>
                  <a:pt x="4524144" y="4015859"/>
                </a:lnTo>
                <a:lnTo>
                  <a:pt x="4494541" y="4015859"/>
                </a:lnTo>
                <a:close/>
                <a:moveTo>
                  <a:pt x="4228344" y="3986257"/>
                </a:moveTo>
                <a:lnTo>
                  <a:pt x="4257946" y="3986257"/>
                </a:lnTo>
                <a:lnTo>
                  <a:pt x="4257946" y="4015859"/>
                </a:lnTo>
                <a:lnTo>
                  <a:pt x="4228344" y="4015859"/>
                </a:lnTo>
                <a:close/>
                <a:moveTo>
                  <a:pt x="3962255" y="3986257"/>
                </a:moveTo>
                <a:lnTo>
                  <a:pt x="3991857" y="3986257"/>
                </a:lnTo>
                <a:lnTo>
                  <a:pt x="3991857" y="4015859"/>
                </a:lnTo>
                <a:lnTo>
                  <a:pt x="3962255" y="4015859"/>
                </a:lnTo>
                <a:close/>
                <a:moveTo>
                  <a:pt x="3696058" y="3986257"/>
                </a:moveTo>
                <a:lnTo>
                  <a:pt x="3725661" y="3986257"/>
                </a:lnTo>
                <a:lnTo>
                  <a:pt x="3725661" y="4015859"/>
                </a:lnTo>
                <a:lnTo>
                  <a:pt x="3696058" y="4015859"/>
                </a:lnTo>
                <a:close/>
                <a:moveTo>
                  <a:pt x="3429969" y="3986257"/>
                </a:moveTo>
                <a:lnTo>
                  <a:pt x="3459572" y="3986257"/>
                </a:lnTo>
                <a:lnTo>
                  <a:pt x="3459572" y="4015859"/>
                </a:lnTo>
                <a:lnTo>
                  <a:pt x="3429969" y="4015859"/>
                </a:lnTo>
                <a:close/>
                <a:moveTo>
                  <a:pt x="3163772" y="3986257"/>
                </a:moveTo>
                <a:lnTo>
                  <a:pt x="3193374" y="3986257"/>
                </a:lnTo>
                <a:lnTo>
                  <a:pt x="3193374" y="4015859"/>
                </a:lnTo>
                <a:lnTo>
                  <a:pt x="3163772" y="4015859"/>
                </a:lnTo>
                <a:close/>
                <a:moveTo>
                  <a:pt x="2897575" y="3986257"/>
                </a:moveTo>
                <a:lnTo>
                  <a:pt x="2927178" y="3986257"/>
                </a:lnTo>
                <a:lnTo>
                  <a:pt x="2927178" y="4015859"/>
                </a:lnTo>
                <a:lnTo>
                  <a:pt x="2897575" y="4015859"/>
                </a:lnTo>
                <a:close/>
                <a:moveTo>
                  <a:pt x="2631378" y="3986257"/>
                </a:moveTo>
                <a:lnTo>
                  <a:pt x="2660980" y="3986257"/>
                </a:lnTo>
                <a:lnTo>
                  <a:pt x="2660980" y="4015859"/>
                </a:lnTo>
                <a:lnTo>
                  <a:pt x="2631378" y="4015859"/>
                </a:lnTo>
                <a:close/>
                <a:moveTo>
                  <a:pt x="2365289" y="3986257"/>
                </a:moveTo>
                <a:lnTo>
                  <a:pt x="2394892" y="3986257"/>
                </a:lnTo>
                <a:lnTo>
                  <a:pt x="2394892" y="4015859"/>
                </a:lnTo>
                <a:lnTo>
                  <a:pt x="2365289" y="4015859"/>
                </a:lnTo>
                <a:close/>
                <a:moveTo>
                  <a:pt x="2099092" y="3986257"/>
                </a:moveTo>
                <a:lnTo>
                  <a:pt x="2128695" y="3986257"/>
                </a:lnTo>
                <a:lnTo>
                  <a:pt x="2128695" y="4015859"/>
                </a:lnTo>
                <a:lnTo>
                  <a:pt x="2099092" y="4015859"/>
                </a:lnTo>
                <a:close/>
                <a:moveTo>
                  <a:pt x="1832898" y="3986257"/>
                </a:moveTo>
                <a:lnTo>
                  <a:pt x="1862498" y="3986257"/>
                </a:lnTo>
                <a:lnTo>
                  <a:pt x="1862498" y="4015859"/>
                </a:lnTo>
                <a:lnTo>
                  <a:pt x="1832898" y="4015859"/>
                </a:lnTo>
                <a:close/>
                <a:moveTo>
                  <a:pt x="1566808" y="3986257"/>
                </a:moveTo>
                <a:lnTo>
                  <a:pt x="1596409" y="3986257"/>
                </a:lnTo>
                <a:lnTo>
                  <a:pt x="1596409" y="4015859"/>
                </a:lnTo>
                <a:lnTo>
                  <a:pt x="1566808" y="4015859"/>
                </a:lnTo>
                <a:close/>
                <a:moveTo>
                  <a:pt x="1300611" y="3986257"/>
                </a:moveTo>
                <a:lnTo>
                  <a:pt x="1330213" y="3986257"/>
                </a:lnTo>
                <a:lnTo>
                  <a:pt x="1330213" y="4015859"/>
                </a:lnTo>
                <a:lnTo>
                  <a:pt x="1300611" y="4015859"/>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1672158" y="3720492"/>
                </a:moveTo>
                <a:lnTo>
                  <a:pt x="11701760" y="3720492"/>
                </a:lnTo>
                <a:lnTo>
                  <a:pt x="11701760" y="3750094"/>
                </a:lnTo>
                <a:lnTo>
                  <a:pt x="11672158" y="3750094"/>
                </a:lnTo>
                <a:close/>
                <a:moveTo>
                  <a:pt x="11405961" y="3720492"/>
                </a:moveTo>
                <a:lnTo>
                  <a:pt x="11435563" y="3720492"/>
                </a:lnTo>
                <a:lnTo>
                  <a:pt x="11435563" y="3750094"/>
                </a:lnTo>
                <a:lnTo>
                  <a:pt x="11405961" y="3750094"/>
                </a:lnTo>
                <a:close/>
                <a:moveTo>
                  <a:pt x="11139872" y="3720492"/>
                </a:moveTo>
                <a:lnTo>
                  <a:pt x="11169474" y="3720492"/>
                </a:lnTo>
                <a:lnTo>
                  <a:pt x="11169474" y="3750094"/>
                </a:lnTo>
                <a:lnTo>
                  <a:pt x="11139872" y="3750094"/>
                </a:lnTo>
                <a:close/>
                <a:moveTo>
                  <a:pt x="10873675" y="3720492"/>
                </a:moveTo>
                <a:lnTo>
                  <a:pt x="10903277" y="3720492"/>
                </a:lnTo>
                <a:lnTo>
                  <a:pt x="10903277" y="3750094"/>
                </a:lnTo>
                <a:lnTo>
                  <a:pt x="10873675" y="3750094"/>
                </a:lnTo>
                <a:close/>
                <a:moveTo>
                  <a:pt x="10607478" y="3720492"/>
                </a:moveTo>
                <a:lnTo>
                  <a:pt x="10637188" y="3720492"/>
                </a:lnTo>
                <a:lnTo>
                  <a:pt x="10637188" y="3750094"/>
                </a:lnTo>
                <a:lnTo>
                  <a:pt x="10607478" y="3750094"/>
                </a:lnTo>
                <a:close/>
                <a:moveTo>
                  <a:pt x="10341389" y="3720492"/>
                </a:moveTo>
                <a:lnTo>
                  <a:pt x="10370992" y="3720492"/>
                </a:lnTo>
                <a:lnTo>
                  <a:pt x="10370992" y="3750094"/>
                </a:lnTo>
                <a:lnTo>
                  <a:pt x="10341389" y="3750094"/>
                </a:lnTo>
                <a:close/>
                <a:moveTo>
                  <a:pt x="10075192" y="3720492"/>
                </a:moveTo>
                <a:lnTo>
                  <a:pt x="10104794" y="3720492"/>
                </a:lnTo>
                <a:lnTo>
                  <a:pt x="10104794" y="3750094"/>
                </a:lnTo>
                <a:lnTo>
                  <a:pt x="10075192" y="3750094"/>
                </a:lnTo>
                <a:close/>
                <a:moveTo>
                  <a:pt x="9809103" y="3720492"/>
                </a:moveTo>
                <a:lnTo>
                  <a:pt x="9838705" y="3720492"/>
                </a:lnTo>
                <a:lnTo>
                  <a:pt x="9838705" y="3750094"/>
                </a:lnTo>
                <a:lnTo>
                  <a:pt x="9809103" y="3750094"/>
                </a:lnTo>
                <a:close/>
                <a:moveTo>
                  <a:pt x="9542906" y="3720492"/>
                </a:moveTo>
                <a:lnTo>
                  <a:pt x="9572509" y="3720492"/>
                </a:lnTo>
                <a:lnTo>
                  <a:pt x="9572509" y="3750094"/>
                </a:lnTo>
                <a:lnTo>
                  <a:pt x="9542906" y="3750094"/>
                </a:lnTo>
                <a:close/>
                <a:moveTo>
                  <a:pt x="9276817" y="3720492"/>
                </a:moveTo>
                <a:lnTo>
                  <a:pt x="9306420" y="3720492"/>
                </a:lnTo>
                <a:lnTo>
                  <a:pt x="9306420" y="3750094"/>
                </a:lnTo>
                <a:lnTo>
                  <a:pt x="9276817" y="3750094"/>
                </a:lnTo>
                <a:close/>
                <a:moveTo>
                  <a:pt x="9010620" y="3720492"/>
                </a:moveTo>
                <a:lnTo>
                  <a:pt x="9040222" y="3720492"/>
                </a:lnTo>
                <a:lnTo>
                  <a:pt x="9040222" y="3750094"/>
                </a:lnTo>
                <a:lnTo>
                  <a:pt x="9010620" y="3750094"/>
                </a:lnTo>
                <a:close/>
                <a:moveTo>
                  <a:pt x="8744423" y="3720492"/>
                </a:moveTo>
                <a:lnTo>
                  <a:pt x="8774026" y="3720492"/>
                </a:lnTo>
                <a:lnTo>
                  <a:pt x="8774026" y="3750094"/>
                </a:lnTo>
                <a:lnTo>
                  <a:pt x="8744423" y="3750094"/>
                </a:lnTo>
                <a:close/>
                <a:moveTo>
                  <a:pt x="8478226" y="3720492"/>
                </a:moveTo>
                <a:lnTo>
                  <a:pt x="8507828" y="3720492"/>
                </a:lnTo>
                <a:lnTo>
                  <a:pt x="8507828" y="3750094"/>
                </a:lnTo>
                <a:lnTo>
                  <a:pt x="8478226" y="3750094"/>
                </a:lnTo>
                <a:close/>
                <a:moveTo>
                  <a:pt x="8212137" y="3720492"/>
                </a:moveTo>
                <a:lnTo>
                  <a:pt x="8241740" y="3720492"/>
                </a:lnTo>
                <a:lnTo>
                  <a:pt x="8241740" y="3750094"/>
                </a:lnTo>
                <a:lnTo>
                  <a:pt x="8212137" y="3750094"/>
                </a:lnTo>
                <a:close/>
                <a:moveTo>
                  <a:pt x="7945940" y="3720492"/>
                </a:moveTo>
                <a:lnTo>
                  <a:pt x="7975543" y="3720492"/>
                </a:lnTo>
                <a:lnTo>
                  <a:pt x="7975543" y="3750094"/>
                </a:lnTo>
                <a:lnTo>
                  <a:pt x="7945940" y="3750094"/>
                </a:lnTo>
                <a:close/>
                <a:moveTo>
                  <a:pt x="7679743" y="3720492"/>
                </a:moveTo>
                <a:lnTo>
                  <a:pt x="7709346" y="3720492"/>
                </a:lnTo>
                <a:lnTo>
                  <a:pt x="7709346" y="3750094"/>
                </a:lnTo>
                <a:lnTo>
                  <a:pt x="7679743" y="3750094"/>
                </a:lnTo>
                <a:close/>
                <a:moveTo>
                  <a:pt x="7413653" y="3720492"/>
                </a:moveTo>
                <a:lnTo>
                  <a:pt x="7443256" y="3720492"/>
                </a:lnTo>
                <a:lnTo>
                  <a:pt x="7443256" y="3750094"/>
                </a:lnTo>
                <a:lnTo>
                  <a:pt x="7413653" y="3750094"/>
                </a:lnTo>
                <a:close/>
                <a:moveTo>
                  <a:pt x="7147456" y="3720492"/>
                </a:moveTo>
                <a:lnTo>
                  <a:pt x="7177058" y="3720492"/>
                </a:lnTo>
                <a:lnTo>
                  <a:pt x="7177058" y="3750094"/>
                </a:lnTo>
                <a:lnTo>
                  <a:pt x="7147456" y="3750094"/>
                </a:lnTo>
                <a:close/>
                <a:moveTo>
                  <a:pt x="6881367" y="3720492"/>
                </a:moveTo>
                <a:lnTo>
                  <a:pt x="6910970" y="3720492"/>
                </a:lnTo>
                <a:lnTo>
                  <a:pt x="6910970" y="3750094"/>
                </a:lnTo>
                <a:lnTo>
                  <a:pt x="6881367" y="3750094"/>
                </a:lnTo>
                <a:close/>
                <a:moveTo>
                  <a:pt x="6615170" y="3720492"/>
                </a:moveTo>
                <a:lnTo>
                  <a:pt x="6644773" y="3720492"/>
                </a:lnTo>
                <a:lnTo>
                  <a:pt x="6644773" y="3750094"/>
                </a:lnTo>
                <a:lnTo>
                  <a:pt x="6615170" y="3750094"/>
                </a:lnTo>
                <a:close/>
                <a:moveTo>
                  <a:pt x="6349081" y="3720492"/>
                </a:moveTo>
                <a:lnTo>
                  <a:pt x="6378683" y="3720492"/>
                </a:lnTo>
                <a:lnTo>
                  <a:pt x="6378683" y="3750094"/>
                </a:lnTo>
                <a:lnTo>
                  <a:pt x="6349081" y="3750094"/>
                </a:lnTo>
                <a:close/>
                <a:moveTo>
                  <a:pt x="6082884" y="3720492"/>
                </a:moveTo>
                <a:lnTo>
                  <a:pt x="6112486" y="3720492"/>
                </a:lnTo>
                <a:lnTo>
                  <a:pt x="6112486" y="3750094"/>
                </a:lnTo>
                <a:lnTo>
                  <a:pt x="6082884" y="3750094"/>
                </a:lnTo>
                <a:close/>
                <a:moveTo>
                  <a:pt x="5825310" y="3720492"/>
                </a:moveTo>
                <a:lnTo>
                  <a:pt x="5854913" y="3720492"/>
                </a:lnTo>
                <a:lnTo>
                  <a:pt x="5854913" y="3750094"/>
                </a:lnTo>
                <a:lnTo>
                  <a:pt x="5825310" y="3750094"/>
                </a:lnTo>
                <a:close/>
                <a:moveTo>
                  <a:pt x="5559113" y="3720492"/>
                </a:moveTo>
                <a:lnTo>
                  <a:pt x="5588715" y="3720492"/>
                </a:lnTo>
                <a:lnTo>
                  <a:pt x="5588715" y="3750094"/>
                </a:lnTo>
                <a:lnTo>
                  <a:pt x="5559113" y="3750094"/>
                </a:lnTo>
                <a:close/>
                <a:moveTo>
                  <a:pt x="5293024" y="3720492"/>
                </a:moveTo>
                <a:lnTo>
                  <a:pt x="5322626" y="3720492"/>
                </a:lnTo>
                <a:lnTo>
                  <a:pt x="5322626" y="3750094"/>
                </a:lnTo>
                <a:lnTo>
                  <a:pt x="5293024" y="3750094"/>
                </a:lnTo>
                <a:close/>
                <a:moveTo>
                  <a:pt x="5026827" y="3720492"/>
                </a:moveTo>
                <a:lnTo>
                  <a:pt x="5056429" y="3720492"/>
                </a:lnTo>
                <a:lnTo>
                  <a:pt x="5056429" y="3750094"/>
                </a:lnTo>
                <a:lnTo>
                  <a:pt x="5026827" y="3750094"/>
                </a:lnTo>
                <a:close/>
                <a:moveTo>
                  <a:pt x="4760630" y="3720492"/>
                </a:moveTo>
                <a:lnTo>
                  <a:pt x="4790340" y="3720492"/>
                </a:lnTo>
                <a:lnTo>
                  <a:pt x="4790340" y="3750094"/>
                </a:lnTo>
                <a:lnTo>
                  <a:pt x="4760630" y="3750094"/>
                </a:lnTo>
                <a:close/>
                <a:moveTo>
                  <a:pt x="4494541" y="3720492"/>
                </a:moveTo>
                <a:lnTo>
                  <a:pt x="4524144" y="3720492"/>
                </a:lnTo>
                <a:lnTo>
                  <a:pt x="4524144" y="3750094"/>
                </a:lnTo>
                <a:lnTo>
                  <a:pt x="4494541" y="3750094"/>
                </a:lnTo>
                <a:close/>
                <a:moveTo>
                  <a:pt x="4228344" y="3720492"/>
                </a:moveTo>
                <a:lnTo>
                  <a:pt x="4257946" y="3720492"/>
                </a:lnTo>
                <a:lnTo>
                  <a:pt x="4257946" y="3750094"/>
                </a:lnTo>
                <a:lnTo>
                  <a:pt x="4228344" y="3750094"/>
                </a:lnTo>
                <a:close/>
                <a:moveTo>
                  <a:pt x="3962255" y="3720492"/>
                </a:moveTo>
                <a:lnTo>
                  <a:pt x="3991857" y="3720492"/>
                </a:lnTo>
                <a:lnTo>
                  <a:pt x="3991857" y="3750094"/>
                </a:lnTo>
                <a:lnTo>
                  <a:pt x="3962255" y="3750094"/>
                </a:lnTo>
                <a:close/>
                <a:moveTo>
                  <a:pt x="3696058" y="3720492"/>
                </a:moveTo>
                <a:lnTo>
                  <a:pt x="3725661" y="3720492"/>
                </a:lnTo>
                <a:lnTo>
                  <a:pt x="3725661" y="3750094"/>
                </a:lnTo>
                <a:lnTo>
                  <a:pt x="3696058" y="3750094"/>
                </a:lnTo>
                <a:close/>
                <a:moveTo>
                  <a:pt x="3429969" y="3720492"/>
                </a:moveTo>
                <a:lnTo>
                  <a:pt x="3459572" y="3720492"/>
                </a:lnTo>
                <a:lnTo>
                  <a:pt x="3459572" y="3750094"/>
                </a:lnTo>
                <a:lnTo>
                  <a:pt x="3429969" y="3750094"/>
                </a:lnTo>
                <a:close/>
                <a:moveTo>
                  <a:pt x="3163772" y="3720492"/>
                </a:moveTo>
                <a:lnTo>
                  <a:pt x="3193374" y="3720492"/>
                </a:lnTo>
                <a:lnTo>
                  <a:pt x="3193374" y="3750094"/>
                </a:lnTo>
                <a:lnTo>
                  <a:pt x="3163772" y="3750094"/>
                </a:lnTo>
                <a:close/>
                <a:moveTo>
                  <a:pt x="2897575" y="3720492"/>
                </a:moveTo>
                <a:lnTo>
                  <a:pt x="2927178" y="3720492"/>
                </a:lnTo>
                <a:lnTo>
                  <a:pt x="2927178" y="3750094"/>
                </a:lnTo>
                <a:lnTo>
                  <a:pt x="2897575" y="3750094"/>
                </a:lnTo>
                <a:close/>
                <a:moveTo>
                  <a:pt x="2631378" y="3720492"/>
                </a:moveTo>
                <a:lnTo>
                  <a:pt x="2660980" y="3720492"/>
                </a:lnTo>
                <a:lnTo>
                  <a:pt x="2660980" y="3750094"/>
                </a:lnTo>
                <a:lnTo>
                  <a:pt x="2631378" y="3750094"/>
                </a:lnTo>
                <a:close/>
                <a:moveTo>
                  <a:pt x="2365289" y="3720492"/>
                </a:moveTo>
                <a:lnTo>
                  <a:pt x="2394892" y="3720492"/>
                </a:lnTo>
                <a:lnTo>
                  <a:pt x="2394892" y="3750094"/>
                </a:lnTo>
                <a:lnTo>
                  <a:pt x="2365289" y="3750094"/>
                </a:lnTo>
                <a:close/>
                <a:moveTo>
                  <a:pt x="2099092" y="3720492"/>
                </a:moveTo>
                <a:lnTo>
                  <a:pt x="2128695" y="3720492"/>
                </a:lnTo>
                <a:lnTo>
                  <a:pt x="2128695" y="3750094"/>
                </a:lnTo>
                <a:lnTo>
                  <a:pt x="2099092" y="3750094"/>
                </a:lnTo>
                <a:close/>
                <a:moveTo>
                  <a:pt x="1832898" y="3720492"/>
                </a:moveTo>
                <a:lnTo>
                  <a:pt x="1862498" y="3720492"/>
                </a:lnTo>
                <a:lnTo>
                  <a:pt x="1862498" y="3750094"/>
                </a:lnTo>
                <a:lnTo>
                  <a:pt x="1832898" y="3750094"/>
                </a:lnTo>
                <a:close/>
                <a:moveTo>
                  <a:pt x="1566808" y="3720492"/>
                </a:moveTo>
                <a:lnTo>
                  <a:pt x="1596409" y="3720492"/>
                </a:lnTo>
                <a:lnTo>
                  <a:pt x="1596409" y="3750094"/>
                </a:lnTo>
                <a:lnTo>
                  <a:pt x="1566808" y="3750094"/>
                </a:lnTo>
                <a:close/>
                <a:moveTo>
                  <a:pt x="1300611" y="3720492"/>
                </a:moveTo>
                <a:lnTo>
                  <a:pt x="1330213" y="3720492"/>
                </a:lnTo>
                <a:lnTo>
                  <a:pt x="1330213" y="3750094"/>
                </a:lnTo>
                <a:lnTo>
                  <a:pt x="1300611" y="3750094"/>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1672158" y="3454727"/>
                </a:moveTo>
                <a:lnTo>
                  <a:pt x="11701760" y="3454727"/>
                </a:lnTo>
                <a:lnTo>
                  <a:pt x="11701760" y="3484330"/>
                </a:lnTo>
                <a:lnTo>
                  <a:pt x="11672158" y="3484330"/>
                </a:lnTo>
                <a:close/>
                <a:moveTo>
                  <a:pt x="11405961" y="3454727"/>
                </a:moveTo>
                <a:lnTo>
                  <a:pt x="11435563" y="3454727"/>
                </a:lnTo>
                <a:lnTo>
                  <a:pt x="11435563" y="3484330"/>
                </a:lnTo>
                <a:lnTo>
                  <a:pt x="11405961" y="3484330"/>
                </a:lnTo>
                <a:close/>
                <a:moveTo>
                  <a:pt x="11139872" y="3454727"/>
                </a:moveTo>
                <a:lnTo>
                  <a:pt x="11169474" y="3454727"/>
                </a:lnTo>
                <a:lnTo>
                  <a:pt x="11169474" y="3484330"/>
                </a:lnTo>
                <a:lnTo>
                  <a:pt x="11139872" y="3484330"/>
                </a:lnTo>
                <a:close/>
                <a:moveTo>
                  <a:pt x="10873675" y="3454727"/>
                </a:moveTo>
                <a:lnTo>
                  <a:pt x="10903277" y="3454727"/>
                </a:lnTo>
                <a:lnTo>
                  <a:pt x="10903277" y="3484330"/>
                </a:lnTo>
                <a:lnTo>
                  <a:pt x="10873675" y="3484330"/>
                </a:lnTo>
                <a:close/>
                <a:moveTo>
                  <a:pt x="10607478" y="3454727"/>
                </a:moveTo>
                <a:lnTo>
                  <a:pt x="10637188" y="3454727"/>
                </a:lnTo>
                <a:lnTo>
                  <a:pt x="10637188" y="3484330"/>
                </a:lnTo>
                <a:lnTo>
                  <a:pt x="10607478" y="3484330"/>
                </a:lnTo>
                <a:close/>
                <a:moveTo>
                  <a:pt x="10341389" y="3454727"/>
                </a:moveTo>
                <a:lnTo>
                  <a:pt x="10370992" y="3454727"/>
                </a:lnTo>
                <a:lnTo>
                  <a:pt x="10370992" y="3484330"/>
                </a:lnTo>
                <a:lnTo>
                  <a:pt x="10341389" y="3484330"/>
                </a:lnTo>
                <a:close/>
                <a:moveTo>
                  <a:pt x="10075192" y="3454727"/>
                </a:moveTo>
                <a:lnTo>
                  <a:pt x="10104794" y="3454727"/>
                </a:lnTo>
                <a:lnTo>
                  <a:pt x="10104794" y="3484330"/>
                </a:lnTo>
                <a:lnTo>
                  <a:pt x="10075192" y="3484330"/>
                </a:lnTo>
                <a:close/>
                <a:moveTo>
                  <a:pt x="9809103" y="3454727"/>
                </a:moveTo>
                <a:lnTo>
                  <a:pt x="9838705" y="3454727"/>
                </a:lnTo>
                <a:lnTo>
                  <a:pt x="9838705" y="3484330"/>
                </a:lnTo>
                <a:lnTo>
                  <a:pt x="9809103" y="3484330"/>
                </a:lnTo>
                <a:close/>
                <a:moveTo>
                  <a:pt x="9542906" y="3454727"/>
                </a:moveTo>
                <a:lnTo>
                  <a:pt x="9572509" y="3454727"/>
                </a:lnTo>
                <a:lnTo>
                  <a:pt x="9572509" y="3484330"/>
                </a:lnTo>
                <a:lnTo>
                  <a:pt x="9542906" y="3484330"/>
                </a:lnTo>
                <a:close/>
                <a:moveTo>
                  <a:pt x="9276817" y="3454727"/>
                </a:moveTo>
                <a:lnTo>
                  <a:pt x="9306420" y="3454727"/>
                </a:lnTo>
                <a:lnTo>
                  <a:pt x="9306420" y="3484330"/>
                </a:lnTo>
                <a:lnTo>
                  <a:pt x="9276817" y="3484330"/>
                </a:lnTo>
                <a:close/>
                <a:moveTo>
                  <a:pt x="9010620" y="3454727"/>
                </a:moveTo>
                <a:lnTo>
                  <a:pt x="9040222" y="3454727"/>
                </a:lnTo>
                <a:lnTo>
                  <a:pt x="9040222" y="3484330"/>
                </a:lnTo>
                <a:lnTo>
                  <a:pt x="9010620" y="3484330"/>
                </a:lnTo>
                <a:close/>
                <a:moveTo>
                  <a:pt x="8744423" y="3454727"/>
                </a:moveTo>
                <a:lnTo>
                  <a:pt x="8774026" y="3454727"/>
                </a:lnTo>
                <a:lnTo>
                  <a:pt x="8774026" y="3484330"/>
                </a:lnTo>
                <a:lnTo>
                  <a:pt x="8744423" y="3484330"/>
                </a:lnTo>
                <a:close/>
                <a:moveTo>
                  <a:pt x="8478226" y="3454727"/>
                </a:moveTo>
                <a:lnTo>
                  <a:pt x="8507828" y="3454727"/>
                </a:lnTo>
                <a:lnTo>
                  <a:pt x="8507828" y="3484330"/>
                </a:lnTo>
                <a:lnTo>
                  <a:pt x="8478226" y="3484330"/>
                </a:lnTo>
                <a:close/>
                <a:moveTo>
                  <a:pt x="8212137" y="3454727"/>
                </a:moveTo>
                <a:lnTo>
                  <a:pt x="8241740" y="3454727"/>
                </a:lnTo>
                <a:lnTo>
                  <a:pt x="8241740" y="3484330"/>
                </a:lnTo>
                <a:lnTo>
                  <a:pt x="8212137" y="3484330"/>
                </a:lnTo>
                <a:close/>
                <a:moveTo>
                  <a:pt x="7945940" y="3454727"/>
                </a:moveTo>
                <a:lnTo>
                  <a:pt x="7975543" y="3454727"/>
                </a:lnTo>
                <a:lnTo>
                  <a:pt x="7975543" y="3484330"/>
                </a:lnTo>
                <a:lnTo>
                  <a:pt x="7945940" y="3484330"/>
                </a:lnTo>
                <a:close/>
                <a:moveTo>
                  <a:pt x="7679743" y="3454727"/>
                </a:moveTo>
                <a:lnTo>
                  <a:pt x="7709346" y="3454727"/>
                </a:lnTo>
                <a:lnTo>
                  <a:pt x="7709346" y="3484330"/>
                </a:lnTo>
                <a:lnTo>
                  <a:pt x="7679743" y="3484330"/>
                </a:lnTo>
                <a:close/>
                <a:moveTo>
                  <a:pt x="7413653" y="3454727"/>
                </a:moveTo>
                <a:lnTo>
                  <a:pt x="7443256" y="3454727"/>
                </a:lnTo>
                <a:lnTo>
                  <a:pt x="7443256" y="3484330"/>
                </a:lnTo>
                <a:lnTo>
                  <a:pt x="7413653" y="3484330"/>
                </a:lnTo>
                <a:close/>
                <a:moveTo>
                  <a:pt x="7147456" y="3454727"/>
                </a:moveTo>
                <a:lnTo>
                  <a:pt x="7177058" y="3454727"/>
                </a:lnTo>
                <a:lnTo>
                  <a:pt x="7177058" y="3484330"/>
                </a:lnTo>
                <a:lnTo>
                  <a:pt x="7147456" y="3484330"/>
                </a:lnTo>
                <a:close/>
                <a:moveTo>
                  <a:pt x="6881367" y="3454727"/>
                </a:moveTo>
                <a:lnTo>
                  <a:pt x="6910970" y="3454727"/>
                </a:lnTo>
                <a:lnTo>
                  <a:pt x="6910970" y="3484330"/>
                </a:lnTo>
                <a:lnTo>
                  <a:pt x="6881367" y="3484330"/>
                </a:lnTo>
                <a:close/>
                <a:moveTo>
                  <a:pt x="6615170" y="3454727"/>
                </a:moveTo>
                <a:lnTo>
                  <a:pt x="6644773" y="3454727"/>
                </a:lnTo>
                <a:lnTo>
                  <a:pt x="6644773" y="3484330"/>
                </a:lnTo>
                <a:lnTo>
                  <a:pt x="6615170" y="3484330"/>
                </a:lnTo>
                <a:close/>
                <a:moveTo>
                  <a:pt x="6349081" y="3454727"/>
                </a:moveTo>
                <a:lnTo>
                  <a:pt x="6378683" y="3454727"/>
                </a:lnTo>
                <a:lnTo>
                  <a:pt x="6378683" y="3484330"/>
                </a:lnTo>
                <a:lnTo>
                  <a:pt x="6349081" y="3484330"/>
                </a:lnTo>
                <a:close/>
                <a:moveTo>
                  <a:pt x="6082884" y="3454727"/>
                </a:moveTo>
                <a:lnTo>
                  <a:pt x="6112486" y="3454727"/>
                </a:lnTo>
                <a:lnTo>
                  <a:pt x="6112486" y="3484330"/>
                </a:lnTo>
                <a:lnTo>
                  <a:pt x="6082884" y="3484330"/>
                </a:lnTo>
                <a:close/>
                <a:moveTo>
                  <a:pt x="5825310" y="3454727"/>
                </a:moveTo>
                <a:lnTo>
                  <a:pt x="5854913" y="3454727"/>
                </a:lnTo>
                <a:lnTo>
                  <a:pt x="5854913" y="3484330"/>
                </a:lnTo>
                <a:lnTo>
                  <a:pt x="5825310" y="3484330"/>
                </a:lnTo>
                <a:close/>
                <a:moveTo>
                  <a:pt x="5559113" y="3454727"/>
                </a:moveTo>
                <a:lnTo>
                  <a:pt x="5588715" y="3454727"/>
                </a:lnTo>
                <a:lnTo>
                  <a:pt x="5588715" y="3484330"/>
                </a:lnTo>
                <a:lnTo>
                  <a:pt x="5559113" y="3484330"/>
                </a:lnTo>
                <a:close/>
                <a:moveTo>
                  <a:pt x="5293024" y="3454727"/>
                </a:moveTo>
                <a:lnTo>
                  <a:pt x="5322626" y="3454727"/>
                </a:lnTo>
                <a:lnTo>
                  <a:pt x="5322626" y="3484330"/>
                </a:lnTo>
                <a:lnTo>
                  <a:pt x="5293024" y="3484330"/>
                </a:lnTo>
                <a:close/>
                <a:moveTo>
                  <a:pt x="5026827" y="3454727"/>
                </a:moveTo>
                <a:lnTo>
                  <a:pt x="5056429" y="3454727"/>
                </a:lnTo>
                <a:lnTo>
                  <a:pt x="5056429" y="3484330"/>
                </a:lnTo>
                <a:lnTo>
                  <a:pt x="5026827" y="3484330"/>
                </a:lnTo>
                <a:close/>
                <a:moveTo>
                  <a:pt x="4760630" y="3454727"/>
                </a:moveTo>
                <a:lnTo>
                  <a:pt x="4790340" y="3454727"/>
                </a:lnTo>
                <a:lnTo>
                  <a:pt x="4790340" y="3484330"/>
                </a:lnTo>
                <a:lnTo>
                  <a:pt x="4760630" y="3484330"/>
                </a:lnTo>
                <a:close/>
                <a:moveTo>
                  <a:pt x="4494541" y="3454727"/>
                </a:moveTo>
                <a:lnTo>
                  <a:pt x="4524144" y="3454727"/>
                </a:lnTo>
                <a:lnTo>
                  <a:pt x="4524144" y="3484330"/>
                </a:lnTo>
                <a:lnTo>
                  <a:pt x="4494541" y="3484330"/>
                </a:lnTo>
                <a:close/>
                <a:moveTo>
                  <a:pt x="4228344" y="3454727"/>
                </a:moveTo>
                <a:lnTo>
                  <a:pt x="4257946" y="3454727"/>
                </a:lnTo>
                <a:lnTo>
                  <a:pt x="4257946" y="3484330"/>
                </a:lnTo>
                <a:lnTo>
                  <a:pt x="4228344" y="3484330"/>
                </a:lnTo>
                <a:close/>
                <a:moveTo>
                  <a:pt x="3962255" y="3454727"/>
                </a:moveTo>
                <a:lnTo>
                  <a:pt x="3991857" y="3454727"/>
                </a:lnTo>
                <a:lnTo>
                  <a:pt x="3991857" y="3484330"/>
                </a:lnTo>
                <a:lnTo>
                  <a:pt x="3962255" y="3484330"/>
                </a:lnTo>
                <a:close/>
                <a:moveTo>
                  <a:pt x="3696058" y="3454727"/>
                </a:moveTo>
                <a:lnTo>
                  <a:pt x="3725661" y="3454727"/>
                </a:lnTo>
                <a:lnTo>
                  <a:pt x="3725661" y="3484330"/>
                </a:lnTo>
                <a:lnTo>
                  <a:pt x="3696058" y="3484330"/>
                </a:lnTo>
                <a:close/>
                <a:moveTo>
                  <a:pt x="3429969" y="3454727"/>
                </a:moveTo>
                <a:lnTo>
                  <a:pt x="3459572" y="3454727"/>
                </a:lnTo>
                <a:lnTo>
                  <a:pt x="3459572" y="3484330"/>
                </a:lnTo>
                <a:lnTo>
                  <a:pt x="3429969" y="3484330"/>
                </a:lnTo>
                <a:close/>
                <a:moveTo>
                  <a:pt x="3163772" y="3454727"/>
                </a:moveTo>
                <a:lnTo>
                  <a:pt x="3193374" y="3454727"/>
                </a:lnTo>
                <a:lnTo>
                  <a:pt x="3193374" y="3484330"/>
                </a:lnTo>
                <a:lnTo>
                  <a:pt x="3163772" y="3484330"/>
                </a:lnTo>
                <a:close/>
                <a:moveTo>
                  <a:pt x="2897575" y="3454727"/>
                </a:moveTo>
                <a:lnTo>
                  <a:pt x="2927178" y="3454727"/>
                </a:lnTo>
                <a:lnTo>
                  <a:pt x="2927178" y="3484330"/>
                </a:lnTo>
                <a:lnTo>
                  <a:pt x="2897575" y="3484330"/>
                </a:lnTo>
                <a:close/>
                <a:moveTo>
                  <a:pt x="2631378" y="3454727"/>
                </a:moveTo>
                <a:lnTo>
                  <a:pt x="2660980" y="3454727"/>
                </a:lnTo>
                <a:lnTo>
                  <a:pt x="2660980" y="3484330"/>
                </a:lnTo>
                <a:lnTo>
                  <a:pt x="2631378" y="3484330"/>
                </a:lnTo>
                <a:close/>
                <a:moveTo>
                  <a:pt x="2365289" y="3454727"/>
                </a:moveTo>
                <a:lnTo>
                  <a:pt x="2394892" y="3454727"/>
                </a:lnTo>
                <a:lnTo>
                  <a:pt x="2394892" y="3484330"/>
                </a:lnTo>
                <a:lnTo>
                  <a:pt x="2365289" y="3484330"/>
                </a:lnTo>
                <a:close/>
                <a:moveTo>
                  <a:pt x="2099092" y="3454727"/>
                </a:moveTo>
                <a:lnTo>
                  <a:pt x="2128695" y="3454727"/>
                </a:lnTo>
                <a:lnTo>
                  <a:pt x="2128695" y="3484330"/>
                </a:lnTo>
                <a:lnTo>
                  <a:pt x="2099092" y="3484330"/>
                </a:lnTo>
                <a:close/>
                <a:moveTo>
                  <a:pt x="1832898" y="3454727"/>
                </a:moveTo>
                <a:lnTo>
                  <a:pt x="1862498" y="3454727"/>
                </a:lnTo>
                <a:lnTo>
                  <a:pt x="1862498" y="3484330"/>
                </a:lnTo>
                <a:lnTo>
                  <a:pt x="1832898" y="3484330"/>
                </a:lnTo>
                <a:close/>
                <a:moveTo>
                  <a:pt x="1566808" y="3454727"/>
                </a:moveTo>
                <a:lnTo>
                  <a:pt x="1596409" y="3454727"/>
                </a:lnTo>
                <a:lnTo>
                  <a:pt x="1596409" y="3484330"/>
                </a:lnTo>
                <a:lnTo>
                  <a:pt x="1566808" y="3484330"/>
                </a:lnTo>
                <a:close/>
                <a:moveTo>
                  <a:pt x="1300611" y="3454727"/>
                </a:moveTo>
                <a:lnTo>
                  <a:pt x="1330213" y="3454727"/>
                </a:lnTo>
                <a:lnTo>
                  <a:pt x="1330213" y="3484330"/>
                </a:lnTo>
                <a:lnTo>
                  <a:pt x="1300611" y="3484330"/>
                </a:lnTo>
                <a:close/>
                <a:moveTo>
                  <a:pt x="1034520" y="3454727"/>
                </a:moveTo>
                <a:lnTo>
                  <a:pt x="1064123" y="3454727"/>
                </a:lnTo>
                <a:lnTo>
                  <a:pt x="1064123" y="3484330"/>
                </a:lnTo>
                <a:lnTo>
                  <a:pt x="1034520" y="3484330"/>
                </a:lnTo>
                <a:close/>
                <a:moveTo>
                  <a:pt x="768327" y="3454727"/>
                </a:moveTo>
                <a:lnTo>
                  <a:pt x="797926" y="3454727"/>
                </a:lnTo>
                <a:lnTo>
                  <a:pt x="797926" y="3484330"/>
                </a:lnTo>
                <a:lnTo>
                  <a:pt x="768327" y="3484330"/>
                </a:lnTo>
                <a:close/>
                <a:moveTo>
                  <a:pt x="502236" y="3454727"/>
                </a:moveTo>
                <a:lnTo>
                  <a:pt x="531839" y="3454727"/>
                </a:lnTo>
                <a:lnTo>
                  <a:pt x="531839" y="3484330"/>
                </a:lnTo>
                <a:lnTo>
                  <a:pt x="502236" y="3484330"/>
                </a:lnTo>
                <a:close/>
                <a:moveTo>
                  <a:pt x="236037" y="3454727"/>
                </a:moveTo>
                <a:lnTo>
                  <a:pt x="265640" y="3454727"/>
                </a:lnTo>
                <a:lnTo>
                  <a:pt x="265640" y="3484330"/>
                </a:lnTo>
                <a:lnTo>
                  <a:pt x="236037" y="3484330"/>
                </a:lnTo>
                <a:close/>
                <a:moveTo>
                  <a:pt x="1" y="3454727"/>
                </a:moveTo>
                <a:lnTo>
                  <a:pt x="29603" y="3454727"/>
                </a:lnTo>
                <a:lnTo>
                  <a:pt x="29603" y="3484330"/>
                </a:lnTo>
                <a:lnTo>
                  <a:pt x="1" y="3484330"/>
                </a:lnTo>
                <a:close/>
                <a:moveTo>
                  <a:pt x="11672158" y="3189089"/>
                </a:moveTo>
                <a:lnTo>
                  <a:pt x="11701760" y="3189089"/>
                </a:lnTo>
                <a:lnTo>
                  <a:pt x="11701760" y="3218566"/>
                </a:lnTo>
                <a:lnTo>
                  <a:pt x="11672158" y="3218566"/>
                </a:lnTo>
                <a:close/>
                <a:moveTo>
                  <a:pt x="11405961" y="3189089"/>
                </a:moveTo>
                <a:lnTo>
                  <a:pt x="11435563" y="3189089"/>
                </a:lnTo>
                <a:lnTo>
                  <a:pt x="11435563" y="3218566"/>
                </a:lnTo>
                <a:lnTo>
                  <a:pt x="11405961" y="3218566"/>
                </a:lnTo>
                <a:close/>
                <a:moveTo>
                  <a:pt x="5825310" y="3189089"/>
                </a:moveTo>
                <a:lnTo>
                  <a:pt x="5854913" y="3189089"/>
                </a:lnTo>
                <a:lnTo>
                  <a:pt x="5854913" y="3218566"/>
                </a:lnTo>
                <a:lnTo>
                  <a:pt x="5825310" y="3218566"/>
                </a:lnTo>
                <a:close/>
                <a:moveTo>
                  <a:pt x="5559113" y="3189089"/>
                </a:moveTo>
                <a:lnTo>
                  <a:pt x="5588715" y="3189089"/>
                </a:lnTo>
                <a:lnTo>
                  <a:pt x="5588715" y="3218566"/>
                </a:lnTo>
                <a:lnTo>
                  <a:pt x="5559113" y="3218566"/>
                </a:lnTo>
                <a:close/>
                <a:moveTo>
                  <a:pt x="11139872" y="3189087"/>
                </a:moveTo>
                <a:lnTo>
                  <a:pt x="11169474" y="3189087"/>
                </a:lnTo>
                <a:lnTo>
                  <a:pt x="11169474" y="3218566"/>
                </a:lnTo>
                <a:lnTo>
                  <a:pt x="11139872" y="3218566"/>
                </a:lnTo>
                <a:close/>
                <a:moveTo>
                  <a:pt x="10873675" y="3189087"/>
                </a:moveTo>
                <a:lnTo>
                  <a:pt x="10903277" y="3189087"/>
                </a:lnTo>
                <a:lnTo>
                  <a:pt x="10903277" y="3218566"/>
                </a:lnTo>
                <a:lnTo>
                  <a:pt x="10873675" y="3218566"/>
                </a:lnTo>
                <a:close/>
                <a:moveTo>
                  <a:pt x="5293024" y="3189087"/>
                </a:moveTo>
                <a:lnTo>
                  <a:pt x="5322626" y="3189087"/>
                </a:lnTo>
                <a:lnTo>
                  <a:pt x="5322626" y="3218566"/>
                </a:lnTo>
                <a:lnTo>
                  <a:pt x="5293024" y="3218566"/>
                </a:lnTo>
                <a:close/>
                <a:moveTo>
                  <a:pt x="5026827" y="3189087"/>
                </a:moveTo>
                <a:lnTo>
                  <a:pt x="5056429" y="3189087"/>
                </a:lnTo>
                <a:lnTo>
                  <a:pt x="5056429" y="3218566"/>
                </a:lnTo>
                <a:lnTo>
                  <a:pt x="5026827" y="3218566"/>
                </a:lnTo>
                <a:close/>
                <a:moveTo>
                  <a:pt x="10607478" y="3189086"/>
                </a:moveTo>
                <a:lnTo>
                  <a:pt x="10637188" y="3189086"/>
                </a:lnTo>
                <a:lnTo>
                  <a:pt x="10637188" y="3218566"/>
                </a:lnTo>
                <a:lnTo>
                  <a:pt x="10607478" y="3218566"/>
                </a:lnTo>
                <a:close/>
                <a:moveTo>
                  <a:pt x="4760630" y="3189086"/>
                </a:moveTo>
                <a:lnTo>
                  <a:pt x="4790340" y="3189086"/>
                </a:lnTo>
                <a:lnTo>
                  <a:pt x="4790340" y="3218566"/>
                </a:lnTo>
                <a:lnTo>
                  <a:pt x="4760630" y="3218566"/>
                </a:lnTo>
                <a:close/>
                <a:moveTo>
                  <a:pt x="10341389" y="3189085"/>
                </a:moveTo>
                <a:lnTo>
                  <a:pt x="10370992" y="3189085"/>
                </a:lnTo>
                <a:lnTo>
                  <a:pt x="10370992" y="3218566"/>
                </a:lnTo>
                <a:lnTo>
                  <a:pt x="10341389" y="3218566"/>
                </a:lnTo>
                <a:close/>
                <a:moveTo>
                  <a:pt x="4494541" y="3189085"/>
                </a:moveTo>
                <a:lnTo>
                  <a:pt x="4524144" y="3189085"/>
                </a:lnTo>
                <a:lnTo>
                  <a:pt x="4524144" y="3218566"/>
                </a:lnTo>
                <a:lnTo>
                  <a:pt x="4494541" y="3218566"/>
                </a:lnTo>
                <a:close/>
                <a:moveTo>
                  <a:pt x="10075192" y="3189084"/>
                </a:moveTo>
                <a:lnTo>
                  <a:pt x="10104794" y="3189084"/>
                </a:lnTo>
                <a:lnTo>
                  <a:pt x="10104794" y="3218566"/>
                </a:lnTo>
                <a:lnTo>
                  <a:pt x="10075192" y="3218566"/>
                </a:lnTo>
                <a:close/>
                <a:moveTo>
                  <a:pt x="4228344" y="3189084"/>
                </a:moveTo>
                <a:lnTo>
                  <a:pt x="4257946" y="3189084"/>
                </a:lnTo>
                <a:lnTo>
                  <a:pt x="4257946" y="3218566"/>
                </a:lnTo>
                <a:lnTo>
                  <a:pt x="4228344" y="3218566"/>
                </a:lnTo>
                <a:close/>
                <a:moveTo>
                  <a:pt x="9809103" y="3189083"/>
                </a:moveTo>
                <a:lnTo>
                  <a:pt x="9838705" y="3189083"/>
                </a:lnTo>
                <a:lnTo>
                  <a:pt x="9838705" y="3218566"/>
                </a:lnTo>
                <a:lnTo>
                  <a:pt x="9809103" y="3218566"/>
                </a:lnTo>
                <a:close/>
                <a:moveTo>
                  <a:pt x="3962255" y="3189083"/>
                </a:moveTo>
                <a:lnTo>
                  <a:pt x="3991857" y="3189083"/>
                </a:lnTo>
                <a:lnTo>
                  <a:pt x="3991857" y="3218566"/>
                </a:lnTo>
                <a:lnTo>
                  <a:pt x="3962255" y="3218566"/>
                </a:lnTo>
                <a:close/>
                <a:moveTo>
                  <a:pt x="9542906" y="3189082"/>
                </a:moveTo>
                <a:lnTo>
                  <a:pt x="9572509" y="3189082"/>
                </a:lnTo>
                <a:lnTo>
                  <a:pt x="9572509" y="3218566"/>
                </a:lnTo>
                <a:lnTo>
                  <a:pt x="9542906" y="3218566"/>
                </a:lnTo>
                <a:close/>
                <a:moveTo>
                  <a:pt x="3696058" y="3189082"/>
                </a:moveTo>
                <a:lnTo>
                  <a:pt x="3725661" y="3189082"/>
                </a:lnTo>
                <a:lnTo>
                  <a:pt x="3725661" y="3218566"/>
                </a:lnTo>
                <a:lnTo>
                  <a:pt x="3696058" y="3218566"/>
                </a:lnTo>
                <a:close/>
                <a:moveTo>
                  <a:pt x="9276817" y="3189081"/>
                </a:moveTo>
                <a:lnTo>
                  <a:pt x="9306420" y="3189081"/>
                </a:lnTo>
                <a:lnTo>
                  <a:pt x="9306420" y="3218566"/>
                </a:lnTo>
                <a:lnTo>
                  <a:pt x="9276817" y="3218566"/>
                </a:lnTo>
                <a:close/>
                <a:moveTo>
                  <a:pt x="9010620" y="3189081"/>
                </a:moveTo>
                <a:lnTo>
                  <a:pt x="9040222" y="3189081"/>
                </a:lnTo>
                <a:lnTo>
                  <a:pt x="9040222" y="3218566"/>
                </a:lnTo>
                <a:lnTo>
                  <a:pt x="9010620" y="3218566"/>
                </a:lnTo>
                <a:close/>
                <a:moveTo>
                  <a:pt x="3429969" y="3189081"/>
                </a:moveTo>
                <a:lnTo>
                  <a:pt x="3459572" y="3189081"/>
                </a:lnTo>
                <a:lnTo>
                  <a:pt x="3459572" y="3218566"/>
                </a:lnTo>
                <a:lnTo>
                  <a:pt x="3429969" y="3218566"/>
                </a:lnTo>
                <a:close/>
                <a:moveTo>
                  <a:pt x="3163772" y="3189081"/>
                </a:moveTo>
                <a:lnTo>
                  <a:pt x="3193374" y="3189081"/>
                </a:lnTo>
                <a:lnTo>
                  <a:pt x="3193374" y="3218566"/>
                </a:lnTo>
                <a:lnTo>
                  <a:pt x="3163772" y="3218566"/>
                </a:lnTo>
                <a:close/>
                <a:moveTo>
                  <a:pt x="8744423" y="3189080"/>
                </a:moveTo>
                <a:lnTo>
                  <a:pt x="8774026" y="3189080"/>
                </a:lnTo>
                <a:lnTo>
                  <a:pt x="8774026" y="3218566"/>
                </a:lnTo>
                <a:lnTo>
                  <a:pt x="8744423" y="3218566"/>
                </a:lnTo>
                <a:close/>
                <a:moveTo>
                  <a:pt x="2897575" y="3189080"/>
                </a:moveTo>
                <a:lnTo>
                  <a:pt x="2927178" y="3189080"/>
                </a:lnTo>
                <a:lnTo>
                  <a:pt x="2927178" y="3218566"/>
                </a:lnTo>
                <a:lnTo>
                  <a:pt x="2897575" y="3218566"/>
                </a:lnTo>
                <a:close/>
                <a:moveTo>
                  <a:pt x="8478226" y="3189079"/>
                </a:moveTo>
                <a:lnTo>
                  <a:pt x="8507828" y="3189079"/>
                </a:lnTo>
                <a:lnTo>
                  <a:pt x="8507828" y="3218566"/>
                </a:lnTo>
                <a:lnTo>
                  <a:pt x="8478226" y="3218566"/>
                </a:lnTo>
                <a:close/>
                <a:moveTo>
                  <a:pt x="2631378" y="3189079"/>
                </a:moveTo>
                <a:lnTo>
                  <a:pt x="2660980" y="3189079"/>
                </a:lnTo>
                <a:lnTo>
                  <a:pt x="2660980" y="3218566"/>
                </a:lnTo>
                <a:lnTo>
                  <a:pt x="2631378" y="3218566"/>
                </a:lnTo>
                <a:close/>
                <a:moveTo>
                  <a:pt x="8212137" y="3189078"/>
                </a:moveTo>
                <a:lnTo>
                  <a:pt x="8241740" y="3189078"/>
                </a:lnTo>
                <a:lnTo>
                  <a:pt x="8241740" y="3218566"/>
                </a:lnTo>
                <a:lnTo>
                  <a:pt x="8212137" y="3218566"/>
                </a:lnTo>
                <a:close/>
                <a:moveTo>
                  <a:pt x="2365289" y="3189078"/>
                </a:moveTo>
                <a:lnTo>
                  <a:pt x="2394892" y="3189078"/>
                </a:lnTo>
                <a:lnTo>
                  <a:pt x="2394892" y="3218566"/>
                </a:lnTo>
                <a:lnTo>
                  <a:pt x="2365289" y="3218566"/>
                </a:lnTo>
                <a:close/>
                <a:moveTo>
                  <a:pt x="7945940" y="3189077"/>
                </a:moveTo>
                <a:lnTo>
                  <a:pt x="7975543" y="3189077"/>
                </a:lnTo>
                <a:lnTo>
                  <a:pt x="7975543" y="3218566"/>
                </a:lnTo>
                <a:lnTo>
                  <a:pt x="7945940" y="3218566"/>
                </a:lnTo>
                <a:close/>
                <a:moveTo>
                  <a:pt x="2099092" y="3189077"/>
                </a:moveTo>
                <a:lnTo>
                  <a:pt x="2128695" y="3189077"/>
                </a:lnTo>
                <a:lnTo>
                  <a:pt x="2128695" y="3218566"/>
                </a:lnTo>
                <a:lnTo>
                  <a:pt x="2099092" y="3218566"/>
                </a:lnTo>
                <a:close/>
                <a:moveTo>
                  <a:pt x="7679743" y="3189076"/>
                </a:moveTo>
                <a:lnTo>
                  <a:pt x="7709346" y="3189076"/>
                </a:lnTo>
                <a:lnTo>
                  <a:pt x="7709346" y="3218566"/>
                </a:lnTo>
                <a:lnTo>
                  <a:pt x="7679743" y="3218566"/>
                </a:lnTo>
                <a:close/>
                <a:moveTo>
                  <a:pt x="7413653" y="3189076"/>
                </a:moveTo>
                <a:lnTo>
                  <a:pt x="7443256" y="3189076"/>
                </a:lnTo>
                <a:lnTo>
                  <a:pt x="7443256" y="3218566"/>
                </a:lnTo>
                <a:lnTo>
                  <a:pt x="7413653" y="3218566"/>
                </a:lnTo>
                <a:close/>
                <a:moveTo>
                  <a:pt x="1832898" y="3189076"/>
                </a:moveTo>
                <a:lnTo>
                  <a:pt x="1862498" y="3189076"/>
                </a:lnTo>
                <a:lnTo>
                  <a:pt x="1862498" y="3218566"/>
                </a:lnTo>
                <a:lnTo>
                  <a:pt x="1832898" y="3218566"/>
                </a:lnTo>
                <a:close/>
                <a:moveTo>
                  <a:pt x="1566808" y="3189076"/>
                </a:moveTo>
                <a:lnTo>
                  <a:pt x="1596409" y="3189076"/>
                </a:lnTo>
                <a:lnTo>
                  <a:pt x="1596409" y="3218566"/>
                </a:lnTo>
                <a:lnTo>
                  <a:pt x="1566808" y="3218566"/>
                </a:lnTo>
                <a:close/>
                <a:moveTo>
                  <a:pt x="7147456" y="3189075"/>
                </a:moveTo>
                <a:lnTo>
                  <a:pt x="7177058" y="3189075"/>
                </a:lnTo>
                <a:lnTo>
                  <a:pt x="7177058" y="3218566"/>
                </a:lnTo>
                <a:lnTo>
                  <a:pt x="7147456" y="3218566"/>
                </a:lnTo>
                <a:close/>
                <a:moveTo>
                  <a:pt x="1300611" y="3189075"/>
                </a:moveTo>
                <a:lnTo>
                  <a:pt x="1330213" y="3189075"/>
                </a:lnTo>
                <a:lnTo>
                  <a:pt x="1330213" y="3218566"/>
                </a:lnTo>
                <a:lnTo>
                  <a:pt x="1300611" y="3218566"/>
                </a:lnTo>
                <a:close/>
                <a:moveTo>
                  <a:pt x="6881367" y="3189074"/>
                </a:moveTo>
                <a:lnTo>
                  <a:pt x="6910970" y="3189074"/>
                </a:lnTo>
                <a:lnTo>
                  <a:pt x="6910970" y="3218566"/>
                </a:lnTo>
                <a:lnTo>
                  <a:pt x="6881367" y="3218566"/>
                </a:lnTo>
                <a:close/>
                <a:moveTo>
                  <a:pt x="1034520" y="3189074"/>
                </a:moveTo>
                <a:lnTo>
                  <a:pt x="1064123" y="3189074"/>
                </a:lnTo>
                <a:lnTo>
                  <a:pt x="1064123" y="3218566"/>
                </a:lnTo>
                <a:lnTo>
                  <a:pt x="1034520" y="3218566"/>
                </a:lnTo>
                <a:close/>
                <a:moveTo>
                  <a:pt x="6615170" y="3189073"/>
                </a:moveTo>
                <a:lnTo>
                  <a:pt x="6644773" y="3189073"/>
                </a:lnTo>
                <a:lnTo>
                  <a:pt x="6644773" y="3218566"/>
                </a:lnTo>
                <a:lnTo>
                  <a:pt x="6615170" y="3218566"/>
                </a:lnTo>
                <a:close/>
                <a:moveTo>
                  <a:pt x="768327" y="3189073"/>
                </a:moveTo>
                <a:lnTo>
                  <a:pt x="797926" y="3189073"/>
                </a:lnTo>
                <a:lnTo>
                  <a:pt x="797926" y="3218566"/>
                </a:lnTo>
                <a:lnTo>
                  <a:pt x="768327" y="3218566"/>
                </a:lnTo>
                <a:close/>
                <a:moveTo>
                  <a:pt x="6349081" y="3189072"/>
                </a:moveTo>
                <a:lnTo>
                  <a:pt x="6378683" y="3189072"/>
                </a:lnTo>
                <a:lnTo>
                  <a:pt x="6378683" y="3218566"/>
                </a:lnTo>
                <a:lnTo>
                  <a:pt x="6349081" y="3218566"/>
                </a:lnTo>
                <a:close/>
                <a:moveTo>
                  <a:pt x="502236" y="3189072"/>
                </a:moveTo>
                <a:lnTo>
                  <a:pt x="531839" y="3189072"/>
                </a:lnTo>
                <a:lnTo>
                  <a:pt x="531839" y="3218566"/>
                </a:lnTo>
                <a:lnTo>
                  <a:pt x="502236" y="3218566"/>
                </a:lnTo>
                <a:close/>
                <a:moveTo>
                  <a:pt x="6082884" y="3189071"/>
                </a:moveTo>
                <a:lnTo>
                  <a:pt x="6112486" y="3189071"/>
                </a:lnTo>
                <a:lnTo>
                  <a:pt x="6112486" y="3218566"/>
                </a:lnTo>
                <a:lnTo>
                  <a:pt x="6082884" y="3218566"/>
                </a:lnTo>
                <a:close/>
                <a:moveTo>
                  <a:pt x="236037" y="3189071"/>
                </a:moveTo>
                <a:lnTo>
                  <a:pt x="265639" y="3189071"/>
                </a:lnTo>
                <a:lnTo>
                  <a:pt x="265639" y="3218566"/>
                </a:lnTo>
                <a:lnTo>
                  <a:pt x="236037" y="3218566"/>
                </a:lnTo>
                <a:close/>
                <a:moveTo>
                  <a:pt x="1" y="3189071"/>
                </a:moveTo>
                <a:lnTo>
                  <a:pt x="29603" y="3189071"/>
                </a:lnTo>
                <a:lnTo>
                  <a:pt x="29603" y="3218566"/>
                </a:lnTo>
                <a:lnTo>
                  <a:pt x="1" y="3218566"/>
                </a:lnTo>
                <a:close/>
                <a:moveTo>
                  <a:pt x="11672158" y="2923329"/>
                </a:moveTo>
                <a:lnTo>
                  <a:pt x="11701760" y="2923329"/>
                </a:lnTo>
                <a:lnTo>
                  <a:pt x="11701760" y="2952824"/>
                </a:lnTo>
                <a:lnTo>
                  <a:pt x="11672158" y="2952824"/>
                </a:lnTo>
                <a:close/>
                <a:moveTo>
                  <a:pt x="5825310" y="2923329"/>
                </a:moveTo>
                <a:lnTo>
                  <a:pt x="5854913" y="2923329"/>
                </a:lnTo>
                <a:lnTo>
                  <a:pt x="5854913" y="2952824"/>
                </a:lnTo>
                <a:lnTo>
                  <a:pt x="5825310" y="2952824"/>
                </a:lnTo>
                <a:close/>
                <a:moveTo>
                  <a:pt x="11405961" y="2923328"/>
                </a:moveTo>
                <a:lnTo>
                  <a:pt x="11435563" y="2923328"/>
                </a:lnTo>
                <a:lnTo>
                  <a:pt x="11435563" y="2952823"/>
                </a:lnTo>
                <a:lnTo>
                  <a:pt x="11405961" y="2952823"/>
                </a:lnTo>
                <a:close/>
                <a:moveTo>
                  <a:pt x="5559113" y="2923328"/>
                </a:moveTo>
                <a:lnTo>
                  <a:pt x="5588715" y="2923328"/>
                </a:lnTo>
                <a:lnTo>
                  <a:pt x="5588715" y="2952823"/>
                </a:lnTo>
                <a:lnTo>
                  <a:pt x="5559113" y="2952823"/>
                </a:lnTo>
                <a:close/>
                <a:moveTo>
                  <a:pt x="11139872" y="2923327"/>
                </a:moveTo>
                <a:lnTo>
                  <a:pt x="11169474" y="2923327"/>
                </a:lnTo>
                <a:lnTo>
                  <a:pt x="11169474" y="2952822"/>
                </a:lnTo>
                <a:lnTo>
                  <a:pt x="11139872" y="2952822"/>
                </a:lnTo>
                <a:close/>
                <a:moveTo>
                  <a:pt x="5293024" y="2923327"/>
                </a:moveTo>
                <a:lnTo>
                  <a:pt x="5322626" y="2923327"/>
                </a:lnTo>
                <a:lnTo>
                  <a:pt x="5322626" y="2952822"/>
                </a:lnTo>
                <a:lnTo>
                  <a:pt x="5293024" y="2952822"/>
                </a:lnTo>
                <a:close/>
                <a:moveTo>
                  <a:pt x="10873675" y="2923326"/>
                </a:moveTo>
                <a:lnTo>
                  <a:pt x="10903277" y="2923326"/>
                </a:lnTo>
                <a:lnTo>
                  <a:pt x="10903277" y="2952821"/>
                </a:lnTo>
                <a:lnTo>
                  <a:pt x="10873675" y="2952821"/>
                </a:lnTo>
                <a:close/>
                <a:moveTo>
                  <a:pt x="5026827" y="2923326"/>
                </a:moveTo>
                <a:lnTo>
                  <a:pt x="5056429" y="2923326"/>
                </a:lnTo>
                <a:lnTo>
                  <a:pt x="5056429" y="2952821"/>
                </a:lnTo>
                <a:lnTo>
                  <a:pt x="5026827" y="2952821"/>
                </a:lnTo>
                <a:close/>
                <a:moveTo>
                  <a:pt x="10607478" y="2923325"/>
                </a:moveTo>
                <a:lnTo>
                  <a:pt x="10637188" y="2923325"/>
                </a:lnTo>
                <a:lnTo>
                  <a:pt x="10637188" y="2952820"/>
                </a:lnTo>
                <a:lnTo>
                  <a:pt x="10607478" y="2952820"/>
                </a:lnTo>
                <a:close/>
                <a:moveTo>
                  <a:pt x="4760630" y="2923325"/>
                </a:moveTo>
                <a:lnTo>
                  <a:pt x="4790340" y="2923325"/>
                </a:lnTo>
                <a:lnTo>
                  <a:pt x="4790340" y="2952820"/>
                </a:lnTo>
                <a:lnTo>
                  <a:pt x="4760630" y="2952820"/>
                </a:lnTo>
                <a:close/>
                <a:moveTo>
                  <a:pt x="10341389" y="2923323"/>
                </a:moveTo>
                <a:lnTo>
                  <a:pt x="10370992" y="2923323"/>
                </a:lnTo>
                <a:lnTo>
                  <a:pt x="10370992" y="2952819"/>
                </a:lnTo>
                <a:lnTo>
                  <a:pt x="10341389" y="2952819"/>
                </a:lnTo>
                <a:close/>
                <a:moveTo>
                  <a:pt x="4494541" y="2923323"/>
                </a:moveTo>
                <a:lnTo>
                  <a:pt x="4524144" y="2923323"/>
                </a:lnTo>
                <a:lnTo>
                  <a:pt x="4524144" y="2952819"/>
                </a:lnTo>
                <a:lnTo>
                  <a:pt x="4494541" y="2952819"/>
                </a:lnTo>
                <a:close/>
                <a:moveTo>
                  <a:pt x="10075192" y="2923322"/>
                </a:moveTo>
                <a:lnTo>
                  <a:pt x="10104794" y="2923322"/>
                </a:lnTo>
                <a:lnTo>
                  <a:pt x="10104794" y="2952818"/>
                </a:lnTo>
                <a:lnTo>
                  <a:pt x="10075192" y="2952818"/>
                </a:lnTo>
                <a:close/>
                <a:moveTo>
                  <a:pt x="4228344" y="2923322"/>
                </a:moveTo>
                <a:lnTo>
                  <a:pt x="4257946" y="2923322"/>
                </a:lnTo>
                <a:lnTo>
                  <a:pt x="4257946" y="2952818"/>
                </a:lnTo>
                <a:lnTo>
                  <a:pt x="4228344" y="2952818"/>
                </a:lnTo>
                <a:close/>
                <a:moveTo>
                  <a:pt x="9809103" y="2923321"/>
                </a:moveTo>
                <a:lnTo>
                  <a:pt x="9838705" y="2923321"/>
                </a:lnTo>
                <a:lnTo>
                  <a:pt x="9838705" y="2952817"/>
                </a:lnTo>
                <a:lnTo>
                  <a:pt x="9809103" y="2952817"/>
                </a:lnTo>
                <a:close/>
                <a:moveTo>
                  <a:pt x="3962255" y="2923321"/>
                </a:moveTo>
                <a:lnTo>
                  <a:pt x="3991857" y="2923321"/>
                </a:lnTo>
                <a:lnTo>
                  <a:pt x="3991857" y="2952817"/>
                </a:lnTo>
                <a:lnTo>
                  <a:pt x="3962255" y="2952817"/>
                </a:lnTo>
                <a:close/>
                <a:moveTo>
                  <a:pt x="9542906" y="2923320"/>
                </a:moveTo>
                <a:lnTo>
                  <a:pt x="9572509" y="2923320"/>
                </a:lnTo>
                <a:lnTo>
                  <a:pt x="9572509" y="2952815"/>
                </a:lnTo>
                <a:lnTo>
                  <a:pt x="9542906" y="2952815"/>
                </a:lnTo>
                <a:close/>
                <a:moveTo>
                  <a:pt x="3696058" y="2923320"/>
                </a:moveTo>
                <a:lnTo>
                  <a:pt x="3725661" y="2923320"/>
                </a:lnTo>
                <a:lnTo>
                  <a:pt x="3725661" y="2952815"/>
                </a:lnTo>
                <a:lnTo>
                  <a:pt x="3696058" y="2952815"/>
                </a:lnTo>
                <a:close/>
                <a:moveTo>
                  <a:pt x="9276817" y="2923319"/>
                </a:moveTo>
                <a:lnTo>
                  <a:pt x="9306420" y="2923319"/>
                </a:lnTo>
                <a:lnTo>
                  <a:pt x="9306420" y="2952814"/>
                </a:lnTo>
                <a:lnTo>
                  <a:pt x="9276817" y="2952814"/>
                </a:lnTo>
                <a:close/>
                <a:moveTo>
                  <a:pt x="3429969" y="2923319"/>
                </a:moveTo>
                <a:lnTo>
                  <a:pt x="3459572" y="2923319"/>
                </a:lnTo>
                <a:lnTo>
                  <a:pt x="3459572" y="2952814"/>
                </a:lnTo>
                <a:lnTo>
                  <a:pt x="3429969" y="2952814"/>
                </a:lnTo>
                <a:close/>
                <a:moveTo>
                  <a:pt x="9010620" y="2923318"/>
                </a:moveTo>
                <a:lnTo>
                  <a:pt x="9040222" y="2923318"/>
                </a:lnTo>
                <a:lnTo>
                  <a:pt x="9040222" y="2952813"/>
                </a:lnTo>
                <a:lnTo>
                  <a:pt x="9010620" y="2952813"/>
                </a:lnTo>
                <a:close/>
                <a:moveTo>
                  <a:pt x="3163772" y="2923318"/>
                </a:moveTo>
                <a:lnTo>
                  <a:pt x="3193374" y="2923318"/>
                </a:lnTo>
                <a:lnTo>
                  <a:pt x="3193374" y="2952813"/>
                </a:lnTo>
                <a:lnTo>
                  <a:pt x="3163772" y="2952813"/>
                </a:lnTo>
                <a:close/>
                <a:moveTo>
                  <a:pt x="8744423" y="2923317"/>
                </a:moveTo>
                <a:lnTo>
                  <a:pt x="8774026" y="2923317"/>
                </a:lnTo>
                <a:lnTo>
                  <a:pt x="8774026" y="2952812"/>
                </a:lnTo>
                <a:lnTo>
                  <a:pt x="8744423" y="2952812"/>
                </a:lnTo>
                <a:close/>
                <a:moveTo>
                  <a:pt x="2897575" y="2923317"/>
                </a:moveTo>
                <a:lnTo>
                  <a:pt x="2927178" y="2923317"/>
                </a:lnTo>
                <a:lnTo>
                  <a:pt x="2927178" y="2952812"/>
                </a:lnTo>
                <a:lnTo>
                  <a:pt x="2897575" y="2952812"/>
                </a:lnTo>
                <a:close/>
                <a:moveTo>
                  <a:pt x="8478226" y="2923316"/>
                </a:moveTo>
                <a:lnTo>
                  <a:pt x="8507828" y="2923316"/>
                </a:lnTo>
                <a:lnTo>
                  <a:pt x="8507828" y="2952811"/>
                </a:lnTo>
                <a:lnTo>
                  <a:pt x="8478226" y="2952811"/>
                </a:lnTo>
                <a:close/>
                <a:moveTo>
                  <a:pt x="2631378" y="2923316"/>
                </a:moveTo>
                <a:lnTo>
                  <a:pt x="2660980" y="2923316"/>
                </a:lnTo>
                <a:lnTo>
                  <a:pt x="2660980" y="2952811"/>
                </a:lnTo>
                <a:lnTo>
                  <a:pt x="2631378" y="2952811"/>
                </a:lnTo>
                <a:close/>
                <a:moveTo>
                  <a:pt x="8212137" y="2923315"/>
                </a:moveTo>
                <a:lnTo>
                  <a:pt x="8241740" y="2923315"/>
                </a:lnTo>
                <a:lnTo>
                  <a:pt x="8241740" y="2952810"/>
                </a:lnTo>
                <a:lnTo>
                  <a:pt x="8212137" y="2952810"/>
                </a:lnTo>
                <a:close/>
                <a:moveTo>
                  <a:pt x="2365289" y="2923315"/>
                </a:moveTo>
                <a:lnTo>
                  <a:pt x="2394892" y="2923315"/>
                </a:lnTo>
                <a:lnTo>
                  <a:pt x="2394892" y="2952810"/>
                </a:lnTo>
                <a:lnTo>
                  <a:pt x="2365289" y="2952810"/>
                </a:lnTo>
                <a:close/>
                <a:moveTo>
                  <a:pt x="7945940" y="2923314"/>
                </a:moveTo>
                <a:lnTo>
                  <a:pt x="7975543" y="2923314"/>
                </a:lnTo>
                <a:lnTo>
                  <a:pt x="7975543" y="2952809"/>
                </a:lnTo>
                <a:lnTo>
                  <a:pt x="7945940" y="2952809"/>
                </a:lnTo>
                <a:close/>
                <a:moveTo>
                  <a:pt x="2099092" y="2923314"/>
                </a:moveTo>
                <a:lnTo>
                  <a:pt x="2128695" y="2923314"/>
                </a:lnTo>
                <a:lnTo>
                  <a:pt x="2128695" y="2952809"/>
                </a:lnTo>
                <a:lnTo>
                  <a:pt x="2099092" y="2952809"/>
                </a:lnTo>
                <a:close/>
                <a:moveTo>
                  <a:pt x="7679743" y="2923313"/>
                </a:moveTo>
                <a:lnTo>
                  <a:pt x="7709346" y="2923313"/>
                </a:lnTo>
                <a:lnTo>
                  <a:pt x="7709346" y="2952808"/>
                </a:lnTo>
                <a:lnTo>
                  <a:pt x="7679743" y="2952808"/>
                </a:lnTo>
                <a:close/>
                <a:moveTo>
                  <a:pt x="1832898" y="2923313"/>
                </a:moveTo>
                <a:lnTo>
                  <a:pt x="1862498" y="2923313"/>
                </a:lnTo>
                <a:lnTo>
                  <a:pt x="1862498" y="2952808"/>
                </a:lnTo>
                <a:lnTo>
                  <a:pt x="1832898" y="2952808"/>
                </a:lnTo>
                <a:close/>
                <a:moveTo>
                  <a:pt x="7413653" y="2923312"/>
                </a:moveTo>
                <a:lnTo>
                  <a:pt x="7443256" y="2923312"/>
                </a:lnTo>
                <a:lnTo>
                  <a:pt x="7443256" y="2952807"/>
                </a:lnTo>
                <a:lnTo>
                  <a:pt x="7413653" y="2952807"/>
                </a:lnTo>
                <a:close/>
                <a:moveTo>
                  <a:pt x="1566808" y="2923312"/>
                </a:moveTo>
                <a:lnTo>
                  <a:pt x="1596409" y="2923312"/>
                </a:lnTo>
                <a:lnTo>
                  <a:pt x="1596409" y="2952807"/>
                </a:lnTo>
                <a:lnTo>
                  <a:pt x="1566808" y="2952807"/>
                </a:lnTo>
                <a:close/>
                <a:moveTo>
                  <a:pt x="7147456" y="2923311"/>
                </a:moveTo>
                <a:lnTo>
                  <a:pt x="7177058" y="2923311"/>
                </a:lnTo>
                <a:lnTo>
                  <a:pt x="7177058" y="2952806"/>
                </a:lnTo>
                <a:lnTo>
                  <a:pt x="7147456" y="2952806"/>
                </a:lnTo>
                <a:close/>
                <a:moveTo>
                  <a:pt x="1300611" y="2923311"/>
                </a:moveTo>
                <a:lnTo>
                  <a:pt x="1330213" y="2923311"/>
                </a:lnTo>
                <a:lnTo>
                  <a:pt x="1330213" y="2952806"/>
                </a:lnTo>
                <a:lnTo>
                  <a:pt x="1300611" y="2952806"/>
                </a:lnTo>
                <a:close/>
                <a:moveTo>
                  <a:pt x="6881367" y="2923310"/>
                </a:moveTo>
                <a:lnTo>
                  <a:pt x="6910970" y="2923310"/>
                </a:lnTo>
                <a:lnTo>
                  <a:pt x="6910970" y="2952805"/>
                </a:lnTo>
                <a:lnTo>
                  <a:pt x="6881367" y="2952805"/>
                </a:lnTo>
                <a:close/>
                <a:moveTo>
                  <a:pt x="1034520" y="2923310"/>
                </a:moveTo>
                <a:lnTo>
                  <a:pt x="1064123" y="2923310"/>
                </a:lnTo>
                <a:lnTo>
                  <a:pt x="1064123" y="2952805"/>
                </a:lnTo>
                <a:lnTo>
                  <a:pt x="1034520" y="2952805"/>
                </a:lnTo>
                <a:close/>
                <a:moveTo>
                  <a:pt x="6615170" y="2923309"/>
                </a:moveTo>
                <a:lnTo>
                  <a:pt x="6644773" y="2923309"/>
                </a:lnTo>
                <a:lnTo>
                  <a:pt x="6644773" y="2952804"/>
                </a:lnTo>
                <a:lnTo>
                  <a:pt x="6615170" y="2952804"/>
                </a:lnTo>
                <a:close/>
                <a:moveTo>
                  <a:pt x="768327" y="2923309"/>
                </a:moveTo>
                <a:lnTo>
                  <a:pt x="797926" y="2923309"/>
                </a:lnTo>
                <a:lnTo>
                  <a:pt x="797926" y="2952804"/>
                </a:lnTo>
                <a:lnTo>
                  <a:pt x="768327" y="2952804"/>
                </a:lnTo>
                <a:close/>
                <a:moveTo>
                  <a:pt x="6349081" y="2923308"/>
                </a:moveTo>
                <a:lnTo>
                  <a:pt x="6378683" y="2923308"/>
                </a:lnTo>
                <a:lnTo>
                  <a:pt x="6378683" y="2952803"/>
                </a:lnTo>
                <a:lnTo>
                  <a:pt x="6349081" y="2952803"/>
                </a:lnTo>
                <a:close/>
                <a:moveTo>
                  <a:pt x="502236" y="2923308"/>
                </a:moveTo>
                <a:lnTo>
                  <a:pt x="531838" y="2923308"/>
                </a:lnTo>
                <a:lnTo>
                  <a:pt x="531838" y="2952803"/>
                </a:lnTo>
                <a:lnTo>
                  <a:pt x="502236" y="2952803"/>
                </a:lnTo>
                <a:close/>
                <a:moveTo>
                  <a:pt x="6082884" y="2923307"/>
                </a:moveTo>
                <a:lnTo>
                  <a:pt x="6112486" y="2923307"/>
                </a:lnTo>
                <a:lnTo>
                  <a:pt x="6112486" y="2952802"/>
                </a:lnTo>
                <a:lnTo>
                  <a:pt x="6082884" y="2952802"/>
                </a:lnTo>
                <a:close/>
                <a:moveTo>
                  <a:pt x="236037" y="2923307"/>
                </a:moveTo>
                <a:lnTo>
                  <a:pt x="265639" y="2923307"/>
                </a:lnTo>
                <a:lnTo>
                  <a:pt x="265639" y="2952802"/>
                </a:lnTo>
                <a:lnTo>
                  <a:pt x="236037" y="2952802"/>
                </a:lnTo>
                <a:close/>
                <a:moveTo>
                  <a:pt x="1" y="2923307"/>
                </a:moveTo>
                <a:lnTo>
                  <a:pt x="29603" y="2923307"/>
                </a:lnTo>
                <a:lnTo>
                  <a:pt x="29603" y="2952802"/>
                </a:lnTo>
                <a:lnTo>
                  <a:pt x="1" y="2952802"/>
                </a:lnTo>
                <a:close/>
                <a:moveTo>
                  <a:pt x="11672158" y="2657500"/>
                </a:moveTo>
                <a:lnTo>
                  <a:pt x="11701760" y="2657500"/>
                </a:lnTo>
                <a:lnTo>
                  <a:pt x="11701760" y="2687101"/>
                </a:lnTo>
                <a:lnTo>
                  <a:pt x="11672158" y="2687101"/>
                </a:lnTo>
                <a:close/>
                <a:moveTo>
                  <a:pt x="5825310" y="2657500"/>
                </a:moveTo>
                <a:lnTo>
                  <a:pt x="5854913" y="2657500"/>
                </a:lnTo>
                <a:lnTo>
                  <a:pt x="5854913" y="2687101"/>
                </a:lnTo>
                <a:lnTo>
                  <a:pt x="5825310" y="2687101"/>
                </a:lnTo>
                <a:close/>
                <a:moveTo>
                  <a:pt x="11405961" y="2657497"/>
                </a:moveTo>
                <a:lnTo>
                  <a:pt x="11435563" y="2657497"/>
                </a:lnTo>
                <a:lnTo>
                  <a:pt x="11435563" y="2687099"/>
                </a:lnTo>
                <a:lnTo>
                  <a:pt x="11405961" y="2687099"/>
                </a:lnTo>
                <a:close/>
                <a:moveTo>
                  <a:pt x="5559113" y="2657497"/>
                </a:moveTo>
                <a:lnTo>
                  <a:pt x="5588715" y="2657497"/>
                </a:lnTo>
                <a:lnTo>
                  <a:pt x="5588715" y="2687099"/>
                </a:lnTo>
                <a:lnTo>
                  <a:pt x="5559113" y="2687099"/>
                </a:lnTo>
                <a:close/>
                <a:moveTo>
                  <a:pt x="11139872" y="2657494"/>
                </a:moveTo>
                <a:lnTo>
                  <a:pt x="11169474" y="2657494"/>
                </a:lnTo>
                <a:lnTo>
                  <a:pt x="11169474" y="2687096"/>
                </a:lnTo>
                <a:lnTo>
                  <a:pt x="11139872" y="2687096"/>
                </a:lnTo>
                <a:close/>
                <a:moveTo>
                  <a:pt x="5293024" y="2657494"/>
                </a:moveTo>
                <a:lnTo>
                  <a:pt x="5322626" y="2657494"/>
                </a:lnTo>
                <a:lnTo>
                  <a:pt x="5322626" y="2687096"/>
                </a:lnTo>
                <a:lnTo>
                  <a:pt x="5293024" y="2687096"/>
                </a:lnTo>
                <a:close/>
                <a:moveTo>
                  <a:pt x="10873675" y="2657491"/>
                </a:moveTo>
                <a:lnTo>
                  <a:pt x="10903277" y="2657491"/>
                </a:lnTo>
                <a:lnTo>
                  <a:pt x="10903277" y="2687093"/>
                </a:lnTo>
                <a:lnTo>
                  <a:pt x="10873675" y="2687093"/>
                </a:lnTo>
                <a:close/>
                <a:moveTo>
                  <a:pt x="5026827" y="2657491"/>
                </a:moveTo>
                <a:lnTo>
                  <a:pt x="5056429" y="2657491"/>
                </a:lnTo>
                <a:lnTo>
                  <a:pt x="5056429" y="2687093"/>
                </a:lnTo>
                <a:lnTo>
                  <a:pt x="5026827" y="2687093"/>
                </a:lnTo>
                <a:close/>
                <a:moveTo>
                  <a:pt x="10607478" y="2657488"/>
                </a:moveTo>
                <a:lnTo>
                  <a:pt x="10637188" y="2657488"/>
                </a:lnTo>
                <a:lnTo>
                  <a:pt x="10637188" y="2687090"/>
                </a:lnTo>
                <a:lnTo>
                  <a:pt x="10607478" y="2687090"/>
                </a:lnTo>
                <a:close/>
                <a:moveTo>
                  <a:pt x="4760630" y="2657488"/>
                </a:moveTo>
                <a:lnTo>
                  <a:pt x="4790340" y="2657488"/>
                </a:lnTo>
                <a:lnTo>
                  <a:pt x="4790340" y="2687090"/>
                </a:lnTo>
                <a:lnTo>
                  <a:pt x="4760630" y="2687090"/>
                </a:lnTo>
                <a:close/>
                <a:moveTo>
                  <a:pt x="10341389" y="2657485"/>
                </a:moveTo>
                <a:lnTo>
                  <a:pt x="10370992" y="2657485"/>
                </a:lnTo>
                <a:lnTo>
                  <a:pt x="10370992" y="2687087"/>
                </a:lnTo>
                <a:lnTo>
                  <a:pt x="10341389" y="2687087"/>
                </a:lnTo>
                <a:close/>
                <a:moveTo>
                  <a:pt x="4494541" y="2657485"/>
                </a:moveTo>
                <a:lnTo>
                  <a:pt x="4524144" y="2657485"/>
                </a:lnTo>
                <a:lnTo>
                  <a:pt x="4524144" y="2687087"/>
                </a:lnTo>
                <a:lnTo>
                  <a:pt x="4494541" y="2687087"/>
                </a:lnTo>
                <a:close/>
                <a:moveTo>
                  <a:pt x="10075192" y="2657482"/>
                </a:moveTo>
                <a:lnTo>
                  <a:pt x="10104794" y="2657482"/>
                </a:lnTo>
                <a:lnTo>
                  <a:pt x="10104794" y="2687083"/>
                </a:lnTo>
                <a:lnTo>
                  <a:pt x="10075192" y="2687083"/>
                </a:lnTo>
                <a:close/>
                <a:moveTo>
                  <a:pt x="4228344" y="2657482"/>
                </a:moveTo>
                <a:lnTo>
                  <a:pt x="4257946" y="2657482"/>
                </a:lnTo>
                <a:lnTo>
                  <a:pt x="4257946" y="2687083"/>
                </a:lnTo>
                <a:lnTo>
                  <a:pt x="4228344" y="2687083"/>
                </a:lnTo>
                <a:close/>
                <a:moveTo>
                  <a:pt x="9809103" y="2657478"/>
                </a:moveTo>
                <a:lnTo>
                  <a:pt x="9838705" y="2657478"/>
                </a:lnTo>
                <a:lnTo>
                  <a:pt x="9838705" y="2687080"/>
                </a:lnTo>
                <a:lnTo>
                  <a:pt x="9809103" y="2687080"/>
                </a:lnTo>
                <a:close/>
                <a:moveTo>
                  <a:pt x="3962255" y="2657478"/>
                </a:moveTo>
                <a:lnTo>
                  <a:pt x="3991857" y="2657478"/>
                </a:lnTo>
                <a:lnTo>
                  <a:pt x="3991857" y="2687080"/>
                </a:lnTo>
                <a:lnTo>
                  <a:pt x="3962255" y="2687080"/>
                </a:lnTo>
                <a:close/>
                <a:moveTo>
                  <a:pt x="9542906" y="2657475"/>
                </a:moveTo>
                <a:lnTo>
                  <a:pt x="9572509" y="2657475"/>
                </a:lnTo>
                <a:lnTo>
                  <a:pt x="9572509" y="2687077"/>
                </a:lnTo>
                <a:lnTo>
                  <a:pt x="9542906" y="2687077"/>
                </a:lnTo>
                <a:close/>
                <a:moveTo>
                  <a:pt x="3696058" y="2657475"/>
                </a:moveTo>
                <a:lnTo>
                  <a:pt x="3725661" y="2657475"/>
                </a:lnTo>
                <a:lnTo>
                  <a:pt x="3725661" y="2687077"/>
                </a:lnTo>
                <a:lnTo>
                  <a:pt x="3696058" y="2687077"/>
                </a:lnTo>
                <a:close/>
                <a:moveTo>
                  <a:pt x="9276817" y="2657472"/>
                </a:moveTo>
                <a:lnTo>
                  <a:pt x="9306420" y="2657472"/>
                </a:lnTo>
                <a:lnTo>
                  <a:pt x="9306420" y="2687074"/>
                </a:lnTo>
                <a:lnTo>
                  <a:pt x="9276817" y="2687074"/>
                </a:lnTo>
                <a:close/>
                <a:moveTo>
                  <a:pt x="3429969" y="2657472"/>
                </a:moveTo>
                <a:lnTo>
                  <a:pt x="3459572" y="2657472"/>
                </a:lnTo>
                <a:lnTo>
                  <a:pt x="3459572" y="2687074"/>
                </a:lnTo>
                <a:lnTo>
                  <a:pt x="3429969" y="2687074"/>
                </a:lnTo>
                <a:close/>
                <a:moveTo>
                  <a:pt x="9010620" y="2657469"/>
                </a:moveTo>
                <a:lnTo>
                  <a:pt x="9040222" y="2657469"/>
                </a:lnTo>
                <a:lnTo>
                  <a:pt x="9040222" y="2687071"/>
                </a:lnTo>
                <a:lnTo>
                  <a:pt x="9010620" y="2687071"/>
                </a:lnTo>
                <a:close/>
                <a:moveTo>
                  <a:pt x="3163772" y="2657469"/>
                </a:moveTo>
                <a:lnTo>
                  <a:pt x="3193374" y="2657469"/>
                </a:lnTo>
                <a:lnTo>
                  <a:pt x="3193374" y="2687071"/>
                </a:lnTo>
                <a:lnTo>
                  <a:pt x="3163772" y="2687071"/>
                </a:lnTo>
                <a:close/>
                <a:moveTo>
                  <a:pt x="8744423" y="2657466"/>
                </a:moveTo>
                <a:lnTo>
                  <a:pt x="8774026" y="2657466"/>
                </a:lnTo>
                <a:lnTo>
                  <a:pt x="8774026" y="2687068"/>
                </a:lnTo>
                <a:lnTo>
                  <a:pt x="8744423" y="2687068"/>
                </a:lnTo>
                <a:close/>
                <a:moveTo>
                  <a:pt x="2897575" y="2657466"/>
                </a:moveTo>
                <a:lnTo>
                  <a:pt x="2927178" y="2657466"/>
                </a:lnTo>
                <a:lnTo>
                  <a:pt x="2927178" y="2687068"/>
                </a:lnTo>
                <a:lnTo>
                  <a:pt x="2897575" y="2687068"/>
                </a:lnTo>
                <a:close/>
                <a:moveTo>
                  <a:pt x="8478226" y="2657462"/>
                </a:moveTo>
                <a:lnTo>
                  <a:pt x="8507828" y="2657462"/>
                </a:lnTo>
                <a:lnTo>
                  <a:pt x="8507828" y="2687064"/>
                </a:lnTo>
                <a:lnTo>
                  <a:pt x="8478226" y="2687064"/>
                </a:lnTo>
                <a:close/>
                <a:moveTo>
                  <a:pt x="2631378" y="2657462"/>
                </a:moveTo>
                <a:lnTo>
                  <a:pt x="2660980" y="2657462"/>
                </a:lnTo>
                <a:lnTo>
                  <a:pt x="2660980" y="2687064"/>
                </a:lnTo>
                <a:lnTo>
                  <a:pt x="2631378" y="2687064"/>
                </a:lnTo>
                <a:close/>
                <a:moveTo>
                  <a:pt x="8212137" y="2657459"/>
                </a:moveTo>
                <a:lnTo>
                  <a:pt x="8241740" y="2657459"/>
                </a:lnTo>
                <a:lnTo>
                  <a:pt x="8241740" y="2687061"/>
                </a:lnTo>
                <a:lnTo>
                  <a:pt x="8212137" y="2687061"/>
                </a:lnTo>
                <a:close/>
                <a:moveTo>
                  <a:pt x="2365289" y="2657459"/>
                </a:moveTo>
                <a:lnTo>
                  <a:pt x="2394892" y="2657459"/>
                </a:lnTo>
                <a:lnTo>
                  <a:pt x="2394892" y="2687061"/>
                </a:lnTo>
                <a:lnTo>
                  <a:pt x="2365289" y="2687061"/>
                </a:lnTo>
                <a:close/>
                <a:moveTo>
                  <a:pt x="7945940" y="2657456"/>
                </a:moveTo>
                <a:lnTo>
                  <a:pt x="7975543" y="2657456"/>
                </a:lnTo>
                <a:lnTo>
                  <a:pt x="7975543" y="2687058"/>
                </a:lnTo>
                <a:lnTo>
                  <a:pt x="7945940" y="2687058"/>
                </a:lnTo>
                <a:close/>
                <a:moveTo>
                  <a:pt x="2099092" y="2657456"/>
                </a:moveTo>
                <a:lnTo>
                  <a:pt x="2128695" y="2657456"/>
                </a:lnTo>
                <a:lnTo>
                  <a:pt x="2128695" y="2687058"/>
                </a:lnTo>
                <a:lnTo>
                  <a:pt x="2099092" y="2687058"/>
                </a:lnTo>
                <a:close/>
                <a:moveTo>
                  <a:pt x="7679743" y="2657453"/>
                </a:moveTo>
                <a:lnTo>
                  <a:pt x="7709346" y="2657453"/>
                </a:lnTo>
                <a:lnTo>
                  <a:pt x="7709346" y="2687055"/>
                </a:lnTo>
                <a:lnTo>
                  <a:pt x="7679743" y="2687055"/>
                </a:lnTo>
                <a:close/>
                <a:moveTo>
                  <a:pt x="1832898" y="2657453"/>
                </a:moveTo>
                <a:lnTo>
                  <a:pt x="1862498" y="2657453"/>
                </a:lnTo>
                <a:lnTo>
                  <a:pt x="1862498" y="2687055"/>
                </a:lnTo>
                <a:lnTo>
                  <a:pt x="1832898" y="2687055"/>
                </a:lnTo>
                <a:close/>
                <a:moveTo>
                  <a:pt x="7413653" y="2657450"/>
                </a:moveTo>
                <a:lnTo>
                  <a:pt x="7443256" y="2657450"/>
                </a:lnTo>
                <a:lnTo>
                  <a:pt x="7443256" y="2687052"/>
                </a:lnTo>
                <a:lnTo>
                  <a:pt x="7413653" y="2687052"/>
                </a:lnTo>
                <a:close/>
                <a:moveTo>
                  <a:pt x="1566808" y="2657450"/>
                </a:moveTo>
                <a:lnTo>
                  <a:pt x="1596409" y="2657450"/>
                </a:lnTo>
                <a:lnTo>
                  <a:pt x="1596409" y="2687052"/>
                </a:lnTo>
                <a:lnTo>
                  <a:pt x="1566808" y="2687052"/>
                </a:lnTo>
                <a:close/>
                <a:moveTo>
                  <a:pt x="7147456" y="2657447"/>
                </a:moveTo>
                <a:lnTo>
                  <a:pt x="7177058" y="2657447"/>
                </a:lnTo>
                <a:lnTo>
                  <a:pt x="7177058" y="2687049"/>
                </a:lnTo>
                <a:lnTo>
                  <a:pt x="7147456" y="2687049"/>
                </a:lnTo>
                <a:close/>
                <a:moveTo>
                  <a:pt x="1300611" y="2657447"/>
                </a:moveTo>
                <a:lnTo>
                  <a:pt x="1330213" y="2657447"/>
                </a:lnTo>
                <a:lnTo>
                  <a:pt x="1330213" y="2687049"/>
                </a:lnTo>
                <a:lnTo>
                  <a:pt x="1300611" y="2687049"/>
                </a:lnTo>
                <a:close/>
                <a:moveTo>
                  <a:pt x="6881367" y="2657443"/>
                </a:moveTo>
                <a:lnTo>
                  <a:pt x="6910970" y="2657443"/>
                </a:lnTo>
                <a:lnTo>
                  <a:pt x="6910970" y="2687045"/>
                </a:lnTo>
                <a:lnTo>
                  <a:pt x="6881367" y="2687045"/>
                </a:lnTo>
                <a:close/>
                <a:moveTo>
                  <a:pt x="1034520" y="2657443"/>
                </a:moveTo>
                <a:lnTo>
                  <a:pt x="1064123" y="2657443"/>
                </a:lnTo>
                <a:lnTo>
                  <a:pt x="1064123" y="2687045"/>
                </a:lnTo>
                <a:lnTo>
                  <a:pt x="1034520" y="2687045"/>
                </a:lnTo>
                <a:close/>
                <a:moveTo>
                  <a:pt x="6615170" y="2657440"/>
                </a:moveTo>
                <a:lnTo>
                  <a:pt x="6644773" y="2657440"/>
                </a:lnTo>
                <a:lnTo>
                  <a:pt x="6644773" y="2687042"/>
                </a:lnTo>
                <a:lnTo>
                  <a:pt x="6615170" y="2687042"/>
                </a:lnTo>
                <a:close/>
                <a:moveTo>
                  <a:pt x="768327" y="2657440"/>
                </a:moveTo>
                <a:lnTo>
                  <a:pt x="797926" y="2657440"/>
                </a:lnTo>
                <a:lnTo>
                  <a:pt x="797926" y="2687042"/>
                </a:lnTo>
                <a:lnTo>
                  <a:pt x="768327" y="2687042"/>
                </a:lnTo>
                <a:close/>
                <a:moveTo>
                  <a:pt x="6349081" y="2657437"/>
                </a:moveTo>
                <a:lnTo>
                  <a:pt x="6378683" y="2657437"/>
                </a:lnTo>
                <a:lnTo>
                  <a:pt x="6378683" y="2687039"/>
                </a:lnTo>
                <a:lnTo>
                  <a:pt x="6349081" y="2687039"/>
                </a:lnTo>
                <a:close/>
                <a:moveTo>
                  <a:pt x="502236" y="2657437"/>
                </a:moveTo>
                <a:lnTo>
                  <a:pt x="531838" y="2657437"/>
                </a:lnTo>
                <a:lnTo>
                  <a:pt x="531838" y="2687039"/>
                </a:lnTo>
                <a:lnTo>
                  <a:pt x="502236" y="2687039"/>
                </a:lnTo>
                <a:close/>
                <a:moveTo>
                  <a:pt x="6082884" y="2657434"/>
                </a:moveTo>
                <a:lnTo>
                  <a:pt x="6112486" y="2657434"/>
                </a:lnTo>
                <a:lnTo>
                  <a:pt x="6112486" y="2687036"/>
                </a:lnTo>
                <a:lnTo>
                  <a:pt x="6082884" y="2687036"/>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1672158" y="2391735"/>
                </a:moveTo>
                <a:lnTo>
                  <a:pt x="11701760" y="2391735"/>
                </a:lnTo>
                <a:lnTo>
                  <a:pt x="11701760" y="2421368"/>
                </a:lnTo>
                <a:lnTo>
                  <a:pt x="11672158" y="2421368"/>
                </a:lnTo>
                <a:close/>
                <a:moveTo>
                  <a:pt x="5825310" y="2391735"/>
                </a:moveTo>
                <a:lnTo>
                  <a:pt x="5854913" y="2391735"/>
                </a:lnTo>
                <a:lnTo>
                  <a:pt x="5854913" y="2421368"/>
                </a:lnTo>
                <a:lnTo>
                  <a:pt x="5825310" y="2421368"/>
                </a:lnTo>
                <a:close/>
                <a:moveTo>
                  <a:pt x="11405961" y="2391732"/>
                </a:moveTo>
                <a:lnTo>
                  <a:pt x="11435563" y="2391732"/>
                </a:lnTo>
                <a:lnTo>
                  <a:pt x="11435563" y="2421368"/>
                </a:lnTo>
                <a:lnTo>
                  <a:pt x="11405961" y="2421368"/>
                </a:lnTo>
                <a:close/>
                <a:moveTo>
                  <a:pt x="5559113" y="2391732"/>
                </a:moveTo>
                <a:lnTo>
                  <a:pt x="5588715" y="2391732"/>
                </a:lnTo>
                <a:lnTo>
                  <a:pt x="5588715" y="2421368"/>
                </a:lnTo>
                <a:lnTo>
                  <a:pt x="5559113" y="2421368"/>
                </a:lnTo>
                <a:close/>
                <a:moveTo>
                  <a:pt x="11139872" y="2391729"/>
                </a:moveTo>
                <a:lnTo>
                  <a:pt x="11169474" y="2391729"/>
                </a:lnTo>
                <a:lnTo>
                  <a:pt x="11169474" y="2421364"/>
                </a:lnTo>
                <a:lnTo>
                  <a:pt x="11139872" y="2421364"/>
                </a:lnTo>
                <a:close/>
                <a:moveTo>
                  <a:pt x="5293024" y="2391729"/>
                </a:moveTo>
                <a:lnTo>
                  <a:pt x="5322626" y="2391729"/>
                </a:lnTo>
                <a:lnTo>
                  <a:pt x="5322626" y="2421364"/>
                </a:lnTo>
                <a:lnTo>
                  <a:pt x="5293024" y="2421364"/>
                </a:lnTo>
                <a:close/>
                <a:moveTo>
                  <a:pt x="10873675" y="2391726"/>
                </a:moveTo>
                <a:lnTo>
                  <a:pt x="10903277" y="2391726"/>
                </a:lnTo>
                <a:lnTo>
                  <a:pt x="10903277" y="2421359"/>
                </a:lnTo>
                <a:lnTo>
                  <a:pt x="10873675" y="2421359"/>
                </a:lnTo>
                <a:close/>
                <a:moveTo>
                  <a:pt x="5026827" y="2391726"/>
                </a:moveTo>
                <a:lnTo>
                  <a:pt x="5056429" y="2391726"/>
                </a:lnTo>
                <a:lnTo>
                  <a:pt x="5056429" y="2421359"/>
                </a:lnTo>
                <a:lnTo>
                  <a:pt x="5026827" y="2421359"/>
                </a:lnTo>
                <a:close/>
                <a:moveTo>
                  <a:pt x="10607478" y="2391725"/>
                </a:moveTo>
                <a:lnTo>
                  <a:pt x="10637188" y="2391725"/>
                </a:lnTo>
                <a:lnTo>
                  <a:pt x="10637188" y="2421354"/>
                </a:lnTo>
                <a:lnTo>
                  <a:pt x="10607478" y="2421354"/>
                </a:lnTo>
                <a:close/>
                <a:moveTo>
                  <a:pt x="4760630" y="2391725"/>
                </a:moveTo>
                <a:lnTo>
                  <a:pt x="4790340" y="2391725"/>
                </a:lnTo>
                <a:lnTo>
                  <a:pt x="4790340" y="2421354"/>
                </a:lnTo>
                <a:lnTo>
                  <a:pt x="4760630" y="2421354"/>
                </a:lnTo>
                <a:close/>
                <a:moveTo>
                  <a:pt x="10341389" y="2391720"/>
                </a:moveTo>
                <a:lnTo>
                  <a:pt x="10370992" y="2391720"/>
                </a:lnTo>
                <a:lnTo>
                  <a:pt x="10370992" y="2421349"/>
                </a:lnTo>
                <a:lnTo>
                  <a:pt x="10341389" y="2421349"/>
                </a:lnTo>
                <a:close/>
                <a:moveTo>
                  <a:pt x="4494541" y="2391720"/>
                </a:moveTo>
                <a:lnTo>
                  <a:pt x="4524144" y="2391720"/>
                </a:lnTo>
                <a:lnTo>
                  <a:pt x="4524144" y="2421349"/>
                </a:lnTo>
                <a:lnTo>
                  <a:pt x="4494541" y="2421349"/>
                </a:lnTo>
                <a:close/>
                <a:moveTo>
                  <a:pt x="10075192" y="2391716"/>
                </a:moveTo>
                <a:lnTo>
                  <a:pt x="10104794" y="2391716"/>
                </a:lnTo>
                <a:lnTo>
                  <a:pt x="10104794" y="2421345"/>
                </a:lnTo>
                <a:lnTo>
                  <a:pt x="10075192" y="2421345"/>
                </a:lnTo>
                <a:close/>
                <a:moveTo>
                  <a:pt x="4228344" y="2391716"/>
                </a:moveTo>
                <a:lnTo>
                  <a:pt x="4257946" y="2391716"/>
                </a:lnTo>
                <a:lnTo>
                  <a:pt x="4257946" y="2421345"/>
                </a:lnTo>
                <a:lnTo>
                  <a:pt x="4228344" y="2421345"/>
                </a:lnTo>
                <a:close/>
                <a:moveTo>
                  <a:pt x="9809103" y="2391713"/>
                </a:moveTo>
                <a:lnTo>
                  <a:pt x="9838705" y="2391713"/>
                </a:lnTo>
                <a:lnTo>
                  <a:pt x="9838705" y="2421340"/>
                </a:lnTo>
                <a:lnTo>
                  <a:pt x="9809103" y="2421340"/>
                </a:lnTo>
                <a:close/>
                <a:moveTo>
                  <a:pt x="3962255" y="2391713"/>
                </a:moveTo>
                <a:lnTo>
                  <a:pt x="3991857" y="2391713"/>
                </a:lnTo>
                <a:lnTo>
                  <a:pt x="3991857" y="2421340"/>
                </a:lnTo>
                <a:lnTo>
                  <a:pt x="3962255" y="2421340"/>
                </a:lnTo>
                <a:close/>
                <a:moveTo>
                  <a:pt x="9542906" y="2391710"/>
                </a:moveTo>
                <a:lnTo>
                  <a:pt x="9572509" y="2391710"/>
                </a:lnTo>
                <a:lnTo>
                  <a:pt x="9572509" y="2421336"/>
                </a:lnTo>
                <a:lnTo>
                  <a:pt x="9542906" y="2421336"/>
                </a:lnTo>
                <a:close/>
                <a:moveTo>
                  <a:pt x="3696058" y="2391710"/>
                </a:moveTo>
                <a:lnTo>
                  <a:pt x="3725661" y="2391710"/>
                </a:lnTo>
                <a:lnTo>
                  <a:pt x="3725661" y="2421336"/>
                </a:lnTo>
                <a:lnTo>
                  <a:pt x="3696058" y="2421336"/>
                </a:lnTo>
                <a:close/>
                <a:moveTo>
                  <a:pt x="9276817" y="2391707"/>
                </a:moveTo>
                <a:lnTo>
                  <a:pt x="9306420" y="2391707"/>
                </a:lnTo>
                <a:lnTo>
                  <a:pt x="9306420" y="2421331"/>
                </a:lnTo>
                <a:lnTo>
                  <a:pt x="9276817" y="2421331"/>
                </a:lnTo>
                <a:close/>
                <a:moveTo>
                  <a:pt x="3429969" y="2391707"/>
                </a:moveTo>
                <a:lnTo>
                  <a:pt x="3459572" y="2391707"/>
                </a:lnTo>
                <a:lnTo>
                  <a:pt x="3459572" y="2421331"/>
                </a:lnTo>
                <a:lnTo>
                  <a:pt x="3429969" y="2421331"/>
                </a:lnTo>
                <a:close/>
                <a:moveTo>
                  <a:pt x="9010620" y="2391706"/>
                </a:moveTo>
                <a:lnTo>
                  <a:pt x="9040222" y="2391706"/>
                </a:lnTo>
                <a:lnTo>
                  <a:pt x="9040222" y="2421326"/>
                </a:lnTo>
                <a:lnTo>
                  <a:pt x="9010620" y="2421326"/>
                </a:lnTo>
                <a:close/>
                <a:moveTo>
                  <a:pt x="3163772" y="2391706"/>
                </a:moveTo>
                <a:lnTo>
                  <a:pt x="3193374" y="2391706"/>
                </a:lnTo>
                <a:lnTo>
                  <a:pt x="3193374" y="2421326"/>
                </a:lnTo>
                <a:lnTo>
                  <a:pt x="3163772" y="2421326"/>
                </a:lnTo>
                <a:close/>
                <a:moveTo>
                  <a:pt x="8744423" y="2391701"/>
                </a:moveTo>
                <a:lnTo>
                  <a:pt x="8774026" y="2391701"/>
                </a:lnTo>
                <a:lnTo>
                  <a:pt x="8774026" y="2421321"/>
                </a:lnTo>
                <a:lnTo>
                  <a:pt x="8744423" y="2421321"/>
                </a:lnTo>
                <a:close/>
                <a:moveTo>
                  <a:pt x="2897575" y="2391701"/>
                </a:moveTo>
                <a:lnTo>
                  <a:pt x="2927178" y="2391701"/>
                </a:lnTo>
                <a:lnTo>
                  <a:pt x="2927178" y="2421321"/>
                </a:lnTo>
                <a:lnTo>
                  <a:pt x="2897575" y="2421321"/>
                </a:lnTo>
                <a:close/>
                <a:moveTo>
                  <a:pt x="8478226" y="2391697"/>
                </a:moveTo>
                <a:lnTo>
                  <a:pt x="8507828" y="2391697"/>
                </a:lnTo>
                <a:lnTo>
                  <a:pt x="8507828" y="2421317"/>
                </a:lnTo>
                <a:lnTo>
                  <a:pt x="8478226" y="2421317"/>
                </a:lnTo>
                <a:close/>
                <a:moveTo>
                  <a:pt x="2631378" y="2391697"/>
                </a:moveTo>
                <a:lnTo>
                  <a:pt x="2660980" y="2391697"/>
                </a:lnTo>
                <a:lnTo>
                  <a:pt x="2660980" y="2421317"/>
                </a:lnTo>
                <a:lnTo>
                  <a:pt x="2631378" y="2421317"/>
                </a:lnTo>
                <a:close/>
                <a:moveTo>
                  <a:pt x="8212137" y="2391694"/>
                </a:moveTo>
                <a:lnTo>
                  <a:pt x="8241740" y="2391694"/>
                </a:lnTo>
                <a:lnTo>
                  <a:pt x="8241740" y="2421312"/>
                </a:lnTo>
                <a:lnTo>
                  <a:pt x="8212137" y="2421312"/>
                </a:lnTo>
                <a:close/>
                <a:moveTo>
                  <a:pt x="2365289" y="2391694"/>
                </a:moveTo>
                <a:lnTo>
                  <a:pt x="2394892" y="2391694"/>
                </a:lnTo>
                <a:lnTo>
                  <a:pt x="2394892" y="2421312"/>
                </a:lnTo>
                <a:lnTo>
                  <a:pt x="2365289" y="2421312"/>
                </a:lnTo>
                <a:close/>
                <a:moveTo>
                  <a:pt x="7945940" y="2391691"/>
                </a:moveTo>
                <a:lnTo>
                  <a:pt x="7975543" y="2391691"/>
                </a:lnTo>
                <a:lnTo>
                  <a:pt x="7975543" y="2421307"/>
                </a:lnTo>
                <a:lnTo>
                  <a:pt x="7945940" y="2421307"/>
                </a:lnTo>
                <a:close/>
                <a:moveTo>
                  <a:pt x="2099092" y="2391691"/>
                </a:moveTo>
                <a:lnTo>
                  <a:pt x="2128695" y="2391691"/>
                </a:lnTo>
                <a:lnTo>
                  <a:pt x="2128695" y="2421307"/>
                </a:lnTo>
                <a:lnTo>
                  <a:pt x="2099092" y="2421307"/>
                </a:lnTo>
                <a:close/>
                <a:moveTo>
                  <a:pt x="7679743" y="2391688"/>
                </a:moveTo>
                <a:lnTo>
                  <a:pt x="7709346" y="2391688"/>
                </a:lnTo>
                <a:lnTo>
                  <a:pt x="7709346" y="2421302"/>
                </a:lnTo>
                <a:lnTo>
                  <a:pt x="7679743" y="2421302"/>
                </a:lnTo>
                <a:close/>
                <a:moveTo>
                  <a:pt x="1832898" y="2391688"/>
                </a:moveTo>
                <a:lnTo>
                  <a:pt x="1862498" y="2391688"/>
                </a:lnTo>
                <a:lnTo>
                  <a:pt x="1862498" y="2421302"/>
                </a:lnTo>
                <a:lnTo>
                  <a:pt x="1832898" y="2421302"/>
                </a:lnTo>
                <a:close/>
                <a:moveTo>
                  <a:pt x="7413653" y="2391687"/>
                </a:moveTo>
                <a:lnTo>
                  <a:pt x="7443256" y="2391687"/>
                </a:lnTo>
                <a:lnTo>
                  <a:pt x="7443256" y="2421298"/>
                </a:lnTo>
                <a:lnTo>
                  <a:pt x="7413653" y="2421298"/>
                </a:lnTo>
                <a:close/>
                <a:moveTo>
                  <a:pt x="1566808" y="2391687"/>
                </a:moveTo>
                <a:lnTo>
                  <a:pt x="1596409" y="2391687"/>
                </a:lnTo>
                <a:lnTo>
                  <a:pt x="1596409" y="2421298"/>
                </a:lnTo>
                <a:lnTo>
                  <a:pt x="1566808" y="2421298"/>
                </a:lnTo>
                <a:close/>
                <a:moveTo>
                  <a:pt x="7147456" y="2391682"/>
                </a:moveTo>
                <a:lnTo>
                  <a:pt x="7177058" y="2391682"/>
                </a:lnTo>
                <a:lnTo>
                  <a:pt x="7177058" y="2421293"/>
                </a:lnTo>
                <a:lnTo>
                  <a:pt x="7147456" y="2421293"/>
                </a:lnTo>
                <a:close/>
                <a:moveTo>
                  <a:pt x="1300611" y="2391682"/>
                </a:moveTo>
                <a:lnTo>
                  <a:pt x="1330213" y="2391682"/>
                </a:lnTo>
                <a:lnTo>
                  <a:pt x="1330213" y="2421293"/>
                </a:lnTo>
                <a:lnTo>
                  <a:pt x="1300611" y="2421293"/>
                </a:lnTo>
                <a:close/>
                <a:moveTo>
                  <a:pt x="6881367" y="2391678"/>
                </a:moveTo>
                <a:lnTo>
                  <a:pt x="6910970" y="2391678"/>
                </a:lnTo>
                <a:lnTo>
                  <a:pt x="6910970" y="2421288"/>
                </a:lnTo>
                <a:lnTo>
                  <a:pt x="6881367" y="2421288"/>
                </a:lnTo>
                <a:close/>
                <a:moveTo>
                  <a:pt x="1034520" y="2391678"/>
                </a:moveTo>
                <a:lnTo>
                  <a:pt x="1064123" y="2391678"/>
                </a:lnTo>
                <a:lnTo>
                  <a:pt x="1064123" y="2421288"/>
                </a:lnTo>
                <a:lnTo>
                  <a:pt x="1034520" y="2421288"/>
                </a:lnTo>
                <a:close/>
                <a:moveTo>
                  <a:pt x="6615170" y="2391675"/>
                </a:moveTo>
                <a:lnTo>
                  <a:pt x="6644773" y="2391675"/>
                </a:lnTo>
                <a:lnTo>
                  <a:pt x="6644773" y="2421283"/>
                </a:lnTo>
                <a:lnTo>
                  <a:pt x="6615170" y="2421283"/>
                </a:lnTo>
                <a:close/>
                <a:moveTo>
                  <a:pt x="768327" y="2391675"/>
                </a:moveTo>
                <a:lnTo>
                  <a:pt x="797926" y="2391675"/>
                </a:lnTo>
                <a:lnTo>
                  <a:pt x="797926" y="2421283"/>
                </a:lnTo>
                <a:lnTo>
                  <a:pt x="768327" y="2421283"/>
                </a:lnTo>
                <a:close/>
                <a:moveTo>
                  <a:pt x="6349081" y="2391672"/>
                </a:moveTo>
                <a:lnTo>
                  <a:pt x="6378683" y="2391672"/>
                </a:lnTo>
                <a:lnTo>
                  <a:pt x="6378683" y="2421278"/>
                </a:lnTo>
                <a:lnTo>
                  <a:pt x="6349081" y="2421278"/>
                </a:lnTo>
                <a:close/>
                <a:moveTo>
                  <a:pt x="502236" y="2391672"/>
                </a:moveTo>
                <a:lnTo>
                  <a:pt x="531838" y="2391672"/>
                </a:lnTo>
                <a:lnTo>
                  <a:pt x="531838" y="2421278"/>
                </a:lnTo>
                <a:lnTo>
                  <a:pt x="502236" y="2421278"/>
                </a:lnTo>
                <a:close/>
                <a:moveTo>
                  <a:pt x="6082884" y="2391669"/>
                </a:moveTo>
                <a:lnTo>
                  <a:pt x="6112486" y="2391669"/>
                </a:lnTo>
                <a:lnTo>
                  <a:pt x="6112486" y="2421272"/>
                </a:lnTo>
                <a:lnTo>
                  <a:pt x="6082884" y="2421272"/>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1672158" y="2126064"/>
                </a:moveTo>
                <a:lnTo>
                  <a:pt x="11701760" y="2126064"/>
                </a:lnTo>
                <a:lnTo>
                  <a:pt x="11701760" y="2155577"/>
                </a:lnTo>
                <a:lnTo>
                  <a:pt x="11672158" y="2155577"/>
                </a:lnTo>
                <a:close/>
                <a:moveTo>
                  <a:pt x="5825310" y="2126064"/>
                </a:moveTo>
                <a:lnTo>
                  <a:pt x="5854913" y="2126064"/>
                </a:lnTo>
                <a:lnTo>
                  <a:pt x="5854913" y="2155577"/>
                </a:lnTo>
                <a:lnTo>
                  <a:pt x="5825310" y="2155577"/>
                </a:lnTo>
                <a:close/>
                <a:moveTo>
                  <a:pt x="11405961" y="2126062"/>
                </a:moveTo>
                <a:lnTo>
                  <a:pt x="11435563" y="2126062"/>
                </a:lnTo>
                <a:lnTo>
                  <a:pt x="11435563" y="2155575"/>
                </a:lnTo>
                <a:lnTo>
                  <a:pt x="11405961" y="2155575"/>
                </a:lnTo>
                <a:close/>
                <a:moveTo>
                  <a:pt x="5559113" y="2126062"/>
                </a:moveTo>
                <a:lnTo>
                  <a:pt x="5588715" y="2126062"/>
                </a:lnTo>
                <a:lnTo>
                  <a:pt x="5588715" y="2155575"/>
                </a:lnTo>
                <a:lnTo>
                  <a:pt x="5559113" y="2155575"/>
                </a:lnTo>
                <a:close/>
                <a:moveTo>
                  <a:pt x="11139872" y="2126061"/>
                </a:moveTo>
                <a:lnTo>
                  <a:pt x="11169474" y="2126061"/>
                </a:lnTo>
                <a:lnTo>
                  <a:pt x="11169474" y="2155572"/>
                </a:lnTo>
                <a:lnTo>
                  <a:pt x="11139872" y="2155572"/>
                </a:lnTo>
                <a:close/>
                <a:moveTo>
                  <a:pt x="5293024" y="2126061"/>
                </a:moveTo>
                <a:lnTo>
                  <a:pt x="5322626" y="2126061"/>
                </a:lnTo>
                <a:lnTo>
                  <a:pt x="5322626" y="2155572"/>
                </a:lnTo>
                <a:lnTo>
                  <a:pt x="5293024" y="2155572"/>
                </a:lnTo>
                <a:close/>
                <a:moveTo>
                  <a:pt x="10873675" y="2126058"/>
                </a:moveTo>
                <a:lnTo>
                  <a:pt x="10903277" y="2126058"/>
                </a:lnTo>
                <a:lnTo>
                  <a:pt x="10903277" y="2155569"/>
                </a:lnTo>
                <a:lnTo>
                  <a:pt x="10873675" y="2155569"/>
                </a:lnTo>
                <a:close/>
                <a:moveTo>
                  <a:pt x="5026827" y="2126058"/>
                </a:moveTo>
                <a:lnTo>
                  <a:pt x="5056429" y="2126058"/>
                </a:lnTo>
                <a:lnTo>
                  <a:pt x="5056429" y="2155569"/>
                </a:lnTo>
                <a:lnTo>
                  <a:pt x="5026827" y="2155569"/>
                </a:lnTo>
                <a:close/>
                <a:moveTo>
                  <a:pt x="10607478" y="2126055"/>
                </a:moveTo>
                <a:lnTo>
                  <a:pt x="10637188" y="2126055"/>
                </a:lnTo>
                <a:lnTo>
                  <a:pt x="10637188" y="2155565"/>
                </a:lnTo>
                <a:lnTo>
                  <a:pt x="10607478" y="2155565"/>
                </a:lnTo>
                <a:close/>
                <a:moveTo>
                  <a:pt x="4760630" y="2126055"/>
                </a:moveTo>
                <a:lnTo>
                  <a:pt x="4790340" y="2126055"/>
                </a:lnTo>
                <a:lnTo>
                  <a:pt x="4790340" y="2155565"/>
                </a:lnTo>
                <a:lnTo>
                  <a:pt x="4760630" y="2155565"/>
                </a:lnTo>
                <a:close/>
                <a:moveTo>
                  <a:pt x="10341389" y="2126052"/>
                </a:moveTo>
                <a:lnTo>
                  <a:pt x="10370992" y="2126052"/>
                </a:lnTo>
                <a:lnTo>
                  <a:pt x="10370992" y="2155561"/>
                </a:lnTo>
                <a:lnTo>
                  <a:pt x="10341389" y="2155561"/>
                </a:lnTo>
                <a:close/>
                <a:moveTo>
                  <a:pt x="4494541" y="2126052"/>
                </a:moveTo>
                <a:lnTo>
                  <a:pt x="4524144" y="2126052"/>
                </a:lnTo>
                <a:lnTo>
                  <a:pt x="4524144" y="2155561"/>
                </a:lnTo>
                <a:lnTo>
                  <a:pt x="4494541" y="2155561"/>
                </a:lnTo>
                <a:close/>
                <a:moveTo>
                  <a:pt x="10075192" y="2126049"/>
                </a:moveTo>
                <a:lnTo>
                  <a:pt x="10104794" y="2126049"/>
                </a:lnTo>
                <a:lnTo>
                  <a:pt x="10104794" y="2155558"/>
                </a:lnTo>
                <a:lnTo>
                  <a:pt x="10075192" y="2155558"/>
                </a:lnTo>
                <a:close/>
                <a:moveTo>
                  <a:pt x="4228344" y="2126049"/>
                </a:moveTo>
                <a:lnTo>
                  <a:pt x="4257946" y="2126049"/>
                </a:lnTo>
                <a:lnTo>
                  <a:pt x="4257946" y="2155558"/>
                </a:lnTo>
                <a:lnTo>
                  <a:pt x="4228344" y="2155558"/>
                </a:lnTo>
                <a:close/>
                <a:moveTo>
                  <a:pt x="9809103" y="2126047"/>
                </a:moveTo>
                <a:lnTo>
                  <a:pt x="9838705" y="2126047"/>
                </a:lnTo>
                <a:lnTo>
                  <a:pt x="9838705" y="2155554"/>
                </a:lnTo>
                <a:lnTo>
                  <a:pt x="9809103" y="2155554"/>
                </a:lnTo>
                <a:close/>
                <a:moveTo>
                  <a:pt x="3962255" y="2126047"/>
                </a:moveTo>
                <a:lnTo>
                  <a:pt x="3991857" y="2126047"/>
                </a:lnTo>
                <a:lnTo>
                  <a:pt x="3991857" y="2155554"/>
                </a:lnTo>
                <a:lnTo>
                  <a:pt x="3962255" y="2155554"/>
                </a:lnTo>
                <a:close/>
                <a:moveTo>
                  <a:pt x="9542906" y="2126044"/>
                </a:moveTo>
                <a:lnTo>
                  <a:pt x="9572509" y="2126044"/>
                </a:lnTo>
                <a:lnTo>
                  <a:pt x="9572509" y="2155551"/>
                </a:lnTo>
                <a:lnTo>
                  <a:pt x="9542906" y="2155551"/>
                </a:lnTo>
                <a:close/>
                <a:moveTo>
                  <a:pt x="3696058" y="2126044"/>
                </a:moveTo>
                <a:lnTo>
                  <a:pt x="3725661" y="2126044"/>
                </a:lnTo>
                <a:lnTo>
                  <a:pt x="3725661" y="2155551"/>
                </a:lnTo>
                <a:lnTo>
                  <a:pt x="3696058" y="2155551"/>
                </a:lnTo>
                <a:close/>
                <a:moveTo>
                  <a:pt x="9276817" y="2126042"/>
                </a:moveTo>
                <a:lnTo>
                  <a:pt x="9306420" y="2126042"/>
                </a:lnTo>
                <a:lnTo>
                  <a:pt x="9306420" y="2155548"/>
                </a:lnTo>
                <a:lnTo>
                  <a:pt x="9276817" y="2155548"/>
                </a:lnTo>
                <a:close/>
                <a:moveTo>
                  <a:pt x="3429969" y="2126042"/>
                </a:moveTo>
                <a:lnTo>
                  <a:pt x="3459572" y="2126042"/>
                </a:lnTo>
                <a:lnTo>
                  <a:pt x="3459572" y="2155548"/>
                </a:lnTo>
                <a:lnTo>
                  <a:pt x="3429969" y="2155548"/>
                </a:lnTo>
                <a:close/>
                <a:moveTo>
                  <a:pt x="9010620" y="2126039"/>
                </a:moveTo>
                <a:lnTo>
                  <a:pt x="9040222" y="2126039"/>
                </a:lnTo>
                <a:lnTo>
                  <a:pt x="9040222" y="2155544"/>
                </a:lnTo>
                <a:lnTo>
                  <a:pt x="9010620" y="2155544"/>
                </a:lnTo>
                <a:close/>
                <a:moveTo>
                  <a:pt x="3163772" y="2126039"/>
                </a:moveTo>
                <a:lnTo>
                  <a:pt x="3193374" y="2126039"/>
                </a:lnTo>
                <a:lnTo>
                  <a:pt x="3193374" y="2155544"/>
                </a:lnTo>
                <a:lnTo>
                  <a:pt x="3163772" y="2155544"/>
                </a:lnTo>
                <a:close/>
                <a:moveTo>
                  <a:pt x="8744423" y="2126036"/>
                </a:moveTo>
                <a:lnTo>
                  <a:pt x="8774026" y="2126036"/>
                </a:lnTo>
                <a:lnTo>
                  <a:pt x="8774026" y="2155541"/>
                </a:lnTo>
                <a:lnTo>
                  <a:pt x="8744423" y="2155541"/>
                </a:lnTo>
                <a:close/>
                <a:moveTo>
                  <a:pt x="2897575" y="2126036"/>
                </a:moveTo>
                <a:lnTo>
                  <a:pt x="2927178" y="2126036"/>
                </a:lnTo>
                <a:lnTo>
                  <a:pt x="2927178" y="2155541"/>
                </a:lnTo>
                <a:lnTo>
                  <a:pt x="2897575" y="2155541"/>
                </a:lnTo>
                <a:close/>
                <a:moveTo>
                  <a:pt x="8478226" y="2126033"/>
                </a:moveTo>
                <a:lnTo>
                  <a:pt x="8507828" y="2126033"/>
                </a:lnTo>
                <a:lnTo>
                  <a:pt x="8507828" y="2155537"/>
                </a:lnTo>
                <a:lnTo>
                  <a:pt x="8478226" y="2155537"/>
                </a:lnTo>
                <a:close/>
                <a:moveTo>
                  <a:pt x="2631378" y="2126033"/>
                </a:moveTo>
                <a:lnTo>
                  <a:pt x="2660980" y="2126033"/>
                </a:lnTo>
                <a:lnTo>
                  <a:pt x="2660980" y="2155537"/>
                </a:lnTo>
                <a:lnTo>
                  <a:pt x="2631378" y="2155537"/>
                </a:lnTo>
                <a:close/>
                <a:moveTo>
                  <a:pt x="8212137" y="2126031"/>
                </a:moveTo>
                <a:lnTo>
                  <a:pt x="8241740" y="2126031"/>
                </a:lnTo>
                <a:lnTo>
                  <a:pt x="8241740" y="2155534"/>
                </a:lnTo>
                <a:lnTo>
                  <a:pt x="8212137" y="2155534"/>
                </a:lnTo>
                <a:close/>
                <a:moveTo>
                  <a:pt x="2365289" y="2126031"/>
                </a:moveTo>
                <a:lnTo>
                  <a:pt x="2394892" y="2126031"/>
                </a:lnTo>
                <a:lnTo>
                  <a:pt x="2394892" y="2155534"/>
                </a:lnTo>
                <a:lnTo>
                  <a:pt x="2365289" y="2155534"/>
                </a:lnTo>
                <a:close/>
                <a:moveTo>
                  <a:pt x="7945940" y="2126030"/>
                </a:moveTo>
                <a:lnTo>
                  <a:pt x="7975543" y="2126030"/>
                </a:lnTo>
                <a:lnTo>
                  <a:pt x="7975543" y="2155531"/>
                </a:lnTo>
                <a:lnTo>
                  <a:pt x="7945940" y="2155531"/>
                </a:lnTo>
                <a:close/>
                <a:moveTo>
                  <a:pt x="2099092" y="2126030"/>
                </a:moveTo>
                <a:lnTo>
                  <a:pt x="2128695" y="2126030"/>
                </a:lnTo>
                <a:lnTo>
                  <a:pt x="2128695" y="2155531"/>
                </a:lnTo>
                <a:lnTo>
                  <a:pt x="2099092" y="2155531"/>
                </a:lnTo>
                <a:close/>
                <a:moveTo>
                  <a:pt x="7679743" y="2126028"/>
                </a:moveTo>
                <a:lnTo>
                  <a:pt x="7709346" y="2126028"/>
                </a:lnTo>
                <a:lnTo>
                  <a:pt x="7709346" y="2155527"/>
                </a:lnTo>
                <a:lnTo>
                  <a:pt x="7679743" y="2155527"/>
                </a:lnTo>
                <a:close/>
                <a:moveTo>
                  <a:pt x="1832898" y="2126028"/>
                </a:moveTo>
                <a:lnTo>
                  <a:pt x="1862498" y="2126028"/>
                </a:lnTo>
                <a:lnTo>
                  <a:pt x="1862498" y="2155527"/>
                </a:lnTo>
                <a:lnTo>
                  <a:pt x="1832898" y="2155527"/>
                </a:lnTo>
                <a:close/>
                <a:moveTo>
                  <a:pt x="7413653" y="2126025"/>
                </a:moveTo>
                <a:lnTo>
                  <a:pt x="7443256" y="2126025"/>
                </a:lnTo>
                <a:lnTo>
                  <a:pt x="7443256" y="2155523"/>
                </a:lnTo>
                <a:lnTo>
                  <a:pt x="7413653" y="2155523"/>
                </a:lnTo>
                <a:close/>
                <a:moveTo>
                  <a:pt x="1566808" y="2126025"/>
                </a:moveTo>
                <a:lnTo>
                  <a:pt x="1596409" y="2126025"/>
                </a:lnTo>
                <a:lnTo>
                  <a:pt x="1596409" y="2155523"/>
                </a:lnTo>
                <a:lnTo>
                  <a:pt x="1566808" y="2155523"/>
                </a:lnTo>
                <a:close/>
                <a:moveTo>
                  <a:pt x="7147456" y="2126023"/>
                </a:moveTo>
                <a:lnTo>
                  <a:pt x="7177058" y="2126023"/>
                </a:lnTo>
                <a:lnTo>
                  <a:pt x="7177058" y="2155520"/>
                </a:lnTo>
                <a:lnTo>
                  <a:pt x="7147456" y="2155520"/>
                </a:lnTo>
                <a:close/>
                <a:moveTo>
                  <a:pt x="1300611" y="2126023"/>
                </a:moveTo>
                <a:lnTo>
                  <a:pt x="1330213" y="2126023"/>
                </a:lnTo>
                <a:lnTo>
                  <a:pt x="1330213" y="2155520"/>
                </a:lnTo>
                <a:lnTo>
                  <a:pt x="1300611" y="2155520"/>
                </a:lnTo>
                <a:close/>
                <a:moveTo>
                  <a:pt x="6881367" y="2126020"/>
                </a:moveTo>
                <a:lnTo>
                  <a:pt x="6910970" y="2126020"/>
                </a:lnTo>
                <a:lnTo>
                  <a:pt x="6910970" y="2155517"/>
                </a:lnTo>
                <a:lnTo>
                  <a:pt x="6881367" y="2155517"/>
                </a:lnTo>
                <a:close/>
                <a:moveTo>
                  <a:pt x="1034520" y="2126020"/>
                </a:moveTo>
                <a:lnTo>
                  <a:pt x="1064123" y="2126020"/>
                </a:lnTo>
                <a:lnTo>
                  <a:pt x="1064123" y="2155517"/>
                </a:lnTo>
                <a:lnTo>
                  <a:pt x="1034520" y="2155517"/>
                </a:lnTo>
                <a:close/>
                <a:moveTo>
                  <a:pt x="6615170" y="2126017"/>
                </a:moveTo>
                <a:lnTo>
                  <a:pt x="6644773" y="2126017"/>
                </a:lnTo>
                <a:lnTo>
                  <a:pt x="6644773" y="2155513"/>
                </a:lnTo>
                <a:lnTo>
                  <a:pt x="6615170" y="2155513"/>
                </a:lnTo>
                <a:close/>
                <a:moveTo>
                  <a:pt x="768327" y="2126017"/>
                </a:moveTo>
                <a:lnTo>
                  <a:pt x="797926" y="2126017"/>
                </a:lnTo>
                <a:lnTo>
                  <a:pt x="797926" y="2155513"/>
                </a:lnTo>
                <a:lnTo>
                  <a:pt x="768327" y="2155513"/>
                </a:lnTo>
                <a:close/>
                <a:moveTo>
                  <a:pt x="6349081" y="2126014"/>
                </a:moveTo>
                <a:lnTo>
                  <a:pt x="6378683" y="2126014"/>
                </a:lnTo>
                <a:lnTo>
                  <a:pt x="6378683" y="2155510"/>
                </a:lnTo>
                <a:lnTo>
                  <a:pt x="6349081" y="2155510"/>
                </a:lnTo>
                <a:close/>
                <a:moveTo>
                  <a:pt x="502236" y="2126014"/>
                </a:moveTo>
                <a:lnTo>
                  <a:pt x="531838" y="2126014"/>
                </a:lnTo>
                <a:lnTo>
                  <a:pt x="531838" y="2155510"/>
                </a:lnTo>
                <a:lnTo>
                  <a:pt x="502236" y="2155510"/>
                </a:lnTo>
                <a:close/>
                <a:moveTo>
                  <a:pt x="6082884" y="2126012"/>
                </a:moveTo>
                <a:lnTo>
                  <a:pt x="6112486" y="2126012"/>
                </a:lnTo>
                <a:lnTo>
                  <a:pt x="6112486" y="2155506"/>
                </a:lnTo>
                <a:lnTo>
                  <a:pt x="6082884" y="2155506"/>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1672158" y="1860298"/>
                </a:moveTo>
                <a:lnTo>
                  <a:pt x="11701760" y="1860298"/>
                </a:lnTo>
                <a:lnTo>
                  <a:pt x="11701760" y="1889774"/>
                </a:lnTo>
                <a:lnTo>
                  <a:pt x="11672158" y="1889774"/>
                </a:lnTo>
                <a:close/>
                <a:moveTo>
                  <a:pt x="5825310" y="1860298"/>
                </a:moveTo>
                <a:lnTo>
                  <a:pt x="5854913" y="1860298"/>
                </a:lnTo>
                <a:lnTo>
                  <a:pt x="5854913" y="1889774"/>
                </a:lnTo>
                <a:lnTo>
                  <a:pt x="5825310" y="1889774"/>
                </a:lnTo>
                <a:close/>
                <a:moveTo>
                  <a:pt x="11405961" y="1860296"/>
                </a:moveTo>
                <a:lnTo>
                  <a:pt x="11435563" y="1860296"/>
                </a:lnTo>
                <a:lnTo>
                  <a:pt x="11435563" y="1889774"/>
                </a:lnTo>
                <a:lnTo>
                  <a:pt x="11405961" y="1889774"/>
                </a:lnTo>
                <a:close/>
                <a:moveTo>
                  <a:pt x="5559113" y="1860296"/>
                </a:moveTo>
                <a:lnTo>
                  <a:pt x="5588715" y="1860296"/>
                </a:lnTo>
                <a:lnTo>
                  <a:pt x="5588715" y="1889774"/>
                </a:lnTo>
                <a:lnTo>
                  <a:pt x="5559113" y="1889774"/>
                </a:lnTo>
                <a:close/>
                <a:moveTo>
                  <a:pt x="11139872" y="1860293"/>
                </a:moveTo>
                <a:lnTo>
                  <a:pt x="11169474" y="1860293"/>
                </a:lnTo>
                <a:lnTo>
                  <a:pt x="11169474" y="1889772"/>
                </a:lnTo>
                <a:lnTo>
                  <a:pt x="11139872" y="1889772"/>
                </a:lnTo>
                <a:close/>
                <a:moveTo>
                  <a:pt x="5293024" y="1860293"/>
                </a:moveTo>
                <a:lnTo>
                  <a:pt x="5322626" y="1860293"/>
                </a:lnTo>
                <a:lnTo>
                  <a:pt x="5322626" y="1889772"/>
                </a:lnTo>
                <a:lnTo>
                  <a:pt x="5293024" y="1889772"/>
                </a:lnTo>
                <a:close/>
                <a:moveTo>
                  <a:pt x="10873675" y="1860291"/>
                </a:moveTo>
                <a:lnTo>
                  <a:pt x="10903277" y="1860291"/>
                </a:lnTo>
                <a:lnTo>
                  <a:pt x="10903277" y="1889770"/>
                </a:lnTo>
                <a:lnTo>
                  <a:pt x="10873675" y="1889770"/>
                </a:lnTo>
                <a:close/>
                <a:moveTo>
                  <a:pt x="5026827" y="1860291"/>
                </a:moveTo>
                <a:lnTo>
                  <a:pt x="5056429" y="1860291"/>
                </a:lnTo>
                <a:lnTo>
                  <a:pt x="5056429" y="1889770"/>
                </a:lnTo>
                <a:lnTo>
                  <a:pt x="5026827" y="1889770"/>
                </a:lnTo>
                <a:close/>
                <a:moveTo>
                  <a:pt x="10607478" y="1860288"/>
                </a:moveTo>
                <a:lnTo>
                  <a:pt x="10637188" y="1860288"/>
                </a:lnTo>
                <a:lnTo>
                  <a:pt x="10637188" y="1889769"/>
                </a:lnTo>
                <a:lnTo>
                  <a:pt x="10607478" y="1889769"/>
                </a:lnTo>
                <a:close/>
                <a:moveTo>
                  <a:pt x="4760630" y="1860288"/>
                </a:moveTo>
                <a:lnTo>
                  <a:pt x="4790340" y="1860288"/>
                </a:lnTo>
                <a:lnTo>
                  <a:pt x="4790340" y="1889769"/>
                </a:lnTo>
                <a:lnTo>
                  <a:pt x="4760630" y="1889769"/>
                </a:lnTo>
                <a:close/>
                <a:moveTo>
                  <a:pt x="10341389" y="1860286"/>
                </a:moveTo>
                <a:lnTo>
                  <a:pt x="10370992" y="1860286"/>
                </a:lnTo>
                <a:lnTo>
                  <a:pt x="10370992" y="1889767"/>
                </a:lnTo>
                <a:lnTo>
                  <a:pt x="10341389" y="1889767"/>
                </a:lnTo>
                <a:close/>
                <a:moveTo>
                  <a:pt x="4494541" y="1860286"/>
                </a:moveTo>
                <a:lnTo>
                  <a:pt x="4524144" y="1860286"/>
                </a:lnTo>
                <a:lnTo>
                  <a:pt x="4524144" y="1889767"/>
                </a:lnTo>
                <a:lnTo>
                  <a:pt x="4494541" y="1889767"/>
                </a:lnTo>
                <a:close/>
                <a:moveTo>
                  <a:pt x="10075192" y="1860283"/>
                </a:moveTo>
                <a:lnTo>
                  <a:pt x="10104794" y="1860283"/>
                </a:lnTo>
                <a:lnTo>
                  <a:pt x="10104794" y="1889766"/>
                </a:lnTo>
                <a:lnTo>
                  <a:pt x="10075192" y="1889766"/>
                </a:lnTo>
                <a:close/>
                <a:moveTo>
                  <a:pt x="4228344" y="1860283"/>
                </a:moveTo>
                <a:lnTo>
                  <a:pt x="4257946" y="1860283"/>
                </a:lnTo>
                <a:lnTo>
                  <a:pt x="4257946" y="1889766"/>
                </a:lnTo>
                <a:lnTo>
                  <a:pt x="4228344" y="1889766"/>
                </a:lnTo>
                <a:close/>
                <a:moveTo>
                  <a:pt x="9809103" y="1860281"/>
                </a:moveTo>
                <a:lnTo>
                  <a:pt x="9838705" y="1860281"/>
                </a:lnTo>
                <a:lnTo>
                  <a:pt x="9838705" y="1889764"/>
                </a:lnTo>
                <a:lnTo>
                  <a:pt x="9809103" y="1889764"/>
                </a:lnTo>
                <a:close/>
                <a:moveTo>
                  <a:pt x="3962255" y="1860281"/>
                </a:moveTo>
                <a:lnTo>
                  <a:pt x="3991857" y="1860281"/>
                </a:lnTo>
                <a:lnTo>
                  <a:pt x="3991857" y="1889764"/>
                </a:lnTo>
                <a:lnTo>
                  <a:pt x="3962255" y="1889764"/>
                </a:lnTo>
                <a:close/>
                <a:moveTo>
                  <a:pt x="9542906" y="1860278"/>
                </a:moveTo>
                <a:lnTo>
                  <a:pt x="9572509" y="1860278"/>
                </a:lnTo>
                <a:lnTo>
                  <a:pt x="9572509" y="1889763"/>
                </a:lnTo>
                <a:lnTo>
                  <a:pt x="9542906" y="1889763"/>
                </a:lnTo>
                <a:close/>
                <a:moveTo>
                  <a:pt x="3696058" y="1860278"/>
                </a:moveTo>
                <a:lnTo>
                  <a:pt x="3725661" y="1860278"/>
                </a:lnTo>
                <a:lnTo>
                  <a:pt x="3725661" y="1889763"/>
                </a:lnTo>
                <a:lnTo>
                  <a:pt x="3696058" y="1889763"/>
                </a:lnTo>
                <a:close/>
                <a:moveTo>
                  <a:pt x="9276817" y="1860276"/>
                </a:moveTo>
                <a:lnTo>
                  <a:pt x="9306420" y="1860276"/>
                </a:lnTo>
                <a:lnTo>
                  <a:pt x="9306420" y="1889762"/>
                </a:lnTo>
                <a:lnTo>
                  <a:pt x="9276817" y="1889762"/>
                </a:lnTo>
                <a:close/>
                <a:moveTo>
                  <a:pt x="3429969" y="1860276"/>
                </a:moveTo>
                <a:lnTo>
                  <a:pt x="3459572" y="1860276"/>
                </a:lnTo>
                <a:lnTo>
                  <a:pt x="3459572" y="1889762"/>
                </a:lnTo>
                <a:lnTo>
                  <a:pt x="3429969" y="1889762"/>
                </a:lnTo>
                <a:close/>
                <a:moveTo>
                  <a:pt x="9010620" y="1860273"/>
                </a:moveTo>
                <a:lnTo>
                  <a:pt x="9040222" y="1860273"/>
                </a:lnTo>
                <a:lnTo>
                  <a:pt x="9040222" y="1889761"/>
                </a:lnTo>
                <a:lnTo>
                  <a:pt x="9010620" y="1889761"/>
                </a:lnTo>
                <a:close/>
                <a:moveTo>
                  <a:pt x="3163772" y="1860273"/>
                </a:moveTo>
                <a:lnTo>
                  <a:pt x="3193374" y="1860273"/>
                </a:lnTo>
                <a:lnTo>
                  <a:pt x="3193374" y="1889761"/>
                </a:lnTo>
                <a:lnTo>
                  <a:pt x="3163772" y="1889761"/>
                </a:lnTo>
                <a:close/>
                <a:moveTo>
                  <a:pt x="8744423" y="1860271"/>
                </a:moveTo>
                <a:lnTo>
                  <a:pt x="8774026" y="1860271"/>
                </a:lnTo>
                <a:lnTo>
                  <a:pt x="8774026" y="1889759"/>
                </a:lnTo>
                <a:lnTo>
                  <a:pt x="8744423" y="1889759"/>
                </a:lnTo>
                <a:close/>
                <a:moveTo>
                  <a:pt x="2897575" y="1860271"/>
                </a:moveTo>
                <a:lnTo>
                  <a:pt x="2927178" y="1860271"/>
                </a:lnTo>
                <a:lnTo>
                  <a:pt x="2927178" y="1889759"/>
                </a:lnTo>
                <a:lnTo>
                  <a:pt x="2897575" y="1889759"/>
                </a:lnTo>
                <a:close/>
                <a:moveTo>
                  <a:pt x="8478226" y="1860268"/>
                </a:moveTo>
                <a:lnTo>
                  <a:pt x="8507828" y="1860268"/>
                </a:lnTo>
                <a:lnTo>
                  <a:pt x="8507828" y="1889757"/>
                </a:lnTo>
                <a:lnTo>
                  <a:pt x="8478226" y="1889757"/>
                </a:lnTo>
                <a:close/>
                <a:moveTo>
                  <a:pt x="2631378" y="1860268"/>
                </a:moveTo>
                <a:lnTo>
                  <a:pt x="2660980" y="1860268"/>
                </a:lnTo>
                <a:lnTo>
                  <a:pt x="2660980" y="1889757"/>
                </a:lnTo>
                <a:lnTo>
                  <a:pt x="2631378" y="1889757"/>
                </a:lnTo>
                <a:close/>
                <a:moveTo>
                  <a:pt x="8212137" y="1860266"/>
                </a:moveTo>
                <a:lnTo>
                  <a:pt x="8241740" y="1860266"/>
                </a:lnTo>
                <a:lnTo>
                  <a:pt x="8241740" y="1889755"/>
                </a:lnTo>
                <a:lnTo>
                  <a:pt x="8212137" y="1889755"/>
                </a:lnTo>
                <a:close/>
                <a:moveTo>
                  <a:pt x="2365289" y="1860266"/>
                </a:moveTo>
                <a:lnTo>
                  <a:pt x="2394892" y="1860266"/>
                </a:lnTo>
                <a:lnTo>
                  <a:pt x="2394892" y="1889755"/>
                </a:lnTo>
                <a:lnTo>
                  <a:pt x="2365289" y="1889755"/>
                </a:lnTo>
                <a:close/>
                <a:moveTo>
                  <a:pt x="7945940" y="1860264"/>
                </a:moveTo>
                <a:lnTo>
                  <a:pt x="7975543" y="1860264"/>
                </a:lnTo>
                <a:lnTo>
                  <a:pt x="7975543" y="1889753"/>
                </a:lnTo>
                <a:lnTo>
                  <a:pt x="7945940" y="1889753"/>
                </a:lnTo>
                <a:close/>
                <a:moveTo>
                  <a:pt x="2099092" y="1860264"/>
                </a:moveTo>
                <a:lnTo>
                  <a:pt x="2128695" y="1860264"/>
                </a:lnTo>
                <a:lnTo>
                  <a:pt x="2128695" y="1889753"/>
                </a:lnTo>
                <a:lnTo>
                  <a:pt x="2099092" y="1889753"/>
                </a:lnTo>
                <a:close/>
                <a:moveTo>
                  <a:pt x="7679743" y="1860261"/>
                </a:moveTo>
                <a:lnTo>
                  <a:pt x="7709346" y="1860261"/>
                </a:lnTo>
                <a:lnTo>
                  <a:pt x="7709346" y="1889751"/>
                </a:lnTo>
                <a:lnTo>
                  <a:pt x="7679743" y="1889751"/>
                </a:lnTo>
                <a:close/>
                <a:moveTo>
                  <a:pt x="1832898" y="1860261"/>
                </a:moveTo>
                <a:lnTo>
                  <a:pt x="1862498" y="1860261"/>
                </a:lnTo>
                <a:lnTo>
                  <a:pt x="1862498" y="1889751"/>
                </a:lnTo>
                <a:lnTo>
                  <a:pt x="1832898" y="1889751"/>
                </a:lnTo>
                <a:close/>
                <a:moveTo>
                  <a:pt x="7413653" y="1860259"/>
                </a:moveTo>
                <a:lnTo>
                  <a:pt x="7443256" y="1860259"/>
                </a:lnTo>
                <a:lnTo>
                  <a:pt x="7443256" y="1889750"/>
                </a:lnTo>
                <a:lnTo>
                  <a:pt x="7413653" y="1889750"/>
                </a:lnTo>
                <a:close/>
                <a:moveTo>
                  <a:pt x="1566808" y="1860259"/>
                </a:moveTo>
                <a:lnTo>
                  <a:pt x="1596409" y="1860259"/>
                </a:lnTo>
                <a:lnTo>
                  <a:pt x="1596409" y="1889750"/>
                </a:lnTo>
                <a:lnTo>
                  <a:pt x="1566808" y="1889750"/>
                </a:lnTo>
                <a:close/>
                <a:moveTo>
                  <a:pt x="7147456" y="1860256"/>
                </a:moveTo>
                <a:lnTo>
                  <a:pt x="7177058" y="1860256"/>
                </a:lnTo>
                <a:lnTo>
                  <a:pt x="7177058" y="1889748"/>
                </a:lnTo>
                <a:lnTo>
                  <a:pt x="7147456" y="1889748"/>
                </a:lnTo>
                <a:close/>
                <a:moveTo>
                  <a:pt x="1300611" y="1860256"/>
                </a:moveTo>
                <a:lnTo>
                  <a:pt x="1330213" y="1860256"/>
                </a:lnTo>
                <a:lnTo>
                  <a:pt x="1330213" y="1889748"/>
                </a:lnTo>
                <a:lnTo>
                  <a:pt x="1300611" y="1889748"/>
                </a:lnTo>
                <a:close/>
                <a:moveTo>
                  <a:pt x="6881367" y="1860254"/>
                </a:moveTo>
                <a:lnTo>
                  <a:pt x="6910970" y="1860254"/>
                </a:lnTo>
                <a:lnTo>
                  <a:pt x="6910970" y="1889747"/>
                </a:lnTo>
                <a:lnTo>
                  <a:pt x="6881367" y="1889747"/>
                </a:lnTo>
                <a:close/>
                <a:moveTo>
                  <a:pt x="1034520" y="1860254"/>
                </a:moveTo>
                <a:lnTo>
                  <a:pt x="1064123" y="1860254"/>
                </a:lnTo>
                <a:lnTo>
                  <a:pt x="1064123" y="1889747"/>
                </a:lnTo>
                <a:lnTo>
                  <a:pt x="1034520" y="1889747"/>
                </a:lnTo>
                <a:close/>
                <a:moveTo>
                  <a:pt x="6615170" y="1860252"/>
                </a:moveTo>
                <a:lnTo>
                  <a:pt x="6644773" y="1860252"/>
                </a:lnTo>
                <a:lnTo>
                  <a:pt x="6644773" y="1889745"/>
                </a:lnTo>
                <a:lnTo>
                  <a:pt x="6615170" y="1889745"/>
                </a:lnTo>
                <a:close/>
                <a:moveTo>
                  <a:pt x="768327" y="1860252"/>
                </a:moveTo>
                <a:lnTo>
                  <a:pt x="797926" y="1860252"/>
                </a:lnTo>
                <a:lnTo>
                  <a:pt x="797926" y="1889745"/>
                </a:lnTo>
                <a:lnTo>
                  <a:pt x="768327" y="1889745"/>
                </a:lnTo>
                <a:close/>
                <a:moveTo>
                  <a:pt x="6349081" y="1860249"/>
                </a:moveTo>
                <a:lnTo>
                  <a:pt x="6378683" y="1860249"/>
                </a:lnTo>
                <a:lnTo>
                  <a:pt x="6378683" y="1889744"/>
                </a:lnTo>
                <a:lnTo>
                  <a:pt x="6349081" y="1889744"/>
                </a:lnTo>
                <a:close/>
                <a:moveTo>
                  <a:pt x="502236" y="1860249"/>
                </a:moveTo>
                <a:lnTo>
                  <a:pt x="531838" y="1860249"/>
                </a:lnTo>
                <a:lnTo>
                  <a:pt x="531838" y="1889744"/>
                </a:lnTo>
                <a:lnTo>
                  <a:pt x="502236" y="1889744"/>
                </a:lnTo>
                <a:close/>
                <a:moveTo>
                  <a:pt x="6082884" y="1860247"/>
                </a:moveTo>
                <a:lnTo>
                  <a:pt x="6112486" y="1860247"/>
                </a:lnTo>
                <a:lnTo>
                  <a:pt x="6112486" y="1889742"/>
                </a:lnTo>
                <a:lnTo>
                  <a:pt x="6082884" y="1889742"/>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1672158" y="1594533"/>
                </a:moveTo>
                <a:lnTo>
                  <a:pt x="11701760" y="1594533"/>
                </a:lnTo>
                <a:lnTo>
                  <a:pt x="11701760" y="1624136"/>
                </a:lnTo>
                <a:lnTo>
                  <a:pt x="11672158" y="1624136"/>
                </a:lnTo>
                <a:close/>
                <a:moveTo>
                  <a:pt x="5825310" y="1594533"/>
                </a:moveTo>
                <a:lnTo>
                  <a:pt x="5854913" y="1594533"/>
                </a:lnTo>
                <a:lnTo>
                  <a:pt x="5854913" y="1624136"/>
                </a:lnTo>
                <a:lnTo>
                  <a:pt x="5825310" y="1624136"/>
                </a:lnTo>
                <a:close/>
                <a:moveTo>
                  <a:pt x="11405961" y="1594531"/>
                </a:moveTo>
                <a:lnTo>
                  <a:pt x="11435563" y="1594531"/>
                </a:lnTo>
                <a:lnTo>
                  <a:pt x="11435563" y="1624134"/>
                </a:lnTo>
                <a:lnTo>
                  <a:pt x="11405961" y="1624134"/>
                </a:lnTo>
                <a:close/>
                <a:moveTo>
                  <a:pt x="5559113" y="1594531"/>
                </a:moveTo>
                <a:lnTo>
                  <a:pt x="5588715" y="1594531"/>
                </a:lnTo>
                <a:lnTo>
                  <a:pt x="5588715" y="1624134"/>
                </a:lnTo>
                <a:lnTo>
                  <a:pt x="5559113" y="1624134"/>
                </a:lnTo>
                <a:close/>
                <a:moveTo>
                  <a:pt x="11139872" y="1594528"/>
                </a:moveTo>
                <a:lnTo>
                  <a:pt x="11169474" y="1594528"/>
                </a:lnTo>
                <a:lnTo>
                  <a:pt x="11169474" y="1624131"/>
                </a:lnTo>
                <a:lnTo>
                  <a:pt x="11139872" y="1624131"/>
                </a:lnTo>
                <a:close/>
                <a:moveTo>
                  <a:pt x="5293024" y="1594528"/>
                </a:moveTo>
                <a:lnTo>
                  <a:pt x="5322626" y="1594528"/>
                </a:lnTo>
                <a:lnTo>
                  <a:pt x="5322626" y="1624131"/>
                </a:lnTo>
                <a:lnTo>
                  <a:pt x="5293024" y="1624131"/>
                </a:lnTo>
                <a:close/>
                <a:moveTo>
                  <a:pt x="10873675" y="1594526"/>
                </a:moveTo>
                <a:lnTo>
                  <a:pt x="10903277" y="1594526"/>
                </a:lnTo>
                <a:lnTo>
                  <a:pt x="10903277" y="1624129"/>
                </a:lnTo>
                <a:lnTo>
                  <a:pt x="10873675" y="1624129"/>
                </a:lnTo>
                <a:close/>
                <a:moveTo>
                  <a:pt x="5026827" y="1594526"/>
                </a:moveTo>
                <a:lnTo>
                  <a:pt x="5056429" y="1594526"/>
                </a:lnTo>
                <a:lnTo>
                  <a:pt x="5056429" y="1624129"/>
                </a:lnTo>
                <a:lnTo>
                  <a:pt x="5026827" y="1624129"/>
                </a:lnTo>
                <a:close/>
                <a:moveTo>
                  <a:pt x="10607478" y="1594523"/>
                </a:moveTo>
                <a:lnTo>
                  <a:pt x="10637188" y="1594523"/>
                </a:lnTo>
                <a:lnTo>
                  <a:pt x="10637188" y="1624127"/>
                </a:lnTo>
                <a:lnTo>
                  <a:pt x="10607478" y="1624127"/>
                </a:lnTo>
                <a:close/>
                <a:moveTo>
                  <a:pt x="4760630" y="1594523"/>
                </a:moveTo>
                <a:lnTo>
                  <a:pt x="4790340" y="1594523"/>
                </a:lnTo>
                <a:lnTo>
                  <a:pt x="4790340" y="1624127"/>
                </a:lnTo>
                <a:lnTo>
                  <a:pt x="4760630" y="1624127"/>
                </a:lnTo>
                <a:close/>
                <a:moveTo>
                  <a:pt x="10341389" y="1594521"/>
                </a:moveTo>
                <a:lnTo>
                  <a:pt x="10370992" y="1594521"/>
                </a:lnTo>
                <a:lnTo>
                  <a:pt x="10370992" y="1624124"/>
                </a:lnTo>
                <a:lnTo>
                  <a:pt x="10341389" y="1624124"/>
                </a:lnTo>
                <a:close/>
                <a:moveTo>
                  <a:pt x="4494541" y="1594521"/>
                </a:moveTo>
                <a:lnTo>
                  <a:pt x="4524144" y="1594521"/>
                </a:lnTo>
                <a:lnTo>
                  <a:pt x="4524144" y="1624124"/>
                </a:lnTo>
                <a:lnTo>
                  <a:pt x="4494541" y="1624124"/>
                </a:lnTo>
                <a:close/>
                <a:moveTo>
                  <a:pt x="10075192" y="1594518"/>
                </a:moveTo>
                <a:lnTo>
                  <a:pt x="10104794" y="1594518"/>
                </a:lnTo>
                <a:lnTo>
                  <a:pt x="10104794" y="1624122"/>
                </a:lnTo>
                <a:lnTo>
                  <a:pt x="10075192" y="1624122"/>
                </a:lnTo>
                <a:close/>
                <a:moveTo>
                  <a:pt x="4228344" y="1594518"/>
                </a:moveTo>
                <a:lnTo>
                  <a:pt x="4257946" y="1594518"/>
                </a:lnTo>
                <a:lnTo>
                  <a:pt x="4257946" y="1624122"/>
                </a:lnTo>
                <a:lnTo>
                  <a:pt x="4228344" y="1624122"/>
                </a:lnTo>
                <a:close/>
                <a:moveTo>
                  <a:pt x="9809103" y="1594516"/>
                </a:moveTo>
                <a:lnTo>
                  <a:pt x="9838705" y="1594516"/>
                </a:lnTo>
                <a:lnTo>
                  <a:pt x="9838705" y="1624120"/>
                </a:lnTo>
                <a:lnTo>
                  <a:pt x="9809103" y="1624120"/>
                </a:lnTo>
                <a:close/>
                <a:moveTo>
                  <a:pt x="3962255" y="1594516"/>
                </a:moveTo>
                <a:lnTo>
                  <a:pt x="3991857" y="1594516"/>
                </a:lnTo>
                <a:lnTo>
                  <a:pt x="3991857" y="1624120"/>
                </a:lnTo>
                <a:lnTo>
                  <a:pt x="3962255" y="1624120"/>
                </a:lnTo>
                <a:close/>
                <a:moveTo>
                  <a:pt x="9542906" y="1594514"/>
                </a:moveTo>
                <a:lnTo>
                  <a:pt x="9572509" y="1594514"/>
                </a:lnTo>
                <a:lnTo>
                  <a:pt x="9572509" y="1624117"/>
                </a:lnTo>
                <a:lnTo>
                  <a:pt x="9542906" y="1624117"/>
                </a:lnTo>
                <a:close/>
                <a:moveTo>
                  <a:pt x="3696058" y="1594514"/>
                </a:moveTo>
                <a:lnTo>
                  <a:pt x="3725661" y="1594514"/>
                </a:lnTo>
                <a:lnTo>
                  <a:pt x="3725661" y="1624117"/>
                </a:lnTo>
                <a:lnTo>
                  <a:pt x="3696058" y="1624117"/>
                </a:lnTo>
                <a:close/>
                <a:moveTo>
                  <a:pt x="9276817" y="1594511"/>
                </a:moveTo>
                <a:lnTo>
                  <a:pt x="9306420" y="1594511"/>
                </a:lnTo>
                <a:lnTo>
                  <a:pt x="9306420" y="1624114"/>
                </a:lnTo>
                <a:lnTo>
                  <a:pt x="9276817" y="1624114"/>
                </a:lnTo>
                <a:close/>
                <a:moveTo>
                  <a:pt x="3429969" y="1594511"/>
                </a:moveTo>
                <a:lnTo>
                  <a:pt x="3459572" y="1594511"/>
                </a:lnTo>
                <a:lnTo>
                  <a:pt x="3459572" y="1624114"/>
                </a:lnTo>
                <a:lnTo>
                  <a:pt x="3429969" y="1624114"/>
                </a:lnTo>
                <a:close/>
                <a:moveTo>
                  <a:pt x="9010620" y="1594509"/>
                </a:moveTo>
                <a:lnTo>
                  <a:pt x="9040222" y="1594509"/>
                </a:lnTo>
                <a:lnTo>
                  <a:pt x="9040222" y="1624112"/>
                </a:lnTo>
                <a:lnTo>
                  <a:pt x="9010620" y="1624112"/>
                </a:lnTo>
                <a:close/>
                <a:moveTo>
                  <a:pt x="3163772" y="1594509"/>
                </a:moveTo>
                <a:lnTo>
                  <a:pt x="3193374" y="1594509"/>
                </a:lnTo>
                <a:lnTo>
                  <a:pt x="3193374" y="1624112"/>
                </a:lnTo>
                <a:lnTo>
                  <a:pt x="3163772" y="1624112"/>
                </a:lnTo>
                <a:close/>
                <a:moveTo>
                  <a:pt x="8744423" y="1594506"/>
                </a:moveTo>
                <a:lnTo>
                  <a:pt x="8774026" y="1594506"/>
                </a:lnTo>
                <a:lnTo>
                  <a:pt x="8774026" y="1624110"/>
                </a:lnTo>
                <a:lnTo>
                  <a:pt x="8744423" y="1624110"/>
                </a:lnTo>
                <a:close/>
                <a:moveTo>
                  <a:pt x="2897575" y="1594506"/>
                </a:moveTo>
                <a:lnTo>
                  <a:pt x="2927178" y="1594506"/>
                </a:lnTo>
                <a:lnTo>
                  <a:pt x="2927178" y="1624110"/>
                </a:lnTo>
                <a:lnTo>
                  <a:pt x="2897575" y="1624110"/>
                </a:lnTo>
                <a:close/>
                <a:moveTo>
                  <a:pt x="8478226" y="1594504"/>
                </a:moveTo>
                <a:lnTo>
                  <a:pt x="8507828" y="1594504"/>
                </a:lnTo>
                <a:lnTo>
                  <a:pt x="8507828" y="1624107"/>
                </a:lnTo>
                <a:lnTo>
                  <a:pt x="8478226" y="1624107"/>
                </a:lnTo>
                <a:close/>
                <a:moveTo>
                  <a:pt x="2631378" y="1594504"/>
                </a:moveTo>
                <a:lnTo>
                  <a:pt x="2660980" y="1594504"/>
                </a:lnTo>
                <a:lnTo>
                  <a:pt x="2660980" y="1624107"/>
                </a:lnTo>
                <a:lnTo>
                  <a:pt x="2631378" y="1624107"/>
                </a:lnTo>
                <a:close/>
                <a:moveTo>
                  <a:pt x="8212137" y="1594502"/>
                </a:moveTo>
                <a:lnTo>
                  <a:pt x="8241740" y="1594502"/>
                </a:lnTo>
                <a:lnTo>
                  <a:pt x="8241740" y="1624105"/>
                </a:lnTo>
                <a:lnTo>
                  <a:pt x="8212137" y="1624105"/>
                </a:lnTo>
                <a:close/>
                <a:moveTo>
                  <a:pt x="2365289" y="1594502"/>
                </a:moveTo>
                <a:lnTo>
                  <a:pt x="2394892" y="1594502"/>
                </a:lnTo>
                <a:lnTo>
                  <a:pt x="2394892" y="1624105"/>
                </a:lnTo>
                <a:lnTo>
                  <a:pt x="2365289" y="1624105"/>
                </a:lnTo>
                <a:close/>
                <a:moveTo>
                  <a:pt x="7945940" y="1594499"/>
                </a:moveTo>
                <a:lnTo>
                  <a:pt x="7975543" y="1594499"/>
                </a:lnTo>
                <a:lnTo>
                  <a:pt x="7975543" y="1624102"/>
                </a:lnTo>
                <a:lnTo>
                  <a:pt x="7945940" y="1624102"/>
                </a:lnTo>
                <a:close/>
                <a:moveTo>
                  <a:pt x="2099092" y="1594499"/>
                </a:moveTo>
                <a:lnTo>
                  <a:pt x="2128695" y="1594499"/>
                </a:lnTo>
                <a:lnTo>
                  <a:pt x="2128695" y="1624102"/>
                </a:lnTo>
                <a:lnTo>
                  <a:pt x="2099092" y="1624102"/>
                </a:lnTo>
                <a:close/>
                <a:moveTo>
                  <a:pt x="7679743" y="1594496"/>
                </a:moveTo>
                <a:lnTo>
                  <a:pt x="7709346" y="1594496"/>
                </a:lnTo>
                <a:lnTo>
                  <a:pt x="7709346" y="1624100"/>
                </a:lnTo>
                <a:lnTo>
                  <a:pt x="7679743" y="1624100"/>
                </a:lnTo>
                <a:close/>
                <a:moveTo>
                  <a:pt x="1832898" y="1594496"/>
                </a:moveTo>
                <a:lnTo>
                  <a:pt x="1862498" y="1594496"/>
                </a:lnTo>
                <a:lnTo>
                  <a:pt x="1862498" y="1624100"/>
                </a:lnTo>
                <a:lnTo>
                  <a:pt x="1832898" y="1624100"/>
                </a:lnTo>
                <a:close/>
                <a:moveTo>
                  <a:pt x="7413653" y="1594494"/>
                </a:moveTo>
                <a:lnTo>
                  <a:pt x="7443256" y="1594494"/>
                </a:lnTo>
                <a:lnTo>
                  <a:pt x="7443256" y="1624097"/>
                </a:lnTo>
                <a:lnTo>
                  <a:pt x="7413653" y="1624097"/>
                </a:lnTo>
                <a:close/>
                <a:moveTo>
                  <a:pt x="1566808" y="1594494"/>
                </a:moveTo>
                <a:lnTo>
                  <a:pt x="1596409" y="1594494"/>
                </a:lnTo>
                <a:lnTo>
                  <a:pt x="1596409" y="1624097"/>
                </a:lnTo>
                <a:lnTo>
                  <a:pt x="1566808" y="1624097"/>
                </a:lnTo>
                <a:close/>
                <a:moveTo>
                  <a:pt x="7147456" y="1594491"/>
                </a:moveTo>
                <a:lnTo>
                  <a:pt x="7177058" y="1594491"/>
                </a:lnTo>
                <a:lnTo>
                  <a:pt x="7177058" y="1624095"/>
                </a:lnTo>
                <a:lnTo>
                  <a:pt x="7147456" y="1624095"/>
                </a:lnTo>
                <a:close/>
                <a:moveTo>
                  <a:pt x="1300611" y="1594491"/>
                </a:moveTo>
                <a:lnTo>
                  <a:pt x="1330213" y="1594491"/>
                </a:lnTo>
                <a:lnTo>
                  <a:pt x="1330213" y="1624095"/>
                </a:lnTo>
                <a:lnTo>
                  <a:pt x="1300611" y="1624095"/>
                </a:lnTo>
                <a:close/>
                <a:moveTo>
                  <a:pt x="6881367" y="1594489"/>
                </a:moveTo>
                <a:lnTo>
                  <a:pt x="6910970" y="1594489"/>
                </a:lnTo>
                <a:lnTo>
                  <a:pt x="6910970" y="1624092"/>
                </a:lnTo>
                <a:lnTo>
                  <a:pt x="6881367" y="1624092"/>
                </a:lnTo>
                <a:close/>
                <a:moveTo>
                  <a:pt x="1034520" y="1594489"/>
                </a:moveTo>
                <a:lnTo>
                  <a:pt x="1064123" y="1594489"/>
                </a:lnTo>
                <a:lnTo>
                  <a:pt x="1064123" y="1624092"/>
                </a:lnTo>
                <a:lnTo>
                  <a:pt x="1034520" y="1624092"/>
                </a:lnTo>
                <a:close/>
                <a:moveTo>
                  <a:pt x="6615170" y="1594486"/>
                </a:moveTo>
                <a:lnTo>
                  <a:pt x="6644773" y="1594486"/>
                </a:lnTo>
                <a:lnTo>
                  <a:pt x="6644773" y="1624090"/>
                </a:lnTo>
                <a:lnTo>
                  <a:pt x="6615170" y="1624090"/>
                </a:lnTo>
                <a:close/>
                <a:moveTo>
                  <a:pt x="768327" y="1594486"/>
                </a:moveTo>
                <a:lnTo>
                  <a:pt x="797926" y="1594486"/>
                </a:lnTo>
                <a:lnTo>
                  <a:pt x="797926" y="1624090"/>
                </a:lnTo>
                <a:lnTo>
                  <a:pt x="768327" y="1624090"/>
                </a:lnTo>
                <a:close/>
                <a:moveTo>
                  <a:pt x="6349081" y="1594484"/>
                </a:moveTo>
                <a:lnTo>
                  <a:pt x="6378683" y="1594484"/>
                </a:lnTo>
                <a:lnTo>
                  <a:pt x="6378683" y="1624087"/>
                </a:lnTo>
                <a:lnTo>
                  <a:pt x="6349081" y="1624087"/>
                </a:lnTo>
                <a:close/>
                <a:moveTo>
                  <a:pt x="502236" y="1594484"/>
                </a:moveTo>
                <a:lnTo>
                  <a:pt x="531838" y="1594484"/>
                </a:lnTo>
                <a:lnTo>
                  <a:pt x="531838" y="1624087"/>
                </a:lnTo>
                <a:lnTo>
                  <a:pt x="502236" y="1624087"/>
                </a:lnTo>
                <a:close/>
                <a:moveTo>
                  <a:pt x="6082884" y="1594482"/>
                </a:moveTo>
                <a:lnTo>
                  <a:pt x="6112486" y="1594482"/>
                </a:lnTo>
                <a:lnTo>
                  <a:pt x="6112486" y="1624085"/>
                </a:lnTo>
                <a:lnTo>
                  <a:pt x="6082884" y="1624085"/>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1672158" y="1328772"/>
                </a:moveTo>
                <a:lnTo>
                  <a:pt x="11701760" y="1328772"/>
                </a:lnTo>
                <a:lnTo>
                  <a:pt x="11701760" y="1358375"/>
                </a:lnTo>
                <a:lnTo>
                  <a:pt x="11672158" y="1358375"/>
                </a:lnTo>
                <a:close/>
                <a:moveTo>
                  <a:pt x="5825310" y="1328772"/>
                </a:moveTo>
                <a:lnTo>
                  <a:pt x="5854913" y="1328772"/>
                </a:lnTo>
                <a:lnTo>
                  <a:pt x="5854913" y="1358375"/>
                </a:lnTo>
                <a:lnTo>
                  <a:pt x="5825310" y="1358375"/>
                </a:lnTo>
                <a:close/>
                <a:moveTo>
                  <a:pt x="11405961" y="1328769"/>
                </a:moveTo>
                <a:lnTo>
                  <a:pt x="11435563" y="1328769"/>
                </a:lnTo>
                <a:lnTo>
                  <a:pt x="11435563" y="1358372"/>
                </a:lnTo>
                <a:lnTo>
                  <a:pt x="11405961" y="1358372"/>
                </a:lnTo>
                <a:close/>
                <a:moveTo>
                  <a:pt x="5559113" y="1328769"/>
                </a:moveTo>
                <a:lnTo>
                  <a:pt x="5588715" y="1328769"/>
                </a:lnTo>
                <a:lnTo>
                  <a:pt x="5588715" y="1358372"/>
                </a:lnTo>
                <a:lnTo>
                  <a:pt x="5559113" y="1358372"/>
                </a:lnTo>
                <a:close/>
                <a:moveTo>
                  <a:pt x="11139872" y="1328766"/>
                </a:moveTo>
                <a:lnTo>
                  <a:pt x="11169474" y="1328766"/>
                </a:lnTo>
                <a:lnTo>
                  <a:pt x="11169474" y="1358370"/>
                </a:lnTo>
                <a:lnTo>
                  <a:pt x="11139872" y="1358370"/>
                </a:lnTo>
                <a:close/>
                <a:moveTo>
                  <a:pt x="5293024" y="1328766"/>
                </a:moveTo>
                <a:lnTo>
                  <a:pt x="5322626" y="1328766"/>
                </a:lnTo>
                <a:lnTo>
                  <a:pt x="5322626" y="1358370"/>
                </a:lnTo>
                <a:lnTo>
                  <a:pt x="5293024" y="1358370"/>
                </a:lnTo>
                <a:close/>
                <a:moveTo>
                  <a:pt x="10873675" y="1328764"/>
                </a:moveTo>
                <a:lnTo>
                  <a:pt x="10903277" y="1328764"/>
                </a:lnTo>
                <a:lnTo>
                  <a:pt x="10903277" y="1358367"/>
                </a:lnTo>
                <a:lnTo>
                  <a:pt x="10873675" y="1358367"/>
                </a:lnTo>
                <a:close/>
                <a:moveTo>
                  <a:pt x="5026827" y="1328764"/>
                </a:moveTo>
                <a:lnTo>
                  <a:pt x="5056429" y="1328764"/>
                </a:lnTo>
                <a:lnTo>
                  <a:pt x="5056429" y="1358367"/>
                </a:lnTo>
                <a:lnTo>
                  <a:pt x="5026827" y="1358367"/>
                </a:lnTo>
                <a:close/>
                <a:moveTo>
                  <a:pt x="10607478" y="1328761"/>
                </a:moveTo>
                <a:lnTo>
                  <a:pt x="10637188" y="1328761"/>
                </a:lnTo>
                <a:lnTo>
                  <a:pt x="10637188" y="1358365"/>
                </a:lnTo>
                <a:lnTo>
                  <a:pt x="10607478" y="1358365"/>
                </a:lnTo>
                <a:close/>
                <a:moveTo>
                  <a:pt x="4760630" y="1328761"/>
                </a:moveTo>
                <a:lnTo>
                  <a:pt x="4790340" y="1328761"/>
                </a:lnTo>
                <a:lnTo>
                  <a:pt x="4790340" y="1358365"/>
                </a:lnTo>
                <a:lnTo>
                  <a:pt x="4760630" y="1358365"/>
                </a:lnTo>
                <a:close/>
                <a:moveTo>
                  <a:pt x="10341389" y="1328759"/>
                </a:moveTo>
                <a:lnTo>
                  <a:pt x="10370992" y="1328759"/>
                </a:lnTo>
                <a:lnTo>
                  <a:pt x="10370992" y="1358362"/>
                </a:lnTo>
                <a:lnTo>
                  <a:pt x="10341389" y="1358362"/>
                </a:lnTo>
                <a:close/>
                <a:moveTo>
                  <a:pt x="4494541" y="1328759"/>
                </a:moveTo>
                <a:lnTo>
                  <a:pt x="4524144" y="1328759"/>
                </a:lnTo>
                <a:lnTo>
                  <a:pt x="4524144" y="1358362"/>
                </a:lnTo>
                <a:lnTo>
                  <a:pt x="4494541" y="1358362"/>
                </a:lnTo>
                <a:close/>
                <a:moveTo>
                  <a:pt x="10075192" y="1328756"/>
                </a:moveTo>
                <a:lnTo>
                  <a:pt x="10104794" y="1328756"/>
                </a:lnTo>
                <a:lnTo>
                  <a:pt x="10104794" y="1358359"/>
                </a:lnTo>
                <a:lnTo>
                  <a:pt x="10075192" y="1358359"/>
                </a:lnTo>
                <a:close/>
                <a:moveTo>
                  <a:pt x="4228344" y="1328756"/>
                </a:moveTo>
                <a:lnTo>
                  <a:pt x="4257946" y="1328756"/>
                </a:lnTo>
                <a:lnTo>
                  <a:pt x="4257946" y="1358359"/>
                </a:lnTo>
                <a:lnTo>
                  <a:pt x="4228344" y="1358359"/>
                </a:lnTo>
                <a:close/>
                <a:moveTo>
                  <a:pt x="9809103" y="1328753"/>
                </a:moveTo>
                <a:lnTo>
                  <a:pt x="9838705" y="1328753"/>
                </a:lnTo>
                <a:lnTo>
                  <a:pt x="9838705" y="1358357"/>
                </a:lnTo>
                <a:lnTo>
                  <a:pt x="9809103" y="1358357"/>
                </a:lnTo>
                <a:close/>
                <a:moveTo>
                  <a:pt x="3962255" y="1328753"/>
                </a:moveTo>
                <a:lnTo>
                  <a:pt x="3991857" y="1328753"/>
                </a:lnTo>
                <a:lnTo>
                  <a:pt x="3991857" y="1358357"/>
                </a:lnTo>
                <a:lnTo>
                  <a:pt x="3962255" y="1358357"/>
                </a:lnTo>
                <a:close/>
                <a:moveTo>
                  <a:pt x="9542906" y="1328751"/>
                </a:moveTo>
                <a:lnTo>
                  <a:pt x="9572509" y="1328751"/>
                </a:lnTo>
                <a:lnTo>
                  <a:pt x="9572509" y="1358354"/>
                </a:lnTo>
                <a:lnTo>
                  <a:pt x="9542906" y="1358354"/>
                </a:lnTo>
                <a:close/>
                <a:moveTo>
                  <a:pt x="3696058" y="1328751"/>
                </a:moveTo>
                <a:lnTo>
                  <a:pt x="3725661" y="1328751"/>
                </a:lnTo>
                <a:lnTo>
                  <a:pt x="3725661" y="1358354"/>
                </a:lnTo>
                <a:lnTo>
                  <a:pt x="3696058" y="1358354"/>
                </a:lnTo>
                <a:close/>
                <a:moveTo>
                  <a:pt x="9276817" y="1328748"/>
                </a:moveTo>
                <a:lnTo>
                  <a:pt x="9306420" y="1328748"/>
                </a:lnTo>
                <a:lnTo>
                  <a:pt x="9306420" y="1358351"/>
                </a:lnTo>
                <a:lnTo>
                  <a:pt x="9276817" y="1358351"/>
                </a:lnTo>
                <a:close/>
                <a:moveTo>
                  <a:pt x="3429969" y="1328748"/>
                </a:moveTo>
                <a:lnTo>
                  <a:pt x="3459572" y="1328748"/>
                </a:lnTo>
                <a:lnTo>
                  <a:pt x="3459572" y="1358351"/>
                </a:lnTo>
                <a:lnTo>
                  <a:pt x="3429969" y="1358351"/>
                </a:lnTo>
                <a:close/>
                <a:moveTo>
                  <a:pt x="9010620" y="1328745"/>
                </a:moveTo>
                <a:lnTo>
                  <a:pt x="9040222" y="1328745"/>
                </a:lnTo>
                <a:lnTo>
                  <a:pt x="9040222" y="1358349"/>
                </a:lnTo>
                <a:lnTo>
                  <a:pt x="9010620" y="1358349"/>
                </a:lnTo>
                <a:close/>
                <a:moveTo>
                  <a:pt x="3163772" y="1328745"/>
                </a:moveTo>
                <a:lnTo>
                  <a:pt x="3193374" y="1328745"/>
                </a:lnTo>
                <a:lnTo>
                  <a:pt x="3193374" y="1358349"/>
                </a:lnTo>
                <a:lnTo>
                  <a:pt x="3163772" y="1358349"/>
                </a:lnTo>
                <a:close/>
                <a:moveTo>
                  <a:pt x="8744423" y="1328743"/>
                </a:moveTo>
                <a:lnTo>
                  <a:pt x="8774026" y="1328743"/>
                </a:lnTo>
                <a:lnTo>
                  <a:pt x="8774026" y="1358346"/>
                </a:lnTo>
                <a:lnTo>
                  <a:pt x="8744423" y="1358346"/>
                </a:lnTo>
                <a:close/>
                <a:moveTo>
                  <a:pt x="2897575" y="1328743"/>
                </a:moveTo>
                <a:lnTo>
                  <a:pt x="2927178" y="1328743"/>
                </a:lnTo>
                <a:lnTo>
                  <a:pt x="2927178" y="1358346"/>
                </a:lnTo>
                <a:lnTo>
                  <a:pt x="2897575" y="1358346"/>
                </a:lnTo>
                <a:close/>
                <a:moveTo>
                  <a:pt x="8478226" y="1328740"/>
                </a:moveTo>
                <a:lnTo>
                  <a:pt x="8507828" y="1328740"/>
                </a:lnTo>
                <a:lnTo>
                  <a:pt x="8507828" y="1358344"/>
                </a:lnTo>
                <a:lnTo>
                  <a:pt x="8478226" y="1358344"/>
                </a:lnTo>
                <a:close/>
                <a:moveTo>
                  <a:pt x="2631378" y="1328740"/>
                </a:moveTo>
                <a:lnTo>
                  <a:pt x="2660980" y="1328740"/>
                </a:lnTo>
                <a:lnTo>
                  <a:pt x="2660980" y="1358344"/>
                </a:lnTo>
                <a:lnTo>
                  <a:pt x="2631378" y="1358344"/>
                </a:lnTo>
                <a:close/>
                <a:moveTo>
                  <a:pt x="8212137" y="1328738"/>
                </a:moveTo>
                <a:lnTo>
                  <a:pt x="8241740" y="1328738"/>
                </a:lnTo>
                <a:lnTo>
                  <a:pt x="8241740" y="1358341"/>
                </a:lnTo>
                <a:lnTo>
                  <a:pt x="8212137" y="1358341"/>
                </a:lnTo>
                <a:close/>
                <a:moveTo>
                  <a:pt x="2365289" y="1328738"/>
                </a:moveTo>
                <a:lnTo>
                  <a:pt x="2394892" y="1328738"/>
                </a:lnTo>
                <a:lnTo>
                  <a:pt x="2394892" y="1358341"/>
                </a:lnTo>
                <a:lnTo>
                  <a:pt x="2365289" y="1358341"/>
                </a:lnTo>
                <a:close/>
                <a:moveTo>
                  <a:pt x="7945940" y="1328735"/>
                </a:moveTo>
                <a:lnTo>
                  <a:pt x="7975543" y="1328735"/>
                </a:lnTo>
                <a:lnTo>
                  <a:pt x="7975543" y="1358338"/>
                </a:lnTo>
                <a:lnTo>
                  <a:pt x="7945940" y="1358338"/>
                </a:lnTo>
                <a:close/>
                <a:moveTo>
                  <a:pt x="2099092" y="1328735"/>
                </a:moveTo>
                <a:lnTo>
                  <a:pt x="2128695" y="1328735"/>
                </a:lnTo>
                <a:lnTo>
                  <a:pt x="2128695" y="1358338"/>
                </a:lnTo>
                <a:lnTo>
                  <a:pt x="2099092" y="1358338"/>
                </a:lnTo>
                <a:close/>
                <a:moveTo>
                  <a:pt x="7679743" y="1328732"/>
                </a:moveTo>
                <a:lnTo>
                  <a:pt x="7709346" y="1328732"/>
                </a:lnTo>
                <a:lnTo>
                  <a:pt x="7709346" y="1358336"/>
                </a:lnTo>
                <a:lnTo>
                  <a:pt x="7679743" y="1358336"/>
                </a:lnTo>
                <a:close/>
                <a:moveTo>
                  <a:pt x="1832898" y="1328732"/>
                </a:moveTo>
                <a:lnTo>
                  <a:pt x="1862498" y="1328732"/>
                </a:lnTo>
                <a:lnTo>
                  <a:pt x="1862498" y="1358336"/>
                </a:lnTo>
                <a:lnTo>
                  <a:pt x="1832898" y="1358336"/>
                </a:lnTo>
                <a:close/>
                <a:moveTo>
                  <a:pt x="7413653" y="1328730"/>
                </a:moveTo>
                <a:lnTo>
                  <a:pt x="7443256" y="1328730"/>
                </a:lnTo>
                <a:lnTo>
                  <a:pt x="7443256" y="1358333"/>
                </a:lnTo>
                <a:lnTo>
                  <a:pt x="7413653" y="1358333"/>
                </a:lnTo>
                <a:close/>
                <a:moveTo>
                  <a:pt x="1566808" y="1328730"/>
                </a:moveTo>
                <a:lnTo>
                  <a:pt x="1596409" y="1328730"/>
                </a:lnTo>
                <a:lnTo>
                  <a:pt x="1596409" y="1358333"/>
                </a:lnTo>
                <a:lnTo>
                  <a:pt x="1566808" y="1358333"/>
                </a:lnTo>
                <a:close/>
                <a:moveTo>
                  <a:pt x="7147456" y="1328727"/>
                </a:moveTo>
                <a:lnTo>
                  <a:pt x="7177058" y="1328727"/>
                </a:lnTo>
                <a:lnTo>
                  <a:pt x="7177058" y="1358330"/>
                </a:lnTo>
                <a:lnTo>
                  <a:pt x="7147456" y="1358330"/>
                </a:lnTo>
                <a:close/>
                <a:moveTo>
                  <a:pt x="1300611" y="1328727"/>
                </a:moveTo>
                <a:lnTo>
                  <a:pt x="1330213" y="1328727"/>
                </a:lnTo>
                <a:lnTo>
                  <a:pt x="1330213" y="1358330"/>
                </a:lnTo>
                <a:lnTo>
                  <a:pt x="1300611" y="1358330"/>
                </a:lnTo>
                <a:close/>
                <a:moveTo>
                  <a:pt x="6881367" y="1328724"/>
                </a:moveTo>
                <a:lnTo>
                  <a:pt x="6910970" y="1328724"/>
                </a:lnTo>
                <a:lnTo>
                  <a:pt x="6910970" y="1358328"/>
                </a:lnTo>
                <a:lnTo>
                  <a:pt x="6881367" y="1358328"/>
                </a:lnTo>
                <a:close/>
                <a:moveTo>
                  <a:pt x="1034520" y="1328724"/>
                </a:moveTo>
                <a:lnTo>
                  <a:pt x="1064123" y="1328724"/>
                </a:lnTo>
                <a:lnTo>
                  <a:pt x="1064123" y="1358328"/>
                </a:lnTo>
                <a:lnTo>
                  <a:pt x="1034520" y="1358328"/>
                </a:lnTo>
                <a:close/>
                <a:moveTo>
                  <a:pt x="6615170" y="1328722"/>
                </a:moveTo>
                <a:lnTo>
                  <a:pt x="6644773" y="1328722"/>
                </a:lnTo>
                <a:lnTo>
                  <a:pt x="6644773" y="1358325"/>
                </a:lnTo>
                <a:lnTo>
                  <a:pt x="6615170" y="1358325"/>
                </a:lnTo>
                <a:close/>
                <a:moveTo>
                  <a:pt x="768327" y="1328722"/>
                </a:moveTo>
                <a:lnTo>
                  <a:pt x="797926" y="1328722"/>
                </a:lnTo>
                <a:lnTo>
                  <a:pt x="797926" y="1358325"/>
                </a:lnTo>
                <a:lnTo>
                  <a:pt x="768327" y="1358325"/>
                </a:lnTo>
                <a:close/>
                <a:moveTo>
                  <a:pt x="6349081" y="1328719"/>
                </a:moveTo>
                <a:lnTo>
                  <a:pt x="6378683" y="1328719"/>
                </a:lnTo>
                <a:lnTo>
                  <a:pt x="6378683" y="1358323"/>
                </a:lnTo>
                <a:lnTo>
                  <a:pt x="6349081" y="1358323"/>
                </a:lnTo>
                <a:close/>
                <a:moveTo>
                  <a:pt x="502236" y="1328719"/>
                </a:moveTo>
                <a:lnTo>
                  <a:pt x="531838" y="1328719"/>
                </a:lnTo>
                <a:lnTo>
                  <a:pt x="531838" y="1358323"/>
                </a:lnTo>
                <a:lnTo>
                  <a:pt x="502236" y="1358323"/>
                </a:lnTo>
                <a:close/>
                <a:moveTo>
                  <a:pt x="6082884" y="1328717"/>
                </a:moveTo>
                <a:lnTo>
                  <a:pt x="6112486" y="1328717"/>
                </a:lnTo>
                <a:lnTo>
                  <a:pt x="6112486" y="1358320"/>
                </a:lnTo>
                <a:lnTo>
                  <a:pt x="6082884" y="1358320"/>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1672158" y="1063123"/>
                </a:moveTo>
                <a:lnTo>
                  <a:pt x="11701760" y="1063123"/>
                </a:lnTo>
                <a:lnTo>
                  <a:pt x="11701760" y="1092617"/>
                </a:lnTo>
                <a:lnTo>
                  <a:pt x="11672158" y="1092617"/>
                </a:lnTo>
                <a:close/>
                <a:moveTo>
                  <a:pt x="5825310" y="1063123"/>
                </a:moveTo>
                <a:lnTo>
                  <a:pt x="5854913" y="1063123"/>
                </a:lnTo>
                <a:lnTo>
                  <a:pt x="5854913" y="1092617"/>
                </a:lnTo>
                <a:lnTo>
                  <a:pt x="5825310" y="1092617"/>
                </a:lnTo>
                <a:close/>
                <a:moveTo>
                  <a:pt x="11405961" y="1063120"/>
                </a:moveTo>
                <a:lnTo>
                  <a:pt x="11435563" y="1063120"/>
                </a:lnTo>
                <a:lnTo>
                  <a:pt x="11435563" y="1092615"/>
                </a:lnTo>
                <a:lnTo>
                  <a:pt x="11405961" y="1092615"/>
                </a:lnTo>
                <a:close/>
                <a:moveTo>
                  <a:pt x="5559113" y="1063120"/>
                </a:moveTo>
                <a:lnTo>
                  <a:pt x="5588715" y="1063120"/>
                </a:lnTo>
                <a:lnTo>
                  <a:pt x="5588715" y="1092615"/>
                </a:lnTo>
                <a:lnTo>
                  <a:pt x="5559113" y="1092615"/>
                </a:lnTo>
                <a:close/>
                <a:moveTo>
                  <a:pt x="11139872" y="1063117"/>
                </a:moveTo>
                <a:lnTo>
                  <a:pt x="11169474" y="1063117"/>
                </a:lnTo>
                <a:lnTo>
                  <a:pt x="11169474" y="1092612"/>
                </a:lnTo>
                <a:lnTo>
                  <a:pt x="11139872" y="1092612"/>
                </a:lnTo>
                <a:close/>
                <a:moveTo>
                  <a:pt x="5293024" y="1063117"/>
                </a:moveTo>
                <a:lnTo>
                  <a:pt x="5322626" y="1063117"/>
                </a:lnTo>
                <a:lnTo>
                  <a:pt x="5322626" y="1092612"/>
                </a:lnTo>
                <a:lnTo>
                  <a:pt x="5293024" y="1092612"/>
                </a:lnTo>
                <a:close/>
                <a:moveTo>
                  <a:pt x="10873675" y="1063114"/>
                </a:moveTo>
                <a:lnTo>
                  <a:pt x="10903277" y="1063114"/>
                </a:lnTo>
                <a:lnTo>
                  <a:pt x="10903277" y="1092608"/>
                </a:lnTo>
                <a:lnTo>
                  <a:pt x="10873675" y="1092608"/>
                </a:lnTo>
                <a:close/>
                <a:moveTo>
                  <a:pt x="5026827" y="1063114"/>
                </a:moveTo>
                <a:lnTo>
                  <a:pt x="5056429" y="1063114"/>
                </a:lnTo>
                <a:lnTo>
                  <a:pt x="5056429" y="1092608"/>
                </a:lnTo>
                <a:lnTo>
                  <a:pt x="5026827" y="1092608"/>
                </a:lnTo>
                <a:close/>
                <a:moveTo>
                  <a:pt x="10607478" y="1063111"/>
                </a:moveTo>
                <a:lnTo>
                  <a:pt x="10637188" y="1063111"/>
                </a:lnTo>
                <a:lnTo>
                  <a:pt x="10637188" y="1092605"/>
                </a:lnTo>
                <a:lnTo>
                  <a:pt x="10607478" y="1092605"/>
                </a:lnTo>
                <a:close/>
                <a:moveTo>
                  <a:pt x="4760630" y="1063111"/>
                </a:moveTo>
                <a:lnTo>
                  <a:pt x="4790340" y="1063111"/>
                </a:lnTo>
                <a:lnTo>
                  <a:pt x="4790340" y="1092605"/>
                </a:lnTo>
                <a:lnTo>
                  <a:pt x="4760630" y="1092605"/>
                </a:lnTo>
                <a:close/>
                <a:moveTo>
                  <a:pt x="10341389" y="1063108"/>
                </a:moveTo>
                <a:lnTo>
                  <a:pt x="10370992" y="1063108"/>
                </a:lnTo>
                <a:lnTo>
                  <a:pt x="10370992" y="1092602"/>
                </a:lnTo>
                <a:lnTo>
                  <a:pt x="10341389" y="1092602"/>
                </a:lnTo>
                <a:close/>
                <a:moveTo>
                  <a:pt x="4494541" y="1063108"/>
                </a:moveTo>
                <a:lnTo>
                  <a:pt x="4524144" y="1063108"/>
                </a:lnTo>
                <a:lnTo>
                  <a:pt x="4524144" y="1092602"/>
                </a:lnTo>
                <a:lnTo>
                  <a:pt x="4494541" y="1092602"/>
                </a:lnTo>
                <a:close/>
                <a:moveTo>
                  <a:pt x="10075192" y="1063105"/>
                </a:moveTo>
                <a:lnTo>
                  <a:pt x="10104794" y="1063105"/>
                </a:lnTo>
                <a:lnTo>
                  <a:pt x="10104794" y="1092599"/>
                </a:lnTo>
                <a:lnTo>
                  <a:pt x="10075192" y="1092599"/>
                </a:lnTo>
                <a:close/>
                <a:moveTo>
                  <a:pt x="4228344" y="1063105"/>
                </a:moveTo>
                <a:lnTo>
                  <a:pt x="4257946" y="1063105"/>
                </a:lnTo>
                <a:lnTo>
                  <a:pt x="4257946" y="1092599"/>
                </a:lnTo>
                <a:lnTo>
                  <a:pt x="4228344" y="1092599"/>
                </a:lnTo>
                <a:close/>
                <a:moveTo>
                  <a:pt x="9809103" y="1063102"/>
                </a:moveTo>
                <a:lnTo>
                  <a:pt x="9838705" y="1063102"/>
                </a:lnTo>
                <a:lnTo>
                  <a:pt x="9838705" y="1092596"/>
                </a:lnTo>
                <a:lnTo>
                  <a:pt x="9809103" y="1092596"/>
                </a:lnTo>
                <a:close/>
                <a:moveTo>
                  <a:pt x="3962255" y="1063102"/>
                </a:moveTo>
                <a:lnTo>
                  <a:pt x="3991857" y="1063102"/>
                </a:lnTo>
                <a:lnTo>
                  <a:pt x="3991857" y="1092596"/>
                </a:lnTo>
                <a:lnTo>
                  <a:pt x="3962255" y="1092596"/>
                </a:lnTo>
                <a:close/>
                <a:moveTo>
                  <a:pt x="9542906" y="1063099"/>
                </a:moveTo>
                <a:lnTo>
                  <a:pt x="9572509" y="1063099"/>
                </a:lnTo>
                <a:lnTo>
                  <a:pt x="9572509" y="1092593"/>
                </a:lnTo>
                <a:lnTo>
                  <a:pt x="9542906" y="1092593"/>
                </a:lnTo>
                <a:close/>
                <a:moveTo>
                  <a:pt x="3696058" y="1063099"/>
                </a:moveTo>
                <a:lnTo>
                  <a:pt x="3725661" y="1063099"/>
                </a:lnTo>
                <a:lnTo>
                  <a:pt x="3725661" y="1092593"/>
                </a:lnTo>
                <a:lnTo>
                  <a:pt x="3696058" y="1092593"/>
                </a:lnTo>
                <a:close/>
                <a:moveTo>
                  <a:pt x="9276817" y="1063096"/>
                </a:moveTo>
                <a:lnTo>
                  <a:pt x="9306420" y="1063096"/>
                </a:lnTo>
                <a:lnTo>
                  <a:pt x="9306420" y="1092590"/>
                </a:lnTo>
                <a:lnTo>
                  <a:pt x="9276817" y="1092590"/>
                </a:lnTo>
                <a:close/>
                <a:moveTo>
                  <a:pt x="3429969" y="1063096"/>
                </a:moveTo>
                <a:lnTo>
                  <a:pt x="3459572" y="1063096"/>
                </a:lnTo>
                <a:lnTo>
                  <a:pt x="3459572" y="1092590"/>
                </a:lnTo>
                <a:lnTo>
                  <a:pt x="3429969" y="1092590"/>
                </a:lnTo>
                <a:close/>
                <a:moveTo>
                  <a:pt x="9010620" y="1063093"/>
                </a:moveTo>
                <a:lnTo>
                  <a:pt x="9040222" y="1063093"/>
                </a:lnTo>
                <a:lnTo>
                  <a:pt x="9040222" y="1092587"/>
                </a:lnTo>
                <a:lnTo>
                  <a:pt x="9010620" y="1092587"/>
                </a:lnTo>
                <a:close/>
                <a:moveTo>
                  <a:pt x="3163772" y="1063093"/>
                </a:moveTo>
                <a:lnTo>
                  <a:pt x="3193374" y="1063093"/>
                </a:lnTo>
                <a:lnTo>
                  <a:pt x="3193374" y="1092587"/>
                </a:lnTo>
                <a:lnTo>
                  <a:pt x="3163772" y="1092587"/>
                </a:lnTo>
                <a:close/>
                <a:moveTo>
                  <a:pt x="8744423" y="1063090"/>
                </a:moveTo>
                <a:lnTo>
                  <a:pt x="8774026" y="1063090"/>
                </a:lnTo>
                <a:lnTo>
                  <a:pt x="8774026" y="1092584"/>
                </a:lnTo>
                <a:lnTo>
                  <a:pt x="8744423" y="1092584"/>
                </a:lnTo>
                <a:close/>
                <a:moveTo>
                  <a:pt x="2897575" y="1063090"/>
                </a:moveTo>
                <a:lnTo>
                  <a:pt x="2927178" y="1063090"/>
                </a:lnTo>
                <a:lnTo>
                  <a:pt x="2927178" y="1092584"/>
                </a:lnTo>
                <a:lnTo>
                  <a:pt x="2897575" y="1092584"/>
                </a:lnTo>
                <a:close/>
                <a:moveTo>
                  <a:pt x="8478226" y="1063087"/>
                </a:moveTo>
                <a:lnTo>
                  <a:pt x="8507828" y="1063087"/>
                </a:lnTo>
                <a:lnTo>
                  <a:pt x="8507828" y="1092581"/>
                </a:lnTo>
                <a:lnTo>
                  <a:pt x="8478226" y="1092581"/>
                </a:lnTo>
                <a:close/>
                <a:moveTo>
                  <a:pt x="2631378" y="1063087"/>
                </a:moveTo>
                <a:lnTo>
                  <a:pt x="2660980" y="1063087"/>
                </a:lnTo>
                <a:lnTo>
                  <a:pt x="2660980" y="1092581"/>
                </a:lnTo>
                <a:lnTo>
                  <a:pt x="2631378" y="1092581"/>
                </a:lnTo>
                <a:close/>
                <a:moveTo>
                  <a:pt x="8212137" y="1063084"/>
                </a:moveTo>
                <a:lnTo>
                  <a:pt x="8241740" y="1063084"/>
                </a:lnTo>
                <a:lnTo>
                  <a:pt x="8241740" y="1092578"/>
                </a:lnTo>
                <a:lnTo>
                  <a:pt x="8212137" y="1092578"/>
                </a:lnTo>
                <a:close/>
                <a:moveTo>
                  <a:pt x="2365289" y="1063084"/>
                </a:moveTo>
                <a:lnTo>
                  <a:pt x="2394892" y="1063084"/>
                </a:lnTo>
                <a:lnTo>
                  <a:pt x="2394892" y="1092578"/>
                </a:lnTo>
                <a:lnTo>
                  <a:pt x="2365289" y="1092578"/>
                </a:lnTo>
                <a:close/>
                <a:moveTo>
                  <a:pt x="7945940" y="1063081"/>
                </a:moveTo>
                <a:lnTo>
                  <a:pt x="7975543" y="1063081"/>
                </a:lnTo>
                <a:lnTo>
                  <a:pt x="7975543" y="1092575"/>
                </a:lnTo>
                <a:lnTo>
                  <a:pt x="7945940" y="1092575"/>
                </a:lnTo>
                <a:close/>
                <a:moveTo>
                  <a:pt x="2099092" y="1063081"/>
                </a:moveTo>
                <a:lnTo>
                  <a:pt x="2128695" y="1063081"/>
                </a:lnTo>
                <a:lnTo>
                  <a:pt x="2128695" y="1092575"/>
                </a:lnTo>
                <a:lnTo>
                  <a:pt x="2099092" y="1092575"/>
                </a:lnTo>
                <a:close/>
                <a:moveTo>
                  <a:pt x="7679743" y="1063078"/>
                </a:moveTo>
                <a:lnTo>
                  <a:pt x="7709346" y="1063078"/>
                </a:lnTo>
                <a:lnTo>
                  <a:pt x="7709346" y="1092572"/>
                </a:lnTo>
                <a:lnTo>
                  <a:pt x="7679743" y="1092572"/>
                </a:lnTo>
                <a:close/>
                <a:moveTo>
                  <a:pt x="1832898" y="1063078"/>
                </a:moveTo>
                <a:lnTo>
                  <a:pt x="1862498" y="1063078"/>
                </a:lnTo>
                <a:lnTo>
                  <a:pt x="1862498" y="1092572"/>
                </a:lnTo>
                <a:lnTo>
                  <a:pt x="1832898" y="1092572"/>
                </a:lnTo>
                <a:close/>
                <a:moveTo>
                  <a:pt x="7413653" y="1063075"/>
                </a:moveTo>
                <a:lnTo>
                  <a:pt x="7443256" y="1063075"/>
                </a:lnTo>
                <a:lnTo>
                  <a:pt x="7443256" y="1092569"/>
                </a:lnTo>
                <a:lnTo>
                  <a:pt x="7413653" y="1092569"/>
                </a:lnTo>
                <a:close/>
                <a:moveTo>
                  <a:pt x="1566808" y="1063075"/>
                </a:moveTo>
                <a:lnTo>
                  <a:pt x="1596409" y="1063075"/>
                </a:lnTo>
                <a:lnTo>
                  <a:pt x="1596409" y="1092569"/>
                </a:lnTo>
                <a:lnTo>
                  <a:pt x="1566808" y="1092569"/>
                </a:lnTo>
                <a:close/>
                <a:moveTo>
                  <a:pt x="7147456" y="1063072"/>
                </a:moveTo>
                <a:lnTo>
                  <a:pt x="7177058" y="1063072"/>
                </a:lnTo>
                <a:lnTo>
                  <a:pt x="7177058" y="1092566"/>
                </a:lnTo>
                <a:lnTo>
                  <a:pt x="7147456" y="1092566"/>
                </a:lnTo>
                <a:close/>
                <a:moveTo>
                  <a:pt x="1300611" y="1063072"/>
                </a:moveTo>
                <a:lnTo>
                  <a:pt x="1330213" y="1063072"/>
                </a:lnTo>
                <a:lnTo>
                  <a:pt x="1330213" y="1092566"/>
                </a:lnTo>
                <a:lnTo>
                  <a:pt x="1300611" y="1092566"/>
                </a:lnTo>
                <a:close/>
                <a:moveTo>
                  <a:pt x="6881367" y="1063069"/>
                </a:moveTo>
                <a:lnTo>
                  <a:pt x="6910970" y="1063069"/>
                </a:lnTo>
                <a:lnTo>
                  <a:pt x="6910970" y="1092563"/>
                </a:lnTo>
                <a:lnTo>
                  <a:pt x="6881367" y="1092563"/>
                </a:lnTo>
                <a:close/>
                <a:moveTo>
                  <a:pt x="1034520" y="1063069"/>
                </a:moveTo>
                <a:lnTo>
                  <a:pt x="1064123" y="1063069"/>
                </a:lnTo>
                <a:lnTo>
                  <a:pt x="1064123" y="1092563"/>
                </a:lnTo>
                <a:lnTo>
                  <a:pt x="1034520" y="1092563"/>
                </a:lnTo>
                <a:close/>
                <a:moveTo>
                  <a:pt x="6615170" y="1063066"/>
                </a:moveTo>
                <a:lnTo>
                  <a:pt x="6644773" y="1063066"/>
                </a:lnTo>
                <a:lnTo>
                  <a:pt x="6644773" y="1092560"/>
                </a:lnTo>
                <a:lnTo>
                  <a:pt x="6615170" y="1092560"/>
                </a:lnTo>
                <a:close/>
                <a:moveTo>
                  <a:pt x="768326" y="1063066"/>
                </a:moveTo>
                <a:lnTo>
                  <a:pt x="797926" y="1063066"/>
                </a:lnTo>
                <a:lnTo>
                  <a:pt x="797926" y="1092560"/>
                </a:lnTo>
                <a:lnTo>
                  <a:pt x="768326" y="1092560"/>
                </a:lnTo>
                <a:close/>
                <a:moveTo>
                  <a:pt x="6349081" y="1063063"/>
                </a:moveTo>
                <a:lnTo>
                  <a:pt x="6378683" y="1063063"/>
                </a:lnTo>
                <a:lnTo>
                  <a:pt x="6378683" y="1092557"/>
                </a:lnTo>
                <a:lnTo>
                  <a:pt x="6349081" y="1092557"/>
                </a:lnTo>
                <a:close/>
                <a:moveTo>
                  <a:pt x="502235" y="1063063"/>
                </a:moveTo>
                <a:lnTo>
                  <a:pt x="531838" y="1063063"/>
                </a:lnTo>
                <a:lnTo>
                  <a:pt x="531838" y="1092557"/>
                </a:lnTo>
                <a:lnTo>
                  <a:pt x="502235" y="1092557"/>
                </a:lnTo>
                <a:close/>
                <a:moveTo>
                  <a:pt x="6082884" y="1063059"/>
                </a:moveTo>
                <a:lnTo>
                  <a:pt x="6112486" y="1063059"/>
                </a:lnTo>
                <a:lnTo>
                  <a:pt x="6112486" y="1092554"/>
                </a:lnTo>
                <a:lnTo>
                  <a:pt x="6082884" y="1092554"/>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1672158" y="797337"/>
                </a:moveTo>
                <a:lnTo>
                  <a:pt x="11701760" y="797337"/>
                </a:lnTo>
                <a:lnTo>
                  <a:pt x="11701760" y="826844"/>
                </a:lnTo>
                <a:lnTo>
                  <a:pt x="11672158" y="826844"/>
                </a:lnTo>
                <a:close/>
                <a:moveTo>
                  <a:pt x="5825310" y="797337"/>
                </a:moveTo>
                <a:lnTo>
                  <a:pt x="5854913" y="797337"/>
                </a:lnTo>
                <a:lnTo>
                  <a:pt x="5854913" y="826844"/>
                </a:lnTo>
                <a:lnTo>
                  <a:pt x="5825310" y="826844"/>
                </a:lnTo>
                <a:close/>
                <a:moveTo>
                  <a:pt x="11405961" y="797335"/>
                </a:moveTo>
                <a:lnTo>
                  <a:pt x="11435563" y="797335"/>
                </a:lnTo>
                <a:lnTo>
                  <a:pt x="11435563" y="826841"/>
                </a:lnTo>
                <a:lnTo>
                  <a:pt x="11405961" y="826841"/>
                </a:lnTo>
                <a:close/>
                <a:moveTo>
                  <a:pt x="5559113" y="797335"/>
                </a:moveTo>
                <a:lnTo>
                  <a:pt x="5588715" y="797335"/>
                </a:lnTo>
                <a:lnTo>
                  <a:pt x="5588715" y="826841"/>
                </a:lnTo>
                <a:lnTo>
                  <a:pt x="5559113" y="826841"/>
                </a:lnTo>
                <a:close/>
                <a:moveTo>
                  <a:pt x="11139872" y="797333"/>
                </a:moveTo>
                <a:lnTo>
                  <a:pt x="11169474" y="797333"/>
                </a:lnTo>
                <a:lnTo>
                  <a:pt x="11169474" y="826839"/>
                </a:lnTo>
                <a:lnTo>
                  <a:pt x="11139872" y="826839"/>
                </a:lnTo>
                <a:close/>
                <a:moveTo>
                  <a:pt x="5293024" y="797333"/>
                </a:moveTo>
                <a:lnTo>
                  <a:pt x="5322626" y="797333"/>
                </a:lnTo>
                <a:lnTo>
                  <a:pt x="5322626" y="826839"/>
                </a:lnTo>
                <a:lnTo>
                  <a:pt x="5293024" y="826839"/>
                </a:lnTo>
                <a:close/>
                <a:moveTo>
                  <a:pt x="10873675" y="797331"/>
                </a:moveTo>
                <a:lnTo>
                  <a:pt x="10903277" y="797331"/>
                </a:lnTo>
                <a:lnTo>
                  <a:pt x="10903277" y="826836"/>
                </a:lnTo>
                <a:lnTo>
                  <a:pt x="10873675" y="826836"/>
                </a:lnTo>
                <a:close/>
                <a:moveTo>
                  <a:pt x="5026827" y="797331"/>
                </a:moveTo>
                <a:lnTo>
                  <a:pt x="5056429" y="797331"/>
                </a:lnTo>
                <a:lnTo>
                  <a:pt x="5056429" y="826836"/>
                </a:lnTo>
                <a:lnTo>
                  <a:pt x="5026827" y="826836"/>
                </a:lnTo>
                <a:close/>
                <a:moveTo>
                  <a:pt x="10607478" y="797329"/>
                </a:moveTo>
                <a:lnTo>
                  <a:pt x="10637188" y="797329"/>
                </a:lnTo>
                <a:lnTo>
                  <a:pt x="10637188" y="826833"/>
                </a:lnTo>
                <a:lnTo>
                  <a:pt x="10607478" y="826833"/>
                </a:lnTo>
                <a:close/>
                <a:moveTo>
                  <a:pt x="4760630" y="797329"/>
                </a:moveTo>
                <a:lnTo>
                  <a:pt x="4790340" y="797329"/>
                </a:lnTo>
                <a:lnTo>
                  <a:pt x="4790340" y="826833"/>
                </a:lnTo>
                <a:lnTo>
                  <a:pt x="4760630" y="826833"/>
                </a:lnTo>
                <a:close/>
                <a:moveTo>
                  <a:pt x="10341389" y="797327"/>
                </a:moveTo>
                <a:lnTo>
                  <a:pt x="10370992" y="797327"/>
                </a:lnTo>
                <a:lnTo>
                  <a:pt x="10370992" y="826831"/>
                </a:lnTo>
                <a:lnTo>
                  <a:pt x="10341389" y="826831"/>
                </a:lnTo>
                <a:close/>
                <a:moveTo>
                  <a:pt x="4494541" y="797327"/>
                </a:moveTo>
                <a:lnTo>
                  <a:pt x="4524144" y="797327"/>
                </a:lnTo>
                <a:lnTo>
                  <a:pt x="4524144" y="826831"/>
                </a:lnTo>
                <a:lnTo>
                  <a:pt x="4494541" y="826831"/>
                </a:lnTo>
                <a:close/>
                <a:moveTo>
                  <a:pt x="10075192" y="797325"/>
                </a:moveTo>
                <a:lnTo>
                  <a:pt x="10104794" y="797325"/>
                </a:lnTo>
                <a:lnTo>
                  <a:pt x="10104794" y="826828"/>
                </a:lnTo>
                <a:lnTo>
                  <a:pt x="10075192" y="826828"/>
                </a:lnTo>
                <a:close/>
                <a:moveTo>
                  <a:pt x="4228344" y="797325"/>
                </a:moveTo>
                <a:lnTo>
                  <a:pt x="4257946" y="797325"/>
                </a:lnTo>
                <a:lnTo>
                  <a:pt x="4257946" y="826828"/>
                </a:lnTo>
                <a:lnTo>
                  <a:pt x="4228344" y="826828"/>
                </a:lnTo>
                <a:close/>
                <a:moveTo>
                  <a:pt x="9809103" y="797323"/>
                </a:moveTo>
                <a:lnTo>
                  <a:pt x="9838705" y="797323"/>
                </a:lnTo>
                <a:lnTo>
                  <a:pt x="9838705" y="826826"/>
                </a:lnTo>
                <a:lnTo>
                  <a:pt x="9809103" y="826826"/>
                </a:lnTo>
                <a:close/>
                <a:moveTo>
                  <a:pt x="3962255" y="797323"/>
                </a:moveTo>
                <a:lnTo>
                  <a:pt x="3991857" y="797323"/>
                </a:lnTo>
                <a:lnTo>
                  <a:pt x="3991857" y="826826"/>
                </a:lnTo>
                <a:lnTo>
                  <a:pt x="3962255" y="826826"/>
                </a:lnTo>
                <a:close/>
                <a:moveTo>
                  <a:pt x="9542906" y="797321"/>
                </a:moveTo>
                <a:lnTo>
                  <a:pt x="9572509" y="797321"/>
                </a:lnTo>
                <a:lnTo>
                  <a:pt x="9572509" y="826823"/>
                </a:lnTo>
                <a:lnTo>
                  <a:pt x="9542906" y="826823"/>
                </a:lnTo>
                <a:close/>
                <a:moveTo>
                  <a:pt x="3696058" y="797321"/>
                </a:moveTo>
                <a:lnTo>
                  <a:pt x="3725661" y="797321"/>
                </a:lnTo>
                <a:lnTo>
                  <a:pt x="3725661" y="826823"/>
                </a:lnTo>
                <a:lnTo>
                  <a:pt x="3696058" y="826823"/>
                </a:lnTo>
                <a:close/>
                <a:moveTo>
                  <a:pt x="9276817" y="797319"/>
                </a:moveTo>
                <a:lnTo>
                  <a:pt x="9306420" y="797319"/>
                </a:lnTo>
                <a:lnTo>
                  <a:pt x="9306420" y="826820"/>
                </a:lnTo>
                <a:lnTo>
                  <a:pt x="9276817" y="826820"/>
                </a:lnTo>
                <a:close/>
                <a:moveTo>
                  <a:pt x="3429969" y="797319"/>
                </a:moveTo>
                <a:lnTo>
                  <a:pt x="3459572" y="797319"/>
                </a:lnTo>
                <a:lnTo>
                  <a:pt x="3459572" y="826820"/>
                </a:lnTo>
                <a:lnTo>
                  <a:pt x="3429969" y="826820"/>
                </a:lnTo>
                <a:close/>
                <a:moveTo>
                  <a:pt x="9010620" y="797317"/>
                </a:moveTo>
                <a:lnTo>
                  <a:pt x="9040222" y="797317"/>
                </a:lnTo>
                <a:lnTo>
                  <a:pt x="9040222" y="826818"/>
                </a:lnTo>
                <a:lnTo>
                  <a:pt x="9010620" y="826818"/>
                </a:lnTo>
                <a:close/>
                <a:moveTo>
                  <a:pt x="3163772" y="797317"/>
                </a:moveTo>
                <a:lnTo>
                  <a:pt x="3193374" y="797317"/>
                </a:lnTo>
                <a:lnTo>
                  <a:pt x="3193374" y="826818"/>
                </a:lnTo>
                <a:lnTo>
                  <a:pt x="3163772" y="826818"/>
                </a:lnTo>
                <a:close/>
                <a:moveTo>
                  <a:pt x="8744423" y="797315"/>
                </a:moveTo>
                <a:lnTo>
                  <a:pt x="8774026" y="797315"/>
                </a:lnTo>
                <a:lnTo>
                  <a:pt x="8774026" y="826815"/>
                </a:lnTo>
                <a:lnTo>
                  <a:pt x="8744423" y="826815"/>
                </a:lnTo>
                <a:close/>
                <a:moveTo>
                  <a:pt x="2897575" y="797315"/>
                </a:moveTo>
                <a:lnTo>
                  <a:pt x="2927178" y="797315"/>
                </a:lnTo>
                <a:lnTo>
                  <a:pt x="2927178" y="826815"/>
                </a:lnTo>
                <a:lnTo>
                  <a:pt x="2897575" y="826815"/>
                </a:lnTo>
                <a:close/>
                <a:moveTo>
                  <a:pt x="8478226" y="797312"/>
                </a:moveTo>
                <a:lnTo>
                  <a:pt x="8507828" y="797312"/>
                </a:lnTo>
                <a:lnTo>
                  <a:pt x="8507828" y="826812"/>
                </a:lnTo>
                <a:lnTo>
                  <a:pt x="8478226" y="826812"/>
                </a:lnTo>
                <a:close/>
                <a:moveTo>
                  <a:pt x="2631378" y="797312"/>
                </a:moveTo>
                <a:lnTo>
                  <a:pt x="2660980" y="797312"/>
                </a:lnTo>
                <a:lnTo>
                  <a:pt x="2660980" y="826812"/>
                </a:lnTo>
                <a:lnTo>
                  <a:pt x="2631378" y="826812"/>
                </a:lnTo>
                <a:close/>
                <a:moveTo>
                  <a:pt x="8212137" y="797310"/>
                </a:moveTo>
                <a:lnTo>
                  <a:pt x="8241740" y="797310"/>
                </a:lnTo>
                <a:lnTo>
                  <a:pt x="8241740" y="826810"/>
                </a:lnTo>
                <a:lnTo>
                  <a:pt x="8212137" y="826810"/>
                </a:lnTo>
                <a:close/>
                <a:moveTo>
                  <a:pt x="2365289" y="797310"/>
                </a:moveTo>
                <a:lnTo>
                  <a:pt x="2394892" y="797310"/>
                </a:lnTo>
                <a:lnTo>
                  <a:pt x="2394892" y="826810"/>
                </a:lnTo>
                <a:lnTo>
                  <a:pt x="2365289" y="826810"/>
                </a:lnTo>
                <a:close/>
                <a:moveTo>
                  <a:pt x="7945940" y="797308"/>
                </a:moveTo>
                <a:lnTo>
                  <a:pt x="7975543" y="797308"/>
                </a:lnTo>
                <a:lnTo>
                  <a:pt x="7975543" y="826807"/>
                </a:lnTo>
                <a:lnTo>
                  <a:pt x="7945940" y="826807"/>
                </a:lnTo>
                <a:close/>
                <a:moveTo>
                  <a:pt x="2099092" y="797308"/>
                </a:moveTo>
                <a:lnTo>
                  <a:pt x="2128695" y="797308"/>
                </a:lnTo>
                <a:lnTo>
                  <a:pt x="2128695" y="826807"/>
                </a:lnTo>
                <a:lnTo>
                  <a:pt x="2099092" y="826807"/>
                </a:lnTo>
                <a:close/>
                <a:moveTo>
                  <a:pt x="7679743" y="797306"/>
                </a:moveTo>
                <a:lnTo>
                  <a:pt x="7709346" y="797306"/>
                </a:lnTo>
                <a:lnTo>
                  <a:pt x="7709346" y="826805"/>
                </a:lnTo>
                <a:lnTo>
                  <a:pt x="7679743" y="826805"/>
                </a:lnTo>
                <a:close/>
                <a:moveTo>
                  <a:pt x="1832898" y="797306"/>
                </a:moveTo>
                <a:lnTo>
                  <a:pt x="1862498" y="797306"/>
                </a:lnTo>
                <a:lnTo>
                  <a:pt x="1862498" y="826805"/>
                </a:lnTo>
                <a:lnTo>
                  <a:pt x="1832898" y="826805"/>
                </a:lnTo>
                <a:close/>
                <a:moveTo>
                  <a:pt x="7413653" y="797304"/>
                </a:moveTo>
                <a:lnTo>
                  <a:pt x="7443256" y="797304"/>
                </a:lnTo>
                <a:lnTo>
                  <a:pt x="7443256" y="826802"/>
                </a:lnTo>
                <a:lnTo>
                  <a:pt x="7413653" y="826802"/>
                </a:lnTo>
                <a:close/>
                <a:moveTo>
                  <a:pt x="1566808" y="797304"/>
                </a:moveTo>
                <a:lnTo>
                  <a:pt x="1596409" y="797304"/>
                </a:lnTo>
                <a:lnTo>
                  <a:pt x="1596409" y="826802"/>
                </a:lnTo>
                <a:lnTo>
                  <a:pt x="1566808" y="826802"/>
                </a:lnTo>
                <a:close/>
                <a:moveTo>
                  <a:pt x="7147456" y="797302"/>
                </a:moveTo>
                <a:lnTo>
                  <a:pt x="7177058" y="797302"/>
                </a:lnTo>
                <a:lnTo>
                  <a:pt x="7177058" y="826799"/>
                </a:lnTo>
                <a:lnTo>
                  <a:pt x="7147456" y="826799"/>
                </a:lnTo>
                <a:close/>
                <a:moveTo>
                  <a:pt x="1300611" y="797302"/>
                </a:moveTo>
                <a:lnTo>
                  <a:pt x="1330213" y="797302"/>
                </a:lnTo>
                <a:lnTo>
                  <a:pt x="1330213" y="826799"/>
                </a:lnTo>
                <a:lnTo>
                  <a:pt x="1300611" y="826799"/>
                </a:lnTo>
                <a:close/>
                <a:moveTo>
                  <a:pt x="6881367" y="797300"/>
                </a:moveTo>
                <a:lnTo>
                  <a:pt x="6910970" y="797300"/>
                </a:lnTo>
                <a:lnTo>
                  <a:pt x="6910970" y="826797"/>
                </a:lnTo>
                <a:lnTo>
                  <a:pt x="6881367" y="826797"/>
                </a:lnTo>
                <a:close/>
                <a:moveTo>
                  <a:pt x="1034520" y="797300"/>
                </a:moveTo>
                <a:lnTo>
                  <a:pt x="1064123" y="797300"/>
                </a:lnTo>
                <a:lnTo>
                  <a:pt x="1064123" y="826797"/>
                </a:lnTo>
                <a:lnTo>
                  <a:pt x="1034520" y="826797"/>
                </a:lnTo>
                <a:close/>
                <a:moveTo>
                  <a:pt x="6615170" y="797298"/>
                </a:moveTo>
                <a:lnTo>
                  <a:pt x="6644773" y="797298"/>
                </a:lnTo>
                <a:lnTo>
                  <a:pt x="6644773" y="826794"/>
                </a:lnTo>
                <a:lnTo>
                  <a:pt x="6615170" y="826794"/>
                </a:lnTo>
                <a:close/>
                <a:moveTo>
                  <a:pt x="768326" y="797298"/>
                </a:moveTo>
                <a:lnTo>
                  <a:pt x="797926" y="797298"/>
                </a:lnTo>
                <a:lnTo>
                  <a:pt x="797926" y="826794"/>
                </a:lnTo>
                <a:lnTo>
                  <a:pt x="768326" y="826794"/>
                </a:lnTo>
                <a:close/>
                <a:moveTo>
                  <a:pt x="6349081" y="797296"/>
                </a:moveTo>
                <a:lnTo>
                  <a:pt x="6378683" y="797296"/>
                </a:lnTo>
                <a:lnTo>
                  <a:pt x="6378683" y="826792"/>
                </a:lnTo>
                <a:lnTo>
                  <a:pt x="6349081" y="826792"/>
                </a:lnTo>
                <a:close/>
                <a:moveTo>
                  <a:pt x="502235" y="797296"/>
                </a:moveTo>
                <a:lnTo>
                  <a:pt x="531838" y="797296"/>
                </a:lnTo>
                <a:lnTo>
                  <a:pt x="531838" y="826792"/>
                </a:lnTo>
                <a:lnTo>
                  <a:pt x="502235" y="826792"/>
                </a:lnTo>
                <a:close/>
                <a:moveTo>
                  <a:pt x="6082884" y="797294"/>
                </a:moveTo>
                <a:lnTo>
                  <a:pt x="6112486" y="797294"/>
                </a:lnTo>
                <a:lnTo>
                  <a:pt x="6112486" y="826789"/>
                </a:lnTo>
                <a:lnTo>
                  <a:pt x="6082884" y="826789"/>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1672158" y="531575"/>
                </a:moveTo>
                <a:lnTo>
                  <a:pt x="11701760" y="531575"/>
                </a:lnTo>
                <a:lnTo>
                  <a:pt x="11701760" y="561177"/>
                </a:lnTo>
                <a:lnTo>
                  <a:pt x="11672158" y="561177"/>
                </a:lnTo>
                <a:close/>
                <a:moveTo>
                  <a:pt x="5825310" y="531575"/>
                </a:moveTo>
                <a:lnTo>
                  <a:pt x="5854913" y="531575"/>
                </a:lnTo>
                <a:lnTo>
                  <a:pt x="5854913" y="561177"/>
                </a:lnTo>
                <a:lnTo>
                  <a:pt x="5825310" y="561177"/>
                </a:lnTo>
                <a:close/>
                <a:moveTo>
                  <a:pt x="11405961" y="531573"/>
                </a:moveTo>
                <a:lnTo>
                  <a:pt x="11435563" y="531573"/>
                </a:lnTo>
                <a:lnTo>
                  <a:pt x="11435563" y="561175"/>
                </a:lnTo>
                <a:lnTo>
                  <a:pt x="11405961" y="561175"/>
                </a:lnTo>
                <a:close/>
                <a:moveTo>
                  <a:pt x="5559113" y="531573"/>
                </a:moveTo>
                <a:lnTo>
                  <a:pt x="5588715" y="531573"/>
                </a:lnTo>
                <a:lnTo>
                  <a:pt x="5588715" y="561175"/>
                </a:lnTo>
                <a:lnTo>
                  <a:pt x="5559113" y="561175"/>
                </a:lnTo>
                <a:close/>
                <a:moveTo>
                  <a:pt x="11139872" y="531571"/>
                </a:moveTo>
                <a:lnTo>
                  <a:pt x="11169474" y="531571"/>
                </a:lnTo>
                <a:lnTo>
                  <a:pt x="11169474" y="561173"/>
                </a:lnTo>
                <a:lnTo>
                  <a:pt x="11139872" y="561173"/>
                </a:lnTo>
                <a:close/>
                <a:moveTo>
                  <a:pt x="5293024" y="531571"/>
                </a:moveTo>
                <a:lnTo>
                  <a:pt x="5322626" y="531571"/>
                </a:lnTo>
                <a:lnTo>
                  <a:pt x="5322626" y="561173"/>
                </a:lnTo>
                <a:lnTo>
                  <a:pt x="5293024" y="561173"/>
                </a:lnTo>
                <a:close/>
                <a:moveTo>
                  <a:pt x="10873675" y="531568"/>
                </a:moveTo>
                <a:lnTo>
                  <a:pt x="10903277" y="531568"/>
                </a:lnTo>
                <a:lnTo>
                  <a:pt x="10903277" y="561170"/>
                </a:lnTo>
                <a:lnTo>
                  <a:pt x="10873675" y="561170"/>
                </a:lnTo>
                <a:close/>
                <a:moveTo>
                  <a:pt x="5026827" y="531568"/>
                </a:moveTo>
                <a:lnTo>
                  <a:pt x="5056429" y="531568"/>
                </a:lnTo>
                <a:lnTo>
                  <a:pt x="5056429" y="561170"/>
                </a:lnTo>
                <a:lnTo>
                  <a:pt x="5026827" y="561170"/>
                </a:lnTo>
                <a:close/>
                <a:moveTo>
                  <a:pt x="10607478" y="531566"/>
                </a:moveTo>
                <a:lnTo>
                  <a:pt x="10637188" y="531566"/>
                </a:lnTo>
                <a:lnTo>
                  <a:pt x="10637188" y="561168"/>
                </a:lnTo>
                <a:lnTo>
                  <a:pt x="10607478" y="561168"/>
                </a:lnTo>
                <a:close/>
                <a:moveTo>
                  <a:pt x="4760630" y="531566"/>
                </a:moveTo>
                <a:lnTo>
                  <a:pt x="4790340" y="531566"/>
                </a:lnTo>
                <a:lnTo>
                  <a:pt x="4790340" y="561168"/>
                </a:lnTo>
                <a:lnTo>
                  <a:pt x="4760630" y="561168"/>
                </a:lnTo>
                <a:close/>
                <a:moveTo>
                  <a:pt x="10341389" y="531564"/>
                </a:moveTo>
                <a:lnTo>
                  <a:pt x="10370992" y="531564"/>
                </a:lnTo>
                <a:lnTo>
                  <a:pt x="10370992" y="561166"/>
                </a:lnTo>
                <a:lnTo>
                  <a:pt x="10341389" y="561166"/>
                </a:lnTo>
                <a:close/>
                <a:moveTo>
                  <a:pt x="4494541" y="531564"/>
                </a:moveTo>
                <a:lnTo>
                  <a:pt x="4524144" y="531564"/>
                </a:lnTo>
                <a:lnTo>
                  <a:pt x="4524144" y="561166"/>
                </a:lnTo>
                <a:lnTo>
                  <a:pt x="4494541" y="561166"/>
                </a:lnTo>
                <a:close/>
                <a:moveTo>
                  <a:pt x="10075192" y="531562"/>
                </a:moveTo>
                <a:lnTo>
                  <a:pt x="10104794" y="531562"/>
                </a:lnTo>
                <a:lnTo>
                  <a:pt x="10104794" y="561164"/>
                </a:lnTo>
                <a:lnTo>
                  <a:pt x="10075192" y="561164"/>
                </a:lnTo>
                <a:close/>
                <a:moveTo>
                  <a:pt x="4228344" y="531562"/>
                </a:moveTo>
                <a:lnTo>
                  <a:pt x="4257946" y="531562"/>
                </a:lnTo>
                <a:lnTo>
                  <a:pt x="4257946" y="561164"/>
                </a:lnTo>
                <a:lnTo>
                  <a:pt x="4228344" y="561164"/>
                </a:lnTo>
                <a:close/>
                <a:moveTo>
                  <a:pt x="9809103" y="531560"/>
                </a:moveTo>
                <a:lnTo>
                  <a:pt x="9838705" y="531560"/>
                </a:lnTo>
                <a:lnTo>
                  <a:pt x="9838705" y="561162"/>
                </a:lnTo>
                <a:lnTo>
                  <a:pt x="9809103" y="561162"/>
                </a:lnTo>
                <a:close/>
                <a:moveTo>
                  <a:pt x="3962255" y="531560"/>
                </a:moveTo>
                <a:lnTo>
                  <a:pt x="3991857" y="531560"/>
                </a:lnTo>
                <a:lnTo>
                  <a:pt x="3991857" y="561162"/>
                </a:lnTo>
                <a:lnTo>
                  <a:pt x="3962255" y="561162"/>
                </a:lnTo>
                <a:close/>
                <a:moveTo>
                  <a:pt x="9542906" y="531558"/>
                </a:moveTo>
                <a:lnTo>
                  <a:pt x="9572509" y="531558"/>
                </a:lnTo>
                <a:lnTo>
                  <a:pt x="9572509" y="561160"/>
                </a:lnTo>
                <a:lnTo>
                  <a:pt x="9542906" y="561160"/>
                </a:lnTo>
                <a:close/>
                <a:moveTo>
                  <a:pt x="3696058" y="531558"/>
                </a:moveTo>
                <a:lnTo>
                  <a:pt x="3725661" y="531558"/>
                </a:lnTo>
                <a:lnTo>
                  <a:pt x="3725661" y="561160"/>
                </a:lnTo>
                <a:lnTo>
                  <a:pt x="3696058" y="561160"/>
                </a:lnTo>
                <a:close/>
                <a:moveTo>
                  <a:pt x="9276817" y="531556"/>
                </a:moveTo>
                <a:lnTo>
                  <a:pt x="9306420" y="531556"/>
                </a:lnTo>
                <a:lnTo>
                  <a:pt x="9306420" y="561158"/>
                </a:lnTo>
                <a:lnTo>
                  <a:pt x="9276817" y="561158"/>
                </a:lnTo>
                <a:close/>
                <a:moveTo>
                  <a:pt x="3429969" y="531556"/>
                </a:moveTo>
                <a:lnTo>
                  <a:pt x="3459572" y="531556"/>
                </a:lnTo>
                <a:lnTo>
                  <a:pt x="3459572" y="561158"/>
                </a:lnTo>
                <a:lnTo>
                  <a:pt x="3429969" y="561158"/>
                </a:lnTo>
                <a:close/>
                <a:moveTo>
                  <a:pt x="9010620" y="531554"/>
                </a:moveTo>
                <a:lnTo>
                  <a:pt x="9040222" y="531554"/>
                </a:lnTo>
                <a:lnTo>
                  <a:pt x="9040222" y="561156"/>
                </a:lnTo>
                <a:lnTo>
                  <a:pt x="9010620" y="561156"/>
                </a:lnTo>
                <a:close/>
                <a:moveTo>
                  <a:pt x="3163772" y="531554"/>
                </a:moveTo>
                <a:lnTo>
                  <a:pt x="3193374" y="531554"/>
                </a:lnTo>
                <a:lnTo>
                  <a:pt x="3193374" y="561156"/>
                </a:lnTo>
                <a:lnTo>
                  <a:pt x="3163772" y="561156"/>
                </a:lnTo>
                <a:close/>
                <a:moveTo>
                  <a:pt x="8744423" y="531551"/>
                </a:moveTo>
                <a:lnTo>
                  <a:pt x="8774026" y="531551"/>
                </a:lnTo>
                <a:lnTo>
                  <a:pt x="8774026" y="561154"/>
                </a:lnTo>
                <a:lnTo>
                  <a:pt x="8744423" y="561154"/>
                </a:lnTo>
                <a:close/>
                <a:moveTo>
                  <a:pt x="2897575" y="531551"/>
                </a:moveTo>
                <a:lnTo>
                  <a:pt x="2927178" y="531551"/>
                </a:lnTo>
                <a:lnTo>
                  <a:pt x="2927178" y="561154"/>
                </a:lnTo>
                <a:lnTo>
                  <a:pt x="2897575" y="561154"/>
                </a:lnTo>
                <a:close/>
                <a:moveTo>
                  <a:pt x="8478226" y="531549"/>
                </a:moveTo>
                <a:lnTo>
                  <a:pt x="8507828" y="531549"/>
                </a:lnTo>
                <a:lnTo>
                  <a:pt x="8507828" y="561152"/>
                </a:lnTo>
                <a:lnTo>
                  <a:pt x="8478226" y="561152"/>
                </a:lnTo>
                <a:close/>
                <a:moveTo>
                  <a:pt x="2631378" y="531549"/>
                </a:moveTo>
                <a:lnTo>
                  <a:pt x="2660980" y="531549"/>
                </a:lnTo>
                <a:lnTo>
                  <a:pt x="2660980" y="561152"/>
                </a:lnTo>
                <a:lnTo>
                  <a:pt x="2631378" y="561152"/>
                </a:lnTo>
                <a:close/>
                <a:moveTo>
                  <a:pt x="8212137" y="531547"/>
                </a:moveTo>
                <a:lnTo>
                  <a:pt x="8241740" y="531547"/>
                </a:lnTo>
                <a:lnTo>
                  <a:pt x="8241740" y="561149"/>
                </a:lnTo>
                <a:lnTo>
                  <a:pt x="8212137" y="561149"/>
                </a:lnTo>
                <a:close/>
                <a:moveTo>
                  <a:pt x="2365289" y="531547"/>
                </a:moveTo>
                <a:lnTo>
                  <a:pt x="2394892" y="531547"/>
                </a:lnTo>
                <a:lnTo>
                  <a:pt x="2394892" y="561149"/>
                </a:lnTo>
                <a:lnTo>
                  <a:pt x="2365289" y="561149"/>
                </a:lnTo>
                <a:close/>
                <a:moveTo>
                  <a:pt x="7945940" y="531545"/>
                </a:moveTo>
                <a:lnTo>
                  <a:pt x="7975543" y="531545"/>
                </a:lnTo>
                <a:lnTo>
                  <a:pt x="7975543" y="561147"/>
                </a:lnTo>
                <a:lnTo>
                  <a:pt x="7945940" y="561147"/>
                </a:lnTo>
                <a:close/>
                <a:moveTo>
                  <a:pt x="2099092" y="531545"/>
                </a:moveTo>
                <a:lnTo>
                  <a:pt x="2128695" y="531545"/>
                </a:lnTo>
                <a:lnTo>
                  <a:pt x="2128695" y="561147"/>
                </a:lnTo>
                <a:lnTo>
                  <a:pt x="2099092" y="561147"/>
                </a:lnTo>
                <a:close/>
                <a:moveTo>
                  <a:pt x="7679743" y="531543"/>
                </a:moveTo>
                <a:lnTo>
                  <a:pt x="7709346" y="531543"/>
                </a:lnTo>
                <a:lnTo>
                  <a:pt x="7709346" y="561145"/>
                </a:lnTo>
                <a:lnTo>
                  <a:pt x="7679743" y="561145"/>
                </a:lnTo>
                <a:close/>
                <a:moveTo>
                  <a:pt x="1832898" y="531543"/>
                </a:moveTo>
                <a:lnTo>
                  <a:pt x="1862498" y="531543"/>
                </a:lnTo>
                <a:lnTo>
                  <a:pt x="1862498" y="561145"/>
                </a:lnTo>
                <a:lnTo>
                  <a:pt x="1832898" y="561145"/>
                </a:lnTo>
                <a:close/>
                <a:moveTo>
                  <a:pt x="7413653" y="531541"/>
                </a:moveTo>
                <a:lnTo>
                  <a:pt x="7443256" y="531541"/>
                </a:lnTo>
                <a:lnTo>
                  <a:pt x="7443256" y="561143"/>
                </a:lnTo>
                <a:lnTo>
                  <a:pt x="7413653" y="561143"/>
                </a:lnTo>
                <a:close/>
                <a:moveTo>
                  <a:pt x="1566808" y="531541"/>
                </a:moveTo>
                <a:lnTo>
                  <a:pt x="1596409" y="531541"/>
                </a:lnTo>
                <a:lnTo>
                  <a:pt x="1596409" y="561143"/>
                </a:lnTo>
                <a:lnTo>
                  <a:pt x="1566808" y="561143"/>
                </a:lnTo>
                <a:close/>
                <a:moveTo>
                  <a:pt x="7147456" y="531539"/>
                </a:moveTo>
                <a:lnTo>
                  <a:pt x="7177058" y="531539"/>
                </a:lnTo>
                <a:lnTo>
                  <a:pt x="7177058" y="561141"/>
                </a:lnTo>
                <a:lnTo>
                  <a:pt x="7147456" y="561141"/>
                </a:lnTo>
                <a:close/>
                <a:moveTo>
                  <a:pt x="1300611" y="531539"/>
                </a:moveTo>
                <a:lnTo>
                  <a:pt x="1330213" y="531539"/>
                </a:lnTo>
                <a:lnTo>
                  <a:pt x="1330213" y="561141"/>
                </a:lnTo>
                <a:lnTo>
                  <a:pt x="1300611" y="561141"/>
                </a:lnTo>
                <a:close/>
                <a:moveTo>
                  <a:pt x="6881367" y="531537"/>
                </a:moveTo>
                <a:lnTo>
                  <a:pt x="6910970" y="531537"/>
                </a:lnTo>
                <a:lnTo>
                  <a:pt x="6910970" y="561139"/>
                </a:lnTo>
                <a:lnTo>
                  <a:pt x="6881367" y="561139"/>
                </a:lnTo>
                <a:close/>
                <a:moveTo>
                  <a:pt x="1034520" y="531537"/>
                </a:moveTo>
                <a:lnTo>
                  <a:pt x="1064123" y="531537"/>
                </a:lnTo>
                <a:lnTo>
                  <a:pt x="1064123" y="561139"/>
                </a:lnTo>
                <a:lnTo>
                  <a:pt x="1034520" y="561139"/>
                </a:lnTo>
                <a:close/>
                <a:moveTo>
                  <a:pt x="6615170" y="531534"/>
                </a:moveTo>
                <a:lnTo>
                  <a:pt x="6644773" y="531534"/>
                </a:lnTo>
                <a:lnTo>
                  <a:pt x="6644773" y="561137"/>
                </a:lnTo>
                <a:lnTo>
                  <a:pt x="6615170" y="561137"/>
                </a:lnTo>
                <a:close/>
                <a:moveTo>
                  <a:pt x="768326" y="531534"/>
                </a:moveTo>
                <a:lnTo>
                  <a:pt x="797926" y="531534"/>
                </a:lnTo>
                <a:lnTo>
                  <a:pt x="797926" y="561137"/>
                </a:lnTo>
                <a:lnTo>
                  <a:pt x="768326" y="561137"/>
                </a:lnTo>
                <a:close/>
                <a:moveTo>
                  <a:pt x="6349081" y="531532"/>
                </a:moveTo>
                <a:lnTo>
                  <a:pt x="6378683" y="531532"/>
                </a:lnTo>
                <a:lnTo>
                  <a:pt x="6378683" y="561135"/>
                </a:lnTo>
                <a:lnTo>
                  <a:pt x="6349081" y="561135"/>
                </a:lnTo>
                <a:close/>
                <a:moveTo>
                  <a:pt x="502235" y="531532"/>
                </a:moveTo>
                <a:lnTo>
                  <a:pt x="531838" y="531532"/>
                </a:lnTo>
                <a:lnTo>
                  <a:pt x="531838" y="561135"/>
                </a:lnTo>
                <a:lnTo>
                  <a:pt x="502235" y="561135"/>
                </a:lnTo>
                <a:close/>
                <a:moveTo>
                  <a:pt x="6082884" y="531530"/>
                </a:moveTo>
                <a:lnTo>
                  <a:pt x="6112486" y="531530"/>
                </a:lnTo>
                <a:lnTo>
                  <a:pt x="6112486" y="561133"/>
                </a:lnTo>
                <a:lnTo>
                  <a:pt x="6082884" y="561133"/>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1672158" y="265811"/>
                </a:moveTo>
                <a:lnTo>
                  <a:pt x="11701760" y="265811"/>
                </a:lnTo>
                <a:lnTo>
                  <a:pt x="11701760" y="295414"/>
                </a:lnTo>
                <a:lnTo>
                  <a:pt x="11672158" y="295414"/>
                </a:lnTo>
                <a:close/>
                <a:moveTo>
                  <a:pt x="5825310" y="265811"/>
                </a:moveTo>
                <a:lnTo>
                  <a:pt x="5854913" y="265811"/>
                </a:lnTo>
                <a:lnTo>
                  <a:pt x="5854913" y="295414"/>
                </a:lnTo>
                <a:lnTo>
                  <a:pt x="5825310" y="295414"/>
                </a:lnTo>
                <a:close/>
                <a:moveTo>
                  <a:pt x="11405961" y="265809"/>
                </a:moveTo>
                <a:lnTo>
                  <a:pt x="11435563" y="265809"/>
                </a:lnTo>
                <a:lnTo>
                  <a:pt x="11435563" y="295412"/>
                </a:lnTo>
                <a:lnTo>
                  <a:pt x="11405961" y="295412"/>
                </a:lnTo>
                <a:close/>
                <a:moveTo>
                  <a:pt x="5559113" y="265809"/>
                </a:moveTo>
                <a:lnTo>
                  <a:pt x="5588715" y="265809"/>
                </a:lnTo>
                <a:lnTo>
                  <a:pt x="5588715" y="295412"/>
                </a:lnTo>
                <a:lnTo>
                  <a:pt x="5559113" y="295412"/>
                </a:lnTo>
                <a:close/>
                <a:moveTo>
                  <a:pt x="11139872" y="265807"/>
                </a:moveTo>
                <a:lnTo>
                  <a:pt x="11169474" y="265807"/>
                </a:lnTo>
                <a:lnTo>
                  <a:pt x="11169474" y="295409"/>
                </a:lnTo>
                <a:lnTo>
                  <a:pt x="11139872" y="295409"/>
                </a:lnTo>
                <a:close/>
                <a:moveTo>
                  <a:pt x="5293024" y="265807"/>
                </a:moveTo>
                <a:lnTo>
                  <a:pt x="5322626" y="265807"/>
                </a:lnTo>
                <a:lnTo>
                  <a:pt x="5322626" y="295409"/>
                </a:lnTo>
                <a:lnTo>
                  <a:pt x="5293024" y="295409"/>
                </a:lnTo>
                <a:close/>
                <a:moveTo>
                  <a:pt x="10873675" y="265805"/>
                </a:moveTo>
                <a:lnTo>
                  <a:pt x="10903277" y="265805"/>
                </a:lnTo>
                <a:lnTo>
                  <a:pt x="10903277" y="295407"/>
                </a:lnTo>
                <a:lnTo>
                  <a:pt x="10873675" y="295407"/>
                </a:lnTo>
                <a:close/>
                <a:moveTo>
                  <a:pt x="5026827" y="265805"/>
                </a:moveTo>
                <a:lnTo>
                  <a:pt x="5056429" y="265805"/>
                </a:lnTo>
                <a:lnTo>
                  <a:pt x="5056429" y="295407"/>
                </a:lnTo>
                <a:lnTo>
                  <a:pt x="5026827" y="295407"/>
                </a:lnTo>
                <a:close/>
                <a:moveTo>
                  <a:pt x="10607478" y="265803"/>
                </a:moveTo>
                <a:lnTo>
                  <a:pt x="10637188" y="265803"/>
                </a:lnTo>
                <a:lnTo>
                  <a:pt x="10637188" y="295405"/>
                </a:lnTo>
                <a:lnTo>
                  <a:pt x="10607478" y="295405"/>
                </a:lnTo>
                <a:close/>
                <a:moveTo>
                  <a:pt x="4760630" y="265803"/>
                </a:moveTo>
                <a:lnTo>
                  <a:pt x="4790340" y="265803"/>
                </a:lnTo>
                <a:lnTo>
                  <a:pt x="4790340" y="295405"/>
                </a:lnTo>
                <a:lnTo>
                  <a:pt x="4760630" y="295405"/>
                </a:lnTo>
                <a:close/>
                <a:moveTo>
                  <a:pt x="10341389" y="265800"/>
                </a:moveTo>
                <a:lnTo>
                  <a:pt x="10370992" y="265800"/>
                </a:lnTo>
                <a:lnTo>
                  <a:pt x="10370992" y="295403"/>
                </a:lnTo>
                <a:lnTo>
                  <a:pt x="10341389" y="295403"/>
                </a:lnTo>
                <a:close/>
                <a:moveTo>
                  <a:pt x="4494541" y="265800"/>
                </a:moveTo>
                <a:lnTo>
                  <a:pt x="4524144" y="265800"/>
                </a:lnTo>
                <a:lnTo>
                  <a:pt x="4524144" y="295403"/>
                </a:lnTo>
                <a:lnTo>
                  <a:pt x="4494541" y="295403"/>
                </a:lnTo>
                <a:close/>
                <a:moveTo>
                  <a:pt x="10075192" y="265798"/>
                </a:moveTo>
                <a:lnTo>
                  <a:pt x="10104794" y="265798"/>
                </a:lnTo>
                <a:lnTo>
                  <a:pt x="10104794" y="295401"/>
                </a:lnTo>
                <a:lnTo>
                  <a:pt x="10075192" y="295401"/>
                </a:lnTo>
                <a:close/>
                <a:moveTo>
                  <a:pt x="4228344" y="265798"/>
                </a:moveTo>
                <a:lnTo>
                  <a:pt x="4257946" y="265798"/>
                </a:lnTo>
                <a:lnTo>
                  <a:pt x="4257946" y="295401"/>
                </a:lnTo>
                <a:lnTo>
                  <a:pt x="4228344" y="295401"/>
                </a:lnTo>
                <a:close/>
                <a:moveTo>
                  <a:pt x="9809103" y="265796"/>
                </a:moveTo>
                <a:lnTo>
                  <a:pt x="9838705" y="265796"/>
                </a:lnTo>
                <a:lnTo>
                  <a:pt x="9838705" y="295398"/>
                </a:lnTo>
                <a:lnTo>
                  <a:pt x="9809103" y="295398"/>
                </a:lnTo>
                <a:close/>
                <a:moveTo>
                  <a:pt x="3962255" y="265796"/>
                </a:moveTo>
                <a:lnTo>
                  <a:pt x="3991857" y="265796"/>
                </a:lnTo>
                <a:lnTo>
                  <a:pt x="3991857" y="295398"/>
                </a:lnTo>
                <a:lnTo>
                  <a:pt x="3962255" y="295398"/>
                </a:lnTo>
                <a:close/>
                <a:moveTo>
                  <a:pt x="9542906" y="265794"/>
                </a:moveTo>
                <a:lnTo>
                  <a:pt x="9572509" y="265794"/>
                </a:lnTo>
                <a:lnTo>
                  <a:pt x="9572509" y="295396"/>
                </a:lnTo>
                <a:lnTo>
                  <a:pt x="9542906" y="295396"/>
                </a:lnTo>
                <a:close/>
                <a:moveTo>
                  <a:pt x="3696058" y="265794"/>
                </a:moveTo>
                <a:lnTo>
                  <a:pt x="3725661" y="265794"/>
                </a:lnTo>
                <a:lnTo>
                  <a:pt x="3725661" y="295396"/>
                </a:lnTo>
                <a:lnTo>
                  <a:pt x="3696058" y="295396"/>
                </a:lnTo>
                <a:close/>
                <a:moveTo>
                  <a:pt x="9276817" y="265792"/>
                </a:moveTo>
                <a:lnTo>
                  <a:pt x="9306420" y="265792"/>
                </a:lnTo>
                <a:lnTo>
                  <a:pt x="9306420" y="295394"/>
                </a:lnTo>
                <a:lnTo>
                  <a:pt x="9276817" y="295394"/>
                </a:lnTo>
                <a:close/>
                <a:moveTo>
                  <a:pt x="3429969" y="265792"/>
                </a:moveTo>
                <a:lnTo>
                  <a:pt x="3459572" y="265792"/>
                </a:lnTo>
                <a:lnTo>
                  <a:pt x="3459572" y="295394"/>
                </a:lnTo>
                <a:lnTo>
                  <a:pt x="3429969" y="295394"/>
                </a:lnTo>
                <a:close/>
                <a:moveTo>
                  <a:pt x="9010620" y="265789"/>
                </a:moveTo>
                <a:lnTo>
                  <a:pt x="9040222" y="265789"/>
                </a:lnTo>
                <a:lnTo>
                  <a:pt x="9040222" y="295392"/>
                </a:lnTo>
                <a:lnTo>
                  <a:pt x="9010620" y="295392"/>
                </a:lnTo>
                <a:close/>
                <a:moveTo>
                  <a:pt x="3163772" y="265789"/>
                </a:moveTo>
                <a:lnTo>
                  <a:pt x="3193374" y="265789"/>
                </a:lnTo>
                <a:lnTo>
                  <a:pt x="3193374" y="295392"/>
                </a:lnTo>
                <a:lnTo>
                  <a:pt x="3163772" y="295392"/>
                </a:lnTo>
                <a:close/>
                <a:moveTo>
                  <a:pt x="8744423" y="265787"/>
                </a:moveTo>
                <a:lnTo>
                  <a:pt x="8774026" y="265787"/>
                </a:lnTo>
                <a:lnTo>
                  <a:pt x="8774026" y="295390"/>
                </a:lnTo>
                <a:lnTo>
                  <a:pt x="8744423" y="295390"/>
                </a:lnTo>
                <a:close/>
                <a:moveTo>
                  <a:pt x="2897575" y="265787"/>
                </a:moveTo>
                <a:lnTo>
                  <a:pt x="2927178" y="265787"/>
                </a:lnTo>
                <a:lnTo>
                  <a:pt x="2927178" y="295390"/>
                </a:lnTo>
                <a:lnTo>
                  <a:pt x="2897575" y="295390"/>
                </a:lnTo>
                <a:close/>
                <a:moveTo>
                  <a:pt x="8478226" y="265785"/>
                </a:moveTo>
                <a:lnTo>
                  <a:pt x="8507828" y="265785"/>
                </a:lnTo>
                <a:lnTo>
                  <a:pt x="8507828" y="295387"/>
                </a:lnTo>
                <a:lnTo>
                  <a:pt x="8478226" y="295387"/>
                </a:lnTo>
                <a:close/>
                <a:moveTo>
                  <a:pt x="2631378" y="265785"/>
                </a:moveTo>
                <a:lnTo>
                  <a:pt x="2660980" y="265785"/>
                </a:lnTo>
                <a:lnTo>
                  <a:pt x="2660980" y="295387"/>
                </a:lnTo>
                <a:lnTo>
                  <a:pt x="2631378" y="295387"/>
                </a:lnTo>
                <a:close/>
                <a:moveTo>
                  <a:pt x="8212137" y="265783"/>
                </a:moveTo>
                <a:lnTo>
                  <a:pt x="8241740" y="265783"/>
                </a:lnTo>
                <a:lnTo>
                  <a:pt x="8241740" y="295385"/>
                </a:lnTo>
                <a:lnTo>
                  <a:pt x="8212137" y="295385"/>
                </a:lnTo>
                <a:close/>
                <a:moveTo>
                  <a:pt x="2365289" y="265783"/>
                </a:moveTo>
                <a:lnTo>
                  <a:pt x="2394892" y="265783"/>
                </a:lnTo>
                <a:lnTo>
                  <a:pt x="2394892" y="295385"/>
                </a:lnTo>
                <a:lnTo>
                  <a:pt x="2365289" y="295385"/>
                </a:lnTo>
                <a:close/>
                <a:moveTo>
                  <a:pt x="7945940" y="265781"/>
                </a:moveTo>
                <a:lnTo>
                  <a:pt x="7975543" y="265781"/>
                </a:lnTo>
                <a:lnTo>
                  <a:pt x="7975543" y="295383"/>
                </a:lnTo>
                <a:lnTo>
                  <a:pt x="7945940" y="295383"/>
                </a:lnTo>
                <a:close/>
                <a:moveTo>
                  <a:pt x="2099092" y="265781"/>
                </a:moveTo>
                <a:lnTo>
                  <a:pt x="2128695" y="265781"/>
                </a:lnTo>
                <a:lnTo>
                  <a:pt x="2128695" y="295383"/>
                </a:lnTo>
                <a:lnTo>
                  <a:pt x="2099092" y="295383"/>
                </a:lnTo>
                <a:close/>
                <a:moveTo>
                  <a:pt x="7679743" y="265778"/>
                </a:moveTo>
                <a:lnTo>
                  <a:pt x="7709346" y="265778"/>
                </a:lnTo>
                <a:lnTo>
                  <a:pt x="7709346" y="295381"/>
                </a:lnTo>
                <a:lnTo>
                  <a:pt x="7679743" y="295381"/>
                </a:lnTo>
                <a:close/>
                <a:moveTo>
                  <a:pt x="1832898" y="265778"/>
                </a:moveTo>
                <a:lnTo>
                  <a:pt x="1862498" y="265778"/>
                </a:lnTo>
                <a:lnTo>
                  <a:pt x="1862498" y="295381"/>
                </a:lnTo>
                <a:lnTo>
                  <a:pt x="1832898" y="295381"/>
                </a:lnTo>
                <a:close/>
                <a:moveTo>
                  <a:pt x="7413653" y="265776"/>
                </a:moveTo>
                <a:lnTo>
                  <a:pt x="7443256" y="265776"/>
                </a:lnTo>
                <a:lnTo>
                  <a:pt x="7443256" y="295379"/>
                </a:lnTo>
                <a:lnTo>
                  <a:pt x="7413653" y="295379"/>
                </a:lnTo>
                <a:close/>
                <a:moveTo>
                  <a:pt x="1566808" y="265776"/>
                </a:moveTo>
                <a:lnTo>
                  <a:pt x="1596409" y="265776"/>
                </a:lnTo>
                <a:lnTo>
                  <a:pt x="1596409" y="295379"/>
                </a:lnTo>
                <a:lnTo>
                  <a:pt x="1566808" y="295379"/>
                </a:lnTo>
                <a:close/>
                <a:moveTo>
                  <a:pt x="7147456" y="265774"/>
                </a:moveTo>
                <a:lnTo>
                  <a:pt x="7177058" y="265774"/>
                </a:lnTo>
                <a:lnTo>
                  <a:pt x="7177058" y="295376"/>
                </a:lnTo>
                <a:lnTo>
                  <a:pt x="7147456" y="295376"/>
                </a:lnTo>
                <a:close/>
                <a:moveTo>
                  <a:pt x="1300611" y="265774"/>
                </a:moveTo>
                <a:lnTo>
                  <a:pt x="1330213" y="265774"/>
                </a:lnTo>
                <a:lnTo>
                  <a:pt x="1330213" y="295376"/>
                </a:lnTo>
                <a:lnTo>
                  <a:pt x="1300611" y="295376"/>
                </a:lnTo>
                <a:close/>
                <a:moveTo>
                  <a:pt x="6881367" y="265772"/>
                </a:moveTo>
                <a:lnTo>
                  <a:pt x="6910970" y="265772"/>
                </a:lnTo>
                <a:lnTo>
                  <a:pt x="6910970" y="295374"/>
                </a:lnTo>
                <a:lnTo>
                  <a:pt x="6881367" y="295374"/>
                </a:lnTo>
                <a:close/>
                <a:moveTo>
                  <a:pt x="1034520" y="265772"/>
                </a:moveTo>
                <a:lnTo>
                  <a:pt x="1064123" y="265772"/>
                </a:lnTo>
                <a:lnTo>
                  <a:pt x="1064123" y="295374"/>
                </a:lnTo>
                <a:lnTo>
                  <a:pt x="1034520" y="295374"/>
                </a:lnTo>
                <a:close/>
                <a:moveTo>
                  <a:pt x="6615170" y="265770"/>
                </a:moveTo>
                <a:lnTo>
                  <a:pt x="6644773" y="265770"/>
                </a:lnTo>
                <a:lnTo>
                  <a:pt x="6644773" y="295372"/>
                </a:lnTo>
                <a:lnTo>
                  <a:pt x="6615170" y="295372"/>
                </a:lnTo>
                <a:close/>
                <a:moveTo>
                  <a:pt x="768326" y="265770"/>
                </a:moveTo>
                <a:lnTo>
                  <a:pt x="797926" y="265770"/>
                </a:lnTo>
                <a:lnTo>
                  <a:pt x="797926" y="295372"/>
                </a:lnTo>
                <a:lnTo>
                  <a:pt x="768326" y="295372"/>
                </a:lnTo>
                <a:close/>
                <a:moveTo>
                  <a:pt x="6349081" y="265767"/>
                </a:moveTo>
                <a:lnTo>
                  <a:pt x="6378683" y="265767"/>
                </a:lnTo>
                <a:lnTo>
                  <a:pt x="6378683" y="295370"/>
                </a:lnTo>
                <a:lnTo>
                  <a:pt x="6349081" y="295370"/>
                </a:lnTo>
                <a:close/>
                <a:moveTo>
                  <a:pt x="502235" y="265767"/>
                </a:moveTo>
                <a:lnTo>
                  <a:pt x="531838" y="265767"/>
                </a:lnTo>
                <a:lnTo>
                  <a:pt x="531838" y="295370"/>
                </a:lnTo>
                <a:lnTo>
                  <a:pt x="502235" y="295370"/>
                </a:lnTo>
                <a:close/>
                <a:moveTo>
                  <a:pt x="6082884" y="265765"/>
                </a:moveTo>
                <a:lnTo>
                  <a:pt x="6112486" y="265765"/>
                </a:lnTo>
                <a:lnTo>
                  <a:pt x="6112486" y="295368"/>
                </a:lnTo>
                <a:lnTo>
                  <a:pt x="6082884" y="295368"/>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1672158" y="48"/>
                </a:moveTo>
                <a:lnTo>
                  <a:pt x="11701760" y="48"/>
                </a:lnTo>
                <a:lnTo>
                  <a:pt x="11701760" y="29651"/>
                </a:lnTo>
                <a:lnTo>
                  <a:pt x="11672158" y="29651"/>
                </a:lnTo>
                <a:close/>
                <a:moveTo>
                  <a:pt x="5825310" y="48"/>
                </a:moveTo>
                <a:lnTo>
                  <a:pt x="5854913" y="48"/>
                </a:lnTo>
                <a:lnTo>
                  <a:pt x="5854913" y="29651"/>
                </a:lnTo>
                <a:lnTo>
                  <a:pt x="5825310" y="29651"/>
                </a:lnTo>
                <a:close/>
                <a:moveTo>
                  <a:pt x="11405961" y="46"/>
                </a:moveTo>
                <a:lnTo>
                  <a:pt x="11435563" y="46"/>
                </a:lnTo>
                <a:lnTo>
                  <a:pt x="11435563" y="29648"/>
                </a:lnTo>
                <a:lnTo>
                  <a:pt x="11405961" y="29648"/>
                </a:lnTo>
                <a:close/>
                <a:moveTo>
                  <a:pt x="5559113" y="46"/>
                </a:moveTo>
                <a:lnTo>
                  <a:pt x="5588715" y="46"/>
                </a:lnTo>
                <a:lnTo>
                  <a:pt x="5588715" y="29648"/>
                </a:lnTo>
                <a:lnTo>
                  <a:pt x="5559113" y="29648"/>
                </a:lnTo>
                <a:close/>
                <a:moveTo>
                  <a:pt x="11139872" y="44"/>
                </a:moveTo>
                <a:lnTo>
                  <a:pt x="11169474" y="44"/>
                </a:lnTo>
                <a:lnTo>
                  <a:pt x="11169474" y="29646"/>
                </a:lnTo>
                <a:lnTo>
                  <a:pt x="11139872" y="29646"/>
                </a:lnTo>
                <a:close/>
                <a:moveTo>
                  <a:pt x="5293024" y="44"/>
                </a:moveTo>
                <a:lnTo>
                  <a:pt x="5322626" y="44"/>
                </a:lnTo>
                <a:lnTo>
                  <a:pt x="5322626" y="29646"/>
                </a:lnTo>
                <a:lnTo>
                  <a:pt x="5293024" y="29646"/>
                </a:lnTo>
                <a:close/>
                <a:moveTo>
                  <a:pt x="10873675" y="41"/>
                </a:moveTo>
                <a:lnTo>
                  <a:pt x="10903277" y="41"/>
                </a:lnTo>
                <a:lnTo>
                  <a:pt x="10903277" y="29644"/>
                </a:lnTo>
                <a:lnTo>
                  <a:pt x="10873675" y="29644"/>
                </a:lnTo>
                <a:close/>
                <a:moveTo>
                  <a:pt x="5026827" y="41"/>
                </a:moveTo>
                <a:lnTo>
                  <a:pt x="5056429" y="41"/>
                </a:lnTo>
                <a:lnTo>
                  <a:pt x="5056429" y="29644"/>
                </a:lnTo>
                <a:lnTo>
                  <a:pt x="5026827" y="29644"/>
                </a:lnTo>
                <a:close/>
                <a:moveTo>
                  <a:pt x="10607478" y="39"/>
                </a:moveTo>
                <a:lnTo>
                  <a:pt x="10637188" y="39"/>
                </a:lnTo>
                <a:lnTo>
                  <a:pt x="10637188" y="29641"/>
                </a:lnTo>
                <a:lnTo>
                  <a:pt x="10607478" y="29641"/>
                </a:lnTo>
                <a:close/>
                <a:moveTo>
                  <a:pt x="4760630" y="39"/>
                </a:moveTo>
                <a:lnTo>
                  <a:pt x="4790340" y="39"/>
                </a:lnTo>
                <a:lnTo>
                  <a:pt x="4790340" y="29641"/>
                </a:lnTo>
                <a:lnTo>
                  <a:pt x="4760630" y="29641"/>
                </a:lnTo>
                <a:close/>
                <a:moveTo>
                  <a:pt x="10341389" y="37"/>
                </a:moveTo>
                <a:lnTo>
                  <a:pt x="10370992" y="37"/>
                </a:lnTo>
                <a:lnTo>
                  <a:pt x="10370992" y="29639"/>
                </a:lnTo>
                <a:lnTo>
                  <a:pt x="10341389" y="29639"/>
                </a:lnTo>
                <a:close/>
                <a:moveTo>
                  <a:pt x="4494541" y="37"/>
                </a:moveTo>
                <a:lnTo>
                  <a:pt x="4524144" y="37"/>
                </a:lnTo>
                <a:lnTo>
                  <a:pt x="4524144" y="29639"/>
                </a:lnTo>
                <a:lnTo>
                  <a:pt x="4494541" y="29639"/>
                </a:lnTo>
                <a:close/>
                <a:moveTo>
                  <a:pt x="10075192" y="34"/>
                </a:moveTo>
                <a:lnTo>
                  <a:pt x="10104794" y="34"/>
                </a:lnTo>
                <a:lnTo>
                  <a:pt x="10104794" y="29637"/>
                </a:lnTo>
                <a:lnTo>
                  <a:pt x="10075192" y="29637"/>
                </a:lnTo>
                <a:close/>
                <a:moveTo>
                  <a:pt x="4228344" y="34"/>
                </a:moveTo>
                <a:lnTo>
                  <a:pt x="4257946" y="34"/>
                </a:lnTo>
                <a:lnTo>
                  <a:pt x="4257946" y="29637"/>
                </a:lnTo>
                <a:lnTo>
                  <a:pt x="4228344" y="29637"/>
                </a:lnTo>
                <a:close/>
                <a:moveTo>
                  <a:pt x="9809103" y="32"/>
                </a:moveTo>
                <a:lnTo>
                  <a:pt x="9838705" y="32"/>
                </a:lnTo>
                <a:lnTo>
                  <a:pt x="9838705" y="29635"/>
                </a:lnTo>
                <a:lnTo>
                  <a:pt x="9809103" y="29635"/>
                </a:lnTo>
                <a:close/>
                <a:moveTo>
                  <a:pt x="3962255" y="32"/>
                </a:moveTo>
                <a:lnTo>
                  <a:pt x="3991857" y="32"/>
                </a:lnTo>
                <a:lnTo>
                  <a:pt x="3991857" y="29635"/>
                </a:lnTo>
                <a:lnTo>
                  <a:pt x="3962255" y="29635"/>
                </a:lnTo>
                <a:close/>
                <a:moveTo>
                  <a:pt x="9542906" y="30"/>
                </a:moveTo>
                <a:lnTo>
                  <a:pt x="9572509" y="30"/>
                </a:lnTo>
                <a:lnTo>
                  <a:pt x="9572509" y="29632"/>
                </a:lnTo>
                <a:lnTo>
                  <a:pt x="9542906" y="29632"/>
                </a:lnTo>
                <a:close/>
                <a:moveTo>
                  <a:pt x="3696058" y="30"/>
                </a:moveTo>
                <a:lnTo>
                  <a:pt x="3725661" y="30"/>
                </a:lnTo>
                <a:lnTo>
                  <a:pt x="3725661" y="29632"/>
                </a:lnTo>
                <a:lnTo>
                  <a:pt x="3696058" y="29632"/>
                </a:lnTo>
                <a:close/>
                <a:moveTo>
                  <a:pt x="9276817" y="28"/>
                </a:moveTo>
                <a:lnTo>
                  <a:pt x="9306420" y="28"/>
                </a:lnTo>
                <a:lnTo>
                  <a:pt x="9306420" y="29630"/>
                </a:lnTo>
                <a:lnTo>
                  <a:pt x="9276817" y="29630"/>
                </a:lnTo>
                <a:close/>
                <a:moveTo>
                  <a:pt x="3429969" y="28"/>
                </a:moveTo>
                <a:lnTo>
                  <a:pt x="3459572" y="28"/>
                </a:lnTo>
                <a:lnTo>
                  <a:pt x="3459572" y="29630"/>
                </a:lnTo>
                <a:lnTo>
                  <a:pt x="3429969" y="29630"/>
                </a:lnTo>
                <a:close/>
                <a:moveTo>
                  <a:pt x="9010620" y="25"/>
                </a:moveTo>
                <a:lnTo>
                  <a:pt x="9040222" y="25"/>
                </a:lnTo>
                <a:lnTo>
                  <a:pt x="9040222" y="29628"/>
                </a:lnTo>
                <a:lnTo>
                  <a:pt x="9010620" y="29628"/>
                </a:lnTo>
                <a:close/>
                <a:moveTo>
                  <a:pt x="3163772" y="25"/>
                </a:moveTo>
                <a:lnTo>
                  <a:pt x="3193374" y="25"/>
                </a:lnTo>
                <a:lnTo>
                  <a:pt x="3193374" y="29628"/>
                </a:lnTo>
                <a:lnTo>
                  <a:pt x="3163772" y="29628"/>
                </a:lnTo>
                <a:close/>
                <a:moveTo>
                  <a:pt x="8744423" y="23"/>
                </a:moveTo>
                <a:lnTo>
                  <a:pt x="8774026" y="23"/>
                </a:lnTo>
                <a:lnTo>
                  <a:pt x="8774026" y="29625"/>
                </a:lnTo>
                <a:lnTo>
                  <a:pt x="8744423" y="29625"/>
                </a:lnTo>
                <a:close/>
                <a:moveTo>
                  <a:pt x="2897575" y="23"/>
                </a:moveTo>
                <a:lnTo>
                  <a:pt x="2927178" y="23"/>
                </a:lnTo>
                <a:lnTo>
                  <a:pt x="2927178" y="29625"/>
                </a:lnTo>
                <a:lnTo>
                  <a:pt x="2897575" y="29625"/>
                </a:lnTo>
                <a:close/>
                <a:moveTo>
                  <a:pt x="8478226" y="21"/>
                </a:moveTo>
                <a:lnTo>
                  <a:pt x="8507828" y="21"/>
                </a:lnTo>
                <a:lnTo>
                  <a:pt x="8507828" y="29623"/>
                </a:lnTo>
                <a:lnTo>
                  <a:pt x="8478226" y="29623"/>
                </a:lnTo>
                <a:close/>
                <a:moveTo>
                  <a:pt x="2631378" y="21"/>
                </a:moveTo>
                <a:lnTo>
                  <a:pt x="2660980" y="21"/>
                </a:lnTo>
                <a:lnTo>
                  <a:pt x="2660980" y="29623"/>
                </a:lnTo>
                <a:lnTo>
                  <a:pt x="2631378" y="29623"/>
                </a:lnTo>
                <a:close/>
                <a:moveTo>
                  <a:pt x="8212137" y="18"/>
                </a:moveTo>
                <a:lnTo>
                  <a:pt x="8241740" y="18"/>
                </a:lnTo>
                <a:lnTo>
                  <a:pt x="8241740" y="29621"/>
                </a:lnTo>
                <a:lnTo>
                  <a:pt x="8212137" y="29621"/>
                </a:lnTo>
                <a:close/>
                <a:moveTo>
                  <a:pt x="2365289" y="18"/>
                </a:moveTo>
                <a:lnTo>
                  <a:pt x="2394892" y="18"/>
                </a:lnTo>
                <a:lnTo>
                  <a:pt x="2394892" y="29621"/>
                </a:lnTo>
                <a:lnTo>
                  <a:pt x="2365289" y="29621"/>
                </a:lnTo>
                <a:close/>
                <a:moveTo>
                  <a:pt x="7945940" y="16"/>
                </a:moveTo>
                <a:lnTo>
                  <a:pt x="7975543" y="16"/>
                </a:lnTo>
                <a:lnTo>
                  <a:pt x="7975543" y="29618"/>
                </a:lnTo>
                <a:lnTo>
                  <a:pt x="7945940" y="29618"/>
                </a:lnTo>
                <a:close/>
                <a:moveTo>
                  <a:pt x="2099092" y="16"/>
                </a:moveTo>
                <a:lnTo>
                  <a:pt x="2128695" y="16"/>
                </a:lnTo>
                <a:lnTo>
                  <a:pt x="2128695" y="29618"/>
                </a:lnTo>
                <a:lnTo>
                  <a:pt x="2099092" y="29618"/>
                </a:lnTo>
                <a:close/>
                <a:moveTo>
                  <a:pt x="7679743" y="14"/>
                </a:moveTo>
                <a:lnTo>
                  <a:pt x="7709346" y="14"/>
                </a:lnTo>
                <a:lnTo>
                  <a:pt x="7709346" y="29616"/>
                </a:lnTo>
                <a:lnTo>
                  <a:pt x="7679743" y="29616"/>
                </a:lnTo>
                <a:close/>
                <a:moveTo>
                  <a:pt x="1832898" y="14"/>
                </a:moveTo>
                <a:lnTo>
                  <a:pt x="1862498" y="14"/>
                </a:lnTo>
                <a:lnTo>
                  <a:pt x="1862498" y="29616"/>
                </a:lnTo>
                <a:lnTo>
                  <a:pt x="1832898" y="29616"/>
                </a:lnTo>
                <a:close/>
                <a:moveTo>
                  <a:pt x="7413653" y="12"/>
                </a:moveTo>
                <a:lnTo>
                  <a:pt x="7443256" y="12"/>
                </a:lnTo>
                <a:lnTo>
                  <a:pt x="7443256" y="29614"/>
                </a:lnTo>
                <a:lnTo>
                  <a:pt x="7413653" y="29614"/>
                </a:lnTo>
                <a:close/>
                <a:moveTo>
                  <a:pt x="1566808" y="12"/>
                </a:moveTo>
                <a:lnTo>
                  <a:pt x="1596409" y="12"/>
                </a:lnTo>
                <a:lnTo>
                  <a:pt x="1596409" y="29614"/>
                </a:lnTo>
                <a:lnTo>
                  <a:pt x="1566808" y="29614"/>
                </a:lnTo>
                <a:close/>
                <a:moveTo>
                  <a:pt x="7147456" y="9"/>
                </a:moveTo>
                <a:lnTo>
                  <a:pt x="7177058" y="9"/>
                </a:lnTo>
                <a:lnTo>
                  <a:pt x="7177058" y="29612"/>
                </a:lnTo>
                <a:lnTo>
                  <a:pt x="7147456" y="29612"/>
                </a:lnTo>
                <a:close/>
                <a:moveTo>
                  <a:pt x="1300611" y="9"/>
                </a:moveTo>
                <a:lnTo>
                  <a:pt x="1330213" y="9"/>
                </a:lnTo>
                <a:lnTo>
                  <a:pt x="1330213" y="29612"/>
                </a:lnTo>
                <a:lnTo>
                  <a:pt x="1300611" y="29612"/>
                </a:lnTo>
                <a:close/>
                <a:moveTo>
                  <a:pt x="6881367" y="7"/>
                </a:moveTo>
                <a:lnTo>
                  <a:pt x="6910970" y="7"/>
                </a:lnTo>
                <a:lnTo>
                  <a:pt x="6910970" y="29609"/>
                </a:lnTo>
                <a:lnTo>
                  <a:pt x="6881367" y="29609"/>
                </a:lnTo>
                <a:close/>
                <a:moveTo>
                  <a:pt x="1034520" y="7"/>
                </a:moveTo>
                <a:lnTo>
                  <a:pt x="1064123" y="7"/>
                </a:lnTo>
                <a:lnTo>
                  <a:pt x="1064123" y="29609"/>
                </a:lnTo>
                <a:lnTo>
                  <a:pt x="1034520" y="29609"/>
                </a:lnTo>
                <a:close/>
                <a:moveTo>
                  <a:pt x="6615170" y="5"/>
                </a:moveTo>
                <a:lnTo>
                  <a:pt x="6644773" y="5"/>
                </a:lnTo>
                <a:lnTo>
                  <a:pt x="6644773" y="29607"/>
                </a:lnTo>
                <a:lnTo>
                  <a:pt x="6615170" y="29607"/>
                </a:lnTo>
                <a:close/>
                <a:moveTo>
                  <a:pt x="768326" y="5"/>
                </a:moveTo>
                <a:lnTo>
                  <a:pt x="797926" y="5"/>
                </a:lnTo>
                <a:lnTo>
                  <a:pt x="797926" y="29607"/>
                </a:lnTo>
                <a:lnTo>
                  <a:pt x="768326" y="29607"/>
                </a:lnTo>
                <a:close/>
                <a:moveTo>
                  <a:pt x="6349081" y="2"/>
                </a:moveTo>
                <a:lnTo>
                  <a:pt x="6378683" y="2"/>
                </a:lnTo>
                <a:lnTo>
                  <a:pt x="6378683" y="29605"/>
                </a:lnTo>
                <a:lnTo>
                  <a:pt x="6349081" y="29605"/>
                </a:lnTo>
                <a:close/>
                <a:moveTo>
                  <a:pt x="502235" y="2"/>
                </a:moveTo>
                <a:lnTo>
                  <a:pt x="531838" y="2"/>
                </a:lnTo>
                <a:lnTo>
                  <a:pt x="531838" y="29605"/>
                </a:lnTo>
                <a:lnTo>
                  <a:pt x="502235" y="29605"/>
                </a:lnTo>
                <a:close/>
                <a:moveTo>
                  <a:pt x="6082884" y="0"/>
                </a:moveTo>
                <a:lnTo>
                  <a:pt x="6112486" y="0"/>
                </a:lnTo>
                <a:lnTo>
                  <a:pt x="6112486" y="29602"/>
                </a:lnTo>
                <a:lnTo>
                  <a:pt x="6082884" y="29602"/>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20000"/>
            </a:schemeClr>
          </a:solidFill>
          <a:ln w="10797" cap="flat">
            <a:noFill/>
            <a:prstDash val="solid"/>
            <a:miter/>
          </a:ln>
        </p:spPr>
        <p:txBody>
          <a:bodyPr rtlCol="0" anchor="ctr"/>
          <a:lstStyle/>
          <a:p>
            <a:endParaRPr lang="en-US"/>
          </a:p>
        </p:txBody>
      </p:sp>
      <p:sp>
        <p:nvSpPr>
          <p:cNvPr id="22" name="Title 1">
            <a:extLst>
              <a:ext uri="{FF2B5EF4-FFF2-40B4-BE49-F238E27FC236}">
                <a16:creationId xmlns:a16="http://schemas.microsoft.com/office/drawing/2014/main" id="{E2C5D4DA-7E8C-43ED-A21C-F053340146E4}"/>
              </a:ext>
            </a:extLst>
          </p:cNvPr>
          <p:cNvSpPr>
            <a:spLocks noGrp="1"/>
          </p:cNvSpPr>
          <p:nvPr>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4" name="Text Placeholder 7">
            <a:extLst>
              <a:ext uri="{FF2B5EF4-FFF2-40B4-BE49-F238E27FC236}">
                <a16:creationId xmlns:a16="http://schemas.microsoft.com/office/drawing/2014/main" id="{2E77F839-1906-4B62-993E-E3534B67AD9B}"/>
              </a:ext>
            </a:extLst>
          </p:cNvPr>
          <p:cNvSpPr>
            <a:spLocks noGrp="1"/>
          </p:cNvSpPr>
          <p:nvPr>
            <p:ph type="body" sz="quarter" idx="13" hasCustomPrompt="1"/>
          </p:nvPr>
        </p:nvSpPr>
        <p:spPr>
          <a:xfrm>
            <a:off x="382972" y="330897"/>
            <a:ext cx="3712777" cy="557212"/>
          </a:xfrm>
        </p:spPr>
        <p:txBody>
          <a:bodyPr/>
          <a:lstStyle>
            <a:lvl1pPr>
              <a:spcBef>
                <a:spcPts val="0"/>
              </a:spcBef>
              <a:defRPr sz="900">
                <a:solidFill>
                  <a:schemeClr val="bg1"/>
                </a:solidFill>
              </a:defRPr>
            </a:lvl1pPr>
            <a:lvl2pPr marL="112713" indent="-112713">
              <a:spcBef>
                <a:spcPts val="0"/>
              </a:spcBef>
              <a:buClr>
                <a:schemeClr val="tx2"/>
              </a:buClr>
              <a:defRPr sz="900">
                <a:solidFill>
                  <a:schemeClr val="tx1"/>
                </a:solidFill>
              </a:defRPr>
            </a:lvl2pPr>
            <a:lvl3pPr marL="225425" indent="-112713">
              <a:spcBef>
                <a:spcPts val="0"/>
              </a:spcBef>
              <a:buClr>
                <a:schemeClr val="tx2"/>
              </a:buClr>
              <a:defRPr sz="900">
                <a:solidFill>
                  <a:schemeClr val="tx1"/>
                </a:solidFill>
              </a:defRPr>
            </a:lvl3pPr>
            <a:lvl4pPr marL="339725" indent="-114300">
              <a:spcBef>
                <a:spcPts val="0"/>
              </a:spcBef>
              <a:buClr>
                <a:schemeClr val="tx2"/>
              </a:buClr>
              <a:defRPr sz="900"/>
            </a:lvl4pPr>
            <a:lvl5pPr marL="460375" indent="-120650">
              <a:spcBef>
                <a:spcPts val="0"/>
              </a:spcBef>
              <a:buClr>
                <a:schemeClr val="tx2"/>
              </a:buClr>
              <a:tabLst/>
              <a:defRPr sz="900"/>
            </a:lvl5pPr>
          </a:lstStyle>
          <a:p>
            <a:pPr lvl="0"/>
            <a:r>
              <a:rPr lang="en-US"/>
              <a:t>Insert Date Here</a:t>
            </a:r>
          </a:p>
          <a:p>
            <a:pPr lvl="0"/>
            <a:endParaRPr lang="en-US"/>
          </a:p>
        </p:txBody>
      </p:sp>
      <p:pic>
        <p:nvPicPr>
          <p:cNvPr id="25" name="Picture 24" descr="A close up of a sign&#10;&#10;Description automatically generated">
            <a:extLst>
              <a:ext uri="{FF2B5EF4-FFF2-40B4-BE49-F238E27FC236}">
                <a16:creationId xmlns:a16="http://schemas.microsoft.com/office/drawing/2014/main" id="{C70185A7-0261-4E42-A29C-AE538303AF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212" y="6081014"/>
            <a:ext cx="2448162" cy="560910"/>
          </a:xfrm>
          <a:prstGeom prst="rect">
            <a:avLst/>
          </a:prstGeom>
        </p:spPr>
      </p:pic>
      <p:grpSp>
        <p:nvGrpSpPr>
          <p:cNvPr id="46" name="Group 45">
            <a:extLst>
              <a:ext uri="{FF2B5EF4-FFF2-40B4-BE49-F238E27FC236}">
                <a16:creationId xmlns:a16="http://schemas.microsoft.com/office/drawing/2014/main" id="{367E70E1-2DA1-4D32-B83F-0B9FE3162B89}"/>
              </a:ext>
            </a:extLst>
          </p:cNvPr>
          <p:cNvGrpSpPr/>
          <p:nvPr userDrawn="1"/>
        </p:nvGrpSpPr>
        <p:grpSpPr>
          <a:xfrm>
            <a:off x="6085991" y="0"/>
            <a:ext cx="6102834" cy="6860999"/>
            <a:chOff x="7712625" y="0"/>
            <a:chExt cx="6102834" cy="6860999"/>
          </a:xfrm>
          <a:solidFill>
            <a:schemeClr val="bg1">
              <a:alpha val="20000"/>
            </a:schemeClr>
          </a:solidFill>
        </p:grpSpPr>
        <p:sp>
          <p:nvSpPr>
            <p:cNvPr id="47" name="Text Placeholder 46">
              <a:extLst>
                <a:ext uri="{FF2B5EF4-FFF2-40B4-BE49-F238E27FC236}">
                  <a16:creationId xmlns:a16="http://schemas.microsoft.com/office/drawing/2014/main" id="{E6396312-5905-4F5E-8B2D-42A6703AEC6F}"/>
                </a:ext>
              </a:extLst>
            </p:cNvPr>
            <p:cNvSpPr txBox="1">
              <a:spLocks/>
            </p:cNvSpPr>
            <p:nvPr/>
          </p:nvSpPr>
          <p:spPr>
            <a:xfrm>
              <a:off x="9043800" y="3"/>
              <a:ext cx="1059710" cy="1030447"/>
            </a:xfrm>
            <a:custGeom>
              <a:avLst/>
              <a:gdLst>
                <a:gd name="connsiteX0" fmla="*/ 0 w 1059710"/>
                <a:gd name="connsiteY0" fmla="*/ 0 h 1030447"/>
                <a:gd name="connsiteX1" fmla="*/ 530730 w 1059710"/>
                <a:gd name="connsiteY1" fmla="*/ 0 h 1030447"/>
                <a:gd name="connsiteX2" fmla="*/ 538263 w 1059710"/>
                <a:gd name="connsiteY2" fmla="*/ 74726 h 1030447"/>
                <a:gd name="connsiteX3" fmla="*/ 1059710 w 1059710"/>
                <a:gd name="connsiteY3" fmla="*/ 499718 h 1030447"/>
                <a:gd name="connsiteX4" fmla="*/ 1059710 w 1059710"/>
                <a:gd name="connsiteY4" fmla="*/ 1030447 h 1030447"/>
                <a:gd name="connsiteX5" fmla="*/ 18316 w 1059710"/>
                <a:gd name="connsiteY5" fmla="*/ 181687 h 103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9710" h="1030447">
                  <a:moveTo>
                    <a:pt x="0" y="0"/>
                  </a:moveTo>
                  <a:lnTo>
                    <a:pt x="530730" y="0"/>
                  </a:lnTo>
                  <a:lnTo>
                    <a:pt x="538263" y="74726"/>
                  </a:lnTo>
                  <a:cubicBezTo>
                    <a:pt x="587894" y="317268"/>
                    <a:pt x="802496" y="499718"/>
                    <a:pt x="1059710" y="499718"/>
                  </a:cubicBezTo>
                  <a:lnTo>
                    <a:pt x="1059710" y="1030447"/>
                  </a:lnTo>
                  <a:cubicBezTo>
                    <a:pt x="546021" y="1030447"/>
                    <a:pt x="117435" y="666073"/>
                    <a:pt x="18316" y="181687"/>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48" name="Text Placeholder 49">
              <a:extLst>
                <a:ext uri="{FF2B5EF4-FFF2-40B4-BE49-F238E27FC236}">
                  <a16:creationId xmlns:a16="http://schemas.microsoft.com/office/drawing/2014/main" id="{CAD6A54D-E602-4454-AE9A-6CF53CDAF72C}"/>
                </a:ext>
              </a:extLst>
            </p:cNvPr>
            <p:cNvSpPr txBox="1">
              <a:spLocks/>
            </p:cNvSpPr>
            <p:nvPr/>
          </p:nvSpPr>
          <p:spPr>
            <a:xfrm>
              <a:off x="7721045" y="1551001"/>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49" name="Freeform: Shape 71">
              <a:extLst>
                <a:ext uri="{FF2B5EF4-FFF2-40B4-BE49-F238E27FC236}">
                  <a16:creationId xmlns:a16="http://schemas.microsoft.com/office/drawing/2014/main" id="{832F471D-A6D2-4392-AAD7-FCD946DF1BAC}"/>
                </a:ext>
              </a:extLst>
            </p:cNvPr>
            <p:cNvSpPr txBox="1">
              <a:spLocks/>
            </p:cNvSpPr>
            <p:nvPr/>
          </p:nvSpPr>
          <p:spPr>
            <a:xfrm>
              <a:off x="10906489" y="1"/>
              <a:ext cx="530877" cy="1010939"/>
            </a:xfrm>
            <a:custGeom>
              <a:avLst/>
              <a:gdLst>
                <a:gd name="connsiteX0" fmla="*/ 0 w 530877"/>
                <a:gd name="connsiteY0" fmla="*/ 0 h 1010939"/>
                <a:gd name="connsiteX1" fmla="*/ 530877 w 530877"/>
                <a:gd name="connsiteY1" fmla="*/ 0 h 1010939"/>
                <a:gd name="connsiteX2" fmla="*/ 530877 w 530877"/>
                <a:gd name="connsiteY2" fmla="*/ 1010939 h 1010939"/>
                <a:gd name="connsiteX3" fmla="*/ 0 w 530877"/>
                <a:gd name="connsiteY3" fmla="*/ 1010939 h 1010939"/>
              </a:gdLst>
              <a:ahLst/>
              <a:cxnLst>
                <a:cxn ang="0">
                  <a:pos x="connsiteX0" y="connsiteY0"/>
                </a:cxn>
                <a:cxn ang="0">
                  <a:pos x="connsiteX1" y="connsiteY1"/>
                </a:cxn>
                <a:cxn ang="0">
                  <a:pos x="connsiteX2" y="connsiteY2"/>
                </a:cxn>
                <a:cxn ang="0">
                  <a:pos x="connsiteX3" y="connsiteY3"/>
                </a:cxn>
              </a:cxnLst>
              <a:rect l="l" t="t" r="r" b="b"/>
              <a:pathLst>
                <a:path w="530877" h="1010939">
                  <a:moveTo>
                    <a:pt x="0" y="0"/>
                  </a:moveTo>
                  <a:lnTo>
                    <a:pt x="530877" y="0"/>
                  </a:lnTo>
                  <a:lnTo>
                    <a:pt x="530877" y="1010939"/>
                  </a:lnTo>
                  <a:lnTo>
                    <a:pt x="0" y="1010939"/>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0" name="Freeform: Shape 72">
              <a:extLst>
                <a:ext uri="{FF2B5EF4-FFF2-40B4-BE49-F238E27FC236}">
                  <a16:creationId xmlns:a16="http://schemas.microsoft.com/office/drawing/2014/main" id="{3976A62E-22A8-4A3A-9E40-114522031F38}"/>
                </a:ext>
              </a:extLst>
            </p:cNvPr>
            <p:cNvSpPr txBox="1">
              <a:spLocks/>
            </p:cNvSpPr>
            <p:nvPr/>
          </p:nvSpPr>
          <p:spPr>
            <a:xfrm>
              <a:off x="12218834" y="0"/>
              <a:ext cx="1596624" cy="1030511"/>
            </a:xfrm>
            <a:custGeom>
              <a:avLst/>
              <a:gdLst>
                <a:gd name="connsiteX0" fmla="*/ 0 w 1596624"/>
                <a:gd name="connsiteY0" fmla="*/ 0 h 1030511"/>
                <a:gd name="connsiteX1" fmla="*/ 530728 w 1596624"/>
                <a:gd name="connsiteY1" fmla="*/ 0 h 1030511"/>
                <a:gd name="connsiteX2" fmla="*/ 538268 w 1596624"/>
                <a:gd name="connsiteY2" fmla="*/ 74789 h 1030511"/>
                <a:gd name="connsiteX3" fmla="*/ 1059716 w 1596624"/>
                <a:gd name="connsiteY3" fmla="*/ 499781 h 1030511"/>
                <a:gd name="connsiteX4" fmla="*/ 1581162 w 1596624"/>
                <a:gd name="connsiteY4" fmla="*/ 74789 h 1030511"/>
                <a:gd name="connsiteX5" fmla="*/ 1588702 w 1596624"/>
                <a:gd name="connsiteY5" fmla="*/ 0 h 1030511"/>
                <a:gd name="connsiteX6" fmla="*/ 1596624 w 1596624"/>
                <a:gd name="connsiteY6" fmla="*/ 0 h 1030511"/>
                <a:gd name="connsiteX7" fmla="*/ 1596624 w 1596624"/>
                <a:gd name="connsiteY7" fmla="*/ 880135 h 1030511"/>
                <a:gd name="connsiteX8" fmla="*/ 1473479 w 1596624"/>
                <a:gd name="connsiteY8" fmla="*/ 946976 h 1030511"/>
                <a:gd name="connsiteX9" fmla="*/ 1059716 w 1596624"/>
                <a:gd name="connsiteY9" fmla="*/ 1030511 h 1030511"/>
                <a:gd name="connsiteX10" fmla="*/ 18322 w 1596624"/>
                <a:gd name="connsiteY10" fmla="*/ 181750 h 103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6624" h="1030511">
                  <a:moveTo>
                    <a:pt x="0" y="0"/>
                  </a:moveTo>
                  <a:lnTo>
                    <a:pt x="530728" y="0"/>
                  </a:lnTo>
                  <a:lnTo>
                    <a:pt x="538268" y="74789"/>
                  </a:lnTo>
                  <a:cubicBezTo>
                    <a:pt x="587899" y="317331"/>
                    <a:pt x="802501" y="499781"/>
                    <a:pt x="1059716" y="499781"/>
                  </a:cubicBezTo>
                  <a:cubicBezTo>
                    <a:pt x="1316929" y="499781"/>
                    <a:pt x="1531531" y="317331"/>
                    <a:pt x="1581162" y="74789"/>
                  </a:cubicBezTo>
                  <a:lnTo>
                    <a:pt x="1588702" y="0"/>
                  </a:lnTo>
                  <a:lnTo>
                    <a:pt x="1596624" y="0"/>
                  </a:lnTo>
                  <a:lnTo>
                    <a:pt x="1596624" y="880135"/>
                  </a:lnTo>
                  <a:lnTo>
                    <a:pt x="1473479" y="946976"/>
                  </a:lnTo>
                  <a:cubicBezTo>
                    <a:pt x="1346305" y="1000766"/>
                    <a:pt x="1206484" y="1030511"/>
                    <a:pt x="1059716" y="1030511"/>
                  </a:cubicBezTo>
                  <a:cubicBezTo>
                    <a:pt x="546026" y="1030511"/>
                    <a:pt x="117442" y="666137"/>
                    <a:pt x="18322" y="18175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1" name="Text Placeholder 64">
              <a:extLst>
                <a:ext uri="{FF2B5EF4-FFF2-40B4-BE49-F238E27FC236}">
                  <a16:creationId xmlns:a16="http://schemas.microsoft.com/office/drawing/2014/main" id="{3893B09A-9B13-4D33-9422-917659531D5C}"/>
                </a:ext>
              </a:extLst>
            </p:cNvPr>
            <p:cNvSpPr txBox="1">
              <a:spLocks/>
            </p:cNvSpPr>
            <p:nvPr/>
          </p:nvSpPr>
          <p:spPr>
            <a:xfrm>
              <a:off x="9305269" y="1545516"/>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2" name="Text Placeholder 70">
              <a:extLst>
                <a:ext uri="{FF2B5EF4-FFF2-40B4-BE49-F238E27FC236}">
                  <a16:creationId xmlns:a16="http://schemas.microsoft.com/office/drawing/2014/main" id="{02085B05-6DC2-478E-A8EE-C7D755ECFFA4}"/>
                </a:ext>
              </a:extLst>
            </p:cNvPr>
            <p:cNvSpPr txBox="1">
              <a:spLocks/>
            </p:cNvSpPr>
            <p:nvPr/>
          </p:nvSpPr>
          <p:spPr>
            <a:xfrm>
              <a:off x="13284581" y="1564235"/>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3" name="Text Placeholder 73">
              <a:extLst>
                <a:ext uri="{FF2B5EF4-FFF2-40B4-BE49-F238E27FC236}">
                  <a16:creationId xmlns:a16="http://schemas.microsoft.com/office/drawing/2014/main" id="{0ADB176D-6ECC-4FC9-B292-6C04713C1A42}"/>
                </a:ext>
              </a:extLst>
            </p:cNvPr>
            <p:cNvSpPr txBox="1">
              <a:spLocks/>
            </p:cNvSpPr>
            <p:nvPr/>
          </p:nvSpPr>
          <p:spPr>
            <a:xfrm>
              <a:off x="13284582" y="4225925"/>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4" name="Text Placeholder 76">
              <a:extLst>
                <a:ext uri="{FF2B5EF4-FFF2-40B4-BE49-F238E27FC236}">
                  <a16:creationId xmlns:a16="http://schemas.microsoft.com/office/drawing/2014/main" id="{3FFD54A6-0061-4DC6-9954-DB680581CAB1}"/>
                </a:ext>
              </a:extLst>
            </p:cNvPr>
            <p:cNvSpPr txBox="1">
              <a:spLocks/>
            </p:cNvSpPr>
            <p:nvPr/>
          </p:nvSpPr>
          <p:spPr>
            <a:xfrm>
              <a:off x="11170855" y="6330122"/>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5" name="Text Placeholder 79">
              <a:extLst>
                <a:ext uri="{FF2B5EF4-FFF2-40B4-BE49-F238E27FC236}">
                  <a16:creationId xmlns:a16="http://schemas.microsoft.com/office/drawing/2014/main" id="{D197CB0A-253B-41E2-9CB4-C45E916B4E1A}"/>
                </a:ext>
              </a:extLst>
            </p:cNvPr>
            <p:cNvSpPr txBox="1">
              <a:spLocks/>
            </p:cNvSpPr>
            <p:nvPr/>
          </p:nvSpPr>
          <p:spPr>
            <a:xfrm>
              <a:off x="11955082" y="5160862"/>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6" name="Text Placeholder 81">
              <a:extLst>
                <a:ext uri="{FF2B5EF4-FFF2-40B4-BE49-F238E27FC236}">
                  <a16:creationId xmlns:a16="http://schemas.microsoft.com/office/drawing/2014/main" id="{BFCB141B-E63B-4D21-8483-E6C0A1092D7D}"/>
                </a:ext>
              </a:extLst>
            </p:cNvPr>
            <p:cNvSpPr txBox="1">
              <a:spLocks/>
            </p:cNvSpPr>
            <p:nvPr/>
          </p:nvSpPr>
          <p:spPr>
            <a:xfrm>
              <a:off x="9587145" y="2890470"/>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7" name="Text Placeholder 83">
              <a:extLst>
                <a:ext uri="{FF2B5EF4-FFF2-40B4-BE49-F238E27FC236}">
                  <a16:creationId xmlns:a16="http://schemas.microsoft.com/office/drawing/2014/main" id="{D434F2C2-0357-49A0-BCB0-73E82D442324}"/>
                </a:ext>
              </a:extLst>
            </p:cNvPr>
            <p:cNvSpPr txBox="1">
              <a:spLocks/>
            </p:cNvSpPr>
            <p:nvPr/>
          </p:nvSpPr>
          <p:spPr>
            <a:xfrm flipV="1">
              <a:off x="10642478" y="3160396"/>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8" name="Text Placeholder 84">
              <a:extLst>
                <a:ext uri="{FF2B5EF4-FFF2-40B4-BE49-F238E27FC236}">
                  <a16:creationId xmlns:a16="http://schemas.microsoft.com/office/drawing/2014/main" id="{770FDC8E-7814-48A6-84BE-80C356DD32CE}"/>
                </a:ext>
              </a:extLst>
            </p:cNvPr>
            <p:cNvSpPr txBox="1">
              <a:spLocks/>
            </p:cNvSpPr>
            <p:nvPr/>
          </p:nvSpPr>
          <p:spPr>
            <a:xfrm rot="5400000" flipV="1">
              <a:off x="7198845" y="3427722"/>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59" name="Freeform: Shape 81">
              <a:extLst>
                <a:ext uri="{FF2B5EF4-FFF2-40B4-BE49-F238E27FC236}">
                  <a16:creationId xmlns:a16="http://schemas.microsoft.com/office/drawing/2014/main" id="{703BA796-8631-4B0D-B50F-04BBB0D050EA}"/>
                </a:ext>
              </a:extLst>
            </p:cNvPr>
            <p:cNvSpPr txBox="1">
              <a:spLocks/>
            </p:cNvSpPr>
            <p:nvPr/>
          </p:nvSpPr>
          <p:spPr>
            <a:xfrm>
              <a:off x="7712625" y="5822950"/>
              <a:ext cx="530877" cy="1035050"/>
            </a:xfrm>
            <a:custGeom>
              <a:avLst/>
              <a:gdLst>
                <a:gd name="connsiteX0" fmla="*/ 0 w 530877"/>
                <a:gd name="connsiteY0" fmla="*/ 0 h 1035050"/>
                <a:gd name="connsiteX1" fmla="*/ 530877 w 530877"/>
                <a:gd name="connsiteY1" fmla="*/ 0 h 1035050"/>
                <a:gd name="connsiteX2" fmla="*/ 530877 w 530877"/>
                <a:gd name="connsiteY2" fmla="*/ 1035050 h 1035050"/>
                <a:gd name="connsiteX3" fmla="*/ 0 w 530877"/>
                <a:gd name="connsiteY3" fmla="*/ 1035050 h 1035050"/>
              </a:gdLst>
              <a:ahLst/>
              <a:cxnLst>
                <a:cxn ang="0">
                  <a:pos x="connsiteX0" y="connsiteY0"/>
                </a:cxn>
                <a:cxn ang="0">
                  <a:pos x="connsiteX1" y="connsiteY1"/>
                </a:cxn>
                <a:cxn ang="0">
                  <a:pos x="connsiteX2" y="connsiteY2"/>
                </a:cxn>
                <a:cxn ang="0">
                  <a:pos x="connsiteX3" y="connsiteY3"/>
                </a:cxn>
              </a:cxnLst>
              <a:rect l="l" t="t" r="r" b="b"/>
              <a:pathLst>
                <a:path w="530877" h="1035050">
                  <a:moveTo>
                    <a:pt x="0" y="0"/>
                  </a:moveTo>
                  <a:lnTo>
                    <a:pt x="530877" y="0"/>
                  </a:lnTo>
                  <a:lnTo>
                    <a:pt x="530877" y="1035050"/>
                  </a:lnTo>
                  <a:lnTo>
                    <a:pt x="0" y="1035050"/>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60" name="Text Placeholder 83">
              <a:extLst>
                <a:ext uri="{FF2B5EF4-FFF2-40B4-BE49-F238E27FC236}">
                  <a16:creationId xmlns:a16="http://schemas.microsoft.com/office/drawing/2014/main" id="{662DAF0C-93B8-4EFB-9D36-FD089D412F01}"/>
                </a:ext>
              </a:extLst>
            </p:cNvPr>
            <p:cNvSpPr txBox="1">
              <a:spLocks/>
            </p:cNvSpPr>
            <p:nvPr/>
          </p:nvSpPr>
          <p:spPr>
            <a:xfrm rot="10800000" flipV="1">
              <a:off x="8793203" y="5277700"/>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61" name="Freeform: Shape 83">
              <a:extLst>
                <a:ext uri="{FF2B5EF4-FFF2-40B4-BE49-F238E27FC236}">
                  <a16:creationId xmlns:a16="http://schemas.microsoft.com/office/drawing/2014/main" id="{0DA49548-4D42-41E9-A0A7-1DF15B8493DA}"/>
                </a:ext>
              </a:extLst>
            </p:cNvPr>
            <p:cNvSpPr txBox="1">
              <a:spLocks/>
            </p:cNvSpPr>
            <p:nvPr/>
          </p:nvSpPr>
          <p:spPr>
            <a:xfrm>
              <a:off x="7716399" y="0"/>
              <a:ext cx="530877" cy="1012276"/>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62" name="Text Placeholder 89">
              <a:extLst>
                <a:ext uri="{FF2B5EF4-FFF2-40B4-BE49-F238E27FC236}">
                  <a16:creationId xmlns:a16="http://schemas.microsoft.com/office/drawing/2014/main" id="{2B244BF7-E373-4175-BE63-DE05872C8EE1}"/>
                </a:ext>
              </a:extLst>
            </p:cNvPr>
            <p:cNvSpPr txBox="1">
              <a:spLocks/>
            </p:cNvSpPr>
            <p:nvPr/>
          </p:nvSpPr>
          <p:spPr>
            <a:xfrm>
              <a:off x="11955082" y="1828841"/>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grp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spTree>
    <p:extLst>
      <p:ext uri="{BB962C8B-B14F-4D97-AF65-F5344CB8AC3E}">
        <p14:creationId xmlns:p14="http://schemas.microsoft.com/office/powerpoint/2010/main" val="1000385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lumn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AC516D-EA0F-4243-80FD-A4ACF7B1679B}"/>
              </a:ext>
            </a:extLst>
          </p:cNvPr>
          <p:cNvSpPr>
            <a:spLocks noGrp="1"/>
          </p:cNvSpPr>
          <p:nvPr>
            <p:ph type="title"/>
          </p:nvPr>
        </p:nvSpPr>
        <p:spPr>
          <a:xfrm>
            <a:off x="1941514" y="912309"/>
            <a:ext cx="9867900" cy="916491"/>
          </a:xfrm>
        </p:spPr>
        <p:txBody>
          <a:bodyPr/>
          <a:lstStyle/>
          <a:p>
            <a:r>
              <a:rPr lang="en-US"/>
              <a:t>Click to edit Master title style</a:t>
            </a:r>
          </a:p>
        </p:txBody>
      </p:sp>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1941633" y="1828800"/>
            <a:ext cx="2289720"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1941513" y="2438400"/>
            <a:ext cx="2293349"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5DED9890-AE6A-4175-A2D3-94CD8046DE11}"/>
              </a:ext>
            </a:extLst>
          </p:cNvPr>
          <p:cNvSpPr>
            <a:spLocks noGrp="1"/>
          </p:cNvSpPr>
          <p:nvPr>
            <p:ph type="body" sz="quarter" idx="21" hasCustomPrompt="1"/>
          </p:nvPr>
        </p:nvSpPr>
        <p:spPr>
          <a:xfrm>
            <a:off x="4467751" y="1828800"/>
            <a:ext cx="2289720"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BB3C3060-27A6-4548-B724-025333818485}"/>
              </a:ext>
            </a:extLst>
          </p:cNvPr>
          <p:cNvSpPr>
            <a:spLocks noGrp="1"/>
          </p:cNvSpPr>
          <p:nvPr>
            <p:ph idx="22"/>
          </p:nvPr>
        </p:nvSpPr>
        <p:spPr>
          <a:xfrm>
            <a:off x="4466266" y="2438400"/>
            <a:ext cx="2293349"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4">
            <a:extLst>
              <a:ext uri="{FF2B5EF4-FFF2-40B4-BE49-F238E27FC236}">
                <a16:creationId xmlns:a16="http://schemas.microsoft.com/office/drawing/2014/main" id="{85B79AD3-9CCE-4AA6-A9B4-5F9A43BC7813}"/>
              </a:ext>
            </a:extLst>
          </p:cNvPr>
          <p:cNvSpPr>
            <a:spLocks noGrp="1"/>
          </p:cNvSpPr>
          <p:nvPr>
            <p:ph type="body" sz="quarter" idx="23" hasCustomPrompt="1"/>
          </p:nvPr>
        </p:nvSpPr>
        <p:spPr>
          <a:xfrm>
            <a:off x="6993869" y="1828800"/>
            <a:ext cx="2289720"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8" name="Content Placeholder 2">
            <a:extLst>
              <a:ext uri="{FF2B5EF4-FFF2-40B4-BE49-F238E27FC236}">
                <a16:creationId xmlns:a16="http://schemas.microsoft.com/office/drawing/2014/main" id="{4C5F5AA9-D133-46A4-A522-544F77D1A78B}"/>
              </a:ext>
            </a:extLst>
          </p:cNvPr>
          <p:cNvSpPr>
            <a:spLocks noGrp="1"/>
          </p:cNvSpPr>
          <p:nvPr>
            <p:ph idx="24"/>
          </p:nvPr>
        </p:nvSpPr>
        <p:spPr>
          <a:xfrm>
            <a:off x="6991019" y="2438400"/>
            <a:ext cx="2293349"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2AD1F5CB-9325-407F-A82E-AD63D7DB55BC}"/>
              </a:ext>
            </a:extLst>
          </p:cNvPr>
          <p:cNvSpPr>
            <a:spLocks noGrp="1"/>
          </p:cNvSpPr>
          <p:nvPr>
            <p:ph type="body" sz="quarter" idx="25" hasCustomPrompt="1"/>
          </p:nvPr>
        </p:nvSpPr>
        <p:spPr>
          <a:xfrm>
            <a:off x="9519986" y="1828800"/>
            <a:ext cx="2289720"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0" name="Content Placeholder 2">
            <a:extLst>
              <a:ext uri="{FF2B5EF4-FFF2-40B4-BE49-F238E27FC236}">
                <a16:creationId xmlns:a16="http://schemas.microsoft.com/office/drawing/2014/main" id="{D422D8ED-8DB0-4D9F-8593-51376DCEC52C}"/>
              </a:ext>
            </a:extLst>
          </p:cNvPr>
          <p:cNvSpPr>
            <a:spLocks noGrp="1"/>
          </p:cNvSpPr>
          <p:nvPr>
            <p:ph idx="26"/>
          </p:nvPr>
        </p:nvSpPr>
        <p:spPr>
          <a:xfrm>
            <a:off x="9515771" y="2438400"/>
            <a:ext cx="2293349"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04CE63E0-E56A-4E0F-994E-4CC076143759}"/>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41234992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1941634" y="1828800"/>
            <a:ext cx="1845583"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1941513" y="2438400"/>
            <a:ext cx="1848508" cy="3733800"/>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4">
            <a:extLst>
              <a:ext uri="{FF2B5EF4-FFF2-40B4-BE49-F238E27FC236}">
                <a16:creationId xmlns:a16="http://schemas.microsoft.com/office/drawing/2014/main" id="{2472D317-8C7C-4435-97B7-AD733CBE008E}"/>
              </a:ext>
            </a:extLst>
          </p:cNvPr>
          <p:cNvSpPr>
            <a:spLocks noGrp="1"/>
          </p:cNvSpPr>
          <p:nvPr>
            <p:ph type="body" sz="quarter" idx="21" hasCustomPrompt="1"/>
          </p:nvPr>
        </p:nvSpPr>
        <p:spPr>
          <a:xfrm>
            <a:off x="3946482" y="1828800"/>
            <a:ext cx="1845583"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Content Placeholder 2">
            <a:extLst>
              <a:ext uri="{FF2B5EF4-FFF2-40B4-BE49-F238E27FC236}">
                <a16:creationId xmlns:a16="http://schemas.microsoft.com/office/drawing/2014/main" id="{E4D2D360-EEE9-4391-80AA-F3022B2E44BA}"/>
              </a:ext>
            </a:extLst>
          </p:cNvPr>
          <p:cNvSpPr>
            <a:spLocks noGrp="1"/>
          </p:cNvSpPr>
          <p:nvPr>
            <p:ph idx="22"/>
          </p:nvPr>
        </p:nvSpPr>
        <p:spPr>
          <a:xfrm>
            <a:off x="3946361" y="2438400"/>
            <a:ext cx="1848508" cy="3733800"/>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4">
            <a:extLst>
              <a:ext uri="{FF2B5EF4-FFF2-40B4-BE49-F238E27FC236}">
                <a16:creationId xmlns:a16="http://schemas.microsoft.com/office/drawing/2014/main" id="{7C950CA8-931F-42EC-8D1C-684B10BA33DF}"/>
              </a:ext>
            </a:extLst>
          </p:cNvPr>
          <p:cNvSpPr>
            <a:spLocks noGrp="1"/>
          </p:cNvSpPr>
          <p:nvPr>
            <p:ph type="body" sz="quarter" idx="23" hasCustomPrompt="1"/>
          </p:nvPr>
        </p:nvSpPr>
        <p:spPr>
          <a:xfrm>
            <a:off x="5951330" y="1828800"/>
            <a:ext cx="1845583"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424531BF-7D09-4306-9D8E-78BAF0CD5048}"/>
              </a:ext>
            </a:extLst>
          </p:cNvPr>
          <p:cNvSpPr>
            <a:spLocks noGrp="1"/>
          </p:cNvSpPr>
          <p:nvPr>
            <p:ph idx="24"/>
          </p:nvPr>
        </p:nvSpPr>
        <p:spPr>
          <a:xfrm>
            <a:off x="5951209" y="2438400"/>
            <a:ext cx="1848508" cy="3733800"/>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4">
            <a:extLst>
              <a:ext uri="{FF2B5EF4-FFF2-40B4-BE49-F238E27FC236}">
                <a16:creationId xmlns:a16="http://schemas.microsoft.com/office/drawing/2014/main" id="{CFB36ED7-BBFD-4DB9-9421-F9BE8CD07C55}"/>
              </a:ext>
            </a:extLst>
          </p:cNvPr>
          <p:cNvSpPr>
            <a:spLocks noGrp="1"/>
          </p:cNvSpPr>
          <p:nvPr>
            <p:ph type="body" sz="quarter" idx="25" hasCustomPrompt="1"/>
          </p:nvPr>
        </p:nvSpPr>
        <p:spPr>
          <a:xfrm>
            <a:off x="7956178" y="1828800"/>
            <a:ext cx="1845583"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Content Placeholder 2">
            <a:extLst>
              <a:ext uri="{FF2B5EF4-FFF2-40B4-BE49-F238E27FC236}">
                <a16:creationId xmlns:a16="http://schemas.microsoft.com/office/drawing/2014/main" id="{BBEA8CD3-8F3D-4C64-8375-1733B126A69B}"/>
              </a:ext>
            </a:extLst>
          </p:cNvPr>
          <p:cNvSpPr>
            <a:spLocks noGrp="1"/>
          </p:cNvSpPr>
          <p:nvPr>
            <p:ph idx="26"/>
          </p:nvPr>
        </p:nvSpPr>
        <p:spPr>
          <a:xfrm>
            <a:off x="7956057" y="2438400"/>
            <a:ext cx="1848508" cy="3733800"/>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14">
            <a:extLst>
              <a:ext uri="{FF2B5EF4-FFF2-40B4-BE49-F238E27FC236}">
                <a16:creationId xmlns:a16="http://schemas.microsoft.com/office/drawing/2014/main" id="{D6519DA7-2099-4BBE-BC01-9482B3B54131}"/>
              </a:ext>
            </a:extLst>
          </p:cNvPr>
          <p:cNvSpPr>
            <a:spLocks noGrp="1"/>
          </p:cNvSpPr>
          <p:nvPr>
            <p:ph type="body" sz="quarter" idx="27" hasCustomPrompt="1"/>
          </p:nvPr>
        </p:nvSpPr>
        <p:spPr>
          <a:xfrm>
            <a:off x="9961026" y="1828800"/>
            <a:ext cx="1845583"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4" name="Content Placeholder 2">
            <a:extLst>
              <a:ext uri="{FF2B5EF4-FFF2-40B4-BE49-F238E27FC236}">
                <a16:creationId xmlns:a16="http://schemas.microsoft.com/office/drawing/2014/main" id="{18DDB658-7F30-450F-B746-304E5B393DA7}"/>
              </a:ext>
            </a:extLst>
          </p:cNvPr>
          <p:cNvSpPr>
            <a:spLocks noGrp="1"/>
          </p:cNvSpPr>
          <p:nvPr>
            <p:ph idx="28"/>
          </p:nvPr>
        </p:nvSpPr>
        <p:spPr>
          <a:xfrm>
            <a:off x="9960905" y="2438400"/>
            <a:ext cx="1848508" cy="3733800"/>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5057E99-C6D3-4767-A7F2-8EFFFE8D4719}"/>
              </a:ext>
            </a:extLst>
          </p:cNvPr>
          <p:cNvSpPr>
            <a:spLocks noGrp="1"/>
          </p:cNvSpPr>
          <p:nvPr>
            <p:ph type="title"/>
          </p:nvPr>
        </p:nvSpPr>
        <p:spPr/>
        <p:txBody>
          <a:bodyPr/>
          <a:lstStyle/>
          <a:p>
            <a:r>
              <a:rPr lang="en-US"/>
              <a:t>Click to edit Master title style</a:t>
            </a:r>
          </a:p>
        </p:txBody>
      </p:sp>
      <p:sp>
        <p:nvSpPr>
          <p:cNvPr id="15" name="Text Placeholder 12">
            <a:extLst>
              <a:ext uri="{FF2B5EF4-FFF2-40B4-BE49-F238E27FC236}">
                <a16:creationId xmlns:a16="http://schemas.microsoft.com/office/drawing/2014/main" id="{011FC75B-75F4-4F00-9C75-6A45BC9C604E}"/>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27069197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1941634" y="1828800"/>
            <a:ext cx="3111035"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hasCustomPrompt="1"/>
          </p:nvPr>
        </p:nvSpPr>
        <p:spPr>
          <a:xfrm>
            <a:off x="1941513" y="2438400"/>
            <a:ext cx="3115967" cy="1413958"/>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5312387" y="1828800"/>
            <a:ext cx="3111035"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hasCustomPrompt="1"/>
          </p:nvPr>
        </p:nvSpPr>
        <p:spPr>
          <a:xfrm>
            <a:off x="5312266" y="2438400"/>
            <a:ext cx="3115967" cy="1413958"/>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699183" y="1828800"/>
            <a:ext cx="3111035"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hasCustomPrompt="1"/>
          </p:nvPr>
        </p:nvSpPr>
        <p:spPr>
          <a:xfrm>
            <a:off x="8693446" y="2438400"/>
            <a:ext cx="3115967" cy="1413958"/>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1941634" y="4148642"/>
            <a:ext cx="3111035"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Content Placeholder 2">
            <a:extLst>
              <a:ext uri="{FF2B5EF4-FFF2-40B4-BE49-F238E27FC236}">
                <a16:creationId xmlns:a16="http://schemas.microsoft.com/office/drawing/2014/main" id="{641F7901-0058-4543-B156-041351228BF3}"/>
              </a:ext>
            </a:extLst>
          </p:cNvPr>
          <p:cNvSpPr>
            <a:spLocks noGrp="1"/>
          </p:cNvSpPr>
          <p:nvPr>
            <p:ph idx="26" hasCustomPrompt="1"/>
          </p:nvPr>
        </p:nvSpPr>
        <p:spPr>
          <a:xfrm>
            <a:off x="1941513" y="4758242"/>
            <a:ext cx="3115967" cy="1413958"/>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5312387" y="4148642"/>
            <a:ext cx="3111035"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4" name="Content Placeholder 2">
            <a:extLst>
              <a:ext uri="{FF2B5EF4-FFF2-40B4-BE49-F238E27FC236}">
                <a16:creationId xmlns:a16="http://schemas.microsoft.com/office/drawing/2014/main" id="{C9E62CC6-7DD7-4F2C-92A7-592426B1F84C}"/>
              </a:ext>
            </a:extLst>
          </p:cNvPr>
          <p:cNvSpPr>
            <a:spLocks noGrp="1"/>
          </p:cNvSpPr>
          <p:nvPr>
            <p:ph idx="28" hasCustomPrompt="1"/>
          </p:nvPr>
        </p:nvSpPr>
        <p:spPr>
          <a:xfrm>
            <a:off x="5312266" y="4758242"/>
            <a:ext cx="3115967" cy="1413958"/>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699183" y="4148642"/>
            <a:ext cx="3111035"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Content Placeholder 2">
            <a:extLst>
              <a:ext uri="{FF2B5EF4-FFF2-40B4-BE49-F238E27FC236}">
                <a16:creationId xmlns:a16="http://schemas.microsoft.com/office/drawing/2014/main" id="{62DFB085-0C55-4FCF-A2C8-2D229DB955D0}"/>
              </a:ext>
            </a:extLst>
          </p:cNvPr>
          <p:cNvSpPr>
            <a:spLocks noGrp="1"/>
          </p:cNvSpPr>
          <p:nvPr>
            <p:ph idx="30" hasCustomPrompt="1"/>
          </p:nvPr>
        </p:nvSpPr>
        <p:spPr>
          <a:xfrm>
            <a:off x="8693446" y="4758242"/>
            <a:ext cx="3115967" cy="1413958"/>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8BE2F75B-9EF7-40BF-8EB4-88DAAEB0415F}"/>
              </a:ext>
            </a:extLst>
          </p:cNvPr>
          <p:cNvSpPr>
            <a:spLocks noGrp="1"/>
          </p:cNvSpPr>
          <p:nvPr>
            <p:ph type="title"/>
          </p:nvPr>
        </p:nvSpPr>
        <p:spPr/>
        <p:txBody>
          <a:bodyPr/>
          <a:lstStyle/>
          <a:p>
            <a:r>
              <a:rPr lang="en-US"/>
              <a:t>Click to edit Master title style</a:t>
            </a:r>
          </a:p>
        </p:txBody>
      </p:sp>
      <p:sp>
        <p:nvSpPr>
          <p:cNvPr id="18" name="Text Placeholder 12">
            <a:extLst>
              <a:ext uri="{FF2B5EF4-FFF2-40B4-BE49-F238E27FC236}">
                <a16:creationId xmlns:a16="http://schemas.microsoft.com/office/drawing/2014/main" id="{9C82758C-1AA5-4A67-88D0-56CFC996D2C0}"/>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5585411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3" name="Content Placeholder 2"/>
          <p:cNvSpPr>
            <a:spLocks noGrp="1"/>
          </p:cNvSpPr>
          <p:nvPr>
            <p:ph idx="1"/>
          </p:nvPr>
        </p:nvSpPr>
        <p:spPr>
          <a:xfrm>
            <a:off x="1941514" y="2438400"/>
            <a:ext cx="3780630" cy="37338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1941524" y="1828800"/>
            <a:ext cx="378010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CCBF5BEF-4C13-45D2-83B0-BC6D1EDDCFCA}"/>
              </a:ext>
            </a:extLst>
          </p:cNvPr>
          <p:cNvSpPr>
            <a:spLocks noGrp="1"/>
          </p:cNvSpPr>
          <p:nvPr>
            <p:ph type="title"/>
          </p:nvPr>
        </p:nvSpPr>
        <p:spPr>
          <a:xfrm>
            <a:off x="1941524" y="912309"/>
            <a:ext cx="3780104" cy="916491"/>
          </a:xfrm>
        </p:spPr>
        <p:txBody>
          <a:bodyPr/>
          <a:lstStyle/>
          <a:p>
            <a:r>
              <a:rPr lang="en-US"/>
              <a:t>Click to edit Master title style</a:t>
            </a:r>
          </a:p>
        </p:txBody>
      </p:sp>
      <p:sp>
        <p:nvSpPr>
          <p:cNvPr id="8" name="Text Placeholder 12">
            <a:extLst>
              <a:ext uri="{FF2B5EF4-FFF2-40B4-BE49-F238E27FC236}">
                <a16:creationId xmlns:a16="http://schemas.microsoft.com/office/drawing/2014/main" id="{CDF26B3C-D82A-46F0-BA46-CD0E8ACDC347}"/>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169092075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1941512" y="3710393"/>
            <a:ext cx="2155153"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Text Placeholder 4">
            <a:extLst>
              <a:ext uri="{FF2B5EF4-FFF2-40B4-BE49-F238E27FC236}">
                <a16:creationId xmlns:a16="http://schemas.microsoft.com/office/drawing/2014/main" id="{B5A77170-A9FD-45D4-8584-19D45A2A8F9B}"/>
              </a:ext>
            </a:extLst>
          </p:cNvPr>
          <p:cNvSpPr>
            <a:spLocks noGrp="1"/>
          </p:cNvSpPr>
          <p:nvPr>
            <p:ph type="body" sz="quarter" idx="15"/>
          </p:nvPr>
        </p:nvSpPr>
        <p:spPr>
          <a:xfrm>
            <a:off x="1941513" y="4319993"/>
            <a:ext cx="2155453" cy="1441046"/>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2116595" y="1828800"/>
            <a:ext cx="1804987" cy="1804988"/>
          </a:xfrm>
          <a:prstGeom prst="ellipse">
            <a:avLst/>
          </a:prstGeom>
        </p:spPr>
        <p:txBody>
          <a:bodyPr anchor="ctr"/>
          <a:lstStyle>
            <a:lvl1pPr algn="ctr">
              <a:defRPr/>
            </a:lvl1pPr>
          </a:lstStyle>
          <a:p>
            <a:endParaRPr lang="en-US"/>
          </a:p>
        </p:txBody>
      </p:sp>
      <p:sp>
        <p:nvSpPr>
          <p:cNvPr id="11" name="Text Placeholder 14">
            <a:extLst>
              <a:ext uri="{FF2B5EF4-FFF2-40B4-BE49-F238E27FC236}">
                <a16:creationId xmlns:a16="http://schemas.microsoft.com/office/drawing/2014/main" id="{5B70EEE1-61F9-44E3-AE83-70A2FCDE4726}"/>
              </a:ext>
            </a:extLst>
          </p:cNvPr>
          <p:cNvSpPr>
            <a:spLocks noGrp="1"/>
          </p:cNvSpPr>
          <p:nvPr>
            <p:ph type="body" sz="quarter" idx="17" hasCustomPrompt="1"/>
          </p:nvPr>
        </p:nvSpPr>
        <p:spPr>
          <a:xfrm>
            <a:off x="4511949" y="3710393"/>
            <a:ext cx="2155153"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Text Placeholder 4">
            <a:extLst>
              <a:ext uri="{FF2B5EF4-FFF2-40B4-BE49-F238E27FC236}">
                <a16:creationId xmlns:a16="http://schemas.microsoft.com/office/drawing/2014/main" id="{CBF3F0D4-7BA6-430E-8092-94251D51115F}"/>
              </a:ext>
            </a:extLst>
          </p:cNvPr>
          <p:cNvSpPr>
            <a:spLocks noGrp="1"/>
          </p:cNvSpPr>
          <p:nvPr>
            <p:ph type="body" sz="quarter" idx="18"/>
          </p:nvPr>
        </p:nvSpPr>
        <p:spPr>
          <a:xfrm>
            <a:off x="4511799" y="4319993"/>
            <a:ext cx="2155453" cy="1441046"/>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4687032" y="1828800"/>
            <a:ext cx="1804987" cy="1804988"/>
          </a:xfrm>
          <a:prstGeom prst="ellipse">
            <a:avLst/>
          </a:prstGeom>
        </p:spPr>
        <p:txBody>
          <a:bodyPr anchor="ctr"/>
          <a:lstStyle>
            <a:lvl1pPr algn="ctr">
              <a:defRPr/>
            </a:lvl1pPr>
          </a:lstStyle>
          <a:p>
            <a:endParaRPr lang="en-US"/>
          </a:p>
        </p:txBody>
      </p:sp>
      <p:sp>
        <p:nvSpPr>
          <p:cNvPr id="14" name="Text Placeholder 14">
            <a:extLst>
              <a:ext uri="{FF2B5EF4-FFF2-40B4-BE49-F238E27FC236}">
                <a16:creationId xmlns:a16="http://schemas.microsoft.com/office/drawing/2014/main" id="{178182FC-A485-4780-8095-1090C2B8ED14}"/>
              </a:ext>
            </a:extLst>
          </p:cNvPr>
          <p:cNvSpPr>
            <a:spLocks noGrp="1"/>
          </p:cNvSpPr>
          <p:nvPr>
            <p:ph type="body" sz="quarter" idx="20" hasCustomPrompt="1"/>
          </p:nvPr>
        </p:nvSpPr>
        <p:spPr>
          <a:xfrm>
            <a:off x="7082235" y="3710393"/>
            <a:ext cx="2155153"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Text Placeholder 4">
            <a:extLst>
              <a:ext uri="{FF2B5EF4-FFF2-40B4-BE49-F238E27FC236}">
                <a16:creationId xmlns:a16="http://schemas.microsoft.com/office/drawing/2014/main" id="{B467F341-791E-49E5-84A8-2C48795FE71D}"/>
              </a:ext>
            </a:extLst>
          </p:cNvPr>
          <p:cNvSpPr>
            <a:spLocks noGrp="1"/>
          </p:cNvSpPr>
          <p:nvPr>
            <p:ph type="body" sz="quarter" idx="21"/>
          </p:nvPr>
        </p:nvSpPr>
        <p:spPr>
          <a:xfrm>
            <a:off x="7082085" y="4319993"/>
            <a:ext cx="2155453" cy="1441046"/>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7257318" y="1828800"/>
            <a:ext cx="1804987" cy="1804988"/>
          </a:xfrm>
          <a:prstGeom prst="ellipse">
            <a:avLst/>
          </a:prstGeom>
        </p:spPr>
        <p:txBody>
          <a:bodyPr anchor="ctr"/>
          <a:lstStyle>
            <a:lvl1pPr algn="ctr">
              <a:defRPr/>
            </a:lvl1pPr>
          </a:lstStyle>
          <a:p>
            <a:endParaRPr lang="en-US"/>
          </a:p>
        </p:txBody>
      </p:sp>
      <p:sp>
        <p:nvSpPr>
          <p:cNvPr id="19" name="Text Placeholder 14">
            <a:extLst>
              <a:ext uri="{FF2B5EF4-FFF2-40B4-BE49-F238E27FC236}">
                <a16:creationId xmlns:a16="http://schemas.microsoft.com/office/drawing/2014/main" id="{6666DD00-9E5D-4272-9205-D57612EE559E}"/>
              </a:ext>
            </a:extLst>
          </p:cNvPr>
          <p:cNvSpPr>
            <a:spLocks noGrp="1"/>
          </p:cNvSpPr>
          <p:nvPr>
            <p:ph type="body" sz="quarter" idx="23" hasCustomPrompt="1"/>
          </p:nvPr>
        </p:nvSpPr>
        <p:spPr>
          <a:xfrm>
            <a:off x="9652521" y="3710393"/>
            <a:ext cx="2155153"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Text Placeholder 4">
            <a:extLst>
              <a:ext uri="{FF2B5EF4-FFF2-40B4-BE49-F238E27FC236}">
                <a16:creationId xmlns:a16="http://schemas.microsoft.com/office/drawing/2014/main" id="{3A0CC58B-4150-475B-A65A-9286B8F46A89}"/>
              </a:ext>
            </a:extLst>
          </p:cNvPr>
          <p:cNvSpPr>
            <a:spLocks noGrp="1"/>
          </p:cNvSpPr>
          <p:nvPr>
            <p:ph type="body" sz="quarter" idx="24"/>
          </p:nvPr>
        </p:nvSpPr>
        <p:spPr>
          <a:xfrm>
            <a:off x="9652371" y="4319993"/>
            <a:ext cx="2155453" cy="1441046"/>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9827604" y="1828800"/>
            <a:ext cx="1804987" cy="1804988"/>
          </a:xfrm>
          <a:prstGeom prst="ellipse">
            <a:avLst/>
          </a:prstGeom>
        </p:spPr>
        <p:txBody>
          <a:bodyPr anchor="ctr"/>
          <a:lstStyle>
            <a:lvl1pPr algn="ctr">
              <a:defRPr/>
            </a:lvl1pPr>
          </a:lstStyle>
          <a:p>
            <a:endParaRPr lang="en-US"/>
          </a:p>
        </p:txBody>
      </p:sp>
      <p:sp>
        <p:nvSpPr>
          <p:cNvPr id="3" name="Title 2">
            <a:extLst>
              <a:ext uri="{FF2B5EF4-FFF2-40B4-BE49-F238E27FC236}">
                <a16:creationId xmlns:a16="http://schemas.microsoft.com/office/drawing/2014/main" id="{3710392C-32B7-4B21-A6BC-F192A63E7787}"/>
              </a:ext>
            </a:extLst>
          </p:cNvPr>
          <p:cNvSpPr>
            <a:spLocks noGrp="1"/>
          </p:cNvSpPr>
          <p:nvPr>
            <p:ph type="title"/>
          </p:nvPr>
        </p:nvSpPr>
        <p:spPr/>
        <p:txBody>
          <a:bodyPr/>
          <a:lstStyle/>
          <a:p>
            <a:r>
              <a:rPr lang="en-US"/>
              <a:t>Click to edit Master title style</a:t>
            </a:r>
          </a:p>
        </p:txBody>
      </p:sp>
      <p:sp>
        <p:nvSpPr>
          <p:cNvPr id="18" name="Text Placeholder 12">
            <a:extLst>
              <a:ext uri="{FF2B5EF4-FFF2-40B4-BE49-F238E27FC236}">
                <a16:creationId xmlns:a16="http://schemas.microsoft.com/office/drawing/2014/main" id="{2D13BB9C-08C0-460B-9603-5F55EEF9824B}"/>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226826692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1941513" y="1828800"/>
            <a:ext cx="9866311" cy="4343400"/>
          </a:xfrm>
        </p:spPr>
        <p:txBody>
          <a:bodyPr anchor="ctr"/>
          <a:lstStyle>
            <a:lvl1pPr algn="ctr">
              <a:defRPr/>
            </a:lvl1pPr>
          </a:lstStyle>
          <a:p>
            <a:endParaRPr lang="en-US"/>
          </a:p>
        </p:txBody>
      </p:sp>
      <p:sp>
        <p:nvSpPr>
          <p:cNvPr id="2" name="Title 1">
            <a:extLst>
              <a:ext uri="{FF2B5EF4-FFF2-40B4-BE49-F238E27FC236}">
                <a16:creationId xmlns:a16="http://schemas.microsoft.com/office/drawing/2014/main" id="{79A42F2C-7E82-4877-964A-6674E60D1BD0}"/>
              </a:ext>
            </a:extLst>
          </p:cNvPr>
          <p:cNvSpPr>
            <a:spLocks noGrp="1"/>
          </p:cNvSpPr>
          <p:nvPr>
            <p:ph type="title"/>
          </p:nvPr>
        </p:nvSpPr>
        <p:spPr>
          <a:xfrm>
            <a:off x="1941513" y="912309"/>
            <a:ext cx="9866311" cy="916491"/>
          </a:xfrm>
        </p:spPr>
        <p:txBody>
          <a:bodyPr/>
          <a:lstStyle/>
          <a:p>
            <a:r>
              <a:rPr lang="en-US"/>
              <a:t>Click to edit Master title style</a:t>
            </a:r>
          </a:p>
        </p:txBody>
      </p:sp>
      <p:sp>
        <p:nvSpPr>
          <p:cNvPr id="5" name="Text Placeholder 12">
            <a:extLst>
              <a:ext uri="{FF2B5EF4-FFF2-40B4-BE49-F238E27FC236}">
                <a16:creationId xmlns:a16="http://schemas.microsoft.com/office/drawing/2014/main" id="{74252486-ADF6-4892-A883-03FAB596E94E}"/>
              </a:ext>
            </a:extLst>
          </p:cNvPr>
          <p:cNvSpPr>
            <a:spLocks noGrp="1"/>
          </p:cNvSpPr>
          <p:nvPr>
            <p:ph type="body" sz="quarter" idx="13"/>
          </p:nvPr>
        </p:nvSpPr>
        <p:spPr>
          <a:xfrm>
            <a:off x="1941517" y="356543"/>
            <a:ext cx="3917947"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27164624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982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 Contacts">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1941513" y="3087146"/>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1941513" y="3592649"/>
            <a:ext cx="1663699" cy="861191"/>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0" name="Text Placeholder 29"/>
          <p:cNvSpPr>
            <a:spLocks noGrp="1"/>
          </p:cNvSpPr>
          <p:nvPr>
            <p:ph type="body" sz="quarter" idx="28" hasCustomPrompt="1"/>
          </p:nvPr>
        </p:nvSpPr>
        <p:spPr>
          <a:xfrm>
            <a:off x="1941513" y="4541515"/>
            <a:ext cx="7419601" cy="938213"/>
          </a:xfrm>
        </p:spPr>
        <p:txBody>
          <a:bodyPr/>
          <a:lstStyle>
            <a:lvl1pPr>
              <a:defRPr sz="750"/>
            </a:lvl1pPr>
            <a:lvl2pPr marL="114300" indent="-114300">
              <a:spcBef>
                <a:spcPts val="100"/>
              </a:spcBef>
              <a:buClr>
                <a:schemeClr val="accent1"/>
              </a:buClr>
              <a:tabLst/>
              <a:defRPr sz="750"/>
            </a:lvl2pPr>
            <a:lvl3pPr marL="230188" indent="-115888">
              <a:spcBef>
                <a:spcPts val="100"/>
              </a:spcBef>
              <a:buClr>
                <a:schemeClr val="accent1"/>
              </a:buClr>
              <a:tabLst/>
              <a:defRPr sz="750"/>
            </a:lvl3pPr>
            <a:lvl4pPr marL="346075" indent="-115888">
              <a:spcBef>
                <a:spcPts val="100"/>
              </a:spcBef>
              <a:buClr>
                <a:schemeClr val="accent1"/>
              </a:buClr>
              <a:tabLst/>
              <a:defRPr sz="750"/>
            </a:lvl4pPr>
            <a:lvl5pPr marL="460375" indent="-114300">
              <a:spcBef>
                <a:spcPts val="100"/>
              </a:spcBef>
              <a:buClr>
                <a:schemeClr val="accent1"/>
              </a:buClr>
              <a:tabLst/>
              <a:defRPr sz="750"/>
            </a:lvl5pPr>
          </a:lstStyle>
          <a:p>
            <a:pPr lvl="0"/>
            <a:r>
              <a:rPr lang="en-US"/>
              <a:t>Insert Legal Copy</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E338DBE-2C15-4F70-8277-DDD730F975BE}"/>
              </a:ext>
            </a:extLst>
          </p:cNvPr>
          <p:cNvSpPr>
            <a:spLocks noGrp="1"/>
          </p:cNvSpPr>
          <p:nvPr>
            <p:ph type="title"/>
          </p:nvPr>
        </p:nvSpPr>
        <p:spPr/>
        <p:txBody>
          <a:bodyPr/>
          <a:lstStyle/>
          <a:p>
            <a:r>
              <a:rPr lang="en-US"/>
              <a:t>Click to edit Master title style</a:t>
            </a:r>
          </a:p>
        </p:txBody>
      </p:sp>
      <p:sp>
        <p:nvSpPr>
          <p:cNvPr id="29" name="Text Placeholder 14">
            <a:extLst>
              <a:ext uri="{FF2B5EF4-FFF2-40B4-BE49-F238E27FC236}">
                <a16:creationId xmlns:a16="http://schemas.microsoft.com/office/drawing/2014/main" id="{AC53361B-5856-4302-8CF7-6BF7C17066C3}"/>
              </a:ext>
            </a:extLst>
          </p:cNvPr>
          <p:cNvSpPr>
            <a:spLocks noGrp="1"/>
          </p:cNvSpPr>
          <p:nvPr>
            <p:ph type="body" sz="quarter" idx="29" hasCustomPrompt="1"/>
          </p:nvPr>
        </p:nvSpPr>
        <p:spPr>
          <a:xfrm>
            <a:off x="3860082" y="3087146"/>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1" name="Text Placeholder 20">
            <a:extLst>
              <a:ext uri="{FF2B5EF4-FFF2-40B4-BE49-F238E27FC236}">
                <a16:creationId xmlns:a16="http://schemas.microsoft.com/office/drawing/2014/main" id="{95A3F7CB-6CED-43C7-A382-F2A8F2EBD76B}"/>
              </a:ext>
            </a:extLst>
          </p:cNvPr>
          <p:cNvSpPr>
            <a:spLocks noGrp="1"/>
          </p:cNvSpPr>
          <p:nvPr>
            <p:ph type="body" sz="quarter" idx="30" hasCustomPrompt="1"/>
          </p:nvPr>
        </p:nvSpPr>
        <p:spPr>
          <a:xfrm>
            <a:off x="3860082" y="3592649"/>
            <a:ext cx="1663699" cy="861191"/>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2" name="Text Placeholder 14">
            <a:extLst>
              <a:ext uri="{FF2B5EF4-FFF2-40B4-BE49-F238E27FC236}">
                <a16:creationId xmlns:a16="http://schemas.microsoft.com/office/drawing/2014/main" id="{A59C17CE-8E20-47E7-9745-BD8DF5D69E9F}"/>
              </a:ext>
            </a:extLst>
          </p:cNvPr>
          <p:cNvSpPr>
            <a:spLocks noGrp="1"/>
          </p:cNvSpPr>
          <p:nvPr>
            <p:ph type="body" sz="quarter" idx="31" hasCustomPrompt="1"/>
          </p:nvPr>
        </p:nvSpPr>
        <p:spPr>
          <a:xfrm>
            <a:off x="5778651" y="3087146"/>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3" name="Text Placeholder 20">
            <a:extLst>
              <a:ext uri="{FF2B5EF4-FFF2-40B4-BE49-F238E27FC236}">
                <a16:creationId xmlns:a16="http://schemas.microsoft.com/office/drawing/2014/main" id="{0231F24C-AA35-4993-B9E0-BBEE487530C5}"/>
              </a:ext>
            </a:extLst>
          </p:cNvPr>
          <p:cNvSpPr>
            <a:spLocks noGrp="1"/>
          </p:cNvSpPr>
          <p:nvPr>
            <p:ph type="body" sz="quarter" idx="32" hasCustomPrompt="1"/>
          </p:nvPr>
        </p:nvSpPr>
        <p:spPr>
          <a:xfrm>
            <a:off x="5778651" y="3592649"/>
            <a:ext cx="1663699" cy="861191"/>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4" name="Text Placeholder 14">
            <a:extLst>
              <a:ext uri="{FF2B5EF4-FFF2-40B4-BE49-F238E27FC236}">
                <a16:creationId xmlns:a16="http://schemas.microsoft.com/office/drawing/2014/main" id="{4A5AC34E-3B4C-469E-B9C4-C085D8EC0272}"/>
              </a:ext>
            </a:extLst>
          </p:cNvPr>
          <p:cNvSpPr>
            <a:spLocks noGrp="1"/>
          </p:cNvSpPr>
          <p:nvPr>
            <p:ph type="body" sz="quarter" idx="33" hasCustomPrompt="1"/>
          </p:nvPr>
        </p:nvSpPr>
        <p:spPr>
          <a:xfrm>
            <a:off x="7697220" y="3087146"/>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5" name="Text Placeholder 20">
            <a:extLst>
              <a:ext uri="{FF2B5EF4-FFF2-40B4-BE49-F238E27FC236}">
                <a16:creationId xmlns:a16="http://schemas.microsoft.com/office/drawing/2014/main" id="{A0A6254F-A341-4409-90BD-661FAACB8D44}"/>
              </a:ext>
            </a:extLst>
          </p:cNvPr>
          <p:cNvSpPr>
            <a:spLocks noGrp="1"/>
          </p:cNvSpPr>
          <p:nvPr>
            <p:ph type="body" sz="quarter" idx="34" hasCustomPrompt="1"/>
          </p:nvPr>
        </p:nvSpPr>
        <p:spPr>
          <a:xfrm>
            <a:off x="7697220" y="3592649"/>
            <a:ext cx="1663699" cy="861191"/>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12" name="Footer Placeholder 4">
            <a:extLst>
              <a:ext uri="{FF2B5EF4-FFF2-40B4-BE49-F238E27FC236}">
                <a16:creationId xmlns:a16="http://schemas.microsoft.com/office/drawing/2014/main" id="{9C240F33-C742-49C8-8DE8-183098A7D65C}"/>
              </a:ext>
            </a:extLst>
          </p:cNvPr>
          <p:cNvSpPr txBox="1">
            <a:spLocks/>
          </p:cNvSpPr>
          <p:nvPr userDrawn="1"/>
        </p:nvSpPr>
        <p:spPr>
          <a:xfrm>
            <a:off x="3976870" y="6364224"/>
            <a:ext cx="1737360" cy="120649"/>
          </a:xfrm>
          <a:prstGeom prst="rect">
            <a:avLst/>
          </a:prstGeom>
        </p:spPr>
        <p:txBody>
          <a:bodyPr vert="horz" lIns="0" tIns="0" rIns="0" bIns="0" rtlCol="0" anchor="ctr"/>
          <a:lstStyle>
            <a:defPPr>
              <a:defRPr lang="en-US"/>
            </a:defPPr>
            <a:lvl1pPr marL="0" algn="l" defTabSz="457200" rtl="0" eaLnBrk="1" latinLnBrk="0" hangingPunct="1">
              <a:defRPr sz="700" b="0" i="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t>© 2005–2019 </a:t>
            </a:r>
            <a:r>
              <a:rPr lang="en-US" err="1"/>
              <a:t>UiPath</a:t>
            </a:r>
            <a:r>
              <a:rPr lang="en-US"/>
              <a:t>. All rights reserved.</a:t>
            </a:r>
          </a:p>
        </p:txBody>
      </p:sp>
    </p:spTree>
    <p:extLst>
      <p:ext uri="{BB962C8B-B14F-4D97-AF65-F5344CB8AC3E}">
        <p14:creationId xmlns:p14="http://schemas.microsoft.com/office/powerpoint/2010/main" val="28676522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Title – Grid Light">
    <p:bg>
      <p:bgPr>
        <a:solidFill>
          <a:schemeClr val="bg2"/>
        </a:solidFill>
        <a:effectLst/>
      </p:bgPr>
    </p:bg>
    <p:spTree>
      <p:nvGrpSpPr>
        <p:cNvPr id="1" name=""/>
        <p:cNvGrpSpPr/>
        <p:nvPr/>
      </p:nvGrpSpPr>
      <p:grpSpPr>
        <a:xfrm>
          <a:off x="0" y="0"/>
          <a:ext cx="0" cy="0"/>
          <a:chOff x="0" y="0"/>
          <a:chExt cx="0" cy="0"/>
        </a:xfrm>
      </p:grpSpPr>
      <p:sp>
        <p:nvSpPr>
          <p:cNvPr id="26" name="Text Placeholder 49">
            <a:extLst>
              <a:ext uri="{FF2B5EF4-FFF2-40B4-BE49-F238E27FC236}">
                <a16:creationId xmlns:a16="http://schemas.microsoft.com/office/drawing/2014/main" id="{73B0CE92-879B-4EA7-9079-D1F8261FC8D8}"/>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4" name="TextBox 33">
            <a:extLst>
              <a:ext uri="{FF2B5EF4-FFF2-40B4-BE49-F238E27FC236}">
                <a16:creationId xmlns:a16="http://schemas.microsoft.com/office/drawing/2014/main" id="{7E36862B-3B07-4416-9F20-076D4CB58644}"/>
              </a:ext>
            </a:extLst>
          </p:cNvPr>
          <p:cNvSpPr txBox="1">
            <a:spLocks/>
          </p:cNvSpPr>
          <p:nvPr userDrawn="1"/>
        </p:nvSpPr>
        <p:spPr>
          <a:xfrm rot="18900000" flipV="1">
            <a:off x="7229807"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8" name="Freeform: Shape 83">
            <a:extLst>
              <a:ext uri="{FF2B5EF4-FFF2-40B4-BE49-F238E27FC236}">
                <a16:creationId xmlns:a16="http://schemas.microsoft.com/office/drawing/2014/main" id="{0A6A95A8-7693-4E00-A8BA-D2D5D75DE11B}"/>
              </a:ext>
            </a:extLst>
          </p:cNvPr>
          <p:cNvSpPr txBox="1">
            <a:spLocks/>
          </p:cNvSpPr>
          <p:nvPr userDrawn="1"/>
        </p:nvSpPr>
        <p:spPr>
          <a:xfrm>
            <a:off x="5880100"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pic>
        <p:nvPicPr>
          <p:cNvPr id="25" name="Picture 24" descr="A picture containing drawing&#10;&#10;Description automatically generated">
            <a:extLst>
              <a:ext uri="{FF2B5EF4-FFF2-40B4-BE49-F238E27FC236}">
                <a16:creationId xmlns:a16="http://schemas.microsoft.com/office/drawing/2014/main" id="{F855D337-1AB0-45E3-96B0-607BC4AAB42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13609" y="3225159"/>
            <a:ext cx="1462038" cy="1597025"/>
          </a:xfrm>
          <a:prstGeom prst="rect">
            <a:avLst/>
          </a:prstGeom>
        </p:spPr>
      </p:pic>
    </p:spTree>
    <p:extLst>
      <p:ext uri="{BB962C8B-B14F-4D97-AF65-F5344CB8AC3E}">
        <p14:creationId xmlns:p14="http://schemas.microsoft.com/office/powerpoint/2010/main" val="1993799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nodeType="withEffect">
                                  <p:stCondLst>
                                    <p:cond delay="0"/>
                                  </p:stCondLst>
                                  <p:childTnLst>
                                    <p:animMotion origin="layout" path="M -4.86585E-6 -0.0007 C 0.04468 0.05671 0.28719 0.20879 0.46679 -0.10162 " pathEditMode="relative" rAng="0" ptsTypes="AA">
                                      <p:cBhvr>
                                        <p:cTn id="6" dur="2000" spd="-100000" fill="hold"/>
                                        <p:tgtEl>
                                          <p:spTgt spid="25"/>
                                        </p:tgtEl>
                                        <p:attrNameLst>
                                          <p:attrName>ppt_x</p:attrName>
                                          <p:attrName>ppt_y</p:attrName>
                                        </p:attrNameLst>
                                      </p:cBhvr>
                                      <p:rCtr x="23339" y="-648"/>
                                    </p:animMotion>
                                  </p:childTnLst>
                                </p:cTn>
                              </p:par>
                              <p:par>
                                <p:cTn id="7" presetID="32" presetClass="emph" presetSubtype="0" repeatCount="indefinite" fill="hold" nodeType="withEffect">
                                  <p:stCondLst>
                                    <p:cond delay="0"/>
                                  </p:stCondLst>
                                  <p:childTnLst>
                                    <p:animRot by="120000">
                                      <p:cBhvr>
                                        <p:cTn id="8" dur="500" fill="hold">
                                          <p:stCondLst>
                                            <p:cond delay="0"/>
                                          </p:stCondLst>
                                        </p:cTn>
                                        <p:tgtEl>
                                          <p:spTgt spid="25"/>
                                        </p:tgtEl>
                                        <p:attrNameLst>
                                          <p:attrName>r</p:attrName>
                                        </p:attrNameLst>
                                      </p:cBhvr>
                                    </p:animRot>
                                    <p:animRot by="-240000">
                                      <p:cBhvr>
                                        <p:cTn id="9" dur="1000" fill="hold">
                                          <p:stCondLst>
                                            <p:cond delay="1000"/>
                                          </p:stCondLst>
                                        </p:cTn>
                                        <p:tgtEl>
                                          <p:spTgt spid="25"/>
                                        </p:tgtEl>
                                        <p:attrNameLst>
                                          <p:attrName>r</p:attrName>
                                        </p:attrNameLst>
                                      </p:cBhvr>
                                    </p:animRot>
                                    <p:animRot by="240000">
                                      <p:cBhvr>
                                        <p:cTn id="10" dur="1000" fill="hold">
                                          <p:stCondLst>
                                            <p:cond delay="2000"/>
                                          </p:stCondLst>
                                        </p:cTn>
                                        <p:tgtEl>
                                          <p:spTgt spid="25"/>
                                        </p:tgtEl>
                                        <p:attrNameLst>
                                          <p:attrName>r</p:attrName>
                                        </p:attrNameLst>
                                      </p:cBhvr>
                                    </p:animRot>
                                    <p:animRot by="-240000">
                                      <p:cBhvr>
                                        <p:cTn id="11" dur="1000" fill="hold">
                                          <p:stCondLst>
                                            <p:cond delay="3000"/>
                                          </p:stCondLst>
                                        </p:cTn>
                                        <p:tgtEl>
                                          <p:spTgt spid="25"/>
                                        </p:tgtEl>
                                        <p:attrNameLst>
                                          <p:attrName>r</p:attrName>
                                        </p:attrNameLst>
                                      </p:cBhvr>
                                    </p:animRot>
                                    <p:animRot by="120000">
                                      <p:cBhvr>
                                        <p:cTn id="12" dur="1000" fill="hold">
                                          <p:stCondLst>
                                            <p:cond delay="4000"/>
                                          </p:stCondLst>
                                        </p:cTn>
                                        <p:tgtEl>
                                          <p:spTgt spid="2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4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7"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0"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pic>
        <p:nvPicPr>
          <p:cNvPr id="9" name="Picture 8" descr="A picture containing clock&#10;&#10;Description automatically generated">
            <a:extLst>
              <a:ext uri="{FF2B5EF4-FFF2-40B4-BE49-F238E27FC236}">
                <a16:creationId xmlns:a16="http://schemas.microsoft.com/office/drawing/2014/main" id="{D3B18E52-BE6F-4331-A4BD-0F4DC9506B1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21174091">
            <a:off x="6042409" y="2555084"/>
            <a:ext cx="2833886" cy="1440940"/>
          </a:xfrm>
          <a:prstGeom prst="rect">
            <a:avLst/>
          </a:prstGeom>
        </p:spPr>
      </p:pic>
    </p:spTree>
    <p:extLst>
      <p:ext uri="{BB962C8B-B14F-4D97-AF65-F5344CB8AC3E}">
        <p14:creationId xmlns:p14="http://schemas.microsoft.com/office/powerpoint/2010/main" val="2226151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nodeType="withEffect">
                                  <p:stCondLst>
                                    <p:cond delay="0"/>
                                  </p:stCondLst>
                                  <p:childTnLst>
                                    <p:animMotion origin="layout" path="M 1.90675E-6 -0.0007 C 0.04467 0.05671 0.28718 0.20879 0.46679 -0.10162 " pathEditMode="relative" rAng="0" ptsTypes="AA">
                                      <p:cBhvr>
                                        <p:cTn id="6" dur="2000" spd="-100000" fill="hold"/>
                                        <p:tgtEl>
                                          <p:spTgt spid="9"/>
                                        </p:tgtEl>
                                        <p:attrNameLst>
                                          <p:attrName>ppt_x</p:attrName>
                                          <p:attrName>ppt_y</p:attrName>
                                        </p:attrNameLst>
                                      </p:cBhvr>
                                      <p:rCtr x="23339" y="-648"/>
                                    </p:animMotion>
                                  </p:childTnLst>
                                </p:cTn>
                              </p:par>
                              <p:par>
                                <p:cTn id="7" presetID="42" presetClass="path" presetSubtype="0" repeatCount="indefinite" accel="16000" decel="19000" autoRev="1" fill="hold" nodeType="withEffect">
                                  <p:stCondLst>
                                    <p:cond delay="2000"/>
                                  </p:stCondLst>
                                  <p:childTnLst>
                                    <p:animMotion origin="layout" path="M 1.90675E-6 3.7037E-6 L 1.90675E-6 0.01458 " pathEditMode="relative" rAng="0" ptsTypes="AA">
                                      <p:cBhvr>
                                        <p:cTn id="8" dur="1500" fill="hold"/>
                                        <p:tgtEl>
                                          <p:spTgt spid="9"/>
                                        </p:tgtEl>
                                        <p:attrNameLst>
                                          <p:attrName>ppt_x</p:attrName>
                                          <p:attrName>ppt_y</p:attrName>
                                        </p:attrNameLst>
                                      </p:cBhvr>
                                      <p:rCtr x="0" y="71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 Grid Dark">
    <p:bg>
      <p:bgPr>
        <a:solidFill>
          <a:schemeClr val="tx2"/>
        </a:solidFill>
        <a:effectLst/>
      </p:bgPr>
    </p:bg>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E2C5D4DA-7E8C-43ED-A21C-F053340146E4}"/>
              </a:ext>
            </a:extLst>
          </p:cNvPr>
          <p:cNvSpPr>
            <a:spLocks noGrp="1"/>
          </p:cNvSpPr>
          <p:nvPr>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4" name="Text Placeholder 7">
            <a:extLst>
              <a:ext uri="{FF2B5EF4-FFF2-40B4-BE49-F238E27FC236}">
                <a16:creationId xmlns:a16="http://schemas.microsoft.com/office/drawing/2014/main" id="{2E77F839-1906-4B62-993E-E3534B67AD9B}"/>
              </a:ext>
            </a:extLst>
          </p:cNvPr>
          <p:cNvSpPr>
            <a:spLocks noGrp="1"/>
          </p:cNvSpPr>
          <p:nvPr>
            <p:ph type="body" sz="quarter" idx="13" hasCustomPrompt="1"/>
          </p:nvPr>
        </p:nvSpPr>
        <p:spPr>
          <a:xfrm>
            <a:off x="382972" y="330897"/>
            <a:ext cx="3712777" cy="557212"/>
          </a:xfrm>
        </p:spPr>
        <p:txBody>
          <a:bodyPr/>
          <a:lstStyle>
            <a:lvl1pPr>
              <a:spcBef>
                <a:spcPts val="0"/>
              </a:spcBef>
              <a:defRPr sz="900">
                <a:solidFill>
                  <a:schemeClr val="bg1"/>
                </a:solidFill>
              </a:defRPr>
            </a:lvl1pPr>
            <a:lvl2pPr marL="112713" indent="-112713">
              <a:spcBef>
                <a:spcPts val="0"/>
              </a:spcBef>
              <a:buClr>
                <a:schemeClr val="tx2"/>
              </a:buClr>
              <a:defRPr sz="900">
                <a:solidFill>
                  <a:schemeClr val="tx1"/>
                </a:solidFill>
              </a:defRPr>
            </a:lvl2pPr>
            <a:lvl3pPr marL="225425" indent="-112713">
              <a:spcBef>
                <a:spcPts val="0"/>
              </a:spcBef>
              <a:buClr>
                <a:schemeClr val="tx2"/>
              </a:buClr>
              <a:defRPr sz="900">
                <a:solidFill>
                  <a:schemeClr val="tx1"/>
                </a:solidFill>
              </a:defRPr>
            </a:lvl3pPr>
            <a:lvl4pPr marL="339725" indent="-114300">
              <a:spcBef>
                <a:spcPts val="0"/>
              </a:spcBef>
              <a:buClr>
                <a:schemeClr val="tx2"/>
              </a:buClr>
              <a:defRPr sz="900"/>
            </a:lvl4pPr>
            <a:lvl5pPr marL="460375" indent="-120650">
              <a:spcBef>
                <a:spcPts val="0"/>
              </a:spcBef>
              <a:buClr>
                <a:schemeClr val="tx2"/>
              </a:buClr>
              <a:tabLst/>
              <a:defRPr sz="900"/>
            </a:lvl5pPr>
          </a:lstStyle>
          <a:p>
            <a:pPr lvl="0"/>
            <a:r>
              <a:rPr lang="en-US"/>
              <a:t>Insert Date Here</a:t>
            </a:r>
          </a:p>
          <a:p>
            <a:pPr lvl="0"/>
            <a:endParaRPr lang="en-US"/>
          </a:p>
        </p:txBody>
      </p:sp>
      <p:pic>
        <p:nvPicPr>
          <p:cNvPr id="25" name="Picture 24" descr="A close up of a sign&#10;&#10;Description automatically generated">
            <a:extLst>
              <a:ext uri="{FF2B5EF4-FFF2-40B4-BE49-F238E27FC236}">
                <a16:creationId xmlns:a16="http://schemas.microsoft.com/office/drawing/2014/main" id="{C70185A7-0261-4E42-A29C-AE538303AF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212" y="6081014"/>
            <a:ext cx="2448162" cy="560910"/>
          </a:xfrm>
          <a:prstGeom prst="rect">
            <a:avLst/>
          </a:prstGeom>
        </p:spPr>
      </p:pic>
    </p:spTree>
    <p:extLst>
      <p:ext uri="{BB962C8B-B14F-4D97-AF65-F5344CB8AC3E}">
        <p14:creationId xmlns:p14="http://schemas.microsoft.com/office/powerpoint/2010/main" val="5482702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5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7"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0"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pic>
        <p:nvPicPr>
          <p:cNvPr id="39" name="Picture 38">
            <a:extLst>
              <a:ext uri="{FF2B5EF4-FFF2-40B4-BE49-F238E27FC236}">
                <a16:creationId xmlns:a16="http://schemas.microsoft.com/office/drawing/2014/main" id="{2286E45D-4508-4B51-A50C-0DC6A119E56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7094878" y="6593621"/>
            <a:ext cx="1690770" cy="268511"/>
          </a:xfrm>
          <a:custGeom>
            <a:avLst/>
            <a:gdLst>
              <a:gd name="connsiteX0" fmla="*/ 0 w 2725821"/>
              <a:gd name="connsiteY0" fmla="*/ 0 h 432887"/>
              <a:gd name="connsiteX1" fmla="*/ 1373148 w 2725821"/>
              <a:gd name="connsiteY1" fmla="*/ 0 h 432887"/>
              <a:gd name="connsiteX2" fmla="*/ 1458972 w 2725821"/>
              <a:gd name="connsiteY2" fmla="*/ 46584 h 432887"/>
              <a:gd name="connsiteX3" fmla="*/ 1788945 w 2725821"/>
              <a:gd name="connsiteY3" fmla="*/ 113202 h 432887"/>
              <a:gd name="connsiteX4" fmla="*/ 2118918 w 2725821"/>
              <a:gd name="connsiteY4" fmla="*/ 46584 h 432887"/>
              <a:gd name="connsiteX5" fmla="*/ 2204742 w 2725821"/>
              <a:gd name="connsiteY5" fmla="*/ 0 h 432887"/>
              <a:gd name="connsiteX6" fmla="*/ 2725821 w 2725821"/>
              <a:gd name="connsiteY6" fmla="*/ 0 h 432887"/>
              <a:gd name="connsiteX7" fmla="*/ 2725821 w 2725821"/>
              <a:gd name="connsiteY7" fmla="*/ 432887 h 432887"/>
              <a:gd name="connsiteX8" fmla="*/ 0 w 2725821"/>
              <a:gd name="connsiteY8" fmla="*/ 432887 h 43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432887">
                <a:moveTo>
                  <a:pt x="0" y="0"/>
                </a:moveTo>
                <a:lnTo>
                  <a:pt x="1373148" y="0"/>
                </a:lnTo>
                <a:lnTo>
                  <a:pt x="1458972" y="46584"/>
                </a:lnTo>
                <a:cubicBezTo>
                  <a:pt x="1560392" y="89481"/>
                  <a:pt x="1671898" y="113202"/>
                  <a:pt x="1788945" y="113202"/>
                </a:cubicBezTo>
                <a:cubicBezTo>
                  <a:pt x="1905991" y="113202"/>
                  <a:pt x="2017498" y="89481"/>
                  <a:pt x="2118918" y="46584"/>
                </a:cubicBezTo>
                <a:lnTo>
                  <a:pt x="2204742" y="0"/>
                </a:lnTo>
                <a:lnTo>
                  <a:pt x="2725821" y="0"/>
                </a:lnTo>
                <a:lnTo>
                  <a:pt x="2725821" y="432887"/>
                </a:lnTo>
                <a:lnTo>
                  <a:pt x="0" y="432887"/>
                </a:lnTo>
                <a:close/>
              </a:path>
            </a:pathLst>
          </a:custGeom>
        </p:spPr>
      </p:pic>
      <p:pic>
        <p:nvPicPr>
          <p:cNvPr id="37" name="Picture 36">
            <a:extLst>
              <a:ext uri="{FF2B5EF4-FFF2-40B4-BE49-F238E27FC236}">
                <a16:creationId xmlns:a16="http://schemas.microsoft.com/office/drawing/2014/main" id="{8E2F6B04-524D-4F78-94AD-D897273218E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7091535" y="5591970"/>
            <a:ext cx="1690770" cy="109958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spTree>
    <p:extLst>
      <p:ext uri="{BB962C8B-B14F-4D97-AF65-F5344CB8AC3E}">
        <p14:creationId xmlns:p14="http://schemas.microsoft.com/office/powerpoint/2010/main" val="2485417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nodeType="withEffect">
                                  <p:stCondLst>
                                    <p:cond delay="0"/>
                                  </p:stCondLst>
                                  <p:childTnLst>
                                    <p:animRot by="120000">
                                      <p:cBhvr>
                                        <p:cTn id="6" dur="500" fill="hold">
                                          <p:stCondLst>
                                            <p:cond delay="0"/>
                                          </p:stCondLst>
                                        </p:cTn>
                                        <p:tgtEl>
                                          <p:spTgt spid="37"/>
                                        </p:tgtEl>
                                        <p:attrNameLst>
                                          <p:attrName>r</p:attrName>
                                        </p:attrNameLst>
                                      </p:cBhvr>
                                    </p:animRot>
                                    <p:animRot by="-240000">
                                      <p:cBhvr>
                                        <p:cTn id="7" dur="1000" fill="hold">
                                          <p:stCondLst>
                                            <p:cond delay="1000"/>
                                          </p:stCondLst>
                                        </p:cTn>
                                        <p:tgtEl>
                                          <p:spTgt spid="37"/>
                                        </p:tgtEl>
                                        <p:attrNameLst>
                                          <p:attrName>r</p:attrName>
                                        </p:attrNameLst>
                                      </p:cBhvr>
                                    </p:animRot>
                                    <p:animRot by="240000">
                                      <p:cBhvr>
                                        <p:cTn id="8" dur="1000" fill="hold">
                                          <p:stCondLst>
                                            <p:cond delay="2000"/>
                                          </p:stCondLst>
                                        </p:cTn>
                                        <p:tgtEl>
                                          <p:spTgt spid="37"/>
                                        </p:tgtEl>
                                        <p:attrNameLst>
                                          <p:attrName>r</p:attrName>
                                        </p:attrNameLst>
                                      </p:cBhvr>
                                    </p:animRot>
                                    <p:animRot by="-240000">
                                      <p:cBhvr>
                                        <p:cTn id="9" dur="1000" fill="hold">
                                          <p:stCondLst>
                                            <p:cond delay="3000"/>
                                          </p:stCondLst>
                                        </p:cTn>
                                        <p:tgtEl>
                                          <p:spTgt spid="37"/>
                                        </p:tgtEl>
                                        <p:attrNameLst>
                                          <p:attrName>r</p:attrName>
                                        </p:attrNameLst>
                                      </p:cBhvr>
                                    </p:animRot>
                                    <p:animRot by="120000">
                                      <p:cBhvr>
                                        <p:cTn id="10" dur="1000" fill="hold">
                                          <p:stCondLst>
                                            <p:cond delay="4000"/>
                                          </p:stCondLst>
                                        </p:cTn>
                                        <p:tgtEl>
                                          <p:spTgt spid="3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Title – Grid Light">
    <p:bg>
      <p:bgPr>
        <a:solidFill>
          <a:schemeClr val="accent1"/>
        </a:solidFill>
        <a:effectLst/>
      </p:bgPr>
    </p:bg>
    <p:spTree>
      <p:nvGrpSpPr>
        <p:cNvPr id="1" name=""/>
        <p:cNvGrpSpPr/>
        <p:nvPr/>
      </p:nvGrpSpPr>
      <p:grpSpPr>
        <a:xfrm>
          <a:off x="0" y="0"/>
          <a:ext cx="0" cy="0"/>
          <a:chOff x="0" y="0"/>
          <a:chExt cx="0" cy="0"/>
        </a:xfrm>
      </p:grpSpPr>
      <p:sp>
        <p:nvSpPr>
          <p:cNvPr id="15" name="Text Placeholder 49">
            <a:extLst>
              <a:ext uri="{FF2B5EF4-FFF2-40B4-BE49-F238E27FC236}">
                <a16:creationId xmlns:a16="http://schemas.microsoft.com/office/drawing/2014/main" id="{5FBB86DE-8D78-4D5E-9EA7-C16BA9D026C8}"/>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 name="TextBox 15">
            <a:extLst>
              <a:ext uri="{FF2B5EF4-FFF2-40B4-BE49-F238E27FC236}">
                <a16:creationId xmlns:a16="http://schemas.microsoft.com/office/drawing/2014/main" id="{59C0930A-14E9-4C7E-9205-7DEBAC879BC5}"/>
              </a:ext>
            </a:extLst>
          </p:cNvPr>
          <p:cNvSpPr txBox="1">
            <a:spLocks/>
          </p:cNvSpPr>
          <p:nvPr userDrawn="1"/>
        </p:nvSpPr>
        <p:spPr>
          <a:xfrm rot="18900000" flipV="1">
            <a:off x="7229807"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a:off x="5880100"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pic>
        <p:nvPicPr>
          <p:cNvPr id="4" name="Picture 3" descr="A picture containing table, blue, sitting, food&#10;&#10;Description automatically generated">
            <a:extLst>
              <a:ext uri="{FF2B5EF4-FFF2-40B4-BE49-F238E27FC236}">
                <a16:creationId xmlns:a16="http://schemas.microsoft.com/office/drawing/2014/main" id="{02C01C83-697B-411C-AFF7-E38A600F121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7044628" y="5233196"/>
            <a:ext cx="2208772" cy="1624804"/>
          </a:xfrm>
          <a:prstGeom prst="rect">
            <a:avLst/>
          </a:prstGeom>
        </p:spPr>
      </p:pic>
    </p:spTree>
    <p:extLst>
      <p:ext uri="{BB962C8B-B14F-4D97-AF65-F5344CB8AC3E}">
        <p14:creationId xmlns:p14="http://schemas.microsoft.com/office/powerpoint/2010/main" val="2982233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750" fill="hold"/>
                                        <p:tgtEl>
                                          <p:spTgt spid="4"/>
                                        </p:tgtEl>
                                        <p:attrNameLst>
                                          <p:attrName>ppt_x</p:attrName>
                                        </p:attrNameLst>
                                      </p:cBhvr>
                                      <p:tavLst>
                                        <p:tav tm="0">
                                          <p:val>
                                            <p:strVal val="1+#ppt_w/2"/>
                                          </p:val>
                                        </p:tav>
                                        <p:tav tm="100000">
                                          <p:val>
                                            <p:strVal val="#ppt_x"/>
                                          </p:val>
                                        </p:tav>
                                      </p:tavLst>
                                    </p:anim>
                                    <p:anim calcmode="lin" valueType="num">
                                      <p:cBhvr additive="base">
                                        <p:cTn id="8" dur="1750" fill="hold"/>
                                        <p:tgtEl>
                                          <p:spTgt spid="4"/>
                                        </p:tgtEl>
                                        <p:attrNameLst>
                                          <p:attrName>ppt_y</p:attrName>
                                        </p:attrNameLst>
                                      </p:cBhvr>
                                      <p:tavLst>
                                        <p:tav tm="0">
                                          <p:val>
                                            <p:strVal val="#ppt_y"/>
                                          </p:val>
                                        </p:tav>
                                        <p:tav tm="100000">
                                          <p:val>
                                            <p:strVal val="#ppt_y"/>
                                          </p:val>
                                        </p:tav>
                                      </p:tavLst>
                                    </p:anim>
                                  </p:childTnLst>
                                </p:cTn>
                              </p:par>
                              <p:par>
                                <p:cTn id="9" presetID="32" presetClass="emph" presetSubtype="0" repeatCount="indefinite" fill="hold" nodeType="withEffect">
                                  <p:stCondLst>
                                    <p:cond delay="2000"/>
                                  </p:stCondLst>
                                  <p:childTnLst>
                                    <p:animRot by="120000">
                                      <p:cBhvr>
                                        <p:cTn id="10" dur="500" fill="hold">
                                          <p:stCondLst>
                                            <p:cond delay="0"/>
                                          </p:stCondLst>
                                        </p:cTn>
                                        <p:tgtEl>
                                          <p:spTgt spid="4"/>
                                        </p:tgtEl>
                                        <p:attrNameLst>
                                          <p:attrName>r</p:attrName>
                                        </p:attrNameLst>
                                      </p:cBhvr>
                                    </p:animRot>
                                    <p:animRot by="-240000">
                                      <p:cBhvr>
                                        <p:cTn id="11" dur="1000" fill="hold">
                                          <p:stCondLst>
                                            <p:cond delay="1000"/>
                                          </p:stCondLst>
                                        </p:cTn>
                                        <p:tgtEl>
                                          <p:spTgt spid="4"/>
                                        </p:tgtEl>
                                        <p:attrNameLst>
                                          <p:attrName>r</p:attrName>
                                        </p:attrNameLst>
                                      </p:cBhvr>
                                    </p:animRot>
                                    <p:animRot by="240000">
                                      <p:cBhvr>
                                        <p:cTn id="12" dur="1000" fill="hold">
                                          <p:stCondLst>
                                            <p:cond delay="2000"/>
                                          </p:stCondLst>
                                        </p:cTn>
                                        <p:tgtEl>
                                          <p:spTgt spid="4"/>
                                        </p:tgtEl>
                                        <p:attrNameLst>
                                          <p:attrName>r</p:attrName>
                                        </p:attrNameLst>
                                      </p:cBhvr>
                                    </p:animRot>
                                    <p:animRot by="-240000">
                                      <p:cBhvr>
                                        <p:cTn id="13" dur="1000" fill="hold">
                                          <p:stCondLst>
                                            <p:cond delay="3000"/>
                                          </p:stCondLst>
                                        </p:cTn>
                                        <p:tgtEl>
                                          <p:spTgt spid="4"/>
                                        </p:tgtEl>
                                        <p:attrNameLst>
                                          <p:attrName>r</p:attrName>
                                        </p:attrNameLst>
                                      </p:cBhvr>
                                    </p:animRot>
                                    <p:animRot by="120000">
                                      <p:cBhvr>
                                        <p:cTn id="14" dur="1000" fill="hold">
                                          <p:stCondLst>
                                            <p:cond delay="40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38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 Grid Light">
    <p:bg>
      <p:bgPr>
        <a:solidFill>
          <a:schemeClr val="bg2"/>
        </a:solidFill>
        <a:effectLst/>
      </p:bgPr>
    </p:bg>
    <p:spTree>
      <p:nvGrpSpPr>
        <p:cNvPr id="1" name=""/>
        <p:cNvGrpSpPr/>
        <p:nvPr/>
      </p:nvGrpSpPr>
      <p:grpSpPr>
        <a:xfrm>
          <a:off x="0" y="0"/>
          <a:ext cx="0" cy="0"/>
          <a:chOff x="0" y="0"/>
          <a:chExt cx="0" cy="0"/>
        </a:xfrm>
      </p:grpSpPr>
      <p:sp>
        <p:nvSpPr>
          <p:cNvPr id="28" name="Text Placeholder 83">
            <a:extLst>
              <a:ext uri="{FF2B5EF4-FFF2-40B4-BE49-F238E27FC236}">
                <a16:creationId xmlns:a16="http://schemas.microsoft.com/office/drawing/2014/main" id="{A76F60B2-0687-4093-9A57-B230E47D03F2}"/>
              </a:ext>
            </a:extLst>
          </p:cNvPr>
          <p:cNvSpPr txBox="1">
            <a:spLocks/>
          </p:cNvSpPr>
          <p:nvPr userDrawn="1"/>
        </p:nvSpPr>
        <p:spPr>
          <a:xfrm rot="10800000" flipV="1">
            <a:off x="0" y="-1"/>
            <a:ext cx="8423904" cy="4211955"/>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7" name="Freeform: Shape 83">
            <a:extLst>
              <a:ext uri="{FF2B5EF4-FFF2-40B4-BE49-F238E27FC236}">
                <a16:creationId xmlns:a16="http://schemas.microsoft.com/office/drawing/2014/main" id="{CA002D9B-3E4A-4A7C-9265-41B72AE6634F}"/>
              </a:ext>
            </a:extLst>
          </p:cNvPr>
          <p:cNvSpPr txBox="1">
            <a:spLocks/>
          </p:cNvSpPr>
          <p:nvPr userDrawn="1"/>
        </p:nvSpPr>
        <p:spPr>
          <a:xfrm>
            <a:off x="6302861" y="4901119"/>
            <a:ext cx="2121043" cy="195688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
        <p:nvSpPr>
          <p:cNvPr id="25" name="Text Placeholder 49">
            <a:extLst>
              <a:ext uri="{FF2B5EF4-FFF2-40B4-BE49-F238E27FC236}">
                <a16:creationId xmlns:a16="http://schemas.microsoft.com/office/drawing/2014/main" id="{F1286419-5447-4BB7-AEE3-097A2929D7B9}"/>
              </a:ext>
            </a:extLst>
          </p:cNvPr>
          <p:cNvSpPr txBox="1">
            <a:spLocks/>
          </p:cNvSpPr>
          <p:nvPr userDrawn="1"/>
        </p:nvSpPr>
        <p:spPr>
          <a:xfrm>
            <a:off x="9159242" y="2105977"/>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40639793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6_Title – Grid Light">
    <p:bg>
      <p:bgPr>
        <a:solidFill>
          <a:schemeClr val="bg2"/>
        </a:solidFill>
        <a:effectLst/>
      </p:bgPr>
    </p:bg>
    <p:spTree>
      <p:nvGrpSpPr>
        <p:cNvPr id="1" name=""/>
        <p:cNvGrpSpPr/>
        <p:nvPr/>
      </p:nvGrpSpPr>
      <p:grpSpPr>
        <a:xfrm>
          <a:off x="0" y="0"/>
          <a:ext cx="0" cy="0"/>
          <a:chOff x="0" y="0"/>
          <a:chExt cx="0" cy="0"/>
        </a:xfrm>
      </p:grpSpPr>
      <p:sp>
        <p:nvSpPr>
          <p:cNvPr id="26" name="Text Placeholder 49">
            <a:extLst>
              <a:ext uri="{FF2B5EF4-FFF2-40B4-BE49-F238E27FC236}">
                <a16:creationId xmlns:a16="http://schemas.microsoft.com/office/drawing/2014/main" id="{73B0CE92-879B-4EA7-9079-D1F8261FC8D8}"/>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4" name="TextBox 33">
            <a:extLst>
              <a:ext uri="{FF2B5EF4-FFF2-40B4-BE49-F238E27FC236}">
                <a16:creationId xmlns:a16="http://schemas.microsoft.com/office/drawing/2014/main" id="{7E36862B-3B07-4416-9F20-076D4CB58644}"/>
              </a:ext>
            </a:extLst>
          </p:cNvPr>
          <p:cNvSpPr txBox="1">
            <a:spLocks/>
          </p:cNvSpPr>
          <p:nvPr userDrawn="1"/>
        </p:nvSpPr>
        <p:spPr>
          <a:xfrm rot="18900000" flipV="1">
            <a:off x="7229807"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8" name="Freeform: Shape 83">
            <a:extLst>
              <a:ext uri="{FF2B5EF4-FFF2-40B4-BE49-F238E27FC236}">
                <a16:creationId xmlns:a16="http://schemas.microsoft.com/office/drawing/2014/main" id="{0A6A95A8-7693-4E00-A8BA-D2D5D75DE11B}"/>
              </a:ext>
            </a:extLst>
          </p:cNvPr>
          <p:cNvSpPr txBox="1">
            <a:spLocks/>
          </p:cNvSpPr>
          <p:nvPr userDrawn="1"/>
        </p:nvSpPr>
        <p:spPr>
          <a:xfrm>
            <a:off x="5880100"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Tree>
    <p:extLst>
      <p:ext uri="{BB962C8B-B14F-4D97-AF65-F5344CB8AC3E}">
        <p14:creationId xmlns:p14="http://schemas.microsoft.com/office/powerpoint/2010/main" val="2292288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7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7"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0"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Tree>
    <p:extLst>
      <p:ext uri="{BB962C8B-B14F-4D97-AF65-F5344CB8AC3E}">
        <p14:creationId xmlns:p14="http://schemas.microsoft.com/office/powerpoint/2010/main" val="14256390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8_Title – Grid Light">
    <p:bg>
      <p:bgPr>
        <a:solidFill>
          <a:schemeClr val="accent1"/>
        </a:solidFill>
        <a:effectLst/>
      </p:bgPr>
    </p:bg>
    <p:spTree>
      <p:nvGrpSpPr>
        <p:cNvPr id="1" name=""/>
        <p:cNvGrpSpPr/>
        <p:nvPr/>
      </p:nvGrpSpPr>
      <p:grpSpPr>
        <a:xfrm>
          <a:off x="0" y="0"/>
          <a:ext cx="0" cy="0"/>
          <a:chOff x="0" y="0"/>
          <a:chExt cx="0" cy="0"/>
        </a:xfrm>
      </p:grpSpPr>
      <p:sp>
        <p:nvSpPr>
          <p:cNvPr id="15" name="Text Placeholder 49">
            <a:extLst>
              <a:ext uri="{FF2B5EF4-FFF2-40B4-BE49-F238E27FC236}">
                <a16:creationId xmlns:a16="http://schemas.microsoft.com/office/drawing/2014/main" id="{5FBB86DE-8D78-4D5E-9EA7-C16BA9D026C8}"/>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 name="TextBox 15">
            <a:extLst>
              <a:ext uri="{FF2B5EF4-FFF2-40B4-BE49-F238E27FC236}">
                <a16:creationId xmlns:a16="http://schemas.microsoft.com/office/drawing/2014/main" id="{59C0930A-14E9-4C7E-9205-7DEBAC879BC5}"/>
              </a:ext>
            </a:extLst>
          </p:cNvPr>
          <p:cNvSpPr txBox="1">
            <a:spLocks/>
          </p:cNvSpPr>
          <p:nvPr userDrawn="1"/>
        </p:nvSpPr>
        <p:spPr>
          <a:xfrm rot="18900000" flipV="1">
            <a:off x="7229807"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a:off x="5880100"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Tree>
    <p:extLst>
      <p:ext uri="{BB962C8B-B14F-4D97-AF65-F5344CB8AC3E}">
        <p14:creationId xmlns:p14="http://schemas.microsoft.com/office/powerpoint/2010/main" val="2354898051"/>
      </p:ext>
    </p:extLst>
  </p:cSld>
  <p:clrMapOvr>
    <a:masterClrMapping/>
  </p:clrMapOvr>
  <p:extLst>
    <p:ext uri="{DCECCB84-F9BA-43D5-87BE-67443E8EF086}">
      <p15:sldGuideLst xmlns:p15="http://schemas.microsoft.com/office/powerpoint/2012/main">
        <p15:guide id="1" pos="383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 Grid Light Custom">
    <p:bg>
      <p:bgPr>
        <a:solidFill>
          <a:schemeClr val="tx2"/>
        </a:solidFill>
        <a:effectLst/>
      </p:bgPr>
    </p:bg>
    <p:spTree>
      <p:nvGrpSpPr>
        <p:cNvPr id="1" name=""/>
        <p:cNvGrpSpPr/>
        <p:nvPr/>
      </p:nvGrpSpPr>
      <p:grpSpPr>
        <a:xfrm>
          <a:off x="0" y="0"/>
          <a:ext cx="0" cy="0"/>
          <a:chOff x="0" y="0"/>
          <a:chExt cx="0" cy="0"/>
        </a:xfrm>
      </p:grpSpPr>
      <p:sp>
        <p:nvSpPr>
          <p:cNvPr id="65" name="Text Placeholder 49">
            <a:extLst>
              <a:ext uri="{FF2B5EF4-FFF2-40B4-BE49-F238E27FC236}">
                <a16:creationId xmlns:a16="http://schemas.microsoft.com/office/drawing/2014/main" id="{18A4A4F2-9AB2-4B24-87E6-2B75F59E8506}"/>
              </a:ext>
            </a:extLst>
          </p:cNvPr>
          <p:cNvSpPr>
            <a:spLocks noGrp="1"/>
          </p:cNvSpPr>
          <p:nvPr>
            <p:ph type="body" sz="quarter" idx="17" hasCustomPrompt="1"/>
          </p:nvPr>
        </p:nvSpPr>
        <p:spPr>
          <a:xfrm>
            <a:off x="2780505" y="4315834"/>
            <a:ext cx="2120056" cy="2120040"/>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8" name="Text Placeholder 64">
            <a:extLst>
              <a:ext uri="{FF2B5EF4-FFF2-40B4-BE49-F238E27FC236}">
                <a16:creationId xmlns:a16="http://schemas.microsoft.com/office/drawing/2014/main" id="{59ED8ACD-8533-448B-B246-0F6A58967FE6}"/>
              </a:ext>
            </a:extLst>
          </p:cNvPr>
          <p:cNvSpPr>
            <a:spLocks noGrp="1"/>
          </p:cNvSpPr>
          <p:nvPr>
            <p:ph type="body" sz="quarter" idx="22" hasCustomPrompt="1"/>
          </p:nvPr>
        </p:nvSpPr>
        <p:spPr>
          <a:xfrm rot="5400000">
            <a:off x="5594421" y="285679"/>
            <a:ext cx="2692400" cy="2121043"/>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p:ph type="ctrTitle" hasCustomPrompt="1"/>
          </p:nvPr>
        </p:nvSpPr>
        <p:spPr>
          <a:xfrm>
            <a:off x="382972" y="2743200"/>
            <a:ext cx="5292030" cy="786317"/>
          </a:xfrm>
          <a:solidFill>
            <a:schemeClr val="bg1">
              <a:alpha val="65000"/>
            </a:schemeClr>
          </a:solidFill>
        </p:spPr>
        <p:txBody>
          <a:bodyPr lIns="91440" tIns="91440" rIns="91440" bIns="0" anchor="t" anchorCtr="0">
            <a:noAutofit/>
          </a:bodyPr>
          <a:lstStyle>
            <a:lvl1pPr algn="l">
              <a:lnSpc>
                <a:spcPct val="80000"/>
              </a:lnSpc>
              <a:defRPr sz="5000" b="1" i="0" spc="-100">
                <a:solidFill>
                  <a:schemeClr val="tx1"/>
                </a:solidFill>
                <a:latin typeface="Arial"/>
                <a:cs typeface="Arial"/>
              </a:defRPr>
            </a:lvl1pPr>
          </a:lstStyle>
          <a:p>
            <a:r>
              <a:rPr lang="en-US"/>
              <a:t>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p:ph type="subTitle" idx="1" hasCustomPrompt="1"/>
          </p:nvPr>
        </p:nvSpPr>
        <p:spPr>
          <a:xfrm>
            <a:off x="382972" y="3796115"/>
            <a:ext cx="5292030" cy="560910"/>
          </a:xfrm>
          <a:solidFill>
            <a:schemeClr val="bg1">
              <a:alpha val="65000"/>
            </a:schemeClr>
          </a:solidFill>
        </p:spPr>
        <p:txBody>
          <a:bodyPr lIns="91440" tIns="91440" rIns="91440" bIns="91440" anchor="ctr" anchorCtr="0">
            <a:normAutofit/>
          </a:bodyPr>
          <a:lstStyle>
            <a:lvl1pPr marL="0" indent="0" algn="l">
              <a:lnSpc>
                <a:spcPct val="100000"/>
              </a:lnSpc>
              <a:spcBef>
                <a:spcPts val="800"/>
              </a:spcBef>
              <a:spcAft>
                <a:spcPts val="0"/>
              </a:spcAft>
              <a:buNone/>
              <a:defRPr sz="2800" b="1" i="0" spc="-5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30" name="Text Placeholder 29">
            <a:extLst>
              <a:ext uri="{FF2B5EF4-FFF2-40B4-BE49-F238E27FC236}">
                <a16:creationId xmlns:a16="http://schemas.microsoft.com/office/drawing/2014/main" id="{2EED798B-CFA5-40A5-80EA-22AC8E89F137}"/>
              </a:ext>
            </a:extLst>
          </p:cNvPr>
          <p:cNvSpPr>
            <a:spLocks noGrp="1"/>
          </p:cNvSpPr>
          <p:nvPr>
            <p:ph type="body" sz="quarter" idx="32" hasCustomPrompt="1"/>
          </p:nvPr>
        </p:nvSpPr>
        <p:spPr>
          <a:xfrm rot="18900000" flipV="1">
            <a:off x="7240529" y="3127407"/>
            <a:ext cx="6149993" cy="3076598"/>
          </a:xfrm>
          <a:custGeom>
            <a:avLst/>
            <a:gdLst>
              <a:gd name="connsiteX0" fmla="*/ 6149993 w 6149993"/>
              <a:gd name="connsiteY0" fmla="*/ 1964049 h 3076598"/>
              <a:gd name="connsiteX1" fmla="*/ 4650148 w 6149993"/>
              <a:gd name="connsiteY1" fmla="*/ 464204 h 3076598"/>
              <a:gd name="connsiteX2" fmla="*/ 4638007 w 6149993"/>
              <a:gd name="connsiteY2" fmla="*/ 475238 h 3076598"/>
              <a:gd name="connsiteX3" fmla="*/ 3287753 w 6149993"/>
              <a:gd name="connsiteY3" fmla="*/ 959968 h 3076598"/>
              <a:gd name="connsiteX4" fmla="*/ 1527548 w 6149993"/>
              <a:gd name="connsiteY4" fmla="*/ 24073 h 3076598"/>
              <a:gd name="connsiteX5" fmla="*/ 1512923 w 6149993"/>
              <a:gd name="connsiteY5" fmla="*/ 0 h 3076598"/>
              <a:gd name="connsiteX6" fmla="*/ 0 w 6149993"/>
              <a:gd name="connsiteY6" fmla="*/ 1512924 h 3076598"/>
              <a:gd name="connsiteX7" fmla="*/ 16454 w 6149993"/>
              <a:gd name="connsiteY7" fmla="*/ 1533863 h 3076598"/>
              <a:gd name="connsiteX8" fmla="*/ 3287753 w 6149993"/>
              <a:gd name="connsiteY8" fmla="*/ 3076598 h 3076598"/>
              <a:gd name="connsiteX9" fmla="*/ 6138204 w 6149993"/>
              <a:gd name="connsiteY9" fmla="*/ 1975288 h 30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993" h="3076598">
                <a:moveTo>
                  <a:pt x="6149993" y="1964049"/>
                </a:moveTo>
                <a:lnTo>
                  <a:pt x="4650148" y="464204"/>
                </a:lnTo>
                <a:lnTo>
                  <a:pt x="4638007" y="475238"/>
                </a:lnTo>
                <a:cubicBezTo>
                  <a:pt x="4271074" y="778058"/>
                  <a:pt x="3800657" y="959968"/>
                  <a:pt x="3287753" y="959968"/>
                </a:cubicBezTo>
                <a:cubicBezTo>
                  <a:pt x="2555033" y="959968"/>
                  <a:pt x="1909019" y="588724"/>
                  <a:pt x="1527548" y="24073"/>
                </a:cubicBezTo>
                <a:lnTo>
                  <a:pt x="1512923" y="0"/>
                </a:lnTo>
                <a:lnTo>
                  <a:pt x="0" y="1512924"/>
                </a:lnTo>
                <a:lnTo>
                  <a:pt x="16454" y="1533863"/>
                </a:lnTo>
                <a:cubicBezTo>
                  <a:pt x="794015" y="2476050"/>
                  <a:pt x="1970751" y="3076598"/>
                  <a:pt x="3287753" y="3076598"/>
                </a:cubicBezTo>
                <a:cubicBezTo>
                  <a:pt x="4385254" y="3076598"/>
                  <a:pt x="5385348" y="2659551"/>
                  <a:pt x="6138204" y="1975288"/>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pic>
        <p:nvPicPr>
          <p:cNvPr id="31" name="Picture 30">
            <a:extLst>
              <a:ext uri="{FF2B5EF4-FFF2-40B4-BE49-F238E27FC236}">
                <a16:creationId xmlns:a16="http://schemas.microsoft.com/office/drawing/2014/main" id="{CE57984F-CB83-4B8D-B078-EEEED8C2729D}"/>
              </a:ext>
            </a:extLst>
          </p:cNvPr>
          <p:cNvPicPr>
            <a:picLocks noChangeAspect="1"/>
          </p:cNvPicPr>
          <p:nvPr userDrawn="1"/>
        </p:nvPicPr>
        <p:blipFill>
          <a:blip r:embed="rId2"/>
          <a:srcRect/>
          <a:stretch/>
        </p:blipFill>
        <p:spPr>
          <a:xfrm>
            <a:off x="431876" y="6081014"/>
            <a:ext cx="2444834" cy="560910"/>
          </a:xfrm>
          <a:prstGeom prst="rect">
            <a:avLst/>
          </a:prstGeom>
        </p:spPr>
      </p:pic>
      <p:sp>
        <p:nvSpPr>
          <p:cNvPr id="5" name="Text Placeholder 4">
            <a:extLst>
              <a:ext uri="{FF2B5EF4-FFF2-40B4-BE49-F238E27FC236}">
                <a16:creationId xmlns:a16="http://schemas.microsoft.com/office/drawing/2014/main" id="{85C16F05-F084-48E8-9A69-0A717D07AF30}"/>
              </a:ext>
            </a:extLst>
          </p:cNvPr>
          <p:cNvSpPr>
            <a:spLocks noGrp="1"/>
          </p:cNvSpPr>
          <p:nvPr>
            <p:ph type="body" sz="quarter" idx="33" hasCustomPrompt="1"/>
          </p:nvPr>
        </p:nvSpPr>
        <p:spPr>
          <a:xfrm>
            <a:off x="382588" y="1169557"/>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Third line)</a:t>
            </a:r>
          </a:p>
        </p:txBody>
      </p:sp>
      <p:sp>
        <p:nvSpPr>
          <p:cNvPr id="35" name="Text Placeholder 4">
            <a:extLst>
              <a:ext uri="{FF2B5EF4-FFF2-40B4-BE49-F238E27FC236}">
                <a16:creationId xmlns:a16="http://schemas.microsoft.com/office/drawing/2014/main" id="{D2BE8780-B07C-4B86-BF28-36A7371AFC16}"/>
              </a:ext>
            </a:extLst>
          </p:cNvPr>
          <p:cNvSpPr>
            <a:spLocks noGrp="1"/>
          </p:cNvSpPr>
          <p:nvPr>
            <p:ph type="body" sz="quarter" idx="34"/>
          </p:nvPr>
        </p:nvSpPr>
        <p:spPr>
          <a:xfrm>
            <a:off x="382588" y="1956883"/>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Click to edit Master text styles</a:t>
            </a:r>
          </a:p>
        </p:txBody>
      </p:sp>
    </p:spTree>
    <p:extLst>
      <p:ext uri="{BB962C8B-B14F-4D97-AF65-F5344CB8AC3E}">
        <p14:creationId xmlns:p14="http://schemas.microsoft.com/office/powerpoint/2010/main" val="40075972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0_Title – Grid Light">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3C630F6-5777-4826-A8BA-A5E5F67ED8DE}"/>
              </a:ext>
            </a:extLst>
          </p:cNvPr>
          <p:cNvGrpSpPr/>
          <p:nvPr userDrawn="1"/>
        </p:nvGrpSpPr>
        <p:grpSpPr>
          <a:xfrm>
            <a:off x="9346573" y="258374"/>
            <a:ext cx="2592719" cy="6341252"/>
            <a:chOff x="9346573" y="258374"/>
            <a:chExt cx="2592719" cy="6341252"/>
          </a:xfrm>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30" name="Freeform: Shape 29">
              <a:extLst>
                <a:ext uri="{FF2B5EF4-FFF2-40B4-BE49-F238E27FC236}">
                  <a16:creationId xmlns:a16="http://schemas.microsoft.com/office/drawing/2014/main" id="{01610C87-FCDE-46C3-9E2E-739916D61405}"/>
                </a:ext>
              </a:extLst>
            </p:cNvPr>
            <p:cNvSpPr/>
            <p:nvPr userDrawn="1"/>
          </p:nvSpPr>
          <p:spPr>
            <a:xfrm>
              <a:off x="9346573"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gr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p:ph type="subTitle" idx="1" hasCustomPrompt="1"/>
          </p:nvPr>
        </p:nvSpPr>
        <p:spPr>
          <a:xfrm>
            <a:off x="382971" y="3759200"/>
            <a:ext cx="7648381" cy="1510886"/>
          </a:xfrm>
        </p:spPr>
        <p:txBody>
          <a:bodyPr lIns="0" tIns="0" rIns="0" bIns="0" anchor="t" anchorCtr="0">
            <a:normAutofit/>
          </a:bodyPr>
          <a:lstStyle>
            <a:lvl1pPr marL="0" indent="0" algn="l">
              <a:lnSpc>
                <a:spcPct val="100000"/>
              </a:lnSpc>
              <a:spcBef>
                <a:spcPts val="0"/>
              </a:spcBef>
              <a:buNone/>
              <a:defRPr sz="6000" b="1" i="0" spc="-10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p:ph type="body" sz="quarter" idx="12" hasCustomPrompt="1"/>
          </p:nvPr>
        </p:nvSpPr>
        <p:spPr>
          <a:xfrm>
            <a:off x="386020" y="3078730"/>
            <a:ext cx="7648381" cy="510040"/>
          </a:xfrm>
        </p:spPr>
        <p:txBody>
          <a:bodyPr anchor="ctr" anchorCtr="0"/>
          <a:lstStyle>
            <a:lvl1pPr>
              <a:defRPr sz="6000" b="1" spc="-100" baseline="0">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p:ph type="ctrTitle" hasCustomPrompt="1"/>
          </p:nvPr>
        </p:nvSpPr>
        <p:spPr>
          <a:xfrm>
            <a:off x="382971" y="880649"/>
            <a:ext cx="7657943" cy="2027651"/>
          </a:xfrm>
        </p:spPr>
        <p:txBody>
          <a:bodyPr lIns="0" tIns="0" rIns="0" bIns="0" anchor="b" anchorCtr="0">
            <a:noAutofit/>
          </a:bodyPr>
          <a:lstStyle>
            <a:lvl1pPr algn="l">
              <a:lnSpc>
                <a:spcPct val="100000"/>
              </a:lnSpc>
              <a:defRPr sz="6000" b="1" i="0" spc="-100">
                <a:solidFill>
                  <a:schemeClr val="tx2"/>
                </a:solidFill>
                <a:latin typeface="Arial"/>
                <a:cs typeface="Arial"/>
              </a:defRPr>
            </a:lvl1pPr>
          </a:lstStyle>
          <a:p>
            <a:r>
              <a:rPr lang="en-US"/>
              <a:t>Click to edit </a:t>
            </a:r>
            <a:br>
              <a:rPr lang="en-US"/>
            </a:br>
            <a:r>
              <a:rPr lang="en-US"/>
              <a:t>Master title style</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rot="16200000" flipV="1">
            <a:off x="10498451" y="1143711"/>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rot="16200000">
            <a:off x="9922682" y="3143726"/>
            <a:ext cx="574904" cy="1715833"/>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a:off x="9935038" y="2296382"/>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a:off x="10878327" y="5270086"/>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a:off x="10198402" y="0"/>
            <a:ext cx="574904" cy="851154"/>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2700000" flipH="1" flipV="1">
            <a:off x="9044758" y="5894614"/>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18610467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2_Title – Grid Light">
    <p:bg>
      <p:bgPr>
        <a:solidFill>
          <a:schemeClr val="accent1"/>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rcRect/>
          <a:stretch/>
        </p:blipFill>
        <p:spPr>
          <a:xfrm>
            <a:off x="431878" y="6081015"/>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p:ph type="subTitle" idx="1" hasCustomPrompt="1"/>
          </p:nvPr>
        </p:nvSpPr>
        <p:spPr>
          <a:xfrm>
            <a:off x="382971" y="3759200"/>
            <a:ext cx="7648381" cy="1510886"/>
          </a:xfrm>
        </p:spPr>
        <p:txBody>
          <a:bodyPr lIns="0" tIns="0" rIns="0" bIns="0" anchor="t" anchorCtr="0">
            <a:normAutofit/>
          </a:bodyPr>
          <a:lstStyle>
            <a:lvl1pPr marL="0" indent="0" algn="l">
              <a:lnSpc>
                <a:spcPct val="100000"/>
              </a:lnSpc>
              <a:spcBef>
                <a:spcPts val="0"/>
              </a:spcBef>
              <a:buNone/>
              <a:defRPr sz="6000" b="1" i="0" spc="-10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p:ph type="body" sz="quarter" idx="12" hasCustomPrompt="1"/>
          </p:nvPr>
        </p:nvSpPr>
        <p:spPr>
          <a:xfrm>
            <a:off x="386020" y="3078730"/>
            <a:ext cx="7648381" cy="510040"/>
          </a:xfrm>
        </p:spPr>
        <p:txBody>
          <a:bodyPr anchor="ctr" anchorCtr="0"/>
          <a:lstStyle>
            <a:lvl1pPr>
              <a:defRPr sz="6000" b="1" spc="-100" baseline="0">
                <a:solidFill>
                  <a:schemeClr val="bg1"/>
                </a:solidFill>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p:ph type="ctrTitle" hasCustomPrompt="1"/>
          </p:nvPr>
        </p:nvSpPr>
        <p:spPr>
          <a:xfrm>
            <a:off x="382971" y="880649"/>
            <a:ext cx="7657943" cy="2027651"/>
          </a:xfrm>
        </p:spPr>
        <p:txBody>
          <a:bodyPr lIns="0" tIns="0" rIns="0" bIns="0" anchor="b" anchorCtr="0">
            <a:noAutofit/>
          </a:bodyPr>
          <a:lstStyle>
            <a:lvl1pPr algn="l">
              <a:lnSpc>
                <a:spcPct val="100000"/>
              </a:lnSpc>
              <a:defRPr sz="6000" b="1" i="0" spc="-100">
                <a:solidFill>
                  <a:schemeClr val="bg1"/>
                </a:solidFill>
                <a:latin typeface="Arial"/>
                <a:cs typeface="Arial"/>
              </a:defRPr>
            </a:lvl1pPr>
          </a:lstStyle>
          <a:p>
            <a:r>
              <a:rPr lang="en-US"/>
              <a:t>Click to edit </a:t>
            </a:r>
            <a:br>
              <a:rPr lang="en-US"/>
            </a:br>
            <a:r>
              <a:rPr lang="en-US"/>
              <a:t>Master title style</a:t>
            </a:r>
          </a:p>
        </p:txBody>
      </p:sp>
      <p:grpSp>
        <p:nvGrpSpPr>
          <p:cNvPr id="6" name="Group 5">
            <a:extLst>
              <a:ext uri="{FF2B5EF4-FFF2-40B4-BE49-F238E27FC236}">
                <a16:creationId xmlns:a16="http://schemas.microsoft.com/office/drawing/2014/main" id="{13C630F6-5777-4826-A8BA-A5E5F67ED8DE}"/>
              </a:ext>
            </a:extLst>
          </p:cNvPr>
          <p:cNvGrpSpPr/>
          <p:nvPr userDrawn="1"/>
        </p:nvGrpSpPr>
        <p:grpSpPr>
          <a:xfrm>
            <a:off x="9346573" y="258374"/>
            <a:ext cx="2592719" cy="6341252"/>
            <a:chOff x="9346573" y="258374"/>
            <a:chExt cx="2592719" cy="6341252"/>
          </a:xfrm>
          <a:solidFill>
            <a:schemeClr val="accent1">
              <a:lumMod val="75000"/>
            </a:schemeClr>
          </a:solidFill>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a:grpFill/>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a:p>
          </p:txBody>
        </p:sp>
        <p:sp>
          <p:nvSpPr>
            <p:cNvPr id="30" name="Freeform: Shape 29">
              <a:extLst>
                <a:ext uri="{FF2B5EF4-FFF2-40B4-BE49-F238E27FC236}">
                  <a16:creationId xmlns:a16="http://schemas.microsoft.com/office/drawing/2014/main" id="{01610C87-FCDE-46C3-9E2E-739916D61405}"/>
                </a:ext>
              </a:extLst>
            </p:cNvPr>
            <p:cNvSpPr/>
            <p:nvPr userDrawn="1"/>
          </p:nvSpPr>
          <p:spPr>
            <a:xfrm>
              <a:off x="9346573"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a:p>
          </p:txBody>
        </p:sp>
      </p:gr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2700000" flipH="1" flipV="1">
            <a:off x="9044758" y="5894614"/>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rot="16200000" flipV="1">
            <a:off x="10498451" y="1143711"/>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rot="16200000">
            <a:off x="9917919" y="3148489"/>
            <a:ext cx="574904" cy="1706308"/>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a:off x="9935038" y="2296382"/>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a:off x="10878327" y="5270086"/>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a:off x="10198402" y="0"/>
            <a:ext cx="574904" cy="851154"/>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40607953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1_Title – Grid Light">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3C630F6-5777-4826-A8BA-A5E5F67ED8DE}"/>
              </a:ext>
            </a:extLst>
          </p:cNvPr>
          <p:cNvGrpSpPr/>
          <p:nvPr userDrawn="1"/>
        </p:nvGrpSpPr>
        <p:grpSpPr>
          <a:xfrm rot="5400000">
            <a:off x="7595288" y="1985141"/>
            <a:ext cx="2032867" cy="6341252"/>
            <a:chOff x="9906425" y="258374"/>
            <a:chExt cx="2032867" cy="6341252"/>
          </a:xfrm>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gr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userDrawn="1">
            <p:ph type="subTitle" idx="1" hasCustomPrompt="1"/>
          </p:nvPr>
        </p:nvSpPr>
        <p:spPr>
          <a:xfrm>
            <a:off x="382971" y="2540122"/>
            <a:ext cx="7648381" cy="1510886"/>
          </a:xfrm>
        </p:spPr>
        <p:txBody>
          <a:bodyPr lIns="0" tIns="0" rIns="0" bIns="0" anchor="t" anchorCtr="0">
            <a:noAutofit/>
          </a:bodyPr>
          <a:lstStyle>
            <a:lvl1pPr marL="0" indent="0" algn="l">
              <a:lnSpc>
                <a:spcPct val="100000"/>
              </a:lnSpc>
              <a:spcBef>
                <a:spcPts val="0"/>
              </a:spcBef>
              <a:buNone/>
              <a:defRPr sz="4400" b="1" i="0" spc="-10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userDrawn="1">
            <p:ph type="body" sz="quarter" idx="12" hasCustomPrompt="1"/>
          </p:nvPr>
        </p:nvSpPr>
        <p:spPr>
          <a:xfrm>
            <a:off x="386020" y="1859652"/>
            <a:ext cx="7648381" cy="510040"/>
          </a:xfrm>
        </p:spPr>
        <p:txBody>
          <a:bodyPr anchor="ctr" anchorCtr="0"/>
          <a:lstStyle>
            <a:lvl1pPr>
              <a:defRPr sz="4400" b="1" spc="-100" baseline="0">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userDrawn="1">
            <p:ph type="ctrTitle" hasCustomPrompt="1"/>
          </p:nvPr>
        </p:nvSpPr>
        <p:spPr>
          <a:xfrm>
            <a:off x="382971" y="359268"/>
            <a:ext cx="7657943" cy="1329953"/>
          </a:xfrm>
        </p:spPr>
        <p:txBody>
          <a:bodyPr lIns="0" tIns="0" rIns="0" bIns="0" anchor="b" anchorCtr="0">
            <a:noAutofit/>
          </a:bodyPr>
          <a:lstStyle>
            <a:lvl1pPr algn="l">
              <a:lnSpc>
                <a:spcPct val="100000"/>
              </a:lnSpc>
              <a:defRPr sz="4400" b="1" i="0" spc="-100">
                <a:solidFill>
                  <a:schemeClr val="tx2"/>
                </a:solidFill>
                <a:latin typeface="Arial"/>
                <a:cs typeface="Arial"/>
              </a:defRPr>
            </a:lvl1pPr>
          </a:lstStyle>
          <a:p>
            <a:r>
              <a:rPr lang="en-US"/>
              <a:t>Click to edit </a:t>
            </a:r>
            <a:br>
              <a:rPr lang="en-US"/>
            </a:br>
            <a:r>
              <a:rPr lang="en-US"/>
              <a:t>Master title style</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a:off x="7749245" y="4156010"/>
            <a:ext cx="574904" cy="1714179"/>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rot="5400000">
            <a:off x="6616655" y="5596105"/>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rot="5400000">
            <a:off x="11336871" y="4289436"/>
            <a:ext cx="574904" cy="300173"/>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8100000" flipH="1" flipV="1">
            <a:off x="5225788" y="4234665"/>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rot="5400000">
            <a:off x="9197702" y="4167949"/>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flipV="1">
            <a:off x="9211399" y="5037808"/>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3604035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 Grid Dark Custom">
    <p:bg>
      <p:bgPr>
        <a:solidFill>
          <a:schemeClr val="tx2"/>
        </a:solidFill>
        <a:effectLst/>
      </p:bgPr>
    </p:bg>
    <p:spTree>
      <p:nvGrpSpPr>
        <p:cNvPr id="1" name=""/>
        <p:cNvGrpSpPr/>
        <p:nvPr/>
      </p:nvGrpSpPr>
      <p:grpSpPr>
        <a:xfrm>
          <a:off x="0" y="0"/>
          <a:ext cx="0" cy="0"/>
          <a:chOff x="0" y="0"/>
          <a:chExt cx="0" cy="0"/>
        </a:xfrm>
      </p:grpSpPr>
      <p:sp>
        <p:nvSpPr>
          <p:cNvPr id="123" name="Freeform: Shape 122">
            <a:extLst>
              <a:ext uri="{FF2B5EF4-FFF2-40B4-BE49-F238E27FC236}">
                <a16:creationId xmlns:a16="http://schemas.microsoft.com/office/drawing/2014/main" id="{AF48B8C3-FDCD-43C6-850A-AA7EF28A95DF}"/>
              </a:ext>
            </a:extLst>
          </p:cNvPr>
          <p:cNvSpPr/>
          <p:nvPr userDrawn="1"/>
        </p:nvSpPr>
        <p:spPr>
          <a:xfrm>
            <a:off x="252826" y="222349"/>
            <a:ext cx="11701760" cy="6407421"/>
          </a:xfrm>
          <a:custGeom>
            <a:avLst/>
            <a:gdLst>
              <a:gd name="connsiteX0" fmla="*/ 11672158 w 11701760"/>
              <a:gd name="connsiteY0" fmla="*/ 6377925 h 6407421"/>
              <a:gd name="connsiteX1" fmla="*/ 11701760 w 11701760"/>
              <a:gd name="connsiteY1" fmla="*/ 6377925 h 6407421"/>
              <a:gd name="connsiteX2" fmla="*/ 11701760 w 11701760"/>
              <a:gd name="connsiteY2" fmla="*/ 6407421 h 6407421"/>
              <a:gd name="connsiteX3" fmla="*/ 11672158 w 11701760"/>
              <a:gd name="connsiteY3" fmla="*/ 6407421 h 6407421"/>
              <a:gd name="connsiteX4" fmla="*/ 11405961 w 11701760"/>
              <a:gd name="connsiteY4" fmla="*/ 6377925 h 6407421"/>
              <a:gd name="connsiteX5" fmla="*/ 11435563 w 11701760"/>
              <a:gd name="connsiteY5" fmla="*/ 6377925 h 6407421"/>
              <a:gd name="connsiteX6" fmla="*/ 11435563 w 11701760"/>
              <a:gd name="connsiteY6" fmla="*/ 6407421 h 6407421"/>
              <a:gd name="connsiteX7" fmla="*/ 11405961 w 11701760"/>
              <a:gd name="connsiteY7" fmla="*/ 6407421 h 6407421"/>
              <a:gd name="connsiteX8" fmla="*/ 11139872 w 11701760"/>
              <a:gd name="connsiteY8" fmla="*/ 6377925 h 6407421"/>
              <a:gd name="connsiteX9" fmla="*/ 11169474 w 11701760"/>
              <a:gd name="connsiteY9" fmla="*/ 6377925 h 6407421"/>
              <a:gd name="connsiteX10" fmla="*/ 11169474 w 11701760"/>
              <a:gd name="connsiteY10" fmla="*/ 6407421 h 6407421"/>
              <a:gd name="connsiteX11" fmla="*/ 11139872 w 11701760"/>
              <a:gd name="connsiteY11" fmla="*/ 6407421 h 6407421"/>
              <a:gd name="connsiteX12" fmla="*/ 10873675 w 11701760"/>
              <a:gd name="connsiteY12" fmla="*/ 6377925 h 6407421"/>
              <a:gd name="connsiteX13" fmla="*/ 10903277 w 11701760"/>
              <a:gd name="connsiteY13" fmla="*/ 6377925 h 6407421"/>
              <a:gd name="connsiteX14" fmla="*/ 10903277 w 11701760"/>
              <a:gd name="connsiteY14" fmla="*/ 6407421 h 6407421"/>
              <a:gd name="connsiteX15" fmla="*/ 10873675 w 11701760"/>
              <a:gd name="connsiteY15" fmla="*/ 6407421 h 6407421"/>
              <a:gd name="connsiteX16" fmla="*/ 10607478 w 11701760"/>
              <a:gd name="connsiteY16" fmla="*/ 6377925 h 6407421"/>
              <a:gd name="connsiteX17" fmla="*/ 10637188 w 11701760"/>
              <a:gd name="connsiteY17" fmla="*/ 6377925 h 6407421"/>
              <a:gd name="connsiteX18" fmla="*/ 10637188 w 11701760"/>
              <a:gd name="connsiteY18" fmla="*/ 6407421 h 6407421"/>
              <a:gd name="connsiteX19" fmla="*/ 10607478 w 11701760"/>
              <a:gd name="connsiteY19" fmla="*/ 6407421 h 6407421"/>
              <a:gd name="connsiteX20" fmla="*/ 10341389 w 11701760"/>
              <a:gd name="connsiteY20" fmla="*/ 6377925 h 6407421"/>
              <a:gd name="connsiteX21" fmla="*/ 10370992 w 11701760"/>
              <a:gd name="connsiteY21" fmla="*/ 6377925 h 6407421"/>
              <a:gd name="connsiteX22" fmla="*/ 10370992 w 11701760"/>
              <a:gd name="connsiteY22" fmla="*/ 6407421 h 6407421"/>
              <a:gd name="connsiteX23" fmla="*/ 10341389 w 11701760"/>
              <a:gd name="connsiteY23" fmla="*/ 6407421 h 6407421"/>
              <a:gd name="connsiteX24" fmla="*/ 10075192 w 11701760"/>
              <a:gd name="connsiteY24" fmla="*/ 6377925 h 6407421"/>
              <a:gd name="connsiteX25" fmla="*/ 10104794 w 11701760"/>
              <a:gd name="connsiteY25" fmla="*/ 6377925 h 6407421"/>
              <a:gd name="connsiteX26" fmla="*/ 10104794 w 11701760"/>
              <a:gd name="connsiteY26" fmla="*/ 6407421 h 6407421"/>
              <a:gd name="connsiteX27" fmla="*/ 10075192 w 11701760"/>
              <a:gd name="connsiteY27" fmla="*/ 6407421 h 6407421"/>
              <a:gd name="connsiteX28" fmla="*/ 9809103 w 11701760"/>
              <a:gd name="connsiteY28" fmla="*/ 6377925 h 6407421"/>
              <a:gd name="connsiteX29" fmla="*/ 9838705 w 11701760"/>
              <a:gd name="connsiteY29" fmla="*/ 6377925 h 6407421"/>
              <a:gd name="connsiteX30" fmla="*/ 9838705 w 11701760"/>
              <a:gd name="connsiteY30" fmla="*/ 6407421 h 6407421"/>
              <a:gd name="connsiteX31" fmla="*/ 9809103 w 11701760"/>
              <a:gd name="connsiteY31" fmla="*/ 6407421 h 6407421"/>
              <a:gd name="connsiteX32" fmla="*/ 9542906 w 11701760"/>
              <a:gd name="connsiteY32" fmla="*/ 6377925 h 6407421"/>
              <a:gd name="connsiteX33" fmla="*/ 9572509 w 11701760"/>
              <a:gd name="connsiteY33" fmla="*/ 6377925 h 6407421"/>
              <a:gd name="connsiteX34" fmla="*/ 9572509 w 11701760"/>
              <a:gd name="connsiteY34" fmla="*/ 6407421 h 6407421"/>
              <a:gd name="connsiteX35" fmla="*/ 9542906 w 11701760"/>
              <a:gd name="connsiteY35" fmla="*/ 6407421 h 6407421"/>
              <a:gd name="connsiteX36" fmla="*/ 9276817 w 11701760"/>
              <a:gd name="connsiteY36" fmla="*/ 6377925 h 6407421"/>
              <a:gd name="connsiteX37" fmla="*/ 9306420 w 11701760"/>
              <a:gd name="connsiteY37" fmla="*/ 6377925 h 6407421"/>
              <a:gd name="connsiteX38" fmla="*/ 9306420 w 11701760"/>
              <a:gd name="connsiteY38" fmla="*/ 6407421 h 6407421"/>
              <a:gd name="connsiteX39" fmla="*/ 9276817 w 11701760"/>
              <a:gd name="connsiteY39" fmla="*/ 6407421 h 6407421"/>
              <a:gd name="connsiteX40" fmla="*/ 9010620 w 11701760"/>
              <a:gd name="connsiteY40" fmla="*/ 6377925 h 6407421"/>
              <a:gd name="connsiteX41" fmla="*/ 9040222 w 11701760"/>
              <a:gd name="connsiteY41" fmla="*/ 6377925 h 6407421"/>
              <a:gd name="connsiteX42" fmla="*/ 9040222 w 11701760"/>
              <a:gd name="connsiteY42" fmla="*/ 6407421 h 6407421"/>
              <a:gd name="connsiteX43" fmla="*/ 9010620 w 11701760"/>
              <a:gd name="connsiteY43" fmla="*/ 6407421 h 6407421"/>
              <a:gd name="connsiteX44" fmla="*/ 8744423 w 11701760"/>
              <a:gd name="connsiteY44" fmla="*/ 6377925 h 6407421"/>
              <a:gd name="connsiteX45" fmla="*/ 8774026 w 11701760"/>
              <a:gd name="connsiteY45" fmla="*/ 6377925 h 6407421"/>
              <a:gd name="connsiteX46" fmla="*/ 8774026 w 11701760"/>
              <a:gd name="connsiteY46" fmla="*/ 6407421 h 6407421"/>
              <a:gd name="connsiteX47" fmla="*/ 8744423 w 11701760"/>
              <a:gd name="connsiteY47" fmla="*/ 6407421 h 6407421"/>
              <a:gd name="connsiteX48" fmla="*/ 8478226 w 11701760"/>
              <a:gd name="connsiteY48" fmla="*/ 6377925 h 6407421"/>
              <a:gd name="connsiteX49" fmla="*/ 8507828 w 11701760"/>
              <a:gd name="connsiteY49" fmla="*/ 6377925 h 6407421"/>
              <a:gd name="connsiteX50" fmla="*/ 8507828 w 11701760"/>
              <a:gd name="connsiteY50" fmla="*/ 6407421 h 6407421"/>
              <a:gd name="connsiteX51" fmla="*/ 8478226 w 11701760"/>
              <a:gd name="connsiteY51" fmla="*/ 6407421 h 6407421"/>
              <a:gd name="connsiteX52" fmla="*/ 8212137 w 11701760"/>
              <a:gd name="connsiteY52" fmla="*/ 6377925 h 6407421"/>
              <a:gd name="connsiteX53" fmla="*/ 8241740 w 11701760"/>
              <a:gd name="connsiteY53" fmla="*/ 6377925 h 6407421"/>
              <a:gd name="connsiteX54" fmla="*/ 8241740 w 11701760"/>
              <a:gd name="connsiteY54" fmla="*/ 6407421 h 6407421"/>
              <a:gd name="connsiteX55" fmla="*/ 8212137 w 11701760"/>
              <a:gd name="connsiteY55" fmla="*/ 6407421 h 6407421"/>
              <a:gd name="connsiteX56" fmla="*/ 7945940 w 11701760"/>
              <a:gd name="connsiteY56" fmla="*/ 6377925 h 6407421"/>
              <a:gd name="connsiteX57" fmla="*/ 7975543 w 11701760"/>
              <a:gd name="connsiteY57" fmla="*/ 6377925 h 6407421"/>
              <a:gd name="connsiteX58" fmla="*/ 7975543 w 11701760"/>
              <a:gd name="connsiteY58" fmla="*/ 6407421 h 6407421"/>
              <a:gd name="connsiteX59" fmla="*/ 7945940 w 11701760"/>
              <a:gd name="connsiteY59" fmla="*/ 6407421 h 6407421"/>
              <a:gd name="connsiteX60" fmla="*/ 7679743 w 11701760"/>
              <a:gd name="connsiteY60" fmla="*/ 6377925 h 6407421"/>
              <a:gd name="connsiteX61" fmla="*/ 7709346 w 11701760"/>
              <a:gd name="connsiteY61" fmla="*/ 6377925 h 6407421"/>
              <a:gd name="connsiteX62" fmla="*/ 7709346 w 11701760"/>
              <a:gd name="connsiteY62" fmla="*/ 6407421 h 6407421"/>
              <a:gd name="connsiteX63" fmla="*/ 7679743 w 11701760"/>
              <a:gd name="connsiteY63" fmla="*/ 6407421 h 6407421"/>
              <a:gd name="connsiteX64" fmla="*/ 7413653 w 11701760"/>
              <a:gd name="connsiteY64" fmla="*/ 6377925 h 6407421"/>
              <a:gd name="connsiteX65" fmla="*/ 7443256 w 11701760"/>
              <a:gd name="connsiteY65" fmla="*/ 6377925 h 6407421"/>
              <a:gd name="connsiteX66" fmla="*/ 7443256 w 11701760"/>
              <a:gd name="connsiteY66" fmla="*/ 6407421 h 6407421"/>
              <a:gd name="connsiteX67" fmla="*/ 7413653 w 11701760"/>
              <a:gd name="connsiteY67" fmla="*/ 6407421 h 6407421"/>
              <a:gd name="connsiteX68" fmla="*/ 7147456 w 11701760"/>
              <a:gd name="connsiteY68" fmla="*/ 6377925 h 6407421"/>
              <a:gd name="connsiteX69" fmla="*/ 7177058 w 11701760"/>
              <a:gd name="connsiteY69" fmla="*/ 6377925 h 6407421"/>
              <a:gd name="connsiteX70" fmla="*/ 7177058 w 11701760"/>
              <a:gd name="connsiteY70" fmla="*/ 6407421 h 6407421"/>
              <a:gd name="connsiteX71" fmla="*/ 7147456 w 11701760"/>
              <a:gd name="connsiteY71" fmla="*/ 6407421 h 6407421"/>
              <a:gd name="connsiteX72" fmla="*/ 6881367 w 11701760"/>
              <a:gd name="connsiteY72" fmla="*/ 6377925 h 6407421"/>
              <a:gd name="connsiteX73" fmla="*/ 6910970 w 11701760"/>
              <a:gd name="connsiteY73" fmla="*/ 6377925 h 6407421"/>
              <a:gd name="connsiteX74" fmla="*/ 6910970 w 11701760"/>
              <a:gd name="connsiteY74" fmla="*/ 6407421 h 6407421"/>
              <a:gd name="connsiteX75" fmla="*/ 6881367 w 11701760"/>
              <a:gd name="connsiteY75" fmla="*/ 6407421 h 6407421"/>
              <a:gd name="connsiteX76" fmla="*/ 6615170 w 11701760"/>
              <a:gd name="connsiteY76" fmla="*/ 6377925 h 6407421"/>
              <a:gd name="connsiteX77" fmla="*/ 6644773 w 11701760"/>
              <a:gd name="connsiteY77" fmla="*/ 6377925 h 6407421"/>
              <a:gd name="connsiteX78" fmla="*/ 6644773 w 11701760"/>
              <a:gd name="connsiteY78" fmla="*/ 6407421 h 6407421"/>
              <a:gd name="connsiteX79" fmla="*/ 6615170 w 11701760"/>
              <a:gd name="connsiteY79" fmla="*/ 6407421 h 6407421"/>
              <a:gd name="connsiteX80" fmla="*/ 6349081 w 11701760"/>
              <a:gd name="connsiteY80" fmla="*/ 6377925 h 6407421"/>
              <a:gd name="connsiteX81" fmla="*/ 6378683 w 11701760"/>
              <a:gd name="connsiteY81" fmla="*/ 6377925 h 6407421"/>
              <a:gd name="connsiteX82" fmla="*/ 6378683 w 11701760"/>
              <a:gd name="connsiteY82" fmla="*/ 6407421 h 6407421"/>
              <a:gd name="connsiteX83" fmla="*/ 6349081 w 11701760"/>
              <a:gd name="connsiteY83" fmla="*/ 6407421 h 6407421"/>
              <a:gd name="connsiteX84" fmla="*/ 6082884 w 11701760"/>
              <a:gd name="connsiteY84" fmla="*/ 6377925 h 6407421"/>
              <a:gd name="connsiteX85" fmla="*/ 6112486 w 11701760"/>
              <a:gd name="connsiteY85" fmla="*/ 6377925 h 6407421"/>
              <a:gd name="connsiteX86" fmla="*/ 6112486 w 11701760"/>
              <a:gd name="connsiteY86" fmla="*/ 6407421 h 6407421"/>
              <a:gd name="connsiteX87" fmla="*/ 6082884 w 11701760"/>
              <a:gd name="connsiteY87" fmla="*/ 6407421 h 6407421"/>
              <a:gd name="connsiteX88" fmla="*/ 5825310 w 11701760"/>
              <a:gd name="connsiteY88" fmla="*/ 6377925 h 6407421"/>
              <a:gd name="connsiteX89" fmla="*/ 5854913 w 11701760"/>
              <a:gd name="connsiteY89" fmla="*/ 6377925 h 6407421"/>
              <a:gd name="connsiteX90" fmla="*/ 5854913 w 11701760"/>
              <a:gd name="connsiteY90" fmla="*/ 6407421 h 6407421"/>
              <a:gd name="connsiteX91" fmla="*/ 5825310 w 11701760"/>
              <a:gd name="connsiteY91" fmla="*/ 6407421 h 6407421"/>
              <a:gd name="connsiteX92" fmla="*/ 5559113 w 11701760"/>
              <a:gd name="connsiteY92" fmla="*/ 6377925 h 6407421"/>
              <a:gd name="connsiteX93" fmla="*/ 5588715 w 11701760"/>
              <a:gd name="connsiteY93" fmla="*/ 6377925 h 6407421"/>
              <a:gd name="connsiteX94" fmla="*/ 5588715 w 11701760"/>
              <a:gd name="connsiteY94" fmla="*/ 6407421 h 6407421"/>
              <a:gd name="connsiteX95" fmla="*/ 5559113 w 11701760"/>
              <a:gd name="connsiteY95" fmla="*/ 6407421 h 6407421"/>
              <a:gd name="connsiteX96" fmla="*/ 5293024 w 11701760"/>
              <a:gd name="connsiteY96" fmla="*/ 6377925 h 6407421"/>
              <a:gd name="connsiteX97" fmla="*/ 5322626 w 11701760"/>
              <a:gd name="connsiteY97" fmla="*/ 6377925 h 6407421"/>
              <a:gd name="connsiteX98" fmla="*/ 5322626 w 11701760"/>
              <a:gd name="connsiteY98" fmla="*/ 6407421 h 6407421"/>
              <a:gd name="connsiteX99" fmla="*/ 5293024 w 11701760"/>
              <a:gd name="connsiteY99" fmla="*/ 6407421 h 6407421"/>
              <a:gd name="connsiteX100" fmla="*/ 5026827 w 11701760"/>
              <a:gd name="connsiteY100" fmla="*/ 6377925 h 6407421"/>
              <a:gd name="connsiteX101" fmla="*/ 5056429 w 11701760"/>
              <a:gd name="connsiteY101" fmla="*/ 6377925 h 6407421"/>
              <a:gd name="connsiteX102" fmla="*/ 5056429 w 11701760"/>
              <a:gd name="connsiteY102" fmla="*/ 6407421 h 6407421"/>
              <a:gd name="connsiteX103" fmla="*/ 5026827 w 11701760"/>
              <a:gd name="connsiteY103" fmla="*/ 6407421 h 6407421"/>
              <a:gd name="connsiteX104" fmla="*/ 4760630 w 11701760"/>
              <a:gd name="connsiteY104" fmla="*/ 6377925 h 6407421"/>
              <a:gd name="connsiteX105" fmla="*/ 4790340 w 11701760"/>
              <a:gd name="connsiteY105" fmla="*/ 6377925 h 6407421"/>
              <a:gd name="connsiteX106" fmla="*/ 4790340 w 11701760"/>
              <a:gd name="connsiteY106" fmla="*/ 6407421 h 6407421"/>
              <a:gd name="connsiteX107" fmla="*/ 4760630 w 11701760"/>
              <a:gd name="connsiteY107" fmla="*/ 6407421 h 6407421"/>
              <a:gd name="connsiteX108" fmla="*/ 4494541 w 11701760"/>
              <a:gd name="connsiteY108" fmla="*/ 6377925 h 6407421"/>
              <a:gd name="connsiteX109" fmla="*/ 4524144 w 11701760"/>
              <a:gd name="connsiteY109" fmla="*/ 6377925 h 6407421"/>
              <a:gd name="connsiteX110" fmla="*/ 4524144 w 11701760"/>
              <a:gd name="connsiteY110" fmla="*/ 6407421 h 6407421"/>
              <a:gd name="connsiteX111" fmla="*/ 4494541 w 11701760"/>
              <a:gd name="connsiteY111" fmla="*/ 6407421 h 6407421"/>
              <a:gd name="connsiteX112" fmla="*/ 4228344 w 11701760"/>
              <a:gd name="connsiteY112" fmla="*/ 6377925 h 6407421"/>
              <a:gd name="connsiteX113" fmla="*/ 4257946 w 11701760"/>
              <a:gd name="connsiteY113" fmla="*/ 6377925 h 6407421"/>
              <a:gd name="connsiteX114" fmla="*/ 4257946 w 11701760"/>
              <a:gd name="connsiteY114" fmla="*/ 6407421 h 6407421"/>
              <a:gd name="connsiteX115" fmla="*/ 4228344 w 11701760"/>
              <a:gd name="connsiteY115" fmla="*/ 6407421 h 6407421"/>
              <a:gd name="connsiteX116" fmla="*/ 3962255 w 11701760"/>
              <a:gd name="connsiteY116" fmla="*/ 6377925 h 6407421"/>
              <a:gd name="connsiteX117" fmla="*/ 3991857 w 11701760"/>
              <a:gd name="connsiteY117" fmla="*/ 6377925 h 6407421"/>
              <a:gd name="connsiteX118" fmla="*/ 3991857 w 11701760"/>
              <a:gd name="connsiteY118" fmla="*/ 6407421 h 6407421"/>
              <a:gd name="connsiteX119" fmla="*/ 3962255 w 11701760"/>
              <a:gd name="connsiteY119" fmla="*/ 6407421 h 6407421"/>
              <a:gd name="connsiteX120" fmla="*/ 3696058 w 11701760"/>
              <a:gd name="connsiteY120" fmla="*/ 6377925 h 6407421"/>
              <a:gd name="connsiteX121" fmla="*/ 3725661 w 11701760"/>
              <a:gd name="connsiteY121" fmla="*/ 6377925 h 6407421"/>
              <a:gd name="connsiteX122" fmla="*/ 3725661 w 11701760"/>
              <a:gd name="connsiteY122" fmla="*/ 6407421 h 6407421"/>
              <a:gd name="connsiteX123" fmla="*/ 3696058 w 11701760"/>
              <a:gd name="connsiteY123" fmla="*/ 6407421 h 6407421"/>
              <a:gd name="connsiteX124" fmla="*/ 3429969 w 11701760"/>
              <a:gd name="connsiteY124" fmla="*/ 6377925 h 6407421"/>
              <a:gd name="connsiteX125" fmla="*/ 3459572 w 11701760"/>
              <a:gd name="connsiteY125" fmla="*/ 6377925 h 6407421"/>
              <a:gd name="connsiteX126" fmla="*/ 3459572 w 11701760"/>
              <a:gd name="connsiteY126" fmla="*/ 6407421 h 6407421"/>
              <a:gd name="connsiteX127" fmla="*/ 3429969 w 11701760"/>
              <a:gd name="connsiteY127" fmla="*/ 6407421 h 6407421"/>
              <a:gd name="connsiteX128" fmla="*/ 3163772 w 11701760"/>
              <a:gd name="connsiteY128" fmla="*/ 6377925 h 6407421"/>
              <a:gd name="connsiteX129" fmla="*/ 3193374 w 11701760"/>
              <a:gd name="connsiteY129" fmla="*/ 6377925 h 6407421"/>
              <a:gd name="connsiteX130" fmla="*/ 3193374 w 11701760"/>
              <a:gd name="connsiteY130" fmla="*/ 6407421 h 6407421"/>
              <a:gd name="connsiteX131" fmla="*/ 3163772 w 11701760"/>
              <a:gd name="connsiteY131" fmla="*/ 6407421 h 6407421"/>
              <a:gd name="connsiteX132" fmla="*/ 2897575 w 11701760"/>
              <a:gd name="connsiteY132" fmla="*/ 6377925 h 6407421"/>
              <a:gd name="connsiteX133" fmla="*/ 2927178 w 11701760"/>
              <a:gd name="connsiteY133" fmla="*/ 6377925 h 6407421"/>
              <a:gd name="connsiteX134" fmla="*/ 2927178 w 11701760"/>
              <a:gd name="connsiteY134" fmla="*/ 6407421 h 6407421"/>
              <a:gd name="connsiteX135" fmla="*/ 2897575 w 11701760"/>
              <a:gd name="connsiteY135" fmla="*/ 6407421 h 6407421"/>
              <a:gd name="connsiteX136" fmla="*/ 2631378 w 11701760"/>
              <a:gd name="connsiteY136" fmla="*/ 6377925 h 6407421"/>
              <a:gd name="connsiteX137" fmla="*/ 2660980 w 11701760"/>
              <a:gd name="connsiteY137" fmla="*/ 6377925 h 6407421"/>
              <a:gd name="connsiteX138" fmla="*/ 2660980 w 11701760"/>
              <a:gd name="connsiteY138" fmla="*/ 6407421 h 6407421"/>
              <a:gd name="connsiteX139" fmla="*/ 2631378 w 11701760"/>
              <a:gd name="connsiteY139" fmla="*/ 6407421 h 6407421"/>
              <a:gd name="connsiteX140" fmla="*/ 2365289 w 11701760"/>
              <a:gd name="connsiteY140" fmla="*/ 6377925 h 6407421"/>
              <a:gd name="connsiteX141" fmla="*/ 2394892 w 11701760"/>
              <a:gd name="connsiteY141" fmla="*/ 6377925 h 6407421"/>
              <a:gd name="connsiteX142" fmla="*/ 2394892 w 11701760"/>
              <a:gd name="connsiteY142" fmla="*/ 6407421 h 6407421"/>
              <a:gd name="connsiteX143" fmla="*/ 2365289 w 11701760"/>
              <a:gd name="connsiteY143" fmla="*/ 6407421 h 6407421"/>
              <a:gd name="connsiteX144" fmla="*/ 2099092 w 11701760"/>
              <a:gd name="connsiteY144" fmla="*/ 6377925 h 6407421"/>
              <a:gd name="connsiteX145" fmla="*/ 2128695 w 11701760"/>
              <a:gd name="connsiteY145" fmla="*/ 6377925 h 6407421"/>
              <a:gd name="connsiteX146" fmla="*/ 2128695 w 11701760"/>
              <a:gd name="connsiteY146" fmla="*/ 6407421 h 6407421"/>
              <a:gd name="connsiteX147" fmla="*/ 2099092 w 11701760"/>
              <a:gd name="connsiteY147" fmla="*/ 6407421 h 6407421"/>
              <a:gd name="connsiteX148" fmla="*/ 1832898 w 11701760"/>
              <a:gd name="connsiteY148" fmla="*/ 6377925 h 6407421"/>
              <a:gd name="connsiteX149" fmla="*/ 1862498 w 11701760"/>
              <a:gd name="connsiteY149" fmla="*/ 6377925 h 6407421"/>
              <a:gd name="connsiteX150" fmla="*/ 1862498 w 11701760"/>
              <a:gd name="connsiteY150" fmla="*/ 6407421 h 6407421"/>
              <a:gd name="connsiteX151" fmla="*/ 1832898 w 11701760"/>
              <a:gd name="connsiteY151" fmla="*/ 6407421 h 6407421"/>
              <a:gd name="connsiteX152" fmla="*/ 1566808 w 11701760"/>
              <a:gd name="connsiteY152" fmla="*/ 6377925 h 6407421"/>
              <a:gd name="connsiteX153" fmla="*/ 1596409 w 11701760"/>
              <a:gd name="connsiteY153" fmla="*/ 6377925 h 6407421"/>
              <a:gd name="connsiteX154" fmla="*/ 1596409 w 11701760"/>
              <a:gd name="connsiteY154" fmla="*/ 6407421 h 6407421"/>
              <a:gd name="connsiteX155" fmla="*/ 1566808 w 11701760"/>
              <a:gd name="connsiteY155" fmla="*/ 6407421 h 6407421"/>
              <a:gd name="connsiteX156" fmla="*/ 1300611 w 11701760"/>
              <a:gd name="connsiteY156" fmla="*/ 6377925 h 6407421"/>
              <a:gd name="connsiteX157" fmla="*/ 1330213 w 11701760"/>
              <a:gd name="connsiteY157" fmla="*/ 6377925 h 6407421"/>
              <a:gd name="connsiteX158" fmla="*/ 1330213 w 11701760"/>
              <a:gd name="connsiteY158" fmla="*/ 6407421 h 6407421"/>
              <a:gd name="connsiteX159" fmla="*/ 1300611 w 11701760"/>
              <a:gd name="connsiteY159" fmla="*/ 6407421 h 6407421"/>
              <a:gd name="connsiteX160" fmla="*/ 1034520 w 11701760"/>
              <a:gd name="connsiteY160" fmla="*/ 6377925 h 6407421"/>
              <a:gd name="connsiteX161" fmla="*/ 1064123 w 11701760"/>
              <a:gd name="connsiteY161" fmla="*/ 6377925 h 6407421"/>
              <a:gd name="connsiteX162" fmla="*/ 1064123 w 11701760"/>
              <a:gd name="connsiteY162" fmla="*/ 6407421 h 6407421"/>
              <a:gd name="connsiteX163" fmla="*/ 1034520 w 11701760"/>
              <a:gd name="connsiteY163" fmla="*/ 6407421 h 6407421"/>
              <a:gd name="connsiteX164" fmla="*/ 768328 w 11701760"/>
              <a:gd name="connsiteY164" fmla="*/ 6377925 h 6407421"/>
              <a:gd name="connsiteX165" fmla="*/ 797926 w 11701760"/>
              <a:gd name="connsiteY165" fmla="*/ 6377925 h 6407421"/>
              <a:gd name="connsiteX166" fmla="*/ 797926 w 11701760"/>
              <a:gd name="connsiteY166" fmla="*/ 6407421 h 6407421"/>
              <a:gd name="connsiteX167" fmla="*/ 768328 w 11701760"/>
              <a:gd name="connsiteY167" fmla="*/ 6407421 h 6407421"/>
              <a:gd name="connsiteX168" fmla="*/ 502237 w 11701760"/>
              <a:gd name="connsiteY168" fmla="*/ 6377925 h 6407421"/>
              <a:gd name="connsiteX169" fmla="*/ 531839 w 11701760"/>
              <a:gd name="connsiteY169" fmla="*/ 6377925 h 6407421"/>
              <a:gd name="connsiteX170" fmla="*/ 531839 w 11701760"/>
              <a:gd name="connsiteY170" fmla="*/ 6407421 h 6407421"/>
              <a:gd name="connsiteX171" fmla="*/ 502237 w 11701760"/>
              <a:gd name="connsiteY171" fmla="*/ 6407421 h 6407421"/>
              <a:gd name="connsiteX172" fmla="*/ 236038 w 11701760"/>
              <a:gd name="connsiteY172" fmla="*/ 6377925 h 6407421"/>
              <a:gd name="connsiteX173" fmla="*/ 265640 w 11701760"/>
              <a:gd name="connsiteY173" fmla="*/ 6377925 h 6407421"/>
              <a:gd name="connsiteX174" fmla="*/ 265640 w 11701760"/>
              <a:gd name="connsiteY174" fmla="*/ 6407421 h 6407421"/>
              <a:gd name="connsiteX175" fmla="*/ 236038 w 11701760"/>
              <a:gd name="connsiteY175" fmla="*/ 6407421 h 6407421"/>
              <a:gd name="connsiteX176" fmla="*/ 2 w 11701760"/>
              <a:gd name="connsiteY176" fmla="*/ 6377925 h 6407421"/>
              <a:gd name="connsiteX177" fmla="*/ 29604 w 11701760"/>
              <a:gd name="connsiteY177" fmla="*/ 6377925 h 6407421"/>
              <a:gd name="connsiteX178" fmla="*/ 29604 w 11701760"/>
              <a:gd name="connsiteY178" fmla="*/ 6407421 h 6407421"/>
              <a:gd name="connsiteX179" fmla="*/ 2 w 11701760"/>
              <a:gd name="connsiteY179" fmla="*/ 6407421 h 6407421"/>
              <a:gd name="connsiteX180" fmla="*/ 11672158 w 11701760"/>
              <a:gd name="connsiteY180" fmla="*/ 6112161 h 6407421"/>
              <a:gd name="connsiteX181" fmla="*/ 11701760 w 11701760"/>
              <a:gd name="connsiteY181" fmla="*/ 6112161 h 6407421"/>
              <a:gd name="connsiteX182" fmla="*/ 11701760 w 11701760"/>
              <a:gd name="connsiteY182" fmla="*/ 6141763 h 6407421"/>
              <a:gd name="connsiteX183" fmla="*/ 11672158 w 11701760"/>
              <a:gd name="connsiteY183" fmla="*/ 6141763 h 6407421"/>
              <a:gd name="connsiteX184" fmla="*/ 11405961 w 11701760"/>
              <a:gd name="connsiteY184" fmla="*/ 6112161 h 6407421"/>
              <a:gd name="connsiteX185" fmla="*/ 11435563 w 11701760"/>
              <a:gd name="connsiteY185" fmla="*/ 6112161 h 6407421"/>
              <a:gd name="connsiteX186" fmla="*/ 11435563 w 11701760"/>
              <a:gd name="connsiteY186" fmla="*/ 6141763 h 6407421"/>
              <a:gd name="connsiteX187" fmla="*/ 11405961 w 11701760"/>
              <a:gd name="connsiteY187" fmla="*/ 6141763 h 6407421"/>
              <a:gd name="connsiteX188" fmla="*/ 11139872 w 11701760"/>
              <a:gd name="connsiteY188" fmla="*/ 6112161 h 6407421"/>
              <a:gd name="connsiteX189" fmla="*/ 11169474 w 11701760"/>
              <a:gd name="connsiteY189" fmla="*/ 6112161 h 6407421"/>
              <a:gd name="connsiteX190" fmla="*/ 11169474 w 11701760"/>
              <a:gd name="connsiteY190" fmla="*/ 6141763 h 6407421"/>
              <a:gd name="connsiteX191" fmla="*/ 11139872 w 11701760"/>
              <a:gd name="connsiteY191" fmla="*/ 6141763 h 6407421"/>
              <a:gd name="connsiteX192" fmla="*/ 10873675 w 11701760"/>
              <a:gd name="connsiteY192" fmla="*/ 6112161 h 6407421"/>
              <a:gd name="connsiteX193" fmla="*/ 10903277 w 11701760"/>
              <a:gd name="connsiteY193" fmla="*/ 6112161 h 6407421"/>
              <a:gd name="connsiteX194" fmla="*/ 10903277 w 11701760"/>
              <a:gd name="connsiteY194" fmla="*/ 6141763 h 6407421"/>
              <a:gd name="connsiteX195" fmla="*/ 10873675 w 11701760"/>
              <a:gd name="connsiteY195" fmla="*/ 6141763 h 6407421"/>
              <a:gd name="connsiteX196" fmla="*/ 10607478 w 11701760"/>
              <a:gd name="connsiteY196" fmla="*/ 6112161 h 6407421"/>
              <a:gd name="connsiteX197" fmla="*/ 10637188 w 11701760"/>
              <a:gd name="connsiteY197" fmla="*/ 6112161 h 6407421"/>
              <a:gd name="connsiteX198" fmla="*/ 10637188 w 11701760"/>
              <a:gd name="connsiteY198" fmla="*/ 6141763 h 6407421"/>
              <a:gd name="connsiteX199" fmla="*/ 10607478 w 11701760"/>
              <a:gd name="connsiteY199" fmla="*/ 6141763 h 6407421"/>
              <a:gd name="connsiteX200" fmla="*/ 10341389 w 11701760"/>
              <a:gd name="connsiteY200" fmla="*/ 6112161 h 6407421"/>
              <a:gd name="connsiteX201" fmla="*/ 10370992 w 11701760"/>
              <a:gd name="connsiteY201" fmla="*/ 6112161 h 6407421"/>
              <a:gd name="connsiteX202" fmla="*/ 10370992 w 11701760"/>
              <a:gd name="connsiteY202" fmla="*/ 6141763 h 6407421"/>
              <a:gd name="connsiteX203" fmla="*/ 10341389 w 11701760"/>
              <a:gd name="connsiteY203" fmla="*/ 6141763 h 6407421"/>
              <a:gd name="connsiteX204" fmla="*/ 10075192 w 11701760"/>
              <a:gd name="connsiteY204" fmla="*/ 6112161 h 6407421"/>
              <a:gd name="connsiteX205" fmla="*/ 10104794 w 11701760"/>
              <a:gd name="connsiteY205" fmla="*/ 6112161 h 6407421"/>
              <a:gd name="connsiteX206" fmla="*/ 10104794 w 11701760"/>
              <a:gd name="connsiteY206" fmla="*/ 6141763 h 6407421"/>
              <a:gd name="connsiteX207" fmla="*/ 10075192 w 11701760"/>
              <a:gd name="connsiteY207" fmla="*/ 6141763 h 6407421"/>
              <a:gd name="connsiteX208" fmla="*/ 9809103 w 11701760"/>
              <a:gd name="connsiteY208" fmla="*/ 6112161 h 6407421"/>
              <a:gd name="connsiteX209" fmla="*/ 9838705 w 11701760"/>
              <a:gd name="connsiteY209" fmla="*/ 6112161 h 6407421"/>
              <a:gd name="connsiteX210" fmla="*/ 9838705 w 11701760"/>
              <a:gd name="connsiteY210" fmla="*/ 6141763 h 6407421"/>
              <a:gd name="connsiteX211" fmla="*/ 9809103 w 11701760"/>
              <a:gd name="connsiteY211" fmla="*/ 6141763 h 6407421"/>
              <a:gd name="connsiteX212" fmla="*/ 9542906 w 11701760"/>
              <a:gd name="connsiteY212" fmla="*/ 6112161 h 6407421"/>
              <a:gd name="connsiteX213" fmla="*/ 9572509 w 11701760"/>
              <a:gd name="connsiteY213" fmla="*/ 6112161 h 6407421"/>
              <a:gd name="connsiteX214" fmla="*/ 9572509 w 11701760"/>
              <a:gd name="connsiteY214" fmla="*/ 6141763 h 6407421"/>
              <a:gd name="connsiteX215" fmla="*/ 9542906 w 11701760"/>
              <a:gd name="connsiteY215" fmla="*/ 6141763 h 6407421"/>
              <a:gd name="connsiteX216" fmla="*/ 9276817 w 11701760"/>
              <a:gd name="connsiteY216" fmla="*/ 6112161 h 6407421"/>
              <a:gd name="connsiteX217" fmla="*/ 9306420 w 11701760"/>
              <a:gd name="connsiteY217" fmla="*/ 6112161 h 6407421"/>
              <a:gd name="connsiteX218" fmla="*/ 9306420 w 11701760"/>
              <a:gd name="connsiteY218" fmla="*/ 6141763 h 6407421"/>
              <a:gd name="connsiteX219" fmla="*/ 9276817 w 11701760"/>
              <a:gd name="connsiteY219" fmla="*/ 6141763 h 6407421"/>
              <a:gd name="connsiteX220" fmla="*/ 9010620 w 11701760"/>
              <a:gd name="connsiteY220" fmla="*/ 6112161 h 6407421"/>
              <a:gd name="connsiteX221" fmla="*/ 9040222 w 11701760"/>
              <a:gd name="connsiteY221" fmla="*/ 6112161 h 6407421"/>
              <a:gd name="connsiteX222" fmla="*/ 9040222 w 11701760"/>
              <a:gd name="connsiteY222" fmla="*/ 6141763 h 6407421"/>
              <a:gd name="connsiteX223" fmla="*/ 9010620 w 11701760"/>
              <a:gd name="connsiteY223" fmla="*/ 6141763 h 6407421"/>
              <a:gd name="connsiteX224" fmla="*/ 8744423 w 11701760"/>
              <a:gd name="connsiteY224" fmla="*/ 6112161 h 6407421"/>
              <a:gd name="connsiteX225" fmla="*/ 8774026 w 11701760"/>
              <a:gd name="connsiteY225" fmla="*/ 6112161 h 6407421"/>
              <a:gd name="connsiteX226" fmla="*/ 8774026 w 11701760"/>
              <a:gd name="connsiteY226" fmla="*/ 6141763 h 6407421"/>
              <a:gd name="connsiteX227" fmla="*/ 8744423 w 11701760"/>
              <a:gd name="connsiteY227" fmla="*/ 6141763 h 6407421"/>
              <a:gd name="connsiteX228" fmla="*/ 8478226 w 11701760"/>
              <a:gd name="connsiteY228" fmla="*/ 6112161 h 6407421"/>
              <a:gd name="connsiteX229" fmla="*/ 8507828 w 11701760"/>
              <a:gd name="connsiteY229" fmla="*/ 6112161 h 6407421"/>
              <a:gd name="connsiteX230" fmla="*/ 8507828 w 11701760"/>
              <a:gd name="connsiteY230" fmla="*/ 6141763 h 6407421"/>
              <a:gd name="connsiteX231" fmla="*/ 8478226 w 11701760"/>
              <a:gd name="connsiteY231" fmla="*/ 6141763 h 6407421"/>
              <a:gd name="connsiteX232" fmla="*/ 8212137 w 11701760"/>
              <a:gd name="connsiteY232" fmla="*/ 6112161 h 6407421"/>
              <a:gd name="connsiteX233" fmla="*/ 8241740 w 11701760"/>
              <a:gd name="connsiteY233" fmla="*/ 6112161 h 6407421"/>
              <a:gd name="connsiteX234" fmla="*/ 8241740 w 11701760"/>
              <a:gd name="connsiteY234" fmla="*/ 6141763 h 6407421"/>
              <a:gd name="connsiteX235" fmla="*/ 8212137 w 11701760"/>
              <a:gd name="connsiteY235" fmla="*/ 6141763 h 6407421"/>
              <a:gd name="connsiteX236" fmla="*/ 7945940 w 11701760"/>
              <a:gd name="connsiteY236" fmla="*/ 6112161 h 6407421"/>
              <a:gd name="connsiteX237" fmla="*/ 7975543 w 11701760"/>
              <a:gd name="connsiteY237" fmla="*/ 6112161 h 6407421"/>
              <a:gd name="connsiteX238" fmla="*/ 7975543 w 11701760"/>
              <a:gd name="connsiteY238" fmla="*/ 6141763 h 6407421"/>
              <a:gd name="connsiteX239" fmla="*/ 7945940 w 11701760"/>
              <a:gd name="connsiteY239" fmla="*/ 6141763 h 6407421"/>
              <a:gd name="connsiteX240" fmla="*/ 7679743 w 11701760"/>
              <a:gd name="connsiteY240" fmla="*/ 6112161 h 6407421"/>
              <a:gd name="connsiteX241" fmla="*/ 7709346 w 11701760"/>
              <a:gd name="connsiteY241" fmla="*/ 6112161 h 6407421"/>
              <a:gd name="connsiteX242" fmla="*/ 7709346 w 11701760"/>
              <a:gd name="connsiteY242" fmla="*/ 6141763 h 6407421"/>
              <a:gd name="connsiteX243" fmla="*/ 7679743 w 11701760"/>
              <a:gd name="connsiteY243" fmla="*/ 6141763 h 6407421"/>
              <a:gd name="connsiteX244" fmla="*/ 7413653 w 11701760"/>
              <a:gd name="connsiteY244" fmla="*/ 6112161 h 6407421"/>
              <a:gd name="connsiteX245" fmla="*/ 7443256 w 11701760"/>
              <a:gd name="connsiteY245" fmla="*/ 6112161 h 6407421"/>
              <a:gd name="connsiteX246" fmla="*/ 7443256 w 11701760"/>
              <a:gd name="connsiteY246" fmla="*/ 6141763 h 6407421"/>
              <a:gd name="connsiteX247" fmla="*/ 7413653 w 11701760"/>
              <a:gd name="connsiteY247" fmla="*/ 6141763 h 6407421"/>
              <a:gd name="connsiteX248" fmla="*/ 7147456 w 11701760"/>
              <a:gd name="connsiteY248" fmla="*/ 6112161 h 6407421"/>
              <a:gd name="connsiteX249" fmla="*/ 7177058 w 11701760"/>
              <a:gd name="connsiteY249" fmla="*/ 6112161 h 6407421"/>
              <a:gd name="connsiteX250" fmla="*/ 7177058 w 11701760"/>
              <a:gd name="connsiteY250" fmla="*/ 6141763 h 6407421"/>
              <a:gd name="connsiteX251" fmla="*/ 7147456 w 11701760"/>
              <a:gd name="connsiteY251" fmla="*/ 6141763 h 6407421"/>
              <a:gd name="connsiteX252" fmla="*/ 6881367 w 11701760"/>
              <a:gd name="connsiteY252" fmla="*/ 6112161 h 6407421"/>
              <a:gd name="connsiteX253" fmla="*/ 6910970 w 11701760"/>
              <a:gd name="connsiteY253" fmla="*/ 6112161 h 6407421"/>
              <a:gd name="connsiteX254" fmla="*/ 6910970 w 11701760"/>
              <a:gd name="connsiteY254" fmla="*/ 6141763 h 6407421"/>
              <a:gd name="connsiteX255" fmla="*/ 6881367 w 11701760"/>
              <a:gd name="connsiteY255" fmla="*/ 6141763 h 6407421"/>
              <a:gd name="connsiteX256" fmla="*/ 6615170 w 11701760"/>
              <a:gd name="connsiteY256" fmla="*/ 6112161 h 6407421"/>
              <a:gd name="connsiteX257" fmla="*/ 6644773 w 11701760"/>
              <a:gd name="connsiteY257" fmla="*/ 6112161 h 6407421"/>
              <a:gd name="connsiteX258" fmla="*/ 6644773 w 11701760"/>
              <a:gd name="connsiteY258" fmla="*/ 6141763 h 6407421"/>
              <a:gd name="connsiteX259" fmla="*/ 6615170 w 11701760"/>
              <a:gd name="connsiteY259" fmla="*/ 6141763 h 6407421"/>
              <a:gd name="connsiteX260" fmla="*/ 6349081 w 11701760"/>
              <a:gd name="connsiteY260" fmla="*/ 6112161 h 6407421"/>
              <a:gd name="connsiteX261" fmla="*/ 6378683 w 11701760"/>
              <a:gd name="connsiteY261" fmla="*/ 6112161 h 6407421"/>
              <a:gd name="connsiteX262" fmla="*/ 6378683 w 11701760"/>
              <a:gd name="connsiteY262" fmla="*/ 6141763 h 6407421"/>
              <a:gd name="connsiteX263" fmla="*/ 6349081 w 11701760"/>
              <a:gd name="connsiteY263" fmla="*/ 6141763 h 6407421"/>
              <a:gd name="connsiteX264" fmla="*/ 6082884 w 11701760"/>
              <a:gd name="connsiteY264" fmla="*/ 6112161 h 6407421"/>
              <a:gd name="connsiteX265" fmla="*/ 6112486 w 11701760"/>
              <a:gd name="connsiteY265" fmla="*/ 6112161 h 6407421"/>
              <a:gd name="connsiteX266" fmla="*/ 6112486 w 11701760"/>
              <a:gd name="connsiteY266" fmla="*/ 6141763 h 6407421"/>
              <a:gd name="connsiteX267" fmla="*/ 6082884 w 11701760"/>
              <a:gd name="connsiteY267" fmla="*/ 6141763 h 6407421"/>
              <a:gd name="connsiteX268" fmla="*/ 5825310 w 11701760"/>
              <a:gd name="connsiteY268" fmla="*/ 6112161 h 6407421"/>
              <a:gd name="connsiteX269" fmla="*/ 5854913 w 11701760"/>
              <a:gd name="connsiteY269" fmla="*/ 6112161 h 6407421"/>
              <a:gd name="connsiteX270" fmla="*/ 5854913 w 11701760"/>
              <a:gd name="connsiteY270" fmla="*/ 6141763 h 6407421"/>
              <a:gd name="connsiteX271" fmla="*/ 5825310 w 11701760"/>
              <a:gd name="connsiteY271" fmla="*/ 6141763 h 6407421"/>
              <a:gd name="connsiteX272" fmla="*/ 5559113 w 11701760"/>
              <a:gd name="connsiteY272" fmla="*/ 6112161 h 6407421"/>
              <a:gd name="connsiteX273" fmla="*/ 5588715 w 11701760"/>
              <a:gd name="connsiteY273" fmla="*/ 6112161 h 6407421"/>
              <a:gd name="connsiteX274" fmla="*/ 5588715 w 11701760"/>
              <a:gd name="connsiteY274" fmla="*/ 6141763 h 6407421"/>
              <a:gd name="connsiteX275" fmla="*/ 5559113 w 11701760"/>
              <a:gd name="connsiteY275" fmla="*/ 6141763 h 6407421"/>
              <a:gd name="connsiteX276" fmla="*/ 5293024 w 11701760"/>
              <a:gd name="connsiteY276" fmla="*/ 6112161 h 6407421"/>
              <a:gd name="connsiteX277" fmla="*/ 5322626 w 11701760"/>
              <a:gd name="connsiteY277" fmla="*/ 6112161 h 6407421"/>
              <a:gd name="connsiteX278" fmla="*/ 5322626 w 11701760"/>
              <a:gd name="connsiteY278" fmla="*/ 6141763 h 6407421"/>
              <a:gd name="connsiteX279" fmla="*/ 5293024 w 11701760"/>
              <a:gd name="connsiteY279" fmla="*/ 6141763 h 6407421"/>
              <a:gd name="connsiteX280" fmla="*/ 5026827 w 11701760"/>
              <a:gd name="connsiteY280" fmla="*/ 6112161 h 6407421"/>
              <a:gd name="connsiteX281" fmla="*/ 5056429 w 11701760"/>
              <a:gd name="connsiteY281" fmla="*/ 6112161 h 6407421"/>
              <a:gd name="connsiteX282" fmla="*/ 5056429 w 11701760"/>
              <a:gd name="connsiteY282" fmla="*/ 6141763 h 6407421"/>
              <a:gd name="connsiteX283" fmla="*/ 5026827 w 11701760"/>
              <a:gd name="connsiteY283" fmla="*/ 6141763 h 6407421"/>
              <a:gd name="connsiteX284" fmla="*/ 4760630 w 11701760"/>
              <a:gd name="connsiteY284" fmla="*/ 6112161 h 6407421"/>
              <a:gd name="connsiteX285" fmla="*/ 4790340 w 11701760"/>
              <a:gd name="connsiteY285" fmla="*/ 6112161 h 6407421"/>
              <a:gd name="connsiteX286" fmla="*/ 4790340 w 11701760"/>
              <a:gd name="connsiteY286" fmla="*/ 6141763 h 6407421"/>
              <a:gd name="connsiteX287" fmla="*/ 4760630 w 11701760"/>
              <a:gd name="connsiteY287" fmla="*/ 6141763 h 6407421"/>
              <a:gd name="connsiteX288" fmla="*/ 4494541 w 11701760"/>
              <a:gd name="connsiteY288" fmla="*/ 6112161 h 6407421"/>
              <a:gd name="connsiteX289" fmla="*/ 4524144 w 11701760"/>
              <a:gd name="connsiteY289" fmla="*/ 6112161 h 6407421"/>
              <a:gd name="connsiteX290" fmla="*/ 4524144 w 11701760"/>
              <a:gd name="connsiteY290" fmla="*/ 6141763 h 6407421"/>
              <a:gd name="connsiteX291" fmla="*/ 4494541 w 11701760"/>
              <a:gd name="connsiteY291" fmla="*/ 6141763 h 6407421"/>
              <a:gd name="connsiteX292" fmla="*/ 4228344 w 11701760"/>
              <a:gd name="connsiteY292" fmla="*/ 6112161 h 6407421"/>
              <a:gd name="connsiteX293" fmla="*/ 4257946 w 11701760"/>
              <a:gd name="connsiteY293" fmla="*/ 6112161 h 6407421"/>
              <a:gd name="connsiteX294" fmla="*/ 4257946 w 11701760"/>
              <a:gd name="connsiteY294" fmla="*/ 6141763 h 6407421"/>
              <a:gd name="connsiteX295" fmla="*/ 4228344 w 11701760"/>
              <a:gd name="connsiteY295" fmla="*/ 6141763 h 6407421"/>
              <a:gd name="connsiteX296" fmla="*/ 3962255 w 11701760"/>
              <a:gd name="connsiteY296" fmla="*/ 6112161 h 6407421"/>
              <a:gd name="connsiteX297" fmla="*/ 3991857 w 11701760"/>
              <a:gd name="connsiteY297" fmla="*/ 6112161 h 6407421"/>
              <a:gd name="connsiteX298" fmla="*/ 3991857 w 11701760"/>
              <a:gd name="connsiteY298" fmla="*/ 6141763 h 6407421"/>
              <a:gd name="connsiteX299" fmla="*/ 3962255 w 11701760"/>
              <a:gd name="connsiteY299" fmla="*/ 6141763 h 6407421"/>
              <a:gd name="connsiteX300" fmla="*/ 3696058 w 11701760"/>
              <a:gd name="connsiteY300" fmla="*/ 6112161 h 6407421"/>
              <a:gd name="connsiteX301" fmla="*/ 3725661 w 11701760"/>
              <a:gd name="connsiteY301" fmla="*/ 6112161 h 6407421"/>
              <a:gd name="connsiteX302" fmla="*/ 3725661 w 11701760"/>
              <a:gd name="connsiteY302" fmla="*/ 6141763 h 6407421"/>
              <a:gd name="connsiteX303" fmla="*/ 3696058 w 11701760"/>
              <a:gd name="connsiteY303" fmla="*/ 6141763 h 6407421"/>
              <a:gd name="connsiteX304" fmla="*/ 3429969 w 11701760"/>
              <a:gd name="connsiteY304" fmla="*/ 6112161 h 6407421"/>
              <a:gd name="connsiteX305" fmla="*/ 3459572 w 11701760"/>
              <a:gd name="connsiteY305" fmla="*/ 6112161 h 6407421"/>
              <a:gd name="connsiteX306" fmla="*/ 3459572 w 11701760"/>
              <a:gd name="connsiteY306" fmla="*/ 6141763 h 6407421"/>
              <a:gd name="connsiteX307" fmla="*/ 3429969 w 11701760"/>
              <a:gd name="connsiteY307" fmla="*/ 6141763 h 6407421"/>
              <a:gd name="connsiteX308" fmla="*/ 3163772 w 11701760"/>
              <a:gd name="connsiteY308" fmla="*/ 6112161 h 6407421"/>
              <a:gd name="connsiteX309" fmla="*/ 3193374 w 11701760"/>
              <a:gd name="connsiteY309" fmla="*/ 6112161 h 6407421"/>
              <a:gd name="connsiteX310" fmla="*/ 3193374 w 11701760"/>
              <a:gd name="connsiteY310" fmla="*/ 6141763 h 6407421"/>
              <a:gd name="connsiteX311" fmla="*/ 3163772 w 11701760"/>
              <a:gd name="connsiteY311" fmla="*/ 6141763 h 6407421"/>
              <a:gd name="connsiteX312" fmla="*/ 2897575 w 11701760"/>
              <a:gd name="connsiteY312" fmla="*/ 6112161 h 6407421"/>
              <a:gd name="connsiteX313" fmla="*/ 2927178 w 11701760"/>
              <a:gd name="connsiteY313" fmla="*/ 6112161 h 6407421"/>
              <a:gd name="connsiteX314" fmla="*/ 2927178 w 11701760"/>
              <a:gd name="connsiteY314" fmla="*/ 6141763 h 6407421"/>
              <a:gd name="connsiteX315" fmla="*/ 2897575 w 11701760"/>
              <a:gd name="connsiteY315" fmla="*/ 6141763 h 6407421"/>
              <a:gd name="connsiteX316" fmla="*/ 2631378 w 11701760"/>
              <a:gd name="connsiteY316" fmla="*/ 6112161 h 6407421"/>
              <a:gd name="connsiteX317" fmla="*/ 2660980 w 11701760"/>
              <a:gd name="connsiteY317" fmla="*/ 6112161 h 6407421"/>
              <a:gd name="connsiteX318" fmla="*/ 2660980 w 11701760"/>
              <a:gd name="connsiteY318" fmla="*/ 6141763 h 6407421"/>
              <a:gd name="connsiteX319" fmla="*/ 2631378 w 11701760"/>
              <a:gd name="connsiteY319" fmla="*/ 6141763 h 6407421"/>
              <a:gd name="connsiteX320" fmla="*/ 2365289 w 11701760"/>
              <a:gd name="connsiteY320" fmla="*/ 6112161 h 6407421"/>
              <a:gd name="connsiteX321" fmla="*/ 2394892 w 11701760"/>
              <a:gd name="connsiteY321" fmla="*/ 6112161 h 6407421"/>
              <a:gd name="connsiteX322" fmla="*/ 2394892 w 11701760"/>
              <a:gd name="connsiteY322" fmla="*/ 6141763 h 6407421"/>
              <a:gd name="connsiteX323" fmla="*/ 2365289 w 11701760"/>
              <a:gd name="connsiteY323" fmla="*/ 6141763 h 6407421"/>
              <a:gd name="connsiteX324" fmla="*/ 2099092 w 11701760"/>
              <a:gd name="connsiteY324" fmla="*/ 6112161 h 6407421"/>
              <a:gd name="connsiteX325" fmla="*/ 2128695 w 11701760"/>
              <a:gd name="connsiteY325" fmla="*/ 6112161 h 6407421"/>
              <a:gd name="connsiteX326" fmla="*/ 2128695 w 11701760"/>
              <a:gd name="connsiteY326" fmla="*/ 6141763 h 6407421"/>
              <a:gd name="connsiteX327" fmla="*/ 2099092 w 11701760"/>
              <a:gd name="connsiteY327" fmla="*/ 6141763 h 6407421"/>
              <a:gd name="connsiteX328" fmla="*/ 1832898 w 11701760"/>
              <a:gd name="connsiteY328" fmla="*/ 6112161 h 6407421"/>
              <a:gd name="connsiteX329" fmla="*/ 1862498 w 11701760"/>
              <a:gd name="connsiteY329" fmla="*/ 6112161 h 6407421"/>
              <a:gd name="connsiteX330" fmla="*/ 1862498 w 11701760"/>
              <a:gd name="connsiteY330" fmla="*/ 6141763 h 6407421"/>
              <a:gd name="connsiteX331" fmla="*/ 1832898 w 11701760"/>
              <a:gd name="connsiteY331" fmla="*/ 6141763 h 6407421"/>
              <a:gd name="connsiteX332" fmla="*/ 1566808 w 11701760"/>
              <a:gd name="connsiteY332" fmla="*/ 6112161 h 6407421"/>
              <a:gd name="connsiteX333" fmla="*/ 1596409 w 11701760"/>
              <a:gd name="connsiteY333" fmla="*/ 6112161 h 6407421"/>
              <a:gd name="connsiteX334" fmla="*/ 1596409 w 11701760"/>
              <a:gd name="connsiteY334" fmla="*/ 6141763 h 6407421"/>
              <a:gd name="connsiteX335" fmla="*/ 1566808 w 11701760"/>
              <a:gd name="connsiteY335" fmla="*/ 6141763 h 6407421"/>
              <a:gd name="connsiteX336" fmla="*/ 1300611 w 11701760"/>
              <a:gd name="connsiteY336" fmla="*/ 6112161 h 6407421"/>
              <a:gd name="connsiteX337" fmla="*/ 1330213 w 11701760"/>
              <a:gd name="connsiteY337" fmla="*/ 6112161 h 6407421"/>
              <a:gd name="connsiteX338" fmla="*/ 1330213 w 11701760"/>
              <a:gd name="connsiteY338" fmla="*/ 6141763 h 6407421"/>
              <a:gd name="connsiteX339" fmla="*/ 1300611 w 11701760"/>
              <a:gd name="connsiteY339" fmla="*/ 6141763 h 6407421"/>
              <a:gd name="connsiteX340" fmla="*/ 1034520 w 11701760"/>
              <a:gd name="connsiteY340" fmla="*/ 6112161 h 6407421"/>
              <a:gd name="connsiteX341" fmla="*/ 1064123 w 11701760"/>
              <a:gd name="connsiteY341" fmla="*/ 6112161 h 6407421"/>
              <a:gd name="connsiteX342" fmla="*/ 1064123 w 11701760"/>
              <a:gd name="connsiteY342" fmla="*/ 6141763 h 6407421"/>
              <a:gd name="connsiteX343" fmla="*/ 1034520 w 11701760"/>
              <a:gd name="connsiteY343" fmla="*/ 6141763 h 6407421"/>
              <a:gd name="connsiteX344" fmla="*/ 768328 w 11701760"/>
              <a:gd name="connsiteY344" fmla="*/ 6112161 h 6407421"/>
              <a:gd name="connsiteX345" fmla="*/ 797926 w 11701760"/>
              <a:gd name="connsiteY345" fmla="*/ 6112161 h 6407421"/>
              <a:gd name="connsiteX346" fmla="*/ 797926 w 11701760"/>
              <a:gd name="connsiteY346" fmla="*/ 6141763 h 6407421"/>
              <a:gd name="connsiteX347" fmla="*/ 768328 w 11701760"/>
              <a:gd name="connsiteY347" fmla="*/ 6141763 h 6407421"/>
              <a:gd name="connsiteX348" fmla="*/ 502237 w 11701760"/>
              <a:gd name="connsiteY348" fmla="*/ 6112161 h 6407421"/>
              <a:gd name="connsiteX349" fmla="*/ 531839 w 11701760"/>
              <a:gd name="connsiteY349" fmla="*/ 6112161 h 6407421"/>
              <a:gd name="connsiteX350" fmla="*/ 531839 w 11701760"/>
              <a:gd name="connsiteY350" fmla="*/ 6141763 h 6407421"/>
              <a:gd name="connsiteX351" fmla="*/ 502237 w 11701760"/>
              <a:gd name="connsiteY351" fmla="*/ 6141763 h 6407421"/>
              <a:gd name="connsiteX352" fmla="*/ 236038 w 11701760"/>
              <a:gd name="connsiteY352" fmla="*/ 6112161 h 6407421"/>
              <a:gd name="connsiteX353" fmla="*/ 265640 w 11701760"/>
              <a:gd name="connsiteY353" fmla="*/ 6112161 h 6407421"/>
              <a:gd name="connsiteX354" fmla="*/ 265640 w 11701760"/>
              <a:gd name="connsiteY354" fmla="*/ 6141763 h 6407421"/>
              <a:gd name="connsiteX355" fmla="*/ 236038 w 11701760"/>
              <a:gd name="connsiteY355" fmla="*/ 6141763 h 6407421"/>
              <a:gd name="connsiteX356" fmla="*/ 2 w 11701760"/>
              <a:gd name="connsiteY356" fmla="*/ 6112161 h 6407421"/>
              <a:gd name="connsiteX357" fmla="*/ 29604 w 11701760"/>
              <a:gd name="connsiteY357" fmla="*/ 6112161 h 6407421"/>
              <a:gd name="connsiteX358" fmla="*/ 29604 w 11701760"/>
              <a:gd name="connsiteY358" fmla="*/ 6141763 h 6407421"/>
              <a:gd name="connsiteX359" fmla="*/ 2 w 11701760"/>
              <a:gd name="connsiteY359" fmla="*/ 6141763 h 6407421"/>
              <a:gd name="connsiteX360" fmla="*/ 11672158 w 11701760"/>
              <a:gd name="connsiteY360" fmla="*/ 5846396 h 6407421"/>
              <a:gd name="connsiteX361" fmla="*/ 11701760 w 11701760"/>
              <a:gd name="connsiteY361" fmla="*/ 5846396 h 6407421"/>
              <a:gd name="connsiteX362" fmla="*/ 11701760 w 11701760"/>
              <a:gd name="connsiteY362" fmla="*/ 5875998 h 6407421"/>
              <a:gd name="connsiteX363" fmla="*/ 11672158 w 11701760"/>
              <a:gd name="connsiteY363" fmla="*/ 5875998 h 6407421"/>
              <a:gd name="connsiteX364" fmla="*/ 11405961 w 11701760"/>
              <a:gd name="connsiteY364" fmla="*/ 5846396 h 6407421"/>
              <a:gd name="connsiteX365" fmla="*/ 11435563 w 11701760"/>
              <a:gd name="connsiteY365" fmla="*/ 5846396 h 6407421"/>
              <a:gd name="connsiteX366" fmla="*/ 11435563 w 11701760"/>
              <a:gd name="connsiteY366" fmla="*/ 5875998 h 6407421"/>
              <a:gd name="connsiteX367" fmla="*/ 11405961 w 11701760"/>
              <a:gd name="connsiteY367" fmla="*/ 5875998 h 6407421"/>
              <a:gd name="connsiteX368" fmla="*/ 11139872 w 11701760"/>
              <a:gd name="connsiteY368" fmla="*/ 5846396 h 6407421"/>
              <a:gd name="connsiteX369" fmla="*/ 11169474 w 11701760"/>
              <a:gd name="connsiteY369" fmla="*/ 5846396 h 6407421"/>
              <a:gd name="connsiteX370" fmla="*/ 11169474 w 11701760"/>
              <a:gd name="connsiteY370" fmla="*/ 5875998 h 6407421"/>
              <a:gd name="connsiteX371" fmla="*/ 11139872 w 11701760"/>
              <a:gd name="connsiteY371" fmla="*/ 5875998 h 6407421"/>
              <a:gd name="connsiteX372" fmla="*/ 10873675 w 11701760"/>
              <a:gd name="connsiteY372" fmla="*/ 5846396 h 6407421"/>
              <a:gd name="connsiteX373" fmla="*/ 10903277 w 11701760"/>
              <a:gd name="connsiteY373" fmla="*/ 5846396 h 6407421"/>
              <a:gd name="connsiteX374" fmla="*/ 10903277 w 11701760"/>
              <a:gd name="connsiteY374" fmla="*/ 5875998 h 6407421"/>
              <a:gd name="connsiteX375" fmla="*/ 10873675 w 11701760"/>
              <a:gd name="connsiteY375" fmla="*/ 5875998 h 6407421"/>
              <a:gd name="connsiteX376" fmla="*/ 10607478 w 11701760"/>
              <a:gd name="connsiteY376" fmla="*/ 5846396 h 6407421"/>
              <a:gd name="connsiteX377" fmla="*/ 10637188 w 11701760"/>
              <a:gd name="connsiteY377" fmla="*/ 5846396 h 6407421"/>
              <a:gd name="connsiteX378" fmla="*/ 10637188 w 11701760"/>
              <a:gd name="connsiteY378" fmla="*/ 5875998 h 6407421"/>
              <a:gd name="connsiteX379" fmla="*/ 10607478 w 11701760"/>
              <a:gd name="connsiteY379" fmla="*/ 5875998 h 6407421"/>
              <a:gd name="connsiteX380" fmla="*/ 10341389 w 11701760"/>
              <a:gd name="connsiteY380" fmla="*/ 5846396 h 6407421"/>
              <a:gd name="connsiteX381" fmla="*/ 10370992 w 11701760"/>
              <a:gd name="connsiteY381" fmla="*/ 5846396 h 6407421"/>
              <a:gd name="connsiteX382" fmla="*/ 10370992 w 11701760"/>
              <a:gd name="connsiteY382" fmla="*/ 5875998 h 6407421"/>
              <a:gd name="connsiteX383" fmla="*/ 10341389 w 11701760"/>
              <a:gd name="connsiteY383" fmla="*/ 5875998 h 6407421"/>
              <a:gd name="connsiteX384" fmla="*/ 10075192 w 11701760"/>
              <a:gd name="connsiteY384" fmla="*/ 5846396 h 6407421"/>
              <a:gd name="connsiteX385" fmla="*/ 10104794 w 11701760"/>
              <a:gd name="connsiteY385" fmla="*/ 5846396 h 6407421"/>
              <a:gd name="connsiteX386" fmla="*/ 10104794 w 11701760"/>
              <a:gd name="connsiteY386" fmla="*/ 5875998 h 6407421"/>
              <a:gd name="connsiteX387" fmla="*/ 10075192 w 11701760"/>
              <a:gd name="connsiteY387" fmla="*/ 5875998 h 6407421"/>
              <a:gd name="connsiteX388" fmla="*/ 9809103 w 11701760"/>
              <a:gd name="connsiteY388" fmla="*/ 5846396 h 6407421"/>
              <a:gd name="connsiteX389" fmla="*/ 9838705 w 11701760"/>
              <a:gd name="connsiteY389" fmla="*/ 5846396 h 6407421"/>
              <a:gd name="connsiteX390" fmla="*/ 9838705 w 11701760"/>
              <a:gd name="connsiteY390" fmla="*/ 5875998 h 6407421"/>
              <a:gd name="connsiteX391" fmla="*/ 9809103 w 11701760"/>
              <a:gd name="connsiteY391" fmla="*/ 5875998 h 6407421"/>
              <a:gd name="connsiteX392" fmla="*/ 9542906 w 11701760"/>
              <a:gd name="connsiteY392" fmla="*/ 5846396 h 6407421"/>
              <a:gd name="connsiteX393" fmla="*/ 9572509 w 11701760"/>
              <a:gd name="connsiteY393" fmla="*/ 5846396 h 6407421"/>
              <a:gd name="connsiteX394" fmla="*/ 9572509 w 11701760"/>
              <a:gd name="connsiteY394" fmla="*/ 5875998 h 6407421"/>
              <a:gd name="connsiteX395" fmla="*/ 9542906 w 11701760"/>
              <a:gd name="connsiteY395" fmla="*/ 5875998 h 6407421"/>
              <a:gd name="connsiteX396" fmla="*/ 9276817 w 11701760"/>
              <a:gd name="connsiteY396" fmla="*/ 5846396 h 6407421"/>
              <a:gd name="connsiteX397" fmla="*/ 9306420 w 11701760"/>
              <a:gd name="connsiteY397" fmla="*/ 5846396 h 6407421"/>
              <a:gd name="connsiteX398" fmla="*/ 9306420 w 11701760"/>
              <a:gd name="connsiteY398" fmla="*/ 5875998 h 6407421"/>
              <a:gd name="connsiteX399" fmla="*/ 9276817 w 11701760"/>
              <a:gd name="connsiteY399" fmla="*/ 5875998 h 6407421"/>
              <a:gd name="connsiteX400" fmla="*/ 9010620 w 11701760"/>
              <a:gd name="connsiteY400" fmla="*/ 5846396 h 6407421"/>
              <a:gd name="connsiteX401" fmla="*/ 9040222 w 11701760"/>
              <a:gd name="connsiteY401" fmla="*/ 5846396 h 6407421"/>
              <a:gd name="connsiteX402" fmla="*/ 9040222 w 11701760"/>
              <a:gd name="connsiteY402" fmla="*/ 5875998 h 6407421"/>
              <a:gd name="connsiteX403" fmla="*/ 9010620 w 11701760"/>
              <a:gd name="connsiteY403" fmla="*/ 5875998 h 6407421"/>
              <a:gd name="connsiteX404" fmla="*/ 8744423 w 11701760"/>
              <a:gd name="connsiteY404" fmla="*/ 5846396 h 6407421"/>
              <a:gd name="connsiteX405" fmla="*/ 8774026 w 11701760"/>
              <a:gd name="connsiteY405" fmla="*/ 5846396 h 6407421"/>
              <a:gd name="connsiteX406" fmla="*/ 8774026 w 11701760"/>
              <a:gd name="connsiteY406" fmla="*/ 5875998 h 6407421"/>
              <a:gd name="connsiteX407" fmla="*/ 8744423 w 11701760"/>
              <a:gd name="connsiteY407" fmla="*/ 5875998 h 6407421"/>
              <a:gd name="connsiteX408" fmla="*/ 8478226 w 11701760"/>
              <a:gd name="connsiteY408" fmla="*/ 5846396 h 6407421"/>
              <a:gd name="connsiteX409" fmla="*/ 8507828 w 11701760"/>
              <a:gd name="connsiteY409" fmla="*/ 5846396 h 6407421"/>
              <a:gd name="connsiteX410" fmla="*/ 8507828 w 11701760"/>
              <a:gd name="connsiteY410" fmla="*/ 5875998 h 6407421"/>
              <a:gd name="connsiteX411" fmla="*/ 8478226 w 11701760"/>
              <a:gd name="connsiteY411" fmla="*/ 5875998 h 6407421"/>
              <a:gd name="connsiteX412" fmla="*/ 8212137 w 11701760"/>
              <a:gd name="connsiteY412" fmla="*/ 5846396 h 6407421"/>
              <a:gd name="connsiteX413" fmla="*/ 8241740 w 11701760"/>
              <a:gd name="connsiteY413" fmla="*/ 5846396 h 6407421"/>
              <a:gd name="connsiteX414" fmla="*/ 8241740 w 11701760"/>
              <a:gd name="connsiteY414" fmla="*/ 5875998 h 6407421"/>
              <a:gd name="connsiteX415" fmla="*/ 8212137 w 11701760"/>
              <a:gd name="connsiteY415" fmla="*/ 5875998 h 6407421"/>
              <a:gd name="connsiteX416" fmla="*/ 7945940 w 11701760"/>
              <a:gd name="connsiteY416" fmla="*/ 5846396 h 6407421"/>
              <a:gd name="connsiteX417" fmla="*/ 7975543 w 11701760"/>
              <a:gd name="connsiteY417" fmla="*/ 5846396 h 6407421"/>
              <a:gd name="connsiteX418" fmla="*/ 7975543 w 11701760"/>
              <a:gd name="connsiteY418" fmla="*/ 5875998 h 6407421"/>
              <a:gd name="connsiteX419" fmla="*/ 7945940 w 11701760"/>
              <a:gd name="connsiteY419" fmla="*/ 5875998 h 6407421"/>
              <a:gd name="connsiteX420" fmla="*/ 7679743 w 11701760"/>
              <a:gd name="connsiteY420" fmla="*/ 5846396 h 6407421"/>
              <a:gd name="connsiteX421" fmla="*/ 7709346 w 11701760"/>
              <a:gd name="connsiteY421" fmla="*/ 5846396 h 6407421"/>
              <a:gd name="connsiteX422" fmla="*/ 7709346 w 11701760"/>
              <a:gd name="connsiteY422" fmla="*/ 5875998 h 6407421"/>
              <a:gd name="connsiteX423" fmla="*/ 7679743 w 11701760"/>
              <a:gd name="connsiteY423" fmla="*/ 5875998 h 6407421"/>
              <a:gd name="connsiteX424" fmla="*/ 7413653 w 11701760"/>
              <a:gd name="connsiteY424" fmla="*/ 5846396 h 6407421"/>
              <a:gd name="connsiteX425" fmla="*/ 7443256 w 11701760"/>
              <a:gd name="connsiteY425" fmla="*/ 5846396 h 6407421"/>
              <a:gd name="connsiteX426" fmla="*/ 7443256 w 11701760"/>
              <a:gd name="connsiteY426" fmla="*/ 5875998 h 6407421"/>
              <a:gd name="connsiteX427" fmla="*/ 7413653 w 11701760"/>
              <a:gd name="connsiteY427" fmla="*/ 5875998 h 6407421"/>
              <a:gd name="connsiteX428" fmla="*/ 7147456 w 11701760"/>
              <a:gd name="connsiteY428" fmla="*/ 5846396 h 6407421"/>
              <a:gd name="connsiteX429" fmla="*/ 7177058 w 11701760"/>
              <a:gd name="connsiteY429" fmla="*/ 5846396 h 6407421"/>
              <a:gd name="connsiteX430" fmla="*/ 7177058 w 11701760"/>
              <a:gd name="connsiteY430" fmla="*/ 5875998 h 6407421"/>
              <a:gd name="connsiteX431" fmla="*/ 7147456 w 11701760"/>
              <a:gd name="connsiteY431" fmla="*/ 5875998 h 6407421"/>
              <a:gd name="connsiteX432" fmla="*/ 6881367 w 11701760"/>
              <a:gd name="connsiteY432" fmla="*/ 5846396 h 6407421"/>
              <a:gd name="connsiteX433" fmla="*/ 6910970 w 11701760"/>
              <a:gd name="connsiteY433" fmla="*/ 5846396 h 6407421"/>
              <a:gd name="connsiteX434" fmla="*/ 6910970 w 11701760"/>
              <a:gd name="connsiteY434" fmla="*/ 5875998 h 6407421"/>
              <a:gd name="connsiteX435" fmla="*/ 6881367 w 11701760"/>
              <a:gd name="connsiteY435" fmla="*/ 5875998 h 6407421"/>
              <a:gd name="connsiteX436" fmla="*/ 6615170 w 11701760"/>
              <a:gd name="connsiteY436" fmla="*/ 5846396 h 6407421"/>
              <a:gd name="connsiteX437" fmla="*/ 6644773 w 11701760"/>
              <a:gd name="connsiteY437" fmla="*/ 5846396 h 6407421"/>
              <a:gd name="connsiteX438" fmla="*/ 6644773 w 11701760"/>
              <a:gd name="connsiteY438" fmla="*/ 5875998 h 6407421"/>
              <a:gd name="connsiteX439" fmla="*/ 6615170 w 11701760"/>
              <a:gd name="connsiteY439" fmla="*/ 5875998 h 6407421"/>
              <a:gd name="connsiteX440" fmla="*/ 6349081 w 11701760"/>
              <a:gd name="connsiteY440" fmla="*/ 5846396 h 6407421"/>
              <a:gd name="connsiteX441" fmla="*/ 6378683 w 11701760"/>
              <a:gd name="connsiteY441" fmla="*/ 5846396 h 6407421"/>
              <a:gd name="connsiteX442" fmla="*/ 6378683 w 11701760"/>
              <a:gd name="connsiteY442" fmla="*/ 5875998 h 6407421"/>
              <a:gd name="connsiteX443" fmla="*/ 6349081 w 11701760"/>
              <a:gd name="connsiteY443" fmla="*/ 5875998 h 6407421"/>
              <a:gd name="connsiteX444" fmla="*/ 6082884 w 11701760"/>
              <a:gd name="connsiteY444" fmla="*/ 5846396 h 6407421"/>
              <a:gd name="connsiteX445" fmla="*/ 6112486 w 11701760"/>
              <a:gd name="connsiteY445" fmla="*/ 5846396 h 6407421"/>
              <a:gd name="connsiteX446" fmla="*/ 6112486 w 11701760"/>
              <a:gd name="connsiteY446" fmla="*/ 5875998 h 6407421"/>
              <a:gd name="connsiteX447" fmla="*/ 6082884 w 11701760"/>
              <a:gd name="connsiteY447" fmla="*/ 5875998 h 6407421"/>
              <a:gd name="connsiteX448" fmla="*/ 5825310 w 11701760"/>
              <a:gd name="connsiteY448" fmla="*/ 5846396 h 6407421"/>
              <a:gd name="connsiteX449" fmla="*/ 5854913 w 11701760"/>
              <a:gd name="connsiteY449" fmla="*/ 5846396 h 6407421"/>
              <a:gd name="connsiteX450" fmla="*/ 5854913 w 11701760"/>
              <a:gd name="connsiteY450" fmla="*/ 5875998 h 6407421"/>
              <a:gd name="connsiteX451" fmla="*/ 5825310 w 11701760"/>
              <a:gd name="connsiteY451" fmla="*/ 5875998 h 6407421"/>
              <a:gd name="connsiteX452" fmla="*/ 5559113 w 11701760"/>
              <a:gd name="connsiteY452" fmla="*/ 5846396 h 6407421"/>
              <a:gd name="connsiteX453" fmla="*/ 5588715 w 11701760"/>
              <a:gd name="connsiteY453" fmla="*/ 5846396 h 6407421"/>
              <a:gd name="connsiteX454" fmla="*/ 5588715 w 11701760"/>
              <a:gd name="connsiteY454" fmla="*/ 5875998 h 6407421"/>
              <a:gd name="connsiteX455" fmla="*/ 5559113 w 11701760"/>
              <a:gd name="connsiteY455" fmla="*/ 5875998 h 6407421"/>
              <a:gd name="connsiteX456" fmla="*/ 5293024 w 11701760"/>
              <a:gd name="connsiteY456" fmla="*/ 5846396 h 6407421"/>
              <a:gd name="connsiteX457" fmla="*/ 5322626 w 11701760"/>
              <a:gd name="connsiteY457" fmla="*/ 5846396 h 6407421"/>
              <a:gd name="connsiteX458" fmla="*/ 5322626 w 11701760"/>
              <a:gd name="connsiteY458" fmla="*/ 5875998 h 6407421"/>
              <a:gd name="connsiteX459" fmla="*/ 5293024 w 11701760"/>
              <a:gd name="connsiteY459" fmla="*/ 5875998 h 6407421"/>
              <a:gd name="connsiteX460" fmla="*/ 5026827 w 11701760"/>
              <a:gd name="connsiteY460" fmla="*/ 5846396 h 6407421"/>
              <a:gd name="connsiteX461" fmla="*/ 5056429 w 11701760"/>
              <a:gd name="connsiteY461" fmla="*/ 5846396 h 6407421"/>
              <a:gd name="connsiteX462" fmla="*/ 5056429 w 11701760"/>
              <a:gd name="connsiteY462" fmla="*/ 5875998 h 6407421"/>
              <a:gd name="connsiteX463" fmla="*/ 5026827 w 11701760"/>
              <a:gd name="connsiteY463" fmla="*/ 5875998 h 6407421"/>
              <a:gd name="connsiteX464" fmla="*/ 4760630 w 11701760"/>
              <a:gd name="connsiteY464" fmla="*/ 5846396 h 6407421"/>
              <a:gd name="connsiteX465" fmla="*/ 4790340 w 11701760"/>
              <a:gd name="connsiteY465" fmla="*/ 5846396 h 6407421"/>
              <a:gd name="connsiteX466" fmla="*/ 4790340 w 11701760"/>
              <a:gd name="connsiteY466" fmla="*/ 5875998 h 6407421"/>
              <a:gd name="connsiteX467" fmla="*/ 4760630 w 11701760"/>
              <a:gd name="connsiteY467" fmla="*/ 5875998 h 6407421"/>
              <a:gd name="connsiteX468" fmla="*/ 4494541 w 11701760"/>
              <a:gd name="connsiteY468" fmla="*/ 5846396 h 6407421"/>
              <a:gd name="connsiteX469" fmla="*/ 4524144 w 11701760"/>
              <a:gd name="connsiteY469" fmla="*/ 5846396 h 6407421"/>
              <a:gd name="connsiteX470" fmla="*/ 4524144 w 11701760"/>
              <a:gd name="connsiteY470" fmla="*/ 5875998 h 6407421"/>
              <a:gd name="connsiteX471" fmla="*/ 4494541 w 11701760"/>
              <a:gd name="connsiteY471" fmla="*/ 5875998 h 6407421"/>
              <a:gd name="connsiteX472" fmla="*/ 4228344 w 11701760"/>
              <a:gd name="connsiteY472" fmla="*/ 5846396 h 6407421"/>
              <a:gd name="connsiteX473" fmla="*/ 4257946 w 11701760"/>
              <a:gd name="connsiteY473" fmla="*/ 5846396 h 6407421"/>
              <a:gd name="connsiteX474" fmla="*/ 4257946 w 11701760"/>
              <a:gd name="connsiteY474" fmla="*/ 5875998 h 6407421"/>
              <a:gd name="connsiteX475" fmla="*/ 4228344 w 11701760"/>
              <a:gd name="connsiteY475" fmla="*/ 5875998 h 6407421"/>
              <a:gd name="connsiteX476" fmla="*/ 3962255 w 11701760"/>
              <a:gd name="connsiteY476" fmla="*/ 5846396 h 6407421"/>
              <a:gd name="connsiteX477" fmla="*/ 3991857 w 11701760"/>
              <a:gd name="connsiteY477" fmla="*/ 5846396 h 6407421"/>
              <a:gd name="connsiteX478" fmla="*/ 3991857 w 11701760"/>
              <a:gd name="connsiteY478" fmla="*/ 5875998 h 6407421"/>
              <a:gd name="connsiteX479" fmla="*/ 3962255 w 11701760"/>
              <a:gd name="connsiteY479" fmla="*/ 5875998 h 6407421"/>
              <a:gd name="connsiteX480" fmla="*/ 3696058 w 11701760"/>
              <a:gd name="connsiteY480" fmla="*/ 5846396 h 6407421"/>
              <a:gd name="connsiteX481" fmla="*/ 3725661 w 11701760"/>
              <a:gd name="connsiteY481" fmla="*/ 5846396 h 6407421"/>
              <a:gd name="connsiteX482" fmla="*/ 3725661 w 11701760"/>
              <a:gd name="connsiteY482" fmla="*/ 5875998 h 6407421"/>
              <a:gd name="connsiteX483" fmla="*/ 3696058 w 11701760"/>
              <a:gd name="connsiteY483" fmla="*/ 5875998 h 6407421"/>
              <a:gd name="connsiteX484" fmla="*/ 3429969 w 11701760"/>
              <a:gd name="connsiteY484" fmla="*/ 5846396 h 6407421"/>
              <a:gd name="connsiteX485" fmla="*/ 3459572 w 11701760"/>
              <a:gd name="connsiteY485" fmla="*/ 5846396 h 6407421"/>
              <a:gd name="connsiteX486" fmla="*/ 3459572 w 11701760"/>
              <a:gd name="connsiteY486" fmla="*/ 5875998 h 6407421"/>
              <a:gd name="connsiteX487" fmla="*/ 3429969 w 11701760"/>
              <a:gd name="connsiteY487" fmla="*/ 5875998 h 6407421"/>
              <a:gd name="connsiteX488" fmla="*/ 3163772 w 11701760"/>
              <a:gd name="connsiteY488" fmla="*/ 5846396 h 6407421"/>
              <a:gd name="connsiteX489" fmla="*/ 3193374 w 11701760"/>
              <a:gd name="connsiteY489" fmla="*/ 5846396 h 6407421"/>
              <a:gd name="connsiteX490" fmla="*/ 3193374 w 11701760"/>
              <a:gd name="connsiteY490" fmla="*/ 5875998 h 6407421"/>
              <a:gd name="connsiteX491" fmla="*/ 3163772 w 11701760"/>
              <a:gd name="connsiteY491" fmla="*/ 5875998 h 6407421"/>
              <a:gd name="connsiteX492" fmla="*/ 2897575 w 11701760"/>
              <a:gd name="connsiteY492" fmla="*/ 5846396 h 6407421"/>
              <a:gd name="connsiteX493" fmla="*/ 2927178 w 11701760"/>
              <a:gd name="connsiteY493" fmla="*/ 5846396 h 6407421"/>
              <a:gd name="connsiteX494" fmla="*/ 2927178 w 11701760"/>
              <a:gd name="connsiteY494" fmla="*/ 5875998 h 6407421"/>
              <a:gd name="connsiteX495" fmla="*/ 2897575 w 11701760"/>
              <a:gd name="connsiteY495" fmla="*/ 5875998 h 6407421"/>
              <a:gd name="connsiteX496" fmla="*/ 2631378 w 11701760"/>
              <a:gd name="connsiteY496" fmla="*/ 5846396 h 6407421"/>
              <a:gd name="connsiteX497" fmla="*/ 2660980 w 11701760"/>
              <a:gd name="connsiteY497" fmla="*/ 5846396 h 6407421"/>
              <a:gd name="connsiteX498" fmla="*/ 2660980 w 11701760"/>
              <a:gd name="connsiteY498" fmla="*/ 5875998 h 6407421"/>
              <a:gd name="connsiteX499" fmla="*/ 2631378 w 11701760"/>
              <a:gd name="connsiteY499" fmla="*/ 5875998 h 6407421"/>
              <a:gd name="connsiteX500" fmla="*/ 2365289 w 11701760"/>
              <a:gd name="connsiteY500" fmla="*/ 5846396 h 6407421"/>
              <a:gd name="connsiteX501" fmla="*/ 2394892 w 11701760"/>
              <a:gd name="connsiteY501" fmla="*/ 5846396 h 6407421"/>
              <a:gd name="connsiteX502" fmla="*/ 2394892 w 11701760"/>
              <a:gd name="connsiteY502" fmla="*/ 5875998 h 6407421"/>
              <a:gd name="connsiteX503" fmla="*/ 2365289 w 11701760"/>
              <a:gd name="connsiteY503" fmla="*/ 5875998 h 6407421"/>
              <a:gd name="connsiteX504" fmla="*/ 2099092 w 11701760"/>
              <a:gd name="connsiteY504" fmla="*/ 5846396 h 6407421"/>
              <a:gd name="connsiteX505" fmla="*/ 2128695 w 11701760"/>
              <a:gd name="connsiteY505" fmla="*/ 5846396 h 6407421"/>
              <a:gd name="connsiteX506" fmla="*/ 2128695 w 11701760"/>
              <a:gd name="connsiteY506" fmla="*/ 5875998 h 6407421"/>
              <a:gd name="connsiteX507" fmla="*/ 2099092 w 11701760"/>
              <a:gd name="connsiteY507" fmla="*/ 5875998 h 6407421"/>
              <a:gd name="connsiteX508" fmla="*/ 1832898 w 11701760"/>
              <a:gd name="connsiteY508" fmla="*/ 5846396 h 6407421"/>
              <a:gd name="connsiteX509" fmla="*/ 1862498 w 11701760"/>
              <a:gd name="connsiteY509" fmla="*/ 5846396 h 6407421"/>
              <a:gd name="connsiteX510" fmla="*/ 1862498 w 11701760"/>
              <a:gd name="connsiteY510" fmla="*/ 5875998 h 6407421"/>
              <a:gd name="connsiteX511" fmla="*/ 1832898 w 11701760"/>
              <a:gd name="connsiteY511" fmla="*/ 5875998 h 6407421"/>
              <a:gd name="connsiteX512" fmla="*/ 1566808 w 11701760"/>
              <a:gd name="connsiteY512" fmla="*/ 5846396 h 6407421"/>
              <a:gd name="connsiteX513" fmla="*/ 1596409 w 11701760"/>
              <a:gd name="connsiteY513" fmla="*/ 5846396 h 6407421"/>
              <a:gd name="connsiteX514" fmla="*/ 1596409 w 11701760"/>
              <a:gd name="connsiteY514" fmla="*/ 5875998 h 6407421"/>
              <a:gd name="connsiteX515" fmla="*/ 1566808 w 11701760"/>
              <a:gd name="connsiteY515" fmla="*/ 5875998 h 6407421"/>
              <a:gd name="connsiteX516" fmla="*/ 1300611 w 11701760"/>
              <a:gd name="connsiteY516" fmla="*/ 5846396 h 6407421"/>
              <a:gd name="connsiteX517" fmla="*/ 1330213 w 11701760"/>
              <a:gd name="connsiteY517" fmla="*/ 5846396 h 6407421"/>
              <a:gd name="connsiteX518" fmla="*/ 1330213 w 11701760"/>
              <a:gd name="connsiteY518" fmla="*/ 5875998 h 6407421"/>
              <a:gd name="connsiteX519" fmla="*/ 1300611 w 11701760"/>
              <a:gd name="connsiteY519" fmla="*/ 5875998 h 6407421"/>
              <a:gd name="connsiteX520" fmla="*/ 1034520 w 11701760"/>
              <a:gd name="connsiteY520" fmla="*/ 5846396 h 6407421"/>
              <a:gd name="connsiteX521" fmla="*/ 1064123 w 11701760"/>
              <a:gd name="connsiteY521" fmla="*/ 5846396 h 6407421"/>
              <a:gd name="connsiteX522" fmla="*/ 1064123 w 11701760"/>
              <a:gd name="connsiteY522" fmla="*/ 5875998 h 6407421"/>
              <a:gd name="connsiteX523" fmla="*/ 1034520 w 11701760"/>
              <a:gd name="connsiteY523" fmla="*/ 5875998 h 6407421"/>
              <a:gd name="connsiteX524" fmla="*/ 768328 w 11701760"/>
              <a:gd name="connsiteY524" fmla="*/ 5846396 h 6407421"/>
              <a:gd name="connsiteX525" fmla="*/ 797926 w 11701760"/>
              <a:gd name="connsiteY525" fmla="*/ 5846396 h 6407421"/>
              <a:gd name="connsiteX526" fmla="*/ 797926 w 11701760"/>
              <a:gd name="connsiteY526" fmla="*/ 5875998 h 6407421"/>
              <a:gd name="connsiteX527" fmla="*/ 768328 w 11701760"/>
              <a:gd name="connsiteY527" fmla="*/ 5875998 h 6407421"/>
              <a:gd name="connsiteX528" fmla="*/ 502237 w 11701760"/>
              <a:gd name="connsiteY528" fmla="*/ 5846396 h 6407421"/>
              <a:gd name="connsiteX529" fmla="*/ 531839 w 11701760"/>
              <a:gd name="connsiteY529" fmla="*/ 5846396 h 6407421"/>
              <a:gd name="connsiteX530" fmla="*/ 531839 w 11701760"/>
              <a:gd name="connsiteY530" fmla="*/ 5875998 h 6407421"/>
              <a:gd name="connsiteX531" fmla="*/ 502237 w 11701760"/>
              <a:gd name="connsiteY531" fmla="*/ 5875998 h 6407421"/>
              <a:gd name="connsiteX532" fmla="*/ 236038 w 11701760"/>
              <a:gd name="connsiteY532" fmla="*/ 5846396 h 6407421"/>
              <a:gd name="connsiteX533" fmla="*/ 265640 w 11701760"/>
              <a:gd name="connsiteY533" fmla="*/ 5846396 h 6407421"/>
              <a:gd name="connsiteX534" fmla="*/ 265640 w 11701760"/>
              <a:gd name="connsiteY534" fmla="*/ 5875998 h 6407421"/>
              <a:gd name="connsiteX535" fmla="*/ 236038 w 11701760"/>
              <a:gd name="connsiteY535" fmla="*/ 5875998 h 6407421"/>
              <a:gd name="connsiteX536" fmla="*/ 2 w 11701760"/>
              <a:gd name="connsiteY536" fmla="*/ 5846396 h 6407421"/>
              <a:gd name="connsiteX537" fmla="*/ 29604 w 11701760"/>
              <a:gd name="connsiteY537" fmla="*/ 5846396 h 6407421"/>
              <a:gd name="connsiteX538" fmla="*/ 29604 w 11701760"/>
              <a:gd name="connsiteY538" fmla="*/ 5875998 h 6407421"/>
              <a:gd name="connsiteX539" fmla="*/ 2 w 11701760"/>
              <a:gd name="connsiteY539" fmla="*/ 5875998 h 6407421"/>
              <a:gd name="connsiteX540" fmla="*/ 11672158 w 11701760"/>
              <a:gd name="connsiteY540" fmla="*/ 5580631 h 6407421"/>
              <a:gd name="connsiteX541" fmla="*/ 11701760 w 11701760"/>
              <a:gd name="connsiteY541" fmla="*/ 5580631 h 6407421"/>
              <a:gd name="connsiteX542" fmla="*/ 11701760 w 11701760"/>
              <a:gd name="connsiteY542" fmla="*/ 5610233 h 6407421"/>
              <a:gd name="connsiteX543" fmla="*/ 11672158 w 11701760"/>
              <a:gd name="connsiteY543" fmla="*/ 5610233 h 6407421"/>
              <a:gd name="connsiteX544" fmla="*/ 11405961 w 11701760"/>
              <a:gd name="connsiteY544" fmla="*/ 5580631 h 6407421"/>
              <a:gd name="connsiteX545" fmla="*/ 11435563 w 11701760"/>
              <a:gd name="connsiteY545" fmla="*/ 5580631 h 6407421"/>
              <a:gd name="connsiteX546" fmla="*/ 11435563 w 11701760"/>
              <a:gd name="connsiteY546" fmla="*/ 5610233 h 6407421"/>
              <a:gd name="connsiteX547" fmla="*/ 11405961 w 11701760"/>
              <a:gd name="connsiteY547" fmla="*/ 5610233 h 6407421"/>
              <a:gd name="connsiteX548" fmla="*/ 11139872 w 11701760"/>
              <a:gd name="connsiteY548" fmla="*/ 5580631 h 6407421"/>
              <a:gd name="connsiteX549" fmla="*/ 11169474 w 11701760"/>
              <a:gd name="connsiteY549" fmla="*/ 5580631 h 6407421"/>
              <a:gd name="connsiteX550" fmla="*/ 11169474 w 11701760"/>
              <a:gd name="connsiteY550" fmla="*/ 5610233 h 6407421"/>
              <a:gd name="connsiteX551" fmla="*/ 11139872 w 11701760"/>
              <a:gd name="connsiteY551" fmla="*/ 5610233 h 6407421"/>
              <a:gd name="connsiteX552" fmla="*/ 10873675 w 11701760"/>
              <a:gd name="connsiteY552" fmla="*/ 5580631 h 6407421"/>
              <a:gd name="connsiteX553" fmla="*/ 10903277 w 11701760"/>
              <a:gd name="connsiteY553" fmla="*/ 5580631 h 6407421"/>
              <a:gd name="connsiteX554" fmla="*/ 10903277 w 11701760"/>
              <a:gd name="connsiteY554" fmla="*/ 5610233 h 6407421"/>
              <a:gd name="connsiteX555" fmla="*/ 10873675 w 11701760"/>
              <a:gd name="connsiteY555" fmla="*/ 5610233 h 6407421"/>
              <a:gd name="connsiteX556" fmla="*/ 10607478 w 11701760"/>
              <a:gd name="connsiteY556" fmla="*/ 5580631 h 6407421"/>
              <a:gd name="connsiteX557" fmla="*/ 10637188 w 11701760"/>
              <a:gd name="connsiteY557" fmla="*/ 5580631 h 6407421"/>
              <a:gd name="connsiteX558" fmla="*/ 10637188 w 11701760"/>
              <a:gd name="connsiteY558" fmla="*/ 5610233 h 6407421"/>
              <a:gd name="connsiteX559" fmla="*/ 10607478 w 11701760"/>
              <a:gd name="connsiteY559" fmla="*/ 5610233 h 6407421"/>
              <a:gd name="connsiteX560" fmla="*/ 10341389 w 11701760"/>
              <a:gd name="connsiteY560" fmla="*/ 5580631 h 6407421"/>
              <a:gd name="connsiteX561" fmla="*/ 10370992 w 11701760"/>
              <a:gd name="connsiteY561" fmla="*/ 5580631 h 6407421"/>
              <a:gd name="connsiteX562" fmla="*/ 10370992 w 11701760"/>
              <a:gd name="connsiteY562" fmla="*/ 5610233 h 6407421"/>
              <a:gd name="connsiteX563" fmla="*/ 10341389 w 11701760"/>
              <a:gd name="connsiteY563" fmla="*/ 5610233 h 6407421"/>
              <a:gd name="connsiteX564" fmla="*/ 10075192 w 11701760"/>
              <a:gd name="connsiteY564" fmla="*/ 5580631 h 6407421"/>
              <a:gd name="connsiteX565" fmla="*/ 10104794 w 11701760"/>
              <a:gd name="connsiteY565" fmla="*/ 5580631 h 6407421"/>
              <a:gd name="connsiteX566" fmla="*/ 10104794 w 11701760"/>
              <a:gd name="connsiteY566" fmla="*/ 5610233 h 6407421"/>
              <a:gd name="connsiteX567" fmla="*/ 10075192 w 11701760"/>
              <a:gd name="connsiteY567" fmla="*/ 5610233 h 6407421"/>
              <a:gd name="connsiteX568" fmla="*/ 9809103 w 11701760"/>
              <a:gd name="connsiteY568" fmla="*/ 5580631 h 6407421"/>
              <a:gd name="connsiteX569" fmla="*/ 9838705 w 11701760"/>
              <a:gd name="connsiteY569" fmla="*/ 5580631 h 6407421"/>
              <a:gd name="connsiteX570" fmla="*/ 9838705 w 11701760"/>
              <a:gd name="connsiteY570" fmla="*/ 5610233 h 6407421"/>
              <a:gd name="connsiteX571" fmla="*/ 9809103 w 11701760"/>
              <a:gd name="connsiteY571" fmla="*/ 5610233 h 6407421"/>
              <a:gd name="connsiteX572" fmla="*/ 9542906 w 11701760"/>
              <a:gd name="connsiteY572" fmla="*/ 5580631 h 6407421"/>
              <a:gd name="connsiteX573" fmla="*/ 9572509 w 11701760"/>
              <a:gd name="connsiteY573" fmla="*/ 5580631 h 6407421"/>
              <a:gd name="connsiteX574" fmla="*/ 9572509 w 11701760"/>
              <a:gd name="connsiteY574" fmla="*/ 5610233 h 6407421"/>
              <a:gd name="connsiteX575" fmla="*/ 9542906 w 11701760"/>
              <a:gd name="connsiteY575" fmla="*/ 5610233 h 6407421"/>
              <a:gd name="connsiteX576" fmla="*/ 9276817 w 11701760"/>
              <a:gd name="connsiteY576" fmla="*/ 5580631 h 6407421"/>
              <a:gd name="connsiteX577" fmla="*/ 9306420 w 11701760"/>
              <a:gd name="connsiteY577" fmla="*/ 5580631 h 6407421"/>
              <a:gd name="connsiteX578" fmla="*/ 9306420 w 11701760"/>
              <a:gd name="connsiteY578" fmla="*/ 5610233 h 6407421"/>
              <a:gd name="connsiteX579" fmla="*/ 9276817 w 11701760"/>
              <a:gd name="connsiteY579" fmla="*/ 5610233 h 6407421"/>
              <a:gd name="connsiteX580" fmla="*/ 9010620 w 11701760"/>
              <a:gd name="connsiteY580" fmla="*/ 5580631 h 6407421"/>
              <a:gd name="connsiteX581" fmla="*/ 9040222 w 11701760"/>
              <a:gd name="connsiteY581" fmla="*/ 5580631 h 6407421"/>
              <a:gd name="connsiteX582" fmla="*/ 9040222 w 11701760"/>
              <a:gd name="connsiteY582" fmla="*/ 5610233 h 6407421"/>
              <a:gd name="connsiteX583" fmla="*/ 9010620 w 11701760"/>
              <a:gd name="connsiteY583" fmla="*/ 5610233 h 6407421"/>
              <a:gd name="connsiteX584" fmla="*/ 8744423 w 11701760"/>
              <a:gd name="connsiteY584" fmla="*/ 5580631 h 6407421"/>
              <a:gd name="connsiteX585" fmla="*/ 8774026 w 11701760"/>
              <a:gd name="connsiteY585" fmla="*/ 5580631 h 6407421"/>
              <a:gd name="connsiteX586" fmla="*/ 8774026 w 11701760"/>
              <a:gd name="connsiteY586" fmla="*/ 5610233 h 6407421"/>
              <a:gd name="connsiteX587" fmla="*/ 8744423 w 11701760"/>
              <a:gd name="connsiteY587" fmla="*/ 5610233 h 6407421"/>
              <a:gd name="connsiteX588" fmla="*/ 8478226 w 11701760"/>
              <a:gd name="connsiteY588" fmla="*/ 5580631 h 6407421"/>
              <a:gd name="connsiteX589" fmla="*/ 8507828 w 11701760"/>
              <a:gd name="connsiteY589" fmla="*/ 5580631 h 6407421"/>
              <a:gd name="connsiteX590" fmla="*/ 8507828 w 11701760"/>
              <a:gd name="connsiteY590" fmla="*/ 5610233 h 6407421"/>
              <a:gd name="connsiteX591" fmla="*/ 8478226 w 11701760"/>
              <a:gd name="connsiteY591" fmla="*/ 5610233 h 6407421"/>
              <a:gd name="connsiteX592" fmla="*/ 8212137 w 11701760"/>
              <a:gd name="connsiteY592" fmla="*/ 5580631 h 6407421"/>
              <a:gd name="connsiteX593" fmla="*/ 8241740 w 11701760"/>
              <a:gd name="connsiteY593" fmla="*/ 5580631 h 6407421"/>
              <a:gd name="connsiteX594" fmla="*/ 8241740 w 11701760"/>
              <a:gd name="connsiteY594" fmla="*/ 5610233 h 6407421"/>
              <a:gd name="connsiteX595" fmla="*/ 8212137 w 11701760"/>
              <a:gd name="connsiteY595" fmla="*/ 5610233 h 6407421"/>
              <a:gd name="connsiteX596" fmla="*/ 7945940 w 11701760"/>
              <a:gd name="connsiteY596" fmla="*/ 5580631 h 6407421"/>
              <a:gd name="connsiteX597" fmla="*/ 7975543 w 11701760"/>
              <a:gd name="connsiteY597" fmla="*/ 5580631 h 6407421"/>
              <a:gd name="connsiteX598" fmla="*/ 7975543 w 11701760"/>
              <a:gd name="connsiteY598" fmla="*/ 5610233 h 6407421"/>
              <a:gd name="connsiteX599" fmla="*/ 7945940 w 11701760"/>
              <a:gd name="connsiteY599" fmla="*/ 5610233 h 6407421"/>
              <a:gd name="connsiteX600" fmla="*/ 7679743 w 11701760"/>
              <a:gd name="connsiteY600" fmla="*/ 5580631 h 6407421"/>
              <a:gd name="connsiteX601" fmla="*/ 7709346 w 11701760"/>
              <a:gd name="connsiteY601" fmla="*/ 5580631 h 6407421"/>
              <a:gd name="connsiteX602" fmla="*/ 7709346 w 11701760"/>
              <a:gd name="connsiteY602" fmla="*/ 5610233 h 6407421"/>
              <a:gd name="connsiteX603" fmla="*/ 7679743 w 11701760"/>
              <a:gd name="connsiteY603" fmla="*/ 5610233 h 6407421"/>
              <a:gd name="connsiteX604" fmla="*/ 7413653 w 11701760"/>
              <a:gd name="connsiteY604" fmla="*/ 5580631 h 6407421"/>
              <a:gd name="connsiteX605" fmla="*/ 7443256 w 11701760"/>
              <a:gd name="connsiteY605" fmla="*/ 5580631 h 6407421"/>
              <a:gd name="connsiteX606" fmla="*/ 7443256 w 11701760"/>
              <a:gd name="connsiteY606" fmla="*/ 5610233 h 6407421"/>
              <a:gd name="connsiteX607" fmla="*/ 7413653 w 11701760"/>
              <a:gd name="connsiteY607" fmla="*/ 5610233 h 6407421"/>
              <a:gd name="connsiteX608" fmla="*/ 7147456 w 11701760"/>
              <a:gd name="connsiteY608" fmla="*/ 5580631 h 6407421"/>
              <a:gd name="connsiteX609" fmla="*/ 7177058 w 11701760"/>
              <a:gd name="connsiteY609" fmla="*/ 5580631 h 6407421"/>
              <a:gd name="connsiteX610" fmla="*/ 7177058 w 11701760"/>
              <a:gd name="connsiteY610" fmla="*/ 5610233 h 6407421"/>
              <a:gd name="connsiteX611" fmla="*/ 7147456 w 11701760"/>
              <a:gd name="connsiteY611" fmla="*/ 5610233 h 6407421"/>
              <a:gd name="connsiteX612" fmla="*/ 6881367 w 11701760"/>
              <a:gd name="connsiteY612" fmla="*/ 5580631 h 6407421"/>
              <a:gd name="connsiteX613" fmla="*/ 6910970 w 11701760"/>
              <a:gd name="connsiteY613" fmla="*/ 5580631 h 6407421"/>
              <a:gd name="connsiteX614" fmla="*/ 6910970 w 11701760"/>
              <a:gd name="connsiteY614" fmla="*/ 5610233 h 6407421"/>
              <a:gd name="connsiteX615" fmla="*/ 6881367 w 11701760"/>
              <a:gd name="connsiteY615" fmla="*/ 5610233 h 6407421"/>
              <a:gd name="connsiteX616" fmla="*/ 6615170 w 11701760"/>
              <a:gd name="connsiteY616" fmla="*/ 5580631 h 6407421"/>
              <a:gd name="connsiteX617" fmla="*/ 6644773 w 11701760"/>
              <a:gd name="connsiteY617" fmla="*/ 5580631 h 6407421"/>
              <a:gd name="connsiteX618" fmla="*/ 6644773 w 11701760"/>
              <a:gd name="connsiteY618" fmla="*/ 5610233 h 6407421"/>
              <a:gd name="connsiteX619" fmla="*/ 6615170 w 11701760"/>
              <a:gd name="connsiteY619" fmla="*/ 5610233 h 6407421"/>
              <a:gd name="connsiteX620" fmla="*/ 6349081 w 11701760"/>
              <a:gd name="connsiteY620" fmla="*/ 5580631 h 6407421"/>
              <a:gd name="connsiteX621" fmla="*/ 6378683 w 11701760"/>
              <a:gd name="connsiteY621" fmla="*/ 5580631 h 6407421"/>
              <a:gd name="connsiteX622" fmla="*/ 6378683 w 11701760"/>
              <a:gd name="connsiteY622" fmla="*/ 5610233 h 6407421"/>
              <a:gd name="connsiteX623" fmla="*/ 6349081 w 11701760"/>
              <a:gd name="connsiteY623" fmla="*/ 5610233 h 6407421"/>
              <a:gd name="connsiteX624" fmla="*/ 6082884 w 11701760"/>
              <a:gd name="connsiteY624" fmla="*/ 5580631 h 6407421"/>
              <a:gd name="connsiteX625" fmla="*/ 6112486 w 11701760"/>
              <a:gd name="connsiteY625" fmla="*/ 5580631 h 6407421"/>
              <a:gd name="connsiteX626" fmla="*/ 6112486 w 11701760"/>
              <a:gd name="connsiteY626" fmla="*/ 5610233 h 6407421"/>
              <a:gd name="connsiteX627" fmla="*/ 6082884 w 11701760"/>
              <a:gd name="connsiteY627" fmla="*/ 5610233 h 6407421"/>
              <a:gd name="connsiteX628" fmla="*/ 5825310 w 11701760"/>
              <a:gd name="connsiteY628" fmla="*/ 5580631 h 6407421"/>
              <a:gd name="connsiteX629" fmla="*/ 5854913 w 11701760"/>
              <a:gd name="connsiteY629" fmla="*/ 5580631 h 6407421"/>
              <a:gd name="connsiteX630" fmla="*/ 5854913 w 11701760"/>
              <a:gd name="connsiteY630" fmla="*/ 5610233 h 6407421"/>
              <a:gd name="connsiteX631" fmla="*/ 5825310 w 11701760"/>
              <a:gd name="connsiteY631" fmla="*/ 5610233 h 6407421"/>
              <a:gd name="connsiteX632" fmla="*/ 5559113 w 11701760"/>
              <a:gd name="connsiteY632" fmla="*/ 5580631 h 6407421"/>
              <a:gd name="connsiteX633" fmla="*/ 5588715 w 11701760"/>
              <a:gd name="connsiteY633" fmla="*/ 5580631 h 6407421"/>
              <a:gd name="connsiteX634" fmla="*/ 5588715 w 11701760"/>
              <a:gd name="connsiteY634" fmla="*/ 5610233 h 6407421"/>
              <a:gd name="connsiteX635" fmla="*/ 5559113 w 11701760"/>
              <a:gd name="connsiteY635" fmla="*/ 5610233 h 6407421"/>
              <a:gd name="connsiteX636" fmla="*/ 5293024 w 11701760"/>
              <a:gd name="connsiteY636" fmla="*/ 5580631 h 6407421"/>
              <a:gd name="connsiteX637" fmla="*/ 5322626 w 11701760"/>
              <a:gd name="connsiteY637" fmla="*/ 5580631 h 6407421"/>
              <a:gd name="connsiteX638" fmla="*/ 5322626 w 11701760"/>
              <a:gd name="connsiteY638" fmla="*/ 5610233 h 6407421"/>
              <a:gd name="connsiteX639" fmla="*/ 5293024 w 11701760"/>
              <a:gd name="connsiteY639" fmla="*/ 5610233 h 6407421"/>
              <a:gd name="connsiteX640" fmla="*/ 5026827 w 11701760"/>
              <a:gd name="connsiteY640" fmla="*/ 5580631 h 6407421"/>
              <a:gd name="connsiteX641" fmla="*/ 5056429 w 11701760"/>
              <a:gd name="connsiteY641" fmla="*/ 5580631 h 6407421"/>
              <a:gd name="connsiteX642" fmla="*/ 5056429 w 11701760"/>
              <a:gd name="connsiteY642" fmla="*/ 5610233 h 6407421"/>
              <a:gd name="connsiteX643" fmla="*/ 5026827 w 11701760"/>
              <a:gd name="connsiteY643" fmla="*/ 5610233 h 6407421"/>
              <a:gd name="connsiteX644" fmla="*/ 4760630 w 11701760"/>
              <a:gd name="connsiteY644" fmla="*/ 5580631 h 6407421"/>
              <a:gd name="connsiteX645" fmla="*/ 4790340 w 11701760"/>
              <a:gd name="connsiteY645" fmla="*/ 5580631 h 6407421"/>
              <a:gd name="connsiteX646" fmla="*/ 4790340 w 11701760"/>
              <a:gd name="connsiteY646" fmla="*/ 5610233 h 6407421"/>
              <a:gd name="connsiteX647" fmla="*/ 4760630 w 11701760"/>
              <a:gd name="connsiteY647" fmla="*/ 5610233 h 6407421"/>
              <a:gd name="connsiteX648" fmla="*/ 4494541 w 11701760"/>
              <a:gd name="connsiteY648" fmla="*/ 5580631 h 6407421"/>
              <a:gd name="connsiteX649" fmla="*/ 4524144 w 11701760"/>
              <a:gd name="connsiteY649" fmla="*/ 5580631 h 6407421"/>
              <a:gd name="connsiteX650" fmla="*/ 4524144 w 11701760"/>
              <a:gd name="connsiteY650" fmla="*/ 5610233 h 6407421"/>
              <a:gd name="connsiteX651" fmla="*/ 4494541 w 11701760"/>
              <a:gd name="connsiteY651" fmla="*/ 5610233 h 6407421"/>
              <a:gd name="connsiteX652" fmla="*/ 4228344 w 11701760"/>
              <a:gd name="connsiteY652" fmla="*/ 5580631 h 6407421"/>
              <a:gd name="connsiteX653" fmla="*/ 4257946 w 11701760"/>
              <a:gd name="connsiteY653" fmla="*/ 5580631 h 6407421"/>
              <a:gd name="connsiteX654" fmla="*/ 4257946 w 11701760"/>
              <a:gd name="connsiteY654" fmla="*/ 5610233 h 6407421"/>
              <a:gd name="connsiteX655" fmla="*/ 4228344 w 11701760"/>
              <a:gd name="connsiteY655" fmla="*/ 5610233 h 6407421"/>
              <a:gd name="connsiteX656" fmla="*/ 3962255 w 11701760"/>
              <a:gd name="connsiteY656" fmla="*/ 5580631 h 6407421"/>
              <a:gd name="connsiteX657" fmla="*/ 3991857 w 11701760"/>
              <a:gd name="connsiteY657" fmla="*/ 5580631 h 6407421"/>
              <a:gd name="connsiteX658" fmla="*/ 3991857 w 11701760"/>
              <a:gd name="connsiteY658" fmla="*/ 5610233 h 6407421"/>
              <a:gd name="connsiteX659" fmla="*/ 3962255 w 11701760"/>
              <a:gd name="connsiteY659" fmla="*/ 5610233 h 6407421"/>
              <a:gd name="connsiteX660" fmla="*/ 3696058 w 11701760"/>
              <a:gd name="connsiteY660" fmla="*/ 5580631 h 6407421"/>
              <a:gd name="connsiteX661" fmla="*/ 3725661 w 11701760"/>
              <a:gd name="connsiteY661" fmla="*/ 5580631 h 6407421"/>
              <a:gd name="connsiteX662" fmla="*/ 3725661 w 11701760"/>
              <a:gd name="connsiteY662" fmla="*/ 5610233 h 6407421"/>
              <a:gd name="connsiteX663" fmla="*/ 3696058 w 11701760"/>
              <a:gd name="connsiteY663" fmla="*/ 5610233 h 6407421"/>
              <a:gd name="connsiteX664" fmla="*/ 3429969 w 11701760"/>
              <a:gd name="connsiteY664" fmla="*/ 5580631 h 6407421"/>
              <a:gd name="connsiteX665" fmla="*/ 3459572 w 11701760"/>
              <a:gd name="connsiteY665" fmla="*/ 5580631 h 6407421"/>
              <a:gd name="connsiteX666" fmla="*/ 3459572 w 11701760"/>
              <a:gd name="connsiteY666" fmla="*/ 5610233 h 6407421"/>
              <a:gd name="connsiteX667" fmla="*/ 3429969 w 11701760"/>
              <a:gd name="connsiteY667" fmla="*/ 5610233 h 6407421"/>
              <a:gd name="connsiteX668" fmla="*/ 3163772 w 11701760"/>
              <a:gd name="connsiteY668" fmla="*/ 5580631 h 6407421"/>
              <a:gd name="connsiteX669" fmla="*/ 3193374 w 11701760"/>
              <a:gd name="connsiteY669" fmla="*/ 5580631 h 6407421"/>
              <a:gd name="connsiteX670" fmla="*/ 3193374 w 11701760"/>
              <a:gd name="connsiteY670" fmla="*/ 5610233 h 6407421"/>
              <a:gd name="connsiteX671" fmla="*/ 3163772 w 11701760"/>
              <a:gd name="connsiteY671" fmla="*/ 5610233 h 6407421"/>
              <a:gd name="connsiteX672" fmla="*/ 2897575 w 11701760"/>
              <a:gd name="connsiteY672" fmla="*/ 5580631 h 6407421"/>
              <a:gd name="connsiteX673" fmla="*/ 2927178 w 11701760"/>
              <a:gd name="connsiteY673" fmla="*/ 5580631 h 6407421"/>
              <a:gd name="connsiteX674" fmla="*/ 2927178 w 11701760"/>
              <a:gd name="connsiteY674" fmla="*/ 5610233 h 6407421"/>
              <a:gd name="connsiteX675" fmla="*/ 2897575 w 11701760"/>
              <a:gd name="connsiteY675" fmla="*/ 5610233 h 6407421"/>
              <a:gd name="connsiteX676" fmla="*/ 2631378 w 11701760"/>
              <a:gd name="connsiteY676" fmla="*/ 5580631 h 6407421"/>
              <a:gd name="connsiteX677" fmla="*/ 2660980 w 11701760"/>
              <a:gd name="connsiteY677" fmla="*/ 5580631 h 6407421"/>
              <a:gd name="connsiteX678" fmla="*/ 2660980 w 11701760"/>
              <a:gd name="connsiteY678" fmla="*/ 5610233 h 6407421"/>
              <a:gd name="connsiteX679" fmla="*/ 2631378 w 11701760"/>
              <a:gd name="connsiteY679" fmla="*/ 5610233 h 6407421"/>
              <a:gd name="connsiteX680" fmla="*/ 2365289 w 11701760"/>
              <a:gd name="connsiteY680" fmla="*/ 5580631 h 6407421"/>
              <a:gd name="connsiteX681" fmla="*/ 2394892 w 11701760"/>
              <a:gd name="connsiteY681" fmla="*/ 5580631 h 6407421"/>
              <a:gd name="connsiteX682" fmla="*/ 2394892 w 11701760"/>
              <a:gd name="connsiteY682" fmla="*/ 5610233 h 6407421"/>
              <a:gd name="connsiteX683" fmla="*/ 2365289 w 11701760"/>
              <a:gd name="connsiteY683" fmla="*/ 5610233 h 6407421"/>
              <a:gd name="connsiteX684" fmla="*/ 2099092 w 11701760"/>
              <a:gd name="connsiteY684" fmla="*/ 5580631 h 6407421"/>
              <a:gd name="connsiteX685" fmla="*/ 2128695 w 11701760"/>
              <a:gd name="connsiteY685" fmla="*/ 5580631 h 6407421"/>
              <a:gd name="connsiteX686" fmla="*/ 2128695 w 11701760"/>
              <a:gd name="connsiteY686" fmla="*/ 5610233 h 6407421"/>
              <a:gd name="connsiteX687" fmla="*/ 2099092 w 11701760"/>
              <a:gd name="connsiteY687" fmla="*/ 5610233 h 6407421"/>
              <a:gd name="connsiteX688" fmla="*/ 1832898 w 11701760"/>
              <a:gd name="connsiteY688" fmla="*/ 5580631 h 6407421"/>
              <a:gd name="connsiteX689" fmla="*/ 1862498 w 11701760"/>
              <a:gd name="connsiteY689" fmla="*/ 5580631 h 6407421"/>
              <a:gd name="connsiteX690" fmla="*/ 1862498 w 11701760"/>
              <a:gd name="connsiteY690" fmla="*/ 5610233 h 6407421"/>
              <a:gd name="connsiteX691" fmla="*/ 1832898 w 11701760"/>
              <a:gd name="connsiteY691" fmla="*/ 5610233 h 6407421"/>
              <a:gd name="connsiteX692" fmla="*/ 1566808 w 11701760"/>
              <a:gd name="connsiteY692" fmla="*/ 5580631 h 6407421"/>
              <a:gd name="connsiteX693" fmla="*/ 1596409 w 11701760"/>
              <a:gd name="connsiteY693" fmla="*/ 5580631 h 6407421"/>
              <a:gd name="connsiteX694" fmla="*/ 1596409 w 11701760"/>
              <a:gd name="connsiteY694" fmla="*/ 5610233 h 6407421"/>
              <a:gd name="connsiteX695" fmla="*/ 1566808 w 11701760"/>
              <a:gd name="connsiteY695" fmla="*/ 5610233 h 6407421"/>
              <a:gd name="connsiteX696" fmla="*/ 1300611 w 11701760"/>
              <a:gd name="connsiteY696" fmla="*/ 5580631 h 6407421"/>
              <a:gd name="connsiteX697" fmla="*/ 1330213 w 11701760"/>
              <a:gd name="connsiteY697" fmla="*/ 5580631 h 6407421"/>
              <a:gd name="connsiteX698" fmla="*/ 1330213 w 11701760"/>
              <a:gd name="connsiteY698" fmla="*/ 5610233 h 6407421"/>
              <a:gd name="connsiteX699" fmla="*/ 1300611 w 11701760"/>
              <a:gd name="connsiteY699" fmla="*/ 5610233 h 6407421"/>
              <a:gd name="connsiteX700" fmla="*/ 1034520 w 11701760"/>
              <a:gd name="connsiteY700" fmla="*/ 5580631 h 6407421"/>
              <a:gd name="connsiteX701" fmla="*/ 1064123 w 11701760"/>
              <a:gd name="connsiteY701" fmla="*/ 5580631 h 6407421"/>
              <a:gd name="connsiteX702" fmla="*/ 1064123 w 11701760"/>
              <a:gd name="connsiteY702" fmla="*/ 5610233 h 6407421"/>
              <a:gd name="connsiteX703" fmla="*/ 1034520 w 11701760"/>
              <a:gd name="connsiteY703" fmla="*/ 5610233 h 6407421"/>
              <a:gd name="connsiteX704" fmla="*/ 768328 w 11701760"/>
              <a:gd name="connsiteY704" fmla="*/ 5580631 h 6407421"/>
              <a:gd name="connsiteX705" fmla="*/ 797926 w 11701760"/>
              <a:gd name="connsiteY705" fmla="*/ 5580631 h 6407421"/>
              <a:gd name="connsiteX706" fmla="*/ 797926 w 11701760"/>
              <a:gd name="connsiteY706" fmla="*/ 5610233 h 6407421"/>
              <a:gd name="connsiteX707" fmla="*/ 768328 w 11701760"/>
              <a:gd name="connsiteY707" fmla="*/ 5610233 h 6407421"/>
              <a:gd name="connsiteX708" fmla="*/ 502237 w 11701760"/>
              <a:gd name="connsiteY708" fmla="*/ 5580631 h 6407421"/>
              <a:gd name="connsiteX709" fmla="*/ 531839 w 11701760"/>
              <a:gd name="connsiteY709" fmla="*/ 5580631 h 6407421"/>
              <a:gd name="connsiteX710" fmla="*/ 531839 w 11701760"/>
              <a:gd name="connsiteY710" fmla="*/ 5610233 h 6407421"/>
              <a:gd name="connsiteX711" fmla="*/ 502237 w 11701760"/>
              <a:gd name="connsiteY711" fmla="*/ 5610233 h 6407421"/>
              <a:gd name="connsiteX712" fmla="*/ 236038 w 11701760"/>
              <a:gd name="connsiteY712" fmla="*/ 5580631 h 6407421"/>
              <a:gd name="connsiteX713" fmla="*/ 265640 w 11701760"/>
              <a:gd name="connsiteY713" fmla="*/ 5580631 h 6407421"/>
              <a:gd name="connsiteX714" fmla="*/ 265640 w 11701760"/>
              <a:gd name="connsiteY714" fmla="*/ 5610233 h 6407421"/>
              <a:gd name="connsiteX715" fmla="*/ 236038 w 11701760"/>
              <a:gd name="connsiteY715" fmla="*/ 5610233 h 6407421"/>
              <a:gd name="connsiteX716" fmla="*/ 2 w 11701760"/>
              <a:gd name="connsiteY716" fmla="*/ 5580631 h 6407421"/>
              <a:gd name="connsiteX717" fmla="*/ 29604 w 11701760"/>
              <a:gd name="connsiteY717" fmla="*/ 5580631 h 6407421"/>
              <a:gd name="connsiteX718" fmla="*/ 29604 w 11701760"/>
              <a:gd name="connsiteY718" fmla="*/ 5610233 h 6407421"/>
              <a:gd name="connsiteX719" fmla="*/ 2 w 11701760"/>
              <a:gd name="connsiteY719" fmla="*/ 5610233 h 6407421"/>
              <a:gd name="connsiteX720" fmla="*/ 11672158 w 11701760"/>
              <a:gd name="connsiteY720" fmla="*/ 5314974 h 6407421"/>
              <a:gd name="connsiteX721" fmla="*/ 11701760 w 11701760"/>
              <a:gd name="connsiteY721" fmla="*/ 5314974 h 6407421"/>
              <a:gd name="connsiteX722" fmla="*/ 11701760 w 11701760"/>
              <a:gd name="connsiteY722" fmla="*/ 5344468 h 6407421"/>
              <a:gd name="connsiteX723" fmla="*/ 11672158 w 11701760"/>
              <a:gd name="connsiteY723" fmla="*/ 5344468 h 6407421"/>
              <a:gd name="connsiteX724" fmla="*/ 11405961 w 11701760"/>
              <a:gd name="connsiteY724" fmla="*/ 5314974 h 6407421"/>
              <a:gd name="connsiteX725" fmla="*/ 11435563 w 11701760"/>
              <a:gd name="connsiteY725" fmla="*/ 5314974 h 6407421"/>
              <a:gd name="connsiteX726" fmla="*/ 11435563 w 11701760"/>
              <a:gd name="connsiteY726" fmla="*/ 5344468 h 6407421"/>
              <a:gd name="connsiteX727" fmla="*/ 11405961 w 11701760"/>
              <a:gd name="connsiteY727" fmla="*/ 5344468 h 6407421"/>
              <a:gd name="connsiteX728" fmla="*/ 11139872 w 11701760"/>
              <a:gd name="connsiteY728" fmla="*/ 5314974 h 6407421"/>
              <a:gd name="connsiteX729" fmla="*/ 11169474 w 11701760"/>
              <a:gd name="connsiteY729" fmla="*/ 5314974 h 6407421"/>
              <a:gd name="connsiteX730" fmla="*/ 11169474 w 11701760"/>
              <a:gd name="connsiteY730" fmla="*/ 5344468 h 6407421"/>
              <a:gd name="connsiteX731" fmla="*/ 11139872 w 11701760"/>
              <a:gd name="connsiteY731" fmla="*/ 5344468 h 6407421"/>
              <a:gd name="connsiteX732" fmla="*/ 10873675 w 11701760"/>
              <a:gd name="connsiteY732" fmla="*/ 5314974 h 6407421"/>
              <a:gd name="connsiteX733" fmla="*/ 10903277 w 11701760"/>
              <a:gd name="connsiteY733" fmla="*/ 5314974 h 6407421"/>
              <a:gd name="connsiteX734" fmla="*/ 10903277 w 11701760"/>
              <a:gd name="connsiteY734" fmla="*/ 5344468 h 6407421"/>
              <a:gd name="connsiteX735" fmla="*/ 10873675 w 11701760"/>
              <a:gd name="connsiteY735" fmla="*/ 5344468 h 6407421"/>
              <a:gd name="connsiteX736" fmla="*/ 10607478 w 11701760"/>
              <a:gd name="connsiteY736" fmla="*/ 5314974 h 6407421"/>
              <a:gd name="connsiteX737" fmla="*/ 10637188 w 11701760"/>
              <a:gd name="connsiteY737" fmla="*/ 5314974 h 6407421"/>
              <a:gd name="connsiteX738" fmla="*/ 10637188 w 11701760"/>
              <a:gd name="connsiteY738" fmla="*/ 5344468 h 6407421"/>
              <a:gd name="connsiteX739" fmla="*/ 10607478 w 11701760"/>
              <a:gd name="connsiteY739" fmla="*/ 5344468 h 6407421"/>
              <a:gd name="connsiteX740" fmla="*/ 10341389 w 11701760"/>
              <a:gd name="connsiteY740" fmla="*/ 5314974 h 6407421"/>
              <a:gd name="connsiteX741" fmla="*/ 10370992 w 11701760"/>
              <a:gd name="connsiteY741" fmla="*/ 5314974 h 6407421"/>
              <a:gd name="connsiteX742" fmla="*/ 10370992 w 11701760"/>
              <a:gd name="connsiteY742" fmla="*/ 5344468 h 6407421"/>
              <a:gd name="connsiteX743" fmla="*/ 10341389 w 11701760"/>
              <a:gd name="connsiteY743" fmla="*/ 5344468 h 6407421"/>
              <a:gd name="connsiteX744" fmla="*/ 10075192 w 11701760"/>
              <a:gd name="connsiteY744" fmla="*/ 5314974 h 6407421"/>
              <a:gd name="connsiteX745" fmla="*/ 10104794 w 11701760"/>
              <a:gd name="connsiteY745" fmla="*/ 5314974 h 6407421"/>
              <a:gd name="connsiteX746" fmla="*/ 10104794 w 11701760"/>
              <a:gd name="connsiteY746" fmla="*/ 5344468 h 6407421"/>
              <a:gd name="connsiteX747" fmla="*/ 10075192 w 11701760"/>
              <a:gd name="connsiteY747" fmla="*/ 5344468 h 6407421"/>
              <a:gd name="connsiteX748" fmla="*/ 9809103 w 11701760"/>
              <a:gd name="connsiteY748" fmla="*/ 5314974 h 6407421"/>
              <a:gd name="connsiteX749" fmla="*/ 9838705 w 11701760"/>
              <a:gd name="connsiteY749" fmla="*/ 5314974 h 6407421"/>
              <a:gd name="connsiteX750" fmla="*/ 9838705 w 11701760"/>
              <a:gd name="connsiteY750" fmla="*/ 5344468 h 6407421"/>
              <a:gd name="connsiteX751" fmla="*/ 9809103 w 11701760"/>
              <a:gd name="connsiteY751" fmla="*/ 5344468 h 6407421"/>
              <a:gd name="connsiteX752" fmla="*/ 9542906 w 11701760"/>
              <a:gd name="connsiteY752" fmla="*/ 5314974 h 6407421"/>
              <a:gd name="connsiteX753" fmla="*/ 9572509 w 11701760"/>
              <a:gd name="connsiteY753" fmla="*/ 5314974 h 6407421"/>
              <a:gd name="connsiteX754" fmla="*/ 9572509 w 11701760"/>
              <a:gd name="connsiteY754" fmla="*/ 5344468 h 6407421"/>
              <a:gd name="connsiteX755" fmla="*/ 9542906 w 11701760"/>
              <a:gd name="connsiteY755" fmla="*/ 5344468 h 6407421"/>
              <a:gd name="connsiteX756" fmla="*/ 9276817 w 11701760"/>
              <a:gd name="connsiteY756" fmla="*/ 5314974 h 6407421"/>
              <a:gd name="connsiteX757" fmla="*/ 9306420 w 11701760"/>
              <a:gd name="connsiteY757" fmla="*/ 5314974 h 6407421"/>
              <a:gd name="connsiteX758" fmla="*/ 9306420 w 11701760"/>
              <a:gd name="connsiteY758" fmla="*/ 5344468 h 6407421"/>
              <a:gd name="connsiteX759" fmla="*/ 9276817 w 11701760"/>
              <a:gd name="connsiteY759" fmla="*/ 5344468 h 6407421"/>
              <a:gd name="connsiteX760" fmla="*/ 9010620 w 11701760"/>
              <a:gd name="connsiteY760" fmla="*/ 5314974 h 6407421"/>
              <a:gd name="connsiteX761" fmla="*/ 9040222 w 11701760"/>
              <a:gd name="connsiteY761" fmla="*/ 5314974 h 6407421"/>
              <a:gd name="connsiteX762" fmla="*/ 9040222 w 11701760"/>
              <a:gd name="connsiteY762" fmla="*/ 5344468 h 6407421"/>
              <a:gd name="connsiteX763" fmla="*/ 9010620 w 11701760"/>
              <a:gd name="connsiteY763" fmla="*/ 5344468 h 6407421"/>
              <a:gd name="connsiteX764" fmla="*/ 8744423 w 11701760"/>
              <a:gd name="connsiteY764" fmla="*/ 5314974 h 6407421"/>
              <a:gd name="connsiteX765" fmla="*/ 8774026 w 11701760"/>
              <a:gd name="connsiteY765" fmla="*/ 5314974 h 6407421"/>
              <a:gd name="connsiteX766" fmla="*/ 8774026 w 11701760"/>
              <a:gd name="connsiteY766" fmla="*/ 5344468 h 6407421"/>
              <a:gd name="connsiteX767" fmla="*/ 8744423 w 11701760"/>
              <a:gd name="connsiteY767" fmla="*/ 5344468 h 6407421"/>
              <a:gd name="connsiteX768" fmla="*/ 8478226 w 11701760"/>
              <a:gd name="connsiteY768" fmla="*/ 5314974 h 6407421"/>
              <a:gd name="connsiteX769" fmla="*/ 8507828 w 11701760"/>
              <a:gd name="connsiteY769" fmla="*/ 5314974 h 6407421"/>
              <a:gd name="connsiteX770" fmla="*/ 8507828 w 11701760"/>
              <a:gd name="connsiteY770" fmla="*/ 5344468 h 6407421"/>
              <a:gd name="connsiteX771" fmla="*/ 8478226 w 11701760"/>
              <a:gd name="connsiteY771" fmla="*/ 5344468 h 6407421"/>
              <a:gd name="connsiteX772" fmla="*/ 8212137 w 11701760"/>
              <a:gd name="connsiteY772" fmla="*/ 5314974 h 6407421"/>
              <a:gd name="connsiteX773" fmla="*/ 8241740 w 11701760"/>
              <a:gd name="connsiteY773" fmla="*/ 5314974 h 6407421"/>
              <a:gd name="connsiteX774" fmla="*/ 8241740 w 11701760"/>
              <a:gd name="connsiteY774" fmla="*/ 5344468 h 6407421"/>
              <a:gd name="connsiteX775" fmla="*/ 8212137 w 11701760"/>
              <a:gd name="connsiteY775" fmla="*/ 5344468 h 6407421"/>
              <a:gd name="connsiteX776" fmla="*/ 7945940 w 11701760"/>
              <a:gd name="connsiteY776" fmla="*/ 5314974 h 6407421"/>
              <a:gd name="connsiteX777" fmla="*/ 7975543 w 11701760"/>
              <a:gd name="connsiteY777" fmla="*/ 5314974 h 6407421"/>
              <a:gd name="connsiteX778" fmla="*/ 7975543 w 11701760"/>
              <a:gd name="connsiteY778" fmla="*/ 5344468 h 6407421"/>
              <a:gd name="connsiteX779" fmla="*/ 7945940 w 11701760"/>
              <a:gd name="connsiteY779" fmla="*/ 5344468 h 6407421"/>
              <a:gd name="connsiteX780" fmla="*/ 7679743 w 11701760"/>
              <a:gd name="connsiteY780" fmla="*/ 5314974 h 6407421"/>
              <a:gd name="connsiteX781" fmla="*/ 7709346 w 11701760"/>
              <a:gd name="connsiteY781" fmla="*/ 5314974 h 6407421"/>
              <a:gd name="connsiteX782" fmla="*/ 7709346 w 11701760"/>
              <a:gd name="connsiteY782" fmla="*/ 5344468 h 6407421"/>
              <a:gd name="connsiteX783" fmla="*/ 7679743 w 11701760"/>
              <a:gd name="connsiteY783" fmla="*/ 5344468 h 6407421"/>
              <a:gd name="connsiteX784" fmla="*/ 7413653 w 11701760"/>
              <a:gd name="connsiteY784" fmla="*/ 5314974 h 6407421"/>
              <a:gd name="connsiteX785" fmla="*/ 7443256 w 11701760"/>
              <a:gd name="connsiteY785" fmla="*/ 5314974 h 6407421"/>
              <a:gd name="connsiteX786" fmla="*/ 7443256 w 11701760"/>
              <a:gd name="connsiteY786" fmla="*/ 5344468 h 6407421"/>
              <a:gd name="connsiteX787" fmla="*/ 7413653 w 11701760"/>
              <a:gd name="connsiteY787" fmla="*/ 5344468 h 6407421"/>
              <a:gd name="connsiteX788" fmla="*/ 7147456 w 11701760"/>
              <a:gd name="connsiteY788" fmla="*/ 5314974 h 6407421"/>
              <a:gd name="connsiteX789" fmla="*/ 7177058 w 11701760"/>
              <a:gd name="connsiteY789" fmla="*/ 5314974 h 6407421"/>
              <a:gd name="connsiteX790" fmla="*/ 7177058 w 11701760"/>
              <a:gd name="connsiteY790" fmla="*/ 5344468 h 6407421"/>
              <a:gd name="connsiteX791" fmla="*/ 7147456 w 11701760"/>
              <a:gd name="connsiteY791" fmla="*/ 5344468 h 6407421"/>
              <a:gd name="connsiteX792" fmla="*/ 6881367 w 11701760"/>
              <a:gd name="connsiteY792" fmla="*/ 5314974 h 6407421"/>
              <a:gd name="connsiteX793" fmla="*/ 6910970 w 11701760"/>
              <a:gd name="connsiteY793" fmla="*/ 5314974 h 6407421"/>
              <a:gd name="connsiteX794" fmla="*/ 6910970 w 11701760"/>
              <a:gd name="connsiteY794" fmla="*/ 5344468 h 6407421"/>
              <a:gd name="connsiteX795" fmla="*/ 6881367 w 11701760"/>
              <a:gd name="connsiteY795" fmla="*/ 5344468 h 6407421"/>
              <a:gd name="connsiteX796" fmla="*/ 6615170 w 11701760"/>
              <a:gd name="connsiteY796" fmla="*/ 5314974 h 6407421"/>
              <a:gd name="connsiteX797" fmla="*/ 6644773 w 11701760"/>
              <a:gd name="connsiteY797" fmla="*/ 5314974 h 6407421"/>
              <a:gd name="connsiteX798" fmla="*/ 6644773 w 11701760"/>
              <a:gd name="connsiteY798" fmla="*/ 5344468 h 6407421"/>
              <a:gd name="connsiteX799" fmla="*/ 6615170 w 11701760"/>
              <a:gd name="connsiteY799" fmla="*/ 5344468 h 6407421"/>
              <a:gd name="connsiteX800" fmla="*/ 6349081 w 11701760"/>
              <a:gd name="connsiteY800" fmla="*/ 5314974 h 6407421"/>
              <a:gd name="connsiteX801" fmla="*/ 6378683 w 11701760"/>
              <a:gd name="connsiteY801" fmla="*/ 5314974 h 6407421"/>
              <a:gd name="connsiteX802" fmla="*/ 6378683 w 11701760"/>
              <a:gd name="connsiteY802" fmla="*/ 5344468 h 6407421"/>
              <a:gd name="connsiteX803" fmla="*/ 6349081 w 11701760"/>
              <a:gd name="connsiteY803" fmla="*/ 5344468 h 6407421"/>
              <a:gd name="connsiteX804" fmla="*/ 6082884 w 11701760"/>
              <a:gd name="connsiteY804" fmla="*/ 5314974 h 6407421"/>
              <a:gd name="connsiteX805" fmla="*/ 6112486 w 11701760"/>
              <a:gd name="connsiteY805" fmla="*/ 5314974 h 6407421"/>
              <a:gd name="connsiteX806" fmla="*/ 6112486 w 11701760"/>
              <a:gd name="connsiteY806" fmla="*/ 5344468 h 6407421"/>
              <a:gd name="connsiteX807" fmla="*/ 6082884 w 11701760"/>
              <a:gd name="connsiteY807" fmla="*/ 5344468 h 6407421"/>
              <a:gd name="connsiteX808" fmla="*/ 5825310 w 11701760"/>
              <a:gd name="connsiteY808" fmla="*/ 5314974 h 6407421"/>
              <a:gd name="connsiteX809" fmla="*/ 5854913 w 11701760"/>
              <a:gd name="connsiteY809" fmla="*/ 5314974 h 6407421"/>
              <a:gd name="connsiteX810" fmla="*/ 5854913 w 11701760"/>
              <a:gd name="connsiteY810" fmla="*/ 5344468 h 6407421"/>
              <a:gd name="connsiteX811" fmla="*/ 5825310 w 11701760"/>
              <a:gd name="connsiteY811" fmla="*/ 5344468 h 6407421"/>
              <a:gd name="connsiteX812" fmla="*/ 5559113 w 11701760"/>
              <a:gd name="connsiteY812" fmla="*/ 5314974 h 6407421"/>
              <a:gd name="connsiteX813" fmla="*/ 5588715 w 11701760"/>
              <a:gd name="connsiteY813" fmla="*/ 5314974 h 6407421"/>
              <a:gd name="connsiteX814" fmla="*/ 5588715 w 11701760"/>
              <a:gd name="connsiteY814" fmla="*/ 5344468 h 6407421"/>
              <a:gd name="connsiteX815" fmla="*/ 5559113 w 11701760"/>
              <a:gd name="connsiteY815" fmla="*/ 5344468 h 6407421"/>
              <a:gd name="connsiteX816" fmla="*/ 5293024 w 11701760"/>
              <a:gd name="connsiteY816" fmla="*/ 5314974 h 6407421"/>
              <a:gd name="connsiteX817" fmla="*/ 5322626 w 11701760"/>
              <a:gd name="connsiteY817" fmla="*/ 5314974 h 6407421"/>
              <a:gd name="connsiteX818" fmla="*/ 5322626 w 11701760"/>
              <a:gd name="connsiteY818" fmla="*/ 5344468 h 6407421"/>
              <a:gd name="connsiteX819" fmla="*/ 5293024 w 11701760"/>
              <a:gd name="connsiteY819" fmla="*/ 5344468 h 6407421"/>
              <a:gd name="connsiteX820" fmla="*/ 5026827 w 11701760"/>
              <a:gd name="connsiteY820" fmla="*/ 5314974 h 6407421"/>
              <a:gd name="connsiteX821" fmla="*/ 5056429 w 11701760"/>
              <a:gd name="connsiteY821" fmla="*/ 5314974 h 6407421"/>
              <a:gd name="connsiteX822" fmla="*/ 5056429 w 11701760"/>
              <a:gd name="connsiteY822" fmla="*/ 5344468 h 6407421"/>
              <a:gd name="connsiteX823" fmla="*/ 5026827 w 11701760"/>
              <a:gd name="connsiteY823" fmla="*/ 5344468 h 6407421"/>
              <a:gd name="connsiteX824" fmla="*/ 4760630 w 11701760"/>
              <a:gd name="connsiteY824" fmla="*/ 5314974 h 6407421"/>
              <a:gd name="connsiteX825" fmla="*/ 4790340 w 11701760"/>
              <a:gd name="connsiteY825" fmla="*/ 5314974 h 6407421"/>
              <a:gd name="connsiteX826" fmla="*/ 4790340 w 11701760"/>
              <a:gd name="connsiteY826" fmla="*/ 5344468 h 6407421"/>
              <a:gd name="connsiteX827" fmla="*/ 4760630 w 11701760"/>
              <a:gd name="connsiteY827" fmla="*/ 5344468 h 6407421"/>
              <a:gd name="connsiteX828" fmla="*/ 4494541 w 11701760"/>
              <a:gd name="connsiteY828" fmla="*/ 5314974 h 6407421"/>
              <a:gd name="connsiteX829" fmla="*/ 4524144 w 11701760"/>
              <a:gd name="connsiteY829" fmla="*/ 5314974 h 6407421"/>
              <a:gd name="connsiteX830" fmla="*/ 4524144 w 11701760"/>
              <a:gd name="connsiteY830" fmla="*/ 5344468 h 6407421"/>
              <a:gd name="connsiteX831" fmla="*/ 4494541 w 11701760"/>
              <a:gd name="connsiteY831" fmla="*/ 5344468 h 6407421"/>
              <a:gd name="connsiteX832" fmla="*/ 4228344 w 11701760"/>
              <a:gd name="connsiteY832" fmla="*/ 5314974 h 6407421"/>
              <a:gd name="connsiteX833" fmla="*/ 4257946 w 11701760"/>
              <a:gd name="connsiteY833" fmla="*/ 5314974 h 6407421"/>
              <a:gd name="connsiteX834" fmla="*/ 4257946 w 11701760"/>
              <a:gd name="connsiteY834" fmla="*/ 5344468 h 6407421"/>
              <a:gd name="connsiteX835" fmla="*/ 4228344 w 11701760"/>
              <a:gd name="connsiteY835" fmla="*/ 5344468 h 6407421"/>
              <a:gd name="connsiteX836" fmla="*/ 3962255 w 11701760"/>
              <a:gd name="connsiteY836" fmla="*/ 5314974 h 6407421"/>
              <a:gd name="connsiteX837" fmla="*/ 3991857 w 11701760"/>
              <a:gd name="connsiteY837" fmla="*/ 5314974 h 6407421"/>
              <a:gd name="connsiteX838" fmla="*/ 3991857 w 11701760"/>
              <a:gd name="connsiteY838" fmla="*/ 5344468 h 6407421"/>
              <a:gd name="connsiteX839" fmla="*/ 3962255 w 11701760"/>
              <a:gd name="connsiteY839" fmla="*/ 5344468 h 6407421"/>
              <a:gd name="connsiteX840" fmla="*/ 3696058 w 11701760"/>
              <a:gd name="connsiteY840" fmla="*/ 5314974 h 6407421"/>
              <a:gd name="connsiteX841" fmla="*/ 3725661 w 11701760"/>
              <a:gd name="connsiteY841" fmla="*/ 5314974 h 6407421"/>
              <a:gd name="connsiteX842" fmla="*/ 3725661 w 11701760"/>
              <a:gd name="connsiteY842" fmla="*/ 5344468 h 6407421"/>
              <a:gd name="connsiteX843" fmla="*/ 3696058 w 11701760"/>
              <a:gd name="connsiteY843" fmla="*/ 5344468 h 6407421"/>
              <a:gd name="connsiteX844" fmla="*/ 3429969 w 11701760"/>
              <a:gd name="connsiteY844" fmla="*/ 5314974 h 6407421"/>
              <a:gd name="connsiteX845" fmla="*/ 3459572 w 11701760"/>
              <a:gd name="connsiteY845" fmla="*/ 5314974 h 6407421"/>
              <a:gd name="connsiteX846" fmla="*/ 3459572 w 11701760"/>
              <a:gd name="connsiteY846" fmla="*/ 5344468 h 6407421"/>
              <a:gd name="connsiteX847" fmla="*/ 3429969 w 11701760"/>
              <a:gd name="connsiteY847" fmla="*/ 5344468 h 6407421"/>
              <a:gd name="connsiteX848" fmla="*/ 3163772 w 11701760"/>
              <a:gd name="connsiteY848" fmla="*/ 5314974 h 6407421"/>
              <a:gd name="connsiteX849" fmla="*/ 3193374 w 11701760"/>
              <a:gd name="connsiteY849" fmla="*/ 5314974 h 6407421"/>
              <a:gd name="connsiteX850" fmla="*/ 3193374 w 11701760"/>
              <a:gd name="connsiteY850" fmla="*/ 5344468 h 6407421"/>
              <a:gd name="connsiteX851" fmla="*/ 3163772 w 11701760"/>
              <a:gd name="connsiteY851" fmla="*/ 5344468 h 6407421"/>
              <a:gd name="connsiteX852" fmla="*/ 2897575 w 11701760"/>
              <a:gd name="connsiteY852" fmla="*/ 5314974 h 6407421"/>
              <a:gd name="connsiteX853" fmla="*/ 2927178 w 11701760"/>
              <a:gd name="connsiteY853" fmla="*/ 5314974 h 6407421"/>
              <a:gd name="connsiteX854" fmla="*/ 2927178 w 11701760"/>
              <a:gd name="connsiteY854" fmla="*/ 5344468 h 6407421"/>
              <a:gd name="connsiteX855" fmla="*/ 2897575 w 11701760"/>
              <a:gd name="connsiteY855" fmla="*/ 5344468 h 6407421"/>
              <a:gd name="connsiteX856" fmla="*/ 2631378 w 11701760"/>
              <a:gd name="connsiteY856" fmla="*/ 5314974 h 6407421"/>
              <a:gd name="connsiteX857" fmla="*/ 2660980 w 11701760"/>
              <a:gd name="connsiteY857" fmla="*/ 5314974 h 6407421"/>
              <a:gd name="connsiteX858" fmla="*/ 2660980 w 11701760"/>
              <a:gd name="connsiteY858" fmla="*/ 5344468 h 6407421"/>
              <a:gd name="connsiteX859" fmla="*/ 2631378 w 11701760"/>
              <a:gd name="connsiteY859" fmla="*/ 5344468 h 6407421"/>
              <a:gd name="connsiteX860" fmla="*/ 2365289 w 11701760"/>
              <a:gd name="connsiteY860" fmla="*/ 5314974 h 6407421"/>
              <a:gd name="connsiteX861" fmla="*/ 2394892 w 11701760"/>
              <a:gd name="connsiteY861" fmla="*/ 5314974 h 6407421"/>
              <a:gd name="connsiteX862" fmla="*/ 2394892 w 11701760"/>
              <a:gd name="connsiteY862" fmla="*/ 5344468 h 6407421"/>
              <a:gd name="connsiteX863" fmla="*/ 2365289 w 11701760"/>
              <a:gd name="connsiteY863" fmla="*/ 5344468 h 6407421"/>
              <a:gd name="connsiteX864" fmla="*/ 2099092 w 11701760"/>
              <a:gd name="connsiteY864" fmla="*/ 5314974 h 6407421"/>
              <a:gd name="connsiteX865" fmla="*/ 2128695 w 11701760"/>
              <a:gd name="connsiteY865" fmla="*/ 5314974 h 6407421"/>
              <a:gd name="connsiteX866" fmla="*/ 2128695 w 11701760"/>
              <a:gd name="connsiteY866" fmla="*/ 5344468 h 6407421"/>
              <a:gd name="connsiteX867" fmla="*/ 2099092 w 11701760"/>
              <a:gd name="connsiteY867" fmla="*/ 5344468 h 6407421"/>
              <a:gd name="connsiteX868" fmla="*/ 1832898 w 11701760"/>
              <a:gd name="connsiteY868" fmla="*/ 5314974 h 6407421"/>
              <a:gd name="connsiteX869" fmla="*/ 1862498 w 11701760"/>
              <a:gd name="connsiteY869" fmla="*/ 5314974 h 6407421"/>
              <a:gd name="connsiteX870" fmla="*/ 1862498 w 11701760"/>
              <a:gd name="connsiteY870" fmla="*/ 5344468 h 6407421"/>
              <a:gd name="connsiteX871" fmla="*/ 1832898 w 11701760"/>
              <a:gd name="connsiteY871" fmla="*/ 5344468 h 6407421"/>
              <a:gd name="connsiteX872" fmla="*/ 1566808 w 11701760"/>
              <a:gd name="connsiteY872" fmla="*/ 5314974 h 6407421"/>
              <a:gd name="connsiteX873" fmla="*/ 1596409 w 11701760"/>
              <a:gd name="connsiteY873" fmla="*/ 5314974 h 6407421"/>
              <a:gd name="connsiteX874" fmla="*/ 1596409 w 11701760"/>
              <a:gd name="connsiteY874" fmla="*/ 5344468 h 6407421"/>
              <a:gd name="connsiteX875" fmla="*/ 1566808 w 11701760"/>
              <a:gd name="connsiteY875" fmla="*/ 5344468 h 6407421"/>
              <a:gd name="connsiteX876" fmla="*/ 1300611 w 11701760"/>
              <a:gd name="connsiteY876" fmla="*/ 5314974 h 6407421"/>
              <a:gd name="connsiteX877" fmla="*/ 1330213 w 11701760"/>
              <a:gd name="connsiteY877" fmla="*/ 5314974 h 6407421"/>
              <a:gd name="connsiteX878" fmla="*/ 1330213 w 11701760"/>
              <a:gd name="connsiteY878" fmla="*/ 5344468 h 6407421"/>
              <a:gd name="connsiteX879" fmla="*/ 1300611 w 11701760"/>
              <a:gd name="connsiteY879" fmla="*/ 5344468 h 6407421"/>
              <a:gd name="connsiteX880" fmla="*/ 1034520 w 11701760"/>
              <a:gd name="connsiteY880" fmla="*/ 5314974 h 6407421"/>
              <a:gd name="connsiteX881" fmla="*/ 1064123 w 11701760"/>
              <a:gd name="connsiteY881" fmla="*/ 5314974 h 6407421"/>
              <a:gd name="connsiteX882" fmla="*/ 1064123 w 11701760"/>
              <a:gd name="connsiteY882" fmla="*/ 5344468 h 6407421"/>
              <a:gd name="connsiteX883" fmla="*/ 1034520 w 11701760"/>
              <a:gd name="connsiteY883" fmla="*/ 5344468 h 6407421"/>
              <a:gd name="connsiteX884" fmla="*/ 768328 w 11701760"/>
              <a:gd name="connsiteY884" fmla="*/ 5314974 h 6407421"/>
              <a:gd name="connsiteX885" fmla="*/ 797926 w 11701760"/>
              <a:gd name="connsiteY885" fmla="*/ 5314974 h 6407421"/>
              <a:gd name="connsiteX886" fmla="*/ 797926 w 11701760"/>
              <a:gd name="connsiteY886" fmla="*/ 5344468 h 6407421"/>
              <a:gd name="connsiteX887" fmla="*/ 768328 w 11701760"/>
              <a:gd name="connsiteY887" fmla="*/ 5344468 h 6407421"/>
              <a:gd name="connsiteX888" fmla="*/ 502237 w 11701760"/>
              <a:gd name="connsiteY888" fmla="*/ 5314974 h 6407421"/>
              <a:gd name="connsiteX889" fmla="*/ 531839 w 11701760"/>
              <a:gd name="connsiteY889" fmla="*/ 5314974 h 6407421"/>
              <a:gd name="connsiteX890" fmla="*/ 531839 w 11701760"/>
              <a:gd name="connsiteY890" fmla="*/ 5344468 h 6407421"/>
              <a:gd name="connsiteX891" fmla="*/ 502237 w 11701760"/>
              <a:gd name="connsiteY891" fmla="*/ 5344468 h 6407421"/>
              <a:gd name="connsiteX892" fmla="*/ 236038 w 11701760"/>
              <a:gd name="connsiteY892" fmla="*/ 5314974 h 6407421"/>
              <a:gd name="connsiteX893" fmla="*/ 265640 w 11701760"/>
              <a:gd name="connsiteY893" fmla="*/ 5314974 h 6407421"/>
              <a:gd name="connsiteX894" fmla="*/ 265640 w 11701760"/>
              <a:gd name="connsiteY894" fmla="*/ 5344468 h 6407421"/>
              <a:gd name="connsiteX895" fmla="*/ 236038 w 11701760"/>
              <a:gd name="connsiteY895" fmla="*/ 5344468 h 6407421"/>
              <a:gd name="connsiteX896" fmla="*/ 2 w 11701760"/>
              <a:gd name="connsiteY896" fmla="*/ 5314974 h 6407421"/>
              <a:gd name="connsiteX897" fmla="*/ 29604 w 11701760"/>
              <a:gd name="connsiteY897" fmla="*/ 5314974 h 6407421"/>
              <a:gd name="connsiteX898" fmla="*/ 29604 w 11701760"/>
              <a:gd name="connsiteY898" fmla="*/ 5344468 h 6407421"/>
              <a:gd name="connsiteX899" fmla="*/ 2 w 11701760"/>
              <a:gd name="connsiteY899" fmla="*/ 5344468 h 6407421"/>
              <a:gd name="connsiteX900" fmla="*/ 11672158 w 11701760"/>
              <a:gd name="connsiteY900" fmla="*/ 5049209 h 6407421"/>
              <a:gd name="connsiteX901" fmla="*/ 11701760 w 11701760"/>
              <a:gd name="connsiteY901" fmla="*/ 5049209 h 6407421"/>
              <a:gd name="connsiteX902" fmla="*/ 11701760 w 11701760"/>
              <a:gd name="connsiteY902" fmla="*/ 5078812 h 6407421"/>
              <a:gd name="connsiteX903" fmla="*/ 11672158 w 11701760"/>
              <a:gd name="connsiteY903" fmla="*/ 5078812 h 6407421"/>
              <a:gd name="connsiteX904" fmla="*/ 11405961 w 11701760"/>
              <a:gd name="connsiteY904" fmla="*/ 5049209 h 6407421"/>
              <a:gd name="connsiteX905" fmla="*/ 11435563 w 11701760"/>
              <a:gd name="connsiteY905" fmla="*/ 5049209 h 6407421"/>
              <a:gd name="connsiteX906" fmla="*/ 11435563 w 11701760"/>
              <a:gd name="connsiteY906" fmla="*/ 5078812 h 6407421"/>
              <a:gd name="connsiteX907" fmla="*/ 11405961 w 11701760"/>
              <a:gd name="connsiteY907" fmla="*/ 5078812 h 6407421"/>
              <a:gd name="connsiteX908" fmla="*/ 11139872 w 11701760"/>
              <a:gd name="connsiteY908" fmla="*/ 5049209 h 6407421"/>
              <a:gd name="connsiteX909" fmla="*/ 11169474 w 11701760"/>
              <a:gd name="connsiteY909" fmla="*/ 5049209 h 6407421"/>
              <a:gd name="connsiteX910" fmla="*/ 11169474 w 11701760"/>
              <a:gd name="connsiteY910" fmla="*/ 5078812 h 6407421"/>
              <a:gd name="connsiteX911" fmla="*/ 11139872 w 11701760"/>
              <a:gd name="connsiteY911" fmla="*/ 5078812 h 6407421"/>
              <a:gd name="connsiteX912" fmla="*/ 10873675 w 11701760"/>
              <a:gd name="connsiteY912" fmla="*/ 5049209 h 6407421"/>
              <a:gd name="connsiteX913" fmla="*/ 10903277 w 11701760"/>
              <a:gd name="connsiteY913" fmla="*/ 5049209 h 6407421"/>
              <a:gd name="connsiteX914" fmla="*/ 10903277 w 11701760"/>
              <a:gd name="connsiteY914" fmla="*/ 5078812 h 6407421"/>
              <a:gd name="connsiteX915" fmla="*/ 10873675 w 11701760"/>
              <a:gd name="connsiteY915" fmla="*/ 5078812 h 6407421"/>
              <a:gd name="connsiteX916" fmla="*/ 10607478 w 11701760"/>
              <a:gd name="connsiteY916" fmla="*/ 5049209 h 6407421"/>
              <a:gd name="connsiteX917" fmla="*/ 10637188 w 11701760"/>
              <a:gd name="connsiteY917" fmla="*/ 5049209 h 6407421"/>
              <a:gd name="connsiteX918" fmla="*/ 10637188 w 11701760"/>
              <a:gd name="connsiteY918" fmla="*/ 5078812 h 6407421"/>
              <a:gd name="connsiteX919" fmla="*/ 10607478 w 11701760"/>
              <a:gd name="connsiteY919" fmla="*/ 5078812 h 6407421"/>
              <a:gd name="connsiteX920" fmla="*/ 10341389 w 11701760"/>
              <a:gd name="connsiteY920" fmla="*/ 5049209 h 6407421"/>
              <a:gd name="connsiteX921" fmla="*/ 10370992 w 11701760"/>
              <a:gd name="connsiteY921" fmla="*/ 5049209 h 6407421"/>
              <a:gd name="connsiteX922" fmla="*/ 10370992 w 11701760"/>
              <a:gd name="connsiteY922" fmla="*/ 5078812 h 6407421"/>
              <a:gd name="connsiteX923" fmla="*/ 10341389 w 11701760"/>
              <a:gd name="connsiteY923" fmla="*/ 5078812 h 6407421"/>
              <a:gd name="connsiteX924" fmla="*/ 10075192 w 11701760"/>
              <a:gd name="connsiteY924" fmla="*/ 5049209 h 6407421"/>
              <a:gd name="connsiteX925" fmla="*/ 10104794 w 11701760"/>
              <a:gd name="connsiteY925" fmla="*/ 5049209 h 6407421"/>
              <a:gd name="connsiteX926" fmla="*/ 10104794 w 11701760"/>
              <a:gd name="connsiteY926" fmla="*/ 5078812 h 6407421"/>
              <a:gd name="connsiteX927" fmla="*/ 10075192 w 11701760"/>
              <a:gd name="connsiteY927" fmla="*/ 5078812 h 6407421"/>
              <a:gd name="connsiteX928" fmla="*/ 9809103 w 11701760"/>
              <a:gd name="connsiteY928" fmla="*/ 5049209 h 6407421"/>
              <a:gd name="connsiteX929" fmla="*/ 9838705 w 11701760"/>
              <a:gd name="connsiteY929" fmla="*/ 5049209 h 6407421"/>
              <a:gd name="connsiteX930" fmla="*/ 9838705 w 11701760"/>
              <a:gd name="connsiteY930" fmla="*/ 5078812 h 6407421"/>
              <a:gd name="connsiteX931" fmla="*/ 9809103 w 11701760"/>
              <a:gd name="connsiteY931" fmla="*/ 5078812 h 6407421"/>
              <a:gd name="connsiteX932" fmla="*/ 9542906 w 11701760"/>
              <a:gd name="connsiteY932" fmla="*/ 5049209 h 6407421"/>
              <a:gd name="connsiteX933" fmla="*/ 9572509 w 11701760"/>
              <a:gd name="connsiteY933" fmla="*/ 5049209 h 6407421"/>
              <a:gd name="connsiteX934" fmla="*/ 9572509 w 11701760"/>
              <a:gd name="connsiteY934" fmla="*/ 5078812 h 6407421"/>
              <a:gd name="connsiteX935" fmla="*/ 9542906 w 11701760"/>
              <a:gd name="connsiteY935" fmla="*/ 5078812 h 6407421"/>
              <a:gd name="connsiteX936" fmla="*/ 9276817 w 11701760"/>
              <a:gd name="connsiteY936" fmla="*/ 5049209 h 6407421"/>
              <a:gd name="connsiteX937" fmla="*/ 9306420 w 11701760"/>
              <a:gd name="connsiteY937" fmla="*/ 5049209 h 6407421"/>
              <a:gd name="connsiteX938" fmla="*/ 9306420 w 11701760"/>
              <a:gd name="connsiteY938" fmla="*/ 5078812 h 6407421"/>
              <a:gd name="connsiteX939" fmla="*/ 9276817 w 11701760"/>
              <a:gd name="connsiteY939" fmla="*/ 5078812 h 6407421"/>
              <a:gd name="connsiteX940" fmla="*/ 9010620 w 11701760"/>
              <a:gd name="connsiteY940" fmla="*/ 5049209 h 6407421"/>
              <a:gd name="connsiteX941" fmla="*/ 9040222 w 11701760"/>
              <a:gd name="connsiteY941" fmla="*/ 5049209 h 6407421"/>
              <a:gd name="connsiteX942" fmla="*/ 9040222 w 11701760"/>
              <a:gd name="connsiteY942" fmla="*/ 5078812 h 6407421"/>
              <a:gd name="connsiteX943" fmla="*/ 9010620 w 11701760"/>
              <a:gd name="connsiteY943" fmla="*/ 5078812 h 6407421"/>
              <a:gd name="connsiteX944" fmla="*/ 8744423 w 11701760"/>
              <a:gd name="connsiteY944" fmla="*/ 5049209 h 6407421"/>
              <a:gd name="connsiteX945" fmla="*/ 8774026 w 11701760"/>
              <a:gd name="connsiteY945" fmla="*/ 5049209 h 6407421"/>
              <a:gd name="connsiteX946" fmla="*/ 8774026 w 11701760"/>
              <a:gd name="connsiteY946" fmla="*/ 5078812 h 6407421"/>
              <a:gd name="connsiteX947" fmla="*/ 8744423 w 11701760"/>
              <a:gd name="connsiteY947" fmla="*/ 5078812 h 6407421"/>
              <a:gd name="connsiteX948" fmla="*/ 8478226 w 11701760"/>
              <a:gd name="connsiteY948" fmla="*/ 5049209 h 6407421"/>
              <a:gd name="connsiteX949" fmla="*/ 8507828 w 11701760"/>
              <a:gd name="connsiteY949" fmla="*/ 5049209 h 6407421"/>
              <a:gd name="connsiteX950" fmla="*/ 8507828 w 11701760"/>
              <a:gd name="connsiteY950" fmla="*/ 5078812 h 6407421"/>
              <a:gd name="connsiteX951" fmla="*/ 8478226 w 11701760"/>
              <a:gd name="connsiteY951" fmla="*/ 5078812 h 6407421"/>
              <a:gd name="connsiteX952" fmla="*/ 8212137 w 11701760"/>
              <a:gd name="connsiteY952" fmla="*/ 5049209 h 6407421"/>
              <a:gd name="connsiteX953" fmla="*/ 8241740 w 11701760"/>
              <a:gd name="connsiteY953" fmla="*/ 5049209 h 6407421"/>
              <a:gd name="connsiteX954" fmla="*/ 8241740 w 11701760"/>
              <a:gd name="connsiteY954" fmla="*/ 5078812 h 6407421"/>
              <a:gd name="connsiteX955" fmla="*/ 8212137 w 11701760"/>
              <a:gd name="connsiteY955" fmla="*/ 5078812 h 6407421"/>
              <a:gd name="connsiteX956" fmla="*/ 7945940 w 11701760"/>
              <a:gd name="connsiteY956" fmla="*/ 5049209 h 6407421"/>
              <a:gd name="connsiteX957" fmla="*/ 7975543 w 11701760"/>
              <a:gd name="connsiteY957" fmla="*/ 5049209 h 6407421"/>
              <a:gd name="connsiteX958" fmla="*/ 7975543 w 11701760"/>
              <a:gd name="connsiteY958" fmla="*/ 5078812 h 6407421"/>
              <a:gd name="connsiteX959" fmla="*/ 7945940 w 11701760"/>
              <a:gd name="connsiteY959" fmla="*/ 5078812 h 6407421"/>
              <a:gd name="connsiteX960" fmla="*/ 7679743 w 11701760"/>
              <a:gd name="connsiteY960" fmla="*/ 5049209 h 6407421"/>
              <a:gd name="connsiteX961" fmla="*/ 7709346 w 11701760"/>
              <a:gd name="connsiteY961" fmla="*/ 5049209 h 6407421"/>
              <a:gd name="connsiteX962" fmla="*/ 7709346 w 11701760"/>
              <a:gd name="connsiteY962" fmla="*/ 5078812 h 6407421"/>
              <a:gd name="connsiteX963" fmla="*/ 7679743 w 11701760"/>
              <a:gd name="connsiteY963" fmla="*/ 5078812 h 6407421"/>
              <a:gd name="connsiteX964" fmla="*/ 7413653 w 11701760"/>
              <a:gd name="connsiteY964" fmla="*/ 5049209 h 6407421"/>
              <a:gd name="connsiteX965" fmla="*/ 7443256 w 11701760"/>
              <a:gd name="connsiteY965" fmla="*/ 5049209 h 6407421"/>
              <a:gd name="connsiteX966" fmla="*/ 7443256 w 11701760"/>
              <a:gd name="connsiteY966" fmla="*/ 5078812 h 6407421"/>
              <a:gd name="connsiteX967" fmla="*/ 7413653 w 11701760"/>
              <a:gd name="connsiteY967" fmla="*/ 5078812 h 6407421"/>
              <a:gd name="connsiteX968" fmla="*/ 7147456 w 11701760"/>
              <a:gd name="connsiteY968" fmla="*/ 5049209 h 6407421"/>
              <a:gd name="connsiteX969" fmla="*/ 7177058 w 11701760"/>
              <a:gd name="connsiteY969" fmla="*/ 5049209 h 6407421"/>
              <a:gd name="connsiteX970" fmla="*/ 7177058 w 11701760"/>
              <a:gd name="connsiteY970" fmla="*/ 5078812 h 6407421"/>
              <a:gd name="connsiteX971" fmla="*/ 7147456 w 11701760"/>
              <a:gd name="connsiteY971" fmla="*/ 5078812 h 6407421"/>
              <a:gd name="connsiteX972" fmla="*/ 6881367 w 11701760"/>
              <a:gd name="connsiteY972" fmla="*/ 5049209 h 6407421"/>
              <a:gd name="connsiteX973" fmla="*/ 6910970 w 11701760"/>
              <a:gd name="connsiteY973" fmla="*/ 5049209 h 6407421"/>
              <a:gd name="connsiteX974" fmla="*/ 6910970 w 11701760"/>
              <a:gd name="connsiteY974" fmla="*/ 5078812 h 6407421"/>
              <a:gd name="connsiteX975" fmla="*/ 6881367 w 11701760"/>
              <a:gd name="connsiteY975" fmla="*/ 5078812 h 6407421"/>
              <a:gd name="connsiteX976" fmla="*/ 6615170 w 11701760"/>
              <a:gd name="connsiteY976" fmla="*/ 5049209 h 6407421"/>
              <a:gd name="connsiteX977" fmla="*/ 6644773 w 11701760"/>
              <a:gd name="connsiteY977" fmla="*/ 5049209 h 6407421"/>
              <a:gd name="connsiteX978" fmla="*/ 6644773 w 11701760"/>
              <a:gd name="connsiteY978" fmla="*/ 5078812 h 6407421"/>
              <a:gd name="connsiteX979" fmla="*/ 6615170 w 11701760"/>
              <a:gd name="connsiteY979" fmla="*/ 5078812 h 6407421"/>
              <a:gd name="connsiteX980" fmla="*/ 6349081 w 11701760"/>
              <a:gd name="connsiteY980" fmla="*/ 5049209 h 6407421"/>
              <a:gd name="connsiteX981" fmla="*/ 6378683 w 11701760"/>
              <a:gd name="connsiteY981" fmla="*/ 5049209 h 6407421"/>
              <a:gd name="connsiteX982" fmla="*/ 6378683 w 11701760"/>
              <a:gd name="connsiteY982" fmla="*/ 5078812 h 6407421"/>
              <a:gd name="connsiteX983" fmla="*/ 6349081 w 11701760"/>
              <a:gd name="connsiteY983" fmla="*/ 5078812 h 6407421"/>
              <a:gd name="connsiteX984" fmla="*/ 6082884 w 11701760"/>
              <a:gd name="connsiteY984" fmla="*/ 5049209 h 6407421"/>
              <a:gd name="connsiteX985" fmla="*/ 6112486 w 11701760"/>
              <a:gd name="connsiteY985" fmla="*/ 5049209 h 6407421"/>
              <a:gd name="connsiteX986" fmla="*/ 6112486 w 11701760"/>
              <a:gd name="connsiteY986" fmla="*/ 5078812 h 6407421"/>
              <a:gd name="connsiteX987" fmla="*/ 6082884 w 11701760"/>
              <a:gd name="connsiteY987" fmla="*/ 5078812 h 6407421"/>
              <a:gd name="connsiteX988" fmla="*/ 5825310 w 11701760"/>
              <a:gd name="connsiteY988" fmla="*/ 5049209 h 6407421"/>
              <a:gd name="connsiteX989" fmla="*/ 5854913 w 11701760"/>
              <a:gd name="connsiteY989" fmla="*/ 5049209 h 6407421"/>
              <a:gd name="connsiteX990" fmla="*/ 5854913 w 11701760"/>
              <a:gd name="connsiteY990" fmla="*/ 5078812 h 6407421"/>
              <a:gd name="connsiteX991" fmla="*/ 5825310 w 11701760"/>
              <a:gd name="connsiteY991" fmla="*/ 5078812 h 6407421"/>
              <a:gd name="connsiteX992" fmla="*/ 5559113 w 11701760"/>
              <a:gd name="connsiteY992" fmla="*/ 5049209 h 6407421"/>
              <a:gd name="connsiteX993" fmla="*/ 5588715 w 11701760"/>
              <a:gd name="connsiteY993" fmla="*/ 5049209 h 6407421"/>
              <a:gd name="connsiteX994" fmla="*/ 5588715 w 11701760"/>
              <a:gd name="connsiteY994" fmla="*/ 5078812 h 6407421"/>
              <a:gd name="connsiteX995" fmla="*/ 5559113 w 11701760"/>
              <a:gd name="connsiteY995" fmla="*/ 5078812 h 6407421"/>
              <a:gd name="connsiteX996" fmla="*/ 5293024 w 11701760"/>
              <a:gd name="connsiteY996" fmla="*/ 5049209 h 6407421"/>
              <a:gd name="connsiteX997" fmla="*/ 5322626 w 11701760"/>
              <a:gd name="connsiteY997" fmla="*/ 5049209 h 6407421"/>
              <a:gd name="connsiteX998" fmla="*/ 5322626 w 11701760"/>
              <a:gd name="connsiteY998" fmla="*/ 5078812 h 6407421"/>
              <a:gd name="connsiteX999" fmla="*/ 5293024 w 11701760"/>
              <a:gd name="connsiteY999" fmla="*/ 5078812 h 6407421"/>
              <a:gd name="connsiteX1000" fmla="*/ 5026827 w 11701760"/>
              <a:gd name="connsiteY1000" fmla="*/ 5049209 h 6407421"/>
              <a:gd name="connsiteX1001" fmla="*/ 5056429 w 11701760"/>
              <a:gd name="connsiteY1001" fmla="*/ 5049209 h 6407421"/>
              <a:gd name="connsiteX1002" fmla="*/ 5056429 w 11701760"/>
              <a:gd name="connsiteY1002" fmla="*/ 5078812 h 6407421"/>
              <a:gd name="connsiteX1003" fmla="*/ 5026827 w 11701760"/>
              <a:gd name="connsiteY1003" fmla="*/ 5078812 h 6407421"/>
              <a:gd name="connsiteX1004" fmla="*/ 4760630 w 11701760"/>
              <a:gd name="connsiteY1004" fmla="*/ 5049209 h 6407421"/>
              <a:gd name="connsiteX1005" fmla="*/ 4790340 w 11701760"/>
              <a:gd name="connsiteY1005" fmla="*/ 5049209 h 6407421"/>
              <a:gd name="connsiteX1006" fmla="*/ 4790340 w 11701760"/>
              <a:gd name="connsiteY1006" fmla="*/ 5078812 h 6407421"/>
              <a:gd name="connsiteX1007" fmla="*/ 4760630 w 11701760"/>
              <a:gd name="connsiteY1007" fmla="*/ 5078812 h 6407421"/>
              <a:gd name="connsiteX1008" fmla="*/ 4494541 w 11701760"/>
              <a:gd name="connsiteY1008" fmla="*/ 5049209 h 6407421"/>
              <a:gd name="connsiteX1009" fmla="*/ 4524144 w 11701760"/>
              <a:gd name="connsiteY1009" fmla="*/ 5049209 h 6407421"/>
              <a:gd name="connsiteX1010" fmla="*/ 4524144 w 11701760"/>
              <a:gd name="connsiteY1010" fmla="*/ 5078812 h 6407421"/>
              <a:gd name="connsiteX1011" fmla="*/ 4494541 w 11701760"/>
              <a:gd name="connsiteY1011" fmla="*/ 5078812 h 6407421"/>
              <a:gd name="connsiteX1012" fmla="*/ 4228344 w 11701760"/>
              <a:gd name="connsiteY1012" fmla="*/ 5049209 h 6407421"/>
              <a:gd name="connsiteX1013" fmla="*/ 4257946 w 11701760"/>
              <a:gd name="connsiteY1013" fmla="*/ 5049209 h 6407421"/>
              <a:gd name="connsiteX1014" fmla="*/ 4257946 w 11701760"/>
              <a:gd name="connsiteY1014" fmla="*/ 5078812 h 6407421"/>
              <a:gd name="connsiteX1015" fmla="*/ 4228344 w 11701760"/>
              <a:gd name="connsiteY1015" fmla="*/ 5078812 h 6407421"/>
              <a:gd name="connsiteX1016" fmla="*/ 3962255 w 11701760"/>
              <a:gd name="connsiteY1016" fmla="*/ 5049209 h 6407421"/>
              <a:gd name="connsiteX1017" fmla="*/ 3991857 w 11701760"/>
              <a:gd name="connsiteY1017" fmla="*/ 5049209 h 6407421"/>
              <a:gd name="connsiteX1018" fmla="*/ 3991857 w 11701760"/>
              <a:gd name="connsiteY1018" fmla="*/ 5078812 h 6407421"/>
              <a:gd name="connsiteX1019" fmla="*/ 3962255 w 11701760"/>
              <a:gd name="connsiteY1019" fmla="*/ 5078812 h 6407421"/>
              <a:gd name="connsiteX1020" fmla="*/ 3696058 w 11701760"/>
              <a:gd name="connsiteY1020" fmla="*/ 5049209 h 6407421"/>
              <a:gd name="connsiteX1021" fmla="*/ 3725661 w 11701760"/>
              <a:gd name="connsiteY1021" fmla="*/ 5049209 h 6407421"/>
              <a:gd name="connsiteX1022" fmla="*/ 3725661 w 11701760"/>
              <a:gd name="connsiteY1022" fmla="*/ 5078812 h 6407421"/>
              <a:gd name="connsiteX1023" fmla="*/ 3696058 w 11701760"/>
              <a:gd name="connsiteY1023" fmla="*/ 5078812 h 6407421"/>
              <a:gd name="connsiteX1024" fmla="*/ 3429969 w 11701760"/>
              <a:gd name="connsiteY1024" fmla="*/ 5049209 h 6407421"/>
              <a:gd name="connsiteX1025" fmla="*/ 3459572 w 11701760"/>
              <a:gd name="connsiteY1025" fmla="*/ 5049209 h 6407421"/>
              <a:gd name="connsiteX1026" fmla="*/ 3459572 w 11701760"/>
              <a:gd name="connsiteY1026" fmla="*/ 5078812 h 6407421"/>
              <a:gd name="connsiteX1027" fmla="*/ 3429969 w 11701760"/>
              <a:gd name="connsiteY1027" fmla="*/ 5078812 h 6407421"/>
              <a:gd name="connsiteX1028" fmla="*/ 3163772 w 11701760"/>
              <a:gd name="connsiteY1028" fmla="*/ 5049209 h 6407421"/>
              <a:gd name="connsiteX1029" fmla="*/ 3193374 w 11701760"/>
              <a:gd name="connsiteY1029" fmla="*/ 5049209 h 6407421"/>
              <a:gd name="connsiteX1030" fmla="*/ 3193374 w 11701760"/>
              <a:gd name="connsiteY1030" fmla="*/ 5078812 h 6407421"/>
              <a:gd name="connsiteX1031" fmla="*/ 3163772 w 11701760"/>
              <a:gd name="connsiteY1031" fmla="*/ 5078812 h 6407421"/>
              <a:gd name="connsiteX1032" fmla="*/ 2897575 w 11701760"/>
              <a:gd name="connsiteY1032" fmla="*/ 5049209 h 6407421"/>
              <a:gd name="connsiteX1033" fmla="*/ 2927178 w 11701760"/>
              <a:gd name="connsiteY1033" fmla="*/ 5049209 h 6407421"/>
              <a:gd name="connsiteX1034" fmla="*/ 2927178 w 11701760"/>
              <a:gd name="connsiteY1034" fmla="*/ 5078812 h 6407421"/>
              <a:gd name="connsiteX1035" fmla="*/ 2897575 w 11701760"/>
              <a:gd name="connsiteY1035" fmla="*/ 5078812 h 6407421"/>
              <a:gd name="connsiteX1036" fmla="*/ 2631378 w 11701760"/>
              <a:gd name="connsiteY1036" fmla="*/ 5049209 h 6407421"/>
              <a:gd name="connsiteX1037" fmla="*/ 2660980 w 11701760"/>
              <a:gd name="connsiteY1037" fmla="*/ 5049209 h 6407421"/>
              <a:gd name="connsiteX1038" fmla="*/ 2660980 w 11701760"/>
              <a:gd name="connsiteY1038" fmla="*/ 5078812 h 6407421"/>
              <a:gd name="connsiteX1039" fmla="*/ 2631378 w 11701760"/>
              <a:gd name="connsiteY1039" fmla="*/ 5078812 h 6407421"/>
              <a:gd name="connsiteX1040" fmla="*/ 2365289 w 11701760"/>
              <a:gd name="connsiteY1040" fmla="*/ 5049209 h 6407421"/>
              <a:gd name="connsiteX1041" fmla="*/ 2394892 w 11701760"/>
              <a:gd name="connsiteY1041" fmla="*/ 5049209 h 6407421"/>
              <a:gd name="connsiteX1042" fmla="*/ 2394892 w 11701760"/>
              <a:gd name="connsiteY1042" fmla="*/ 5078812 h 6407421"/>
              <a:gd name="connsiteX1043" fmla="*/ 2365289 w 11701760"/>
              <a:gd name="connsiteY1043" fmla="*/ 5078812 h 6407421"/>
              <a:gd name="connsiteX1044" fmla="*/ 2099092 w 11701760"/>
              <a:gd name="connsiteY1044" fmla="*/ 5049209 h 6407421"/>
              <a:gd name="connsiteX1045" fmla="*/ 2128695 w 11701760"/>
              <a:gd name="connsiteY1045" fmla="*/ 5049209 h 6407421"/>
              <a:gd name="connsiteX1046" fmla="*/ 2128695 w 11701760"/>
              <a:gd name="connsiteY1046" fmla="*/ 5078812 h 6407421"/>
              <a:gd name="connsiteX1047" fmla="*/ 2099092 w 11701760"/>
              <a:gd name="connsiteY1047" fmla="*/ 5078812 h 6407421"/>
              <a:gd name="connsiteX1048" fmla="*/ 1832898 w 11701760"/>
              <a:gd name="connsiteY1048" fmla="*/ 5049209 h 6407421"/>
              <a:gd name="connsiteX1049" fmla="*/ 1862498 w 11701760"/>
              <a:gd name="connsiteY1049" fmla="*/ 5049209 h 6407421"/>
              <a:gd name="connsiteX1050" fmla="*/ 1862498 w 11701760"/>
              <a:gd name="connsiteY1050" fmla="*/ 5078812 h 6407421"/>
              <a:gd name="connsiteX1051" fmla="*/ 1832898 w 11701760"/>
              <a:gd name="connsiteY1051" fmla="*/ 5078812 h 6407421"/>
              <a:gd name="connsiteX1052" fmla="*/ 1566808 w 11701760"/>
              <a:gd name="connsiteY1052" fmla="*/ 5049209 h 6407421"/>
              <a:gd name="connsiteX1053" fmla="*/ 1596409 w 11701760"/>
              <a:gd name="connsiteY1053" fmla="*/ 5049209 h 6407421"/>
              <a:gd name="connsiteX1054" fmla="*/ 1596409 w 11701760"/>
              <a:gd name="connsiteY1054" fmla="*/ 5078812 h 6407421"/>
              <a:gd name="connsiteX1055" fmla="*/ 1566808 w 11701760"/>
              <a:gd name="connsiteY1055" fmla="*/ 5078812 h 6407421"/>
              <a:gd name="connsiteX1056" fmla="*/ 1300611 w 11701760"/>
              <a:gd name="connsiteY1056" fmla="*/ 5049209 h 6407421"/>
              <a:gd name="connsiteX1057" fmla="*/ 1330213 w 11701760"/>
              <a:gd name="connsiteY1057" fmla="*/ 5049209 h 6407421"/>
              <a:gd name="connsiteX1058" fmla="*/ 1330213 w 11701760"/>
              <a:gd name="connsiteY1058" fmla="*/ 5078812 h 6407421"/>
              <a:gd name="connsiteX1059" fmla="*/ 1300611 w 11701760"/>
              <a:gd name="connsiteY1059" fmla="*/ 5078812 h 6407421"/>
              <a:gd name="connsiteX1060" fmla="*/ 1034520 w 11701760"/>
              <a:gd name="connsiteY1060" fmla="*/ 5049209 h 6407421"/>
              <a:gd name="connsiteX1061" fmla="*/ 1064123 w 11701760"/>
              <a:gd name="connsiteY1061" fmla="*/ 5049209 h 6407421"/>
              <a:gd name="connsiteX1062" fmla="*/ 1064123 w 11701760"/>
              <a:gd name="connsiteY1062" fmla="*/ 5078812 h 6407421"/>
              <a:gd name="connsiteX1063" fmla="*/ 1034520 w 11701760"/>
              <a:gd name="connsiteY1063" fmla="*/ 5078812 h 6407421"/>
              <a:gd name="connsiteX1064" fmla="*/ 768328 w 11701760"/>
              <a:gd name="connsiteY1064" fmla="*/ 5049209 h 6407421"/>
              <a:gd name="connsiteX1065" fmla="*/ 797926 w 11701760"/>
              <a:gd name="connsiteY1065" fmla="*/ 5049209 h 6407421"/>
              <a:gd name="connsiteX1066" fmla="*/ 797926 w 11701760"/>
              <a:gd name="connsiteY1066" fmla="*/ 5078812 h 6407421"/>
              <a:gd name="connsiteX1067" fmla="*/ 768328 w 11701760"/>
              <a:gd name="connsiteY1067" fmla="*/ 5078812 h 6407421"/>
              <a:gd name="connsiteX1068" fmla="*/ 502237 w 11701760"/>
              <a:gd name="connsiteY1068" fmla="*/ 5049209 h 6407421"/>
              <a:gd name="connsiteX1069" fmla="*/ 531839 w 11701760"/>
              <a:gd name="connsiteY1069" fmla="*/ 5049209 h 6407421"/>
              <a:gd name="connsiteX1070" fmla="*/ 531839 w 11701760"/>
              <a:gd name="connsiteY1070" fmla="*/ 5078812 h 6407421"/>
              <a:gd name="connsiteX1071" fmla="*/ 502237 w 11701760"/>
              <a:gd name="connsiteY1071" fmla="*/ 5078812 h 6407421"/>
              <a:gd name="connsiteX1072" fmla="*/ 236038 w 11701760"/>
              <a:gd name="connsiteY1072" fmla="*/ 5049209 h 6407421"/>
              <a:gd name="connsiteX1073" fmla="*/ 265640 w 11701760"/>
              <a:gd name="connsiteY1073" fmla="*/ 5049209 h 6407421"/>
              <a:gd name="connsiteX1074" fmla="*/ 265640 w 11701760"/>
              <a:gd name="connsiteY1074" fmla="*/ 5078812 h 6407421"/>
              <a:gd name="connsiteX1075" fmla="*/ 236038 w 11701760"/>
              <a:gd name="connsiteY1075" fmla="*/ 5078812 h 6407421"/>
              <a:gd name="connsiteX1076" fmla="*/ 2 w 11701760"/>
              <a:gd name="connsiteY1076" fmla="*/ 5049209 h 6407421"/>
              <a:gd name="connsiteX1077" fmla="*/ 29604 w 11701760"/>
              <a:gd name="connsiteY1077" fmla="*/ 5049209 h 6407421"/>
              <a:gd name="connsiteX1078" fmla="*/ 29604 w 11701760"/>
              <a:gd name="connsiteY1078" fmla="*/ 5078812 h 6407421"/>
              <a:gd name="connsiteX1079" fmla="*/ 2 w 11701760"/>
              <a:gd name="connsiteY1079" fmla="*/ 5078812 h 6407421"/>
              <a:gd name="connsiteX1080" fmla="*/ 11672158 w 11701760"/>
              <a:gd name="connsiteY1080" fmla="*/ 4783444 h 6407421"/>
              <a:gd name="connsiteX1081" fmla="*/ 11701760 w 11701760"/>
              <a:gd name="connsiteY1081" fmla="*/ 4783444 h 6407421"/>
              <a:gd name="connsiteX1082" fmla="*/ 11701760 w 11701760"/>
              <a:gd name="connsiteY1082" fmla="*/ 4813046 h 6407421"/>
              <a:gd name="connsiteX1083" fmla="*/ 11672158 w 11701760"/>
              <a:gd name="connsiteY1083" fmla="*/ 4813046 h 6407421"/>
              <a:gd name="connsiteX1084" fmla="*/ 11405961 w 11701760"/>
              <a:gd name="connsiteY1084" fmla="*/ 4783444 h 6407421"/>
              <a:gd name="connsiteX1085" fmla="*/ 11435563 w 11701760"/>
              <a:gd name="connsiteY1085" fmla="*/ 4783444 h 6407421"/>
              <a:gd name="connsiteX1086" fmla="*/ 11435563 w 11701760"/>
              <a:gd name="connsiteY1086" fmla="*/ 4813046 h 6407421"/>
              <a:gd name="connsiteX1087" fmla="*/ 11405961 w 11701760"/>
              <a:gd name="connsiteY1087" fmla="*/ 4813046 h 6407421"/>
              <a:gd name="connsiteX1088" fmla="*/ 11139872 w 11701760"/>
              <a:gd name="connsiteY1088" fmla="*/ 4783444 h 6407421"/>
              <a:gd name="connsiteX1089" fmla="*/ 11169474 w 11701760"/>
              <a:gd name="connsiteY1089" fmla="*/ 4783444 h 6407421"/>
              <a:gd name="connsiteX1090" fmla="*/ 11169474 w 11701760"/>
              <a:gd name="connsiteY1090" fmla="*/ 4813046 h 6407421"/>
              <a:gd name="connsiteX1091" fmla="*/ 11139872 w 11701760"/>
              <a:gd name="connsiteY1091" fmla="*/ 4813046 h 6407421"/>
              <a:gd name="connsiteX1092" fmla="*/ 10873675 w 11701760"/>
              <a:gd name="connsiteY1092" fmla="*/ 4783444 h 6407421"/>
              <a:gd name="connsiteX1093" fmla="*/ 10903277 w 11701760"/>
              <a:gd name="connsiteY1093" fmla="*/ 4783444 h 6407421"/>
              <a:gd name="connsiteX1094" fmla="*/ 10903277 w 11701760"/>
              <a:gd name="connsiteY1094" fmla="*/ 4813046 h 6407421"/>
              <a:gd name="connsiteX1095" fmla="*/ 10873675 w 11701760"/>
              <a:gd name="connsiteY1095" fmla="*/ 4813046 h 6407421"/>
              <a:gd name="connsiteX1096" fmla="*/ 10607478 w 11701760"/>
              <a:gd name="connsiteY1096" fmla="*/ 4783444 h 6407421"/>
              <a:gd name="connsiteX1097" fmla="*/ 10637188 w 11701760"/>
              <a:gd name="connsiteY1097" fmla="*/ 4783444 h 6407421"/>
              <a:gd name="connsiteX1098" fmla="*/ 10637188 w 11701760"/>
              <a:gd name="connsiteY1098" fmla="*/ 4813046 h 6407421"/>
              <a:gd name="connsiteX1099" fmla="*/ 10607478 w 11701760"/>
              <a:gd name="connsiteY1099" fmla="*/ 4813046 h 6407421"/>
              <a:gd name="connsiteX1100" fmla="*/ 10341389 w 11701760"/>
              <a:gd name="connsiteY1100" fmla="*/ 4783444 h 6407421"/>
              <a:gd name="connsiteX1101" fmla="*/ 10370992 w 11701760"/>
              <a:gd name="connsiteY1101" fmla="*/ 4783444 h 6407421"/>
              <a:gd name="connsiteX1102" fmla="*/ 10370992 w 11701760"/>
              <a:gd name="connsiteY1102" fmla="*/ 4813046 h 6407421"/>
              <a:gd name="connsiteX1103" fmla="*/ 10341389 w 11701760"/>
              <a:gd name="connsiteY1103" fmla="*/ 4813046 h 6407421"/>
              <a:gd name="connsiteX1104" fmla="*/ 10075192 w 11701760"/>
              <a:gd name="connsiteY1104" fmla="*/ 4783444 h 6407421"/>
              <a:gd name="connsiteX1105" fmla="*/ 10104794 w 11701760"/>
              <a:gd name="connsiteY1105" fmla="*/ 4783444 h 6407421"/>
              <a:gd name="connsiteX1106" fmla="*/ 10104794 w 11701760"/>
              <a:gd name="connsiteY1106" fmla="*/ 4813046 h 6407421"/>
              <a:gd name="connsiteX1107" fmla="*/ 10075192 w 11701760"/>
              <a:gd name="connsiteY1107" fmla="*/ 4813046 h 6407421"/>
              <a:gd name="connsiteX1108" fmla="*/ 9809103 w 11701760"/>
              <a:gd name="connsiteY1108" fmla="*/ 4783444 h 6407421"/>
              <a:gd name="connsiteX1109" fmla="*/ 9838705 w 11701760"/>
              <a:gd name="connsiteY1109" fmla="*/ 4783444 h 6407421"/>
              <a:gd name="connsiteX1110" fmla="*/ 9838705 w 11701760"/>
              <a:gd name="connsiteY1110" fmla="*/ 4813046 h 6407421"/>
              <a:gd name="connsiteX1111" fmla="*/ 9809103 w 11701760"/>
              <a:gd name="connsiteY1111" fmla="*/ 4813046 h 6407421"/>
              <a:gd name="connsiteX1112" fmla="*/ 9542906 w 11701760"/>
              <a:gd name="connsiteY1112" fmla="*/ 4783444 h 6407421"/>
              <a:gd name="connsiteX1113" fmla="*/ 9572509 w 11701760"/>
              <a:gd name="connsiteY1113" fmla="*/ 4783444 h 6407421"/>
              <a:gd name="connsiteX1114" fmla="*/ 9572509 w 11701760"/>
              <a:gd name="connsiteY1114" fmla="*/ 4813046 h 6407421"/>
              <a:gd name="connsiteX1115" fmla="*/ 9542906 w 11701760"/>
              <a:gd name="connsiteY1115" fmla="*/ 4813046 h 6407421"/>
              <a:gd name="connsiteX1116" fmla="*/ 9276817 w 11701760"/>
              <a:gd name="connsiteY1116" fmla="*/ 4783444 h 6407421"/>
              <a:gd name="connsiteX1117" fmla="*/ 9306420 w 11701760"/>
              <a:gd name="connsiteY1117" fmla="*/ 4783444 h 6407421"/>
              <a:gd name="connsiteX1118" fmla="*/ 9306420 w 11701760"/>
              <a:gd name="connsiteY1118" fmla="*/ 4813046 h 6407421"/>
              <a:gd name="connsiteX1119" fmla="*/ 9276817 w 11701760"/>
              <a:gd name="connsiteY1119" fmla="*/ 4813046 h 6407421"/>
              <a:gd name="connsiteX1120" fmla="*/ 9010620 w 11701760"/>
              <a:gd name="connsiteY1120" fmla="*/ 4783444 h 6407421"/>
              <a:gd name="connsiteX1121" fmla="*/ 9040222 w 11701760"/>
              <a:gd name="connsiteY1121" fmla="*/ 4783444 h 6407421"/>
              <a:gd name="connsiteX1122" fmla="*/ 9040222 w 11701760"/>
              <a:gd name="connsiteY1122" fmla="*/ 4813046 h 6407421"/>
              <a:gd name="connsiteX1123" fmla="*/ 9010620 w 11701760"/>
              <a:gd name="connsiteY1123" fmla="*/ 4813046 h 6407421"/>
              <a:gd name="connsiteX1124" fmla="*/ 8744423 w 11701760"/>
              <a:gd name="connsiteY1124" fmla="*/ 4783444 h 6407421"/>
              <a:gd name="connsiteX1125" fmla="*/ 8774026 w 11701760"/>
              <a:gd name="connsiteY1125" fmla="*/ 4783444 h 6407421"/>
              <a:gd name="connsiteX1126" fmla="*/ 8774026 w 11701760"/>
              <a:gd name="connsiteY1126" fmla="*/ 4813046 h 6407421"/>
              <a:gd name="connsiteX1127" fmla="*/ 8744423 w 11701760"/>
              <a:gd name="connsiteY1127" fmla="*/ 4813046 h 6407421"/>
              <a:gd name="connsiteX1128" fmla="*/ 8478226 w 11701760"/>
              <a:gd name="connsiteY1128" fmla="*/ 4783444 h 6407421"/>
              <a:gd name="connsiteX1129" fmla="*/ 8507828 w 11701760"/>
              <a:gd name="connsiteY1129" fmla="*/ 4783444 h 6407421"/>
              <a:gd name="connsiteX1130" fmla="*/ 8507828 w 11701760"/>
              <a:gd name="connsiteY1130" fmla="*/ 4813046 h 6407421"/>
              <a:gd name="connsiteX1131" fmla="*/ 8478226 w 11701760"/>
              <a:gd name="connsiteY1131" fmla="*/ 4813046 h 6407421"/>
              <a:gd name="connsiteX1132" fmla="*/ 8212137 w 11701760"/>
              <a:gd name="connsiteY1132" fmla="*/ 4783444 h 6407421"/>
              <a:gd name="connsiteX1133" fmla="*/ 8241740 w 11701760"/>
              <a:gd name="connsiteY1133" fmla="*/ 4783444 h 6407421"/>
              <a:gd name="connsiteX1134" fmla="*/ 8241740 w 11701760"/>
              <a:gd name="connsiteY1134" fmla="*/ 4813046 h 6407421"/>
              <a:gd name="connsiteX1135" fmla="*/ 8212137 w 11701760"/>
              <a:gd name="connsiteY1135" fmla="*/ 4813046 h 6407421"/>
              <a:gd name="connsiteX1136" fmla="*/ 7945940 w 11701760"/>
              <a:gd name="connsiteY1136" fmla="*/ 4783444 h 6407421"/>
              <a:gd name="connsiteX1137" fmla="*/ 7975543 w 11701760"/>
              <a:gd name="connsiteY1137" fmla="*/ 4783444 h 6407421"/>
              <a:gd name="connsiteX1138" fmla="*/ 7975543 w 11701760"/>
              <a:gd name="connsiteY1138" fmla="*/ 4813046 h 6407421"/>
              <a:gd name="connsiteX1139" fmla="*/ 7945940 w 11701760"/>
              <a:gd name="connsiteY1139" fmla="*/ 4813046 h 6407421"/>
              <a:gd name="connsiteX1140" fmla="*/ 7679743 w 11701760"/>
              <a:gd name="connsiteY1140" fmla="*/ 4783444 h 6407421"/>
              <a:gd name="connsiteX1141" fmla="*/ 7709346 w 11701760"/>
              <a:gd name="connsiteY1141" fmla="*/ 4783444 h 6407421"/>
              <a:gd name="connsiteX1142" fmla="*/ 7709346 w 11701760"/>
              <a:gd name="connsiteY1142" fmla="*/ 4813046 h 6407421"/>
              <a:gd name="connsiteX1143" fmla="*/ 7679743 w 11701760"/>
              <a:gd name="connsiteY1143" fmla="*/ 4813046 h 6407421"/>
              <a:gd name="connsiteX1144" fmla="*/ 7413653 w 11701760"/>
              <a:gd name="connsiteY1144" fmla="*/ 4783444 h 6407421"/>
              <a:gd name="connsiteX1145" fmla="*/ 7443256 w 11701760"/>
              <a:gd name="connsiteY1145" fmla="*/ 4783444 h 6407421"/>
              <a:gd name="connsiteX1146" fmla="*/ 7443256 w 11701760"/>
              <a:gd name="connsiteY1146" fmla="*/ 4813046 h 6407421"/>
              <a:gd name="connsiteX1147" fmla="*/ 7413653 w 11701760"/>
              <a:gd name="connsiteY1147" fmla="*/ 4813046 h 6407421"/>
              <a:gd name="connsiteX1148" fmla="*/ 7147456 w 11701760"/>
              <a:gd name="connsiteY1148" fmla="*/ 4783444 h 6407421"/>
              <a:gd name="connsiteX1149" fmla="*/ 7177058 w 11701760"/>
              <a:gd name="connsiteY1149" fmla="*/ 4783444 h 6407421"/>
              <a:gd name="connsiteX1150" fmla="*/ 7177058 w 11701760"/>
              <a:gd name="connsiteY1150" fmla="*/ 4813046 h 6407421"/>
              <a:gd name="connsiteX1151" fmla="*/ 7147456 w 11701760"/>
              <a:gd name="connsiteY1151" fmla="*/ 4813046 h 6407421"/>
              <a:gd name="connsiteX1152" fmla="*/ 6881367 w 11701760"/>
              <a:gd name="connsiteY1152" fmla="*/ 4783444 h 6407421"/>
              <a:gd name="connsiteX1153" fmla="*/ 6910970 w 11701760"/>
              <a:gd name="connsiteY1153" fmla="*/ 4783444 h 6407421"/>
              <a:gd name="connsiteX1154" fmla="*/ 6910970 w 11701760"/>
              <a:gd name="connsiteY1154" fmla="*/ 4813046 h 6407421"/>
              <a:gd name="connsiteX1155" fmla="*/ 6881367 w 11701760"/>
              <a:gd name="connsiteY1155" fmla="*/ 4813046 h 6407421"/>
              <a:gd name="connsiteX1156" fmla="*/ 6615170 w 11701760"/>
              <a:gd name="connsiteY1156" fmla="*/ 4783444 h 6407421"/>
              <a:gd name="connsiteX1157" fmla="*/ 6644773 w 11701760"/>
              <a:gd name="connsiteY1157" fmla="*/ 4783444 h 6407421"/>
              <a:gd name="connsiteX1158" fmla="*/ 6644773 w 11701760"/>
              <a:gd name="connsiteY1158" fmla="*/ 4813046 h 6407421"/>
              <a:gd name="connsiteX1159" fmla="*/ 6615170 w 11701760"/>
              <a:gd name="connsiteY1159" fmla="*/ 4813046 h 6407421"/>
              <a:gd name="connsiteX1160" fmla="*/ 6349081 w 11701760"/>
              <a:gd name="connsiteY1160" fmla="*/ 4783444 h 6407421"/>
              <a:gd name="connsiteX1161" fmla="*/ 6378683 w 11701760"/>
              <a:gd name="connsiteY1161" fmla="*/ 4783444 h 6407421"/>
              <a:gd name="connsiteX1162" fmla="*/ 6378683 w 11701760"/>
              <a:gd name="connsiteY1162" fmla="*/ 4813046 h 6407421"/>
              <a:gd name="connsiteX1163" fmla="*/ 6349081 w 11701760"/>
              <a:gd name="connsiteY1163" fmla="*/ 4813046 h 6407421"/>
              <a:gd name="connsiteX1164" fmla="*/ 6082884 w 11701760"/>
              <a:gd name="connsiteY1164" fmla="*/ 4783444 h 6407421"/>
              <a:gd name="connsiteX1165" fmla="*/ 6112486 w 11701760"/>
              <a:gd name="connsiteY1165" fmla="*/ 4783444 h 6407421"/>
              <a:gd name="connsiteX1166" fmla="*/ 6112486 w 11701760"/>
              <a:gd name="connsiteY1166" fmla="*/ 4813046 h 6407421"/>
              <a:gd name="connsiteX1167" fmla="*/ 6082884 w 11701760"/>
              <a:gd name="connsiteY1167" fmla="*/ 4813046 h 6407421"/>
              <a:gd name="connsiteX1168" fmla="*/ 5825310 w 11701760"/>
              <a:gd name="connsiteY1168" fmla="*/ 4783444 h 6407421"/>
              <a:gd name="connsiteX1169" fmla="*/ 5854913 w 11701760"/>
              <a:gd name="connsiteY1169" fmla="*/ 4783444 h 6407421"/>
              <a:gd name="connsiteX1170" fmla="*/ 5854913 w 11701760"/>
              <a:gd name="connsiteY1170" fmla="*/ 4813046 h 6407421"/>
              <a:gd name="connsiteX1171" fmla="*/ 5825310 w 11701760"/>
              <a:gd name="connsiteY1171" fmla="*/ 4813046 h 6407421"/>
              <a:gd name="connsiteX1172" fmla="*/ 5559113 w 11701760"/>
              <a:gd name="connsiteY1172" fmla="*/ 4783444 h 6407421"/>
              <a:gd name="connsiteX1173" fmla="*/ 5588715 w 11701760"/>
              <a:gd name="connsiteY1173" fmla="*/ 4783444 h 6407421"/>
              <a:gd name="connsiteX1174" fmla="*/ 5588715 w 11701760"/>
              <a:gd name="connsiteY1174" fmla="*/ 4813046 h 6407421"/>
              <a:gd name="connsiteX1175" fmla="*/ 5559113 w 11701760"/>
              <a:gd name="connsiteY1175" fmla="*/ 4813046 h 6407421"/>
              <a:gd name="connsiteX1176" fmla="*/ 5293024 w 11701760"/>
              <a:gd name="connsiteY1176" fmla="*/ 4783444 h 6407421"/>
              <a:gd name="connsiteX1177" fmla="*/ 5322626 w 11701760"/>
              <a:gd name="connsiteY1177" fmla="*/ 4783444 h 6407421"/>
              <a:gd name="connsiteX1178" fmla="*/ 5322626 w 11701760"/>
              <a:gd name="connsiteY1178" fmla="*/ 4813046 h 6407421"/>
              <a:gd name="connsiteX1179" fmla="*/ 5293024 w 11701760"/>
              <a:gd name="connsiteY1179" fmla="*/ 4813046 h 6407421"/>
              <a:gd name="connsiteX1180" fmla="*/ 5026827 w 11701760"/>
              <a:gd name="connsiteY1180" fmla="*/ 4783444 h 6407421"/>
              <a:gd name="connsiteX1181" fmla="*/ 5056429 w 11701760"/>
              <a:gd name="connsiteY1181" fmla="*/ 4783444 h 6407421"/>
              <a:gd name="connsiteX1182" fmla="*/ 5056429 w 11701760"/>
              <a:gd name="connsiteY1182" fmla="*/ 4813046 h 6407421"/>
              <a:gd name="connsiteX1183" fmla="*/ 5026827 w 11701760"/>
              <a:gd name="connsiteY1183" fmla="*/ 4813046 h 6407421"/>
              <a:gd name="connsiteX1184" fmla="*/ 4760630 w 11701760"/>
              <a:gd name="connsiteY1184" fmla="*/ 4783444 h 6407421"/>
              <a:gd name="connsiteX1185" fmla="*/ 4790340 w 11701760"/>
              <a:gd name="connsiteY1185" fmla="*/ 4783444 h 6407421"/>
              <a:gd name="connsiteX1186" fmla="*/ 4790340 w 11701760"/>
              <a:gd name="connsiteY1186" fmla="*/ 4813046 h 6407421"/>
              <a:gd name="connsiteX1187" fmla="*/ 4760630 w 11701760"/>
              <a:gd name="connsiteY1187" fmla="*/ 4813046 h 6407421"/>
              <a:gd name="connsiteX1188" fmla="*/ 4494541 w 11701760"/>
              <a:gd name="connsiteY1188" fmla="*/ 4783444 h 6407421"/>
              <a:gd name="connsiteX1189" fmla="*/ 4524144 w 11701760"/>
              <a:gd name="connsiteY1189" fmla="*/ 4783444 h 6407421"/>
              <a:gd name="connsiteX1190" fmla="*/ 4524144 w 11701760"/>
              <a:gd name="connsiteY1190" fmla="*/ 4813046 h 6407421"/>
              <a:gd name="connsiteX1191" fmla="*/ 4494541 w 11701760"/>
              <a:gd name="connsiteY1191" fmla="*/ 4813046 h 6407421"/>
              <a:gd name="connsiteX1192" fmla="*/ 4228344 w 11701760"/>
              <a:gd name="connsiteY1192" fmla="*/ 4783444 h 6407421"/>
              <a:gd name="connsiteX1193" fmla="*/ 4257946 w 11701760"/>
              <a:gd name="connsiteY1193" fmla="*/ 4783444 h 6407421"/>
              <a:gd name="connsiteX1194" fmla="*/ 4257946 w 11701760"/>
              <a:gd name="connsiteY1194" fmla="*/ 4813046 h 6407421"/>
              <a:gd name="connsiteX1195" fmla="*/ 4228344 w 11701760"/>
              <a:gd name="connsiteY1195" fmla="*/ 4813046 h 6407421"/>
              <a:gd name="connsiteX1196" fmla="*/ 3962255 w 11701760"/>
              <a:gd name="connsiteY1196" fmla="*/ 4783444 h 6407421"/>
              <a:gd name="connsiteX1197" fmla="*/ 3991857 w 11701760"/>
              <a:gd name="connsiteY1197" fmla="*/ 4783444 h 6407421"/>
              <a:gd name="connsiteX1198" fmla="*/ 3991857 w 11701760"/>
              <a:gd name="connsiteY1198" fmla="*/ 4813046 h 6407421"/>
              <a:gd name="connsiteX1199" fmla="*/ 3962255 w 11701760"/>
              <a:gd name="connsiteY1199" fmla="*/ 4813046 h 6407421"/>
              <a:gd name="connsiteX1200" fmla="*/ 3696058 w 11701760"/>
              <a:gd name="connsiteY1200" fmla="*/ 4783444 h 6407421"/>
              <a:gd name="connsiteX1201" fmla="*/ 3725661 w 11701760"/>
              <a:gd name="connsiteY1201" fmla="*/ 4783444 h 6407421"/>
              <a:gd name="connsiteX1202" fmla="*/ 3725661 w 11701760"/>
              <a:gd name="connsiteY1202" fmla="*/ 4813046 h 6407421"/>
              <a:gd name="connsiteX1203" fmla="*/ 3696058 w 11701760"/>
              <a:gd name="connsiteY1203" fmla="*/ 4813046 h 6407421"/>
              <a:gd name="connsiteX1204" fmla="*/ 3429969 w 11701760"/>
              <a:gd name="connsiteY1204" fmla="*/ 4783444 h 6407421"/>
              <a:gd name="connsiteX1205" fmla="*/ 3459572 w 11701760"/>
              <a:gd name="connsiteY1205" fmla="*/ 4783444 h 6407421"/>
              <a:gd name="connsiteX1206" fmla="*/ 3459572 w 11701760"/>
              <a:gd name="connsiteY1206" fmla="*/ 4813046 h 6407421"/>
              <a:gd name="connsiteX1207" fmla="*/ 3429969 w 11701760"/>
              <a:gd name="connsiteY1207" fmla="*/ 4813046 h 6407421"/>
              <a:gd name="connsiteX1208" fmla="*/ 3163772 w 11701760"/>
              <a:gd name="connsiteY1208" fmla="*/ 4783444 h 6407421"/>
              <a:gd name="connsiteX1209" fmla="*/ 3193374 w 11701760"/>
              <a:gd name="connsiteY1209" fmla="*/ 4783444 h 6407421"/>
              <a:gd name="connsiteX1210" fmla="*/ 3193374 w 11701760"/>
              <a:gd name="connsiteY1210" fmla="*/ 4813046 h 6407421"/>
              <a:gd name="connsiteX1211" fmla="*/ 3163772 w 11701760"/>
              <a:gd name="connsiteY1211" fmla="*/ 4813046 h 6407421"/>
              <a:gd name="connsiteX1212" fmla="*/ 2897575 w 11701760"/>
              <a:gd name="connsiteY1212" fmla="*/ 4783444 h 6407421"/>
              <a:gd name="connsiteX1213" fmla="*/ 2927178 w 11701760"/>
              <a:gd name="connsiteY1213" fmla="*/ 4783444 h 6407421"/>
              <a:gd name="connsiteX1214" fmla="*/ 2927178 w 11701760"/>
              <a:gd name="connsiteY1214" fmla="*/ 4813046 h 6407421"/>
              <a:gd name="connsiteX1215" fmla="*/ 2897575 w 11701760"/>
              <a:gd name="connsiteY1215" fmla="*/ 4813046 h 6407421"/>
              <a:gd name="connsiteX1216" fmla="*/ 2631378 w 11701760"/>
              <a:gd name="connsiteY1216" fmla="*/ 4783444 h 6407421"/>
              <a:gd name="connsiteX1217" fmla="*/ 2660980 w 11701760"/>
              <a:gd name="connsiteY1217" fmla="*/ 4783444 h 6407421"/>
              <a:gd name="connsiteX1218" fmla="*/ 2660980 w 11701760"/>
              <a:gd name="connsiteY1218" fmla="*/ 4813046 h 6407421"/>
              <a:gd name="connsiteX1219" fmla="*/ 2631378 w 11701760"/>
              <a:gd name="connsiteY1219" fmla="*/ 4813046 h 6407421"/>
              <a:gd name="connsiteX1220" fmla="*/ 2365289 w 11701760"/>
              <a:gd name="connsiteY1220" fmla="*/ 4783444 h 6407421"/>
              <a:gd name="connsiteX1221" fmla="*/ 2394892 w 11701760"/>
              <a:gd name="connsiteY1221" fmla="*/ 4783444 h 6407421"/>
              <a:gd name="connsiteX1222" fmla="*/ 2394892 w 11701760"/>
              <a:gd name="connsiteY1222" fmla="*/ 4813046 h 6407421"/>
              <a:gd name="connsiteX1223" fmla="*/ 2365289 w 11701760"/>
              <a:gd name="connsiteY1223" fmla="*/ 4813046 h 6407421"/>
              <a:gd name="connsiteX1224" fmla="*/ 2099092 w 11701760"/>
              <a:gd name="connsiteY1224" fmla="*/ 4783444 h 6407421"/>
              <a:gd name="connsiteX1225" fmla="*/ 2128695 w 11701760"/>
              <a:gd name="connsiteY1225" fmla="*/ 4783444 h 6407421"/>
              <a:gd name="connsiteX1226" fmla="*/ 2128695 w 11701760"/>
              <a:gd name="connsiteY1226" fmla="*/ 4813046 h 6407421"/>
              <a:gd name="connsiteX1227" fmla="*/ 2099092 w 11701760"/>
              <a:gd name="connsiteY1227" fmla="*/ 4813046 h 6407421"/>
              <a:gd name="connsiteX1228" fmla="*/ 1832898 w 11701760"/>
              <a:gd name="connsiteY1228" fmla="*/ 4783444 h 6407421"/>
              <a:gd name="connsiteX1229" fmla="*/ 1862498 w 11701760"/>
              <a:gd name="connsiteY1229" fmla="*/ 4783444 h 6407421"/>
              <a:gd name="connsiteX1230" fmla="*/ 1862498 w 11701760"/>
              <a:gd name="connsiteY1230" fmla="*/ 4813046 h 6407421"/>
              <a:gd name="connsiteX1231" fmla="*/ 1832898 w 11701760"/>
              <a:gd name="connsiteY1231" fmla="*/ 4813046 h 6407421"/>
              <a:gd name="connsiteX1232" fmla="*/ 1566808 w 11701760"/>
              <a:gd name="connsiteY1232" fmla="*/ 4783444 h 6407421"/>
              <a:gd name="connsiteX1233" fmla="*/ 1596409 w 11701760"/>
              <a:gd name="connsiteY1233" fmla="*/ 4783444 h 6407421"/>
              <a:gd name="connsiteX1234" fmla="*/ 1596409 w 11701760"/>
              <a:gd name="connsiteY1234" fmla="*/ 4813046 h 6407421"/>
              <a:gd name="connsiteX1235" fmla="*/ 1566808 w 11701760"/>
              <a:gd name="connsiteY1235" fmla="*/ 4813046 h 6407421"/>
              <a:gd name="connsiteX1236" fmla="*/ 1300611 w 11701760"/>
              <a:gd name="connsiteY1236" fmla="*/ 4783444 h 6407421"/>
              <a:gd name="connsiteX1237" fmla="*/ 1330213 w 11701760"/>
              <a:gd name="connsiteY1237" fmla="*/ 4783444 h 6407421"/>
              <a:gd name="connsiteX1238" fmla="*/ 1330213 w 11701760"/>
              <a:gd name="connsiteY1238" fmla="*/ 4813046 h 6407421"/>
              <a:gd name="connsiteX1239" fmla="*/ 1300611 w 11701760"/>
              <a:gd name="connsiteY1239" fmla="*/ 4813046 h 6407421"/>
              <a:gd name="connsiteX1240" fmla="*/ 1034520 w 11701760"/>
              <a:gd name="connsiteY1240" fmla="*/ 4783444 h 6407421"/>
              <a:gd name="connsiteX1241" fmla="*/ 1064123 w 11701760"/>
              <a:gd name="connsiteY1241" fmla="*/ 4783444 h 6407421"/>
              <a:gd name="connsiteX1242" fmla="*/ 1064123 w 11701760"/>
              <a:gd name="connsiteY1242" fmla="*/ 4813046 h 6407421"/>
              <a:gd name="connsiteX1243" fmla="*/ 1034520 w 11701760"/>
              <a:gd name="connsiteY1243" fmla="*/ 4813046 h 6407421"/>
              <a:gd name="connsiteX1244" fmla="*/ 768327 w 11701760"/>
              <a:gd name="connsiteY1244" fmla="*/ 4783444 h 6407421"/>
              <a:gd name="connsiteX1245" fmla="*/ 797926 w 11701760"/>
              <a:gd name="connsiteY1245" fmla="*/ 4783444 h 6407421"/>
              <a:gd name="connsiteX1246" fmla="*/ 797926 w 11701760"/>
              <a:gd name="connsiteY1246" fmla="*/ 4813046 h 6407421"/>
              <a:gd name="connsiteX1247" fmla="*/ 768327 w 11701760"/>
              <a:gd name="connsiteY1247" fmla="*/ 4813046 h 6407421"/>
              <a:gd name="connsiteX1248" fmla="*/ 502237 w 11701760"/>
              <a:gd name="connsiteY1248" fmla="*/ 4783444 h 6407421"/>
              <a:gd name="connsiteX1249" fmla="*/ 531839 w 11701760"/>
              <a:gd name="connsiteY1249" fmla="*/ 4783444 h 6407421"/>
              <a:gd name="connsiteX1250" fmla="*/ 531839 w 11701760"/>
              <a:gd name="connsiteY1250" fmla="*/ 4813046 h 6407421"/>
              <a:gd name="connsiteX1251" fmla="*/ 502237 w 11701760"/>
              <a:gd name="connsiteY1251" fmla="*/ 4813046 h 6407421"/>
              <a:gd name="connsiteX1252" fmla="*/ 236038 w 11701760"/>
              <a:gd name="connsiteY1252" fmla="*/ 4783444 h 6407421"/>
              <a:gd name="connsiteX1253" fmla="*/ 265640 w 11701760"/>
              <a:gd name="connsiteY1253" fmla="*/ 4783444 h 6407421"/>
              <a:gd name="connsiteX1254" fmla="*/ 265640 w 11701760"/>
              <a:gd name="connsiteY1254" fmla="*/ 4813046 h 6407421"/>
              <a:gd name="connsiteX1255" fmla="*/ 236038 w 11701760"/>
              <a:gd name="connsiteY1255" fmla="*/ 4813046 h 6407421"/>
              <a:gd name="connsiteX1256" fmla="*/ 2 w 11701760"/>
              <a:gd name="connsiteY1256" fmla="*/ 4783444 h 6407421"/>
              <a:gd name="connsiteX1257" fmla="*/ 29604 w 11701760"/>
              <a:gd name="connsiteY1257" fmla="*/ 4783444 h 6407421"/>
              <a:gd name="connsiteX1258" fmla="*/ 29604 w 11701760"/>
              <a:gd name="connsiteY1258" fmla="*/ 4813046 h 6407421"/>
              <a:gd name="connsiteX1259" fmla="*/ 2 w 11701760"/>
              <a:gd name="connsiteY1259" fmla="*/ 4813046 h 6407421"/>
              <a:gd name="connsiteX1260" fmla="*/ 11672158 w 11701760"/>
              <a:gd name="connsiteY1260" fmla="*/ 4517679 h 6407421"/>
              <a:gd name="connsiteX1261" fmla="*/ 11701760 w 11701760"/>
              <a:gd name="connsiteY1261" fmla="*/ 4517679 h 6407421"/>
              <a:gd name="connsiteX1262" fmla="*/ 11701760 w 11701760"/>
              <a:gd name="connsiteY1262" fmla="*/ 4547281 h 6407421"/>
              <a:gd name="connsiteX1263" fmla="*/ 11672158 w 11701760"/>
              <a:gd name="connsiteY1263" fmla="*/ 4547281 h 6407421"/>
              <a:gd name="connsiteX1264" fmla="*/ 11405961 w 11701760"/>
              <a:gd name="connsiteY1264" fmla="*/ 4517679 h 6407421"/>
              <a:gd name="connsiteX1265" fmla="*/ 11435563 w 11701760"/>
              <a:gd name="connsiteY1265" fmla="*/ 4517679 h 6407421"/>
              <a:gd name="connsiteX1266" fmla="*/ 11435563 w 11701760"/>
              <a:gd name="connsiteY1266" fmla="*/ 4547281 h 6407421"/>
              <a:gd name="connsiteX1267" fmla="*/ 11405961 w 11701760"/>
              <a:gd name="connsiteY1267" fmla="*/ 4547281 h 6407421"/>
              <a:gd name="connsiteX1268" fmla="*/ 11139872 w 11701760"/>
              <a:gd name="connsiteY1268" fmla="*/ 4517679 h 6407421"/>
              <a:gd name="connsiteX1269" fmla="*/ 11169474 w 11701760"/>
              <a:gd name="connsiteY1269" fmla="*/ 4517679 h 6407421"/>
              <a:gd name="connsiteX1270" fmla="*/ 11169474 w 11701760"/>
              <a:gd name="connsiteY1270" fmla="*/ 4547281 h 6407421"/>
              <a:gd name="connsiteX1271" fmla="*/ 11139872 w 11701760"/>
              <a:gd name="connsiteY1271" fmla="*/ 4547281 h 6407421"/>
              <a:gd name="connsiteX1272" fmla="*/ 10873675 w 11701760"/>
              <a:gd name="connsiteY1272" fmla="*/ 4517679 h 6407421"/>
              <a:gd name="connsiteX1273" fmla="*/ 10903277 w 11701760"/>
              <a:gd name="connsiteY1273" fmla="*/ 4517679 h 6407421"/>
              <a:gd name="connsiteX1274" fmla="*/ 10903277 w 11701760"/>
              <a:gd name="connsiteY1274" fmla="*/ 4547281 h 6407421"/>
              <a:gd name="connsiteX1275" fmla="*/ 10873675 w 11701760"/>
              <a:gd name="connsiteY1275" fmla="*/ 4547281 h 6407421"/>
              <a:gd name="connsiteX1276" fmla="*/ 10607478 w 11701760"/>
              <a:gd name="connsiteY1276" fmla="*/ 4517679 h 6407421"/>
              <a:gd name="connsiteX1277" fmla="*/ 10637188 w 11701760"/>
              <a:gd name="connsiteY1277" fmla="*/ 4517679 h 6407421"/>
              <a:gd name="connsiteX1278" fmla="*/ 10637188 w 11701760"/>
              <a:gd name="connsiteY1278" fmla="*/ 4547281 h 6407421"/>
              <a:gd name="connsiteX1279" fmla="*/ 10607478 w 11701760"/>
              <a:gd name="connsiteY1279" fmla="*/ 4547281 h 6407421"/>
              <a:gd name="connsiteX1280" fmla="*/ 10341389 w 11701760"/>
              <a:gd name="connsiteY1280" fmla="*/ 4517679 h 6407421"/>
              <a:gd name="connsiteX1281" fmla="*/ 10370992 w 11701760"/>
              <a:gd name="connsiteY1281" fmla="*/ 4517679 h 6407421"/>
              <a:gd name="connsiteX1282" fmla="*/ 10370992 w 11701760"/>
              <a:gd name="connsiteY1282" fmla="*/ 4547281 h 6407421"/>
              <a:gd name="connsiteX1283" fmla="*/ 10341389 w 11701760"/>
              <a:gd name="connsiteY1283" fmla="*/ 4547281 h 6407421"/>
              <a:gd name="connsiteX1284" fmla="*/ 10075192 w 11701760"/>
              <a:gd name="connsiteY1284" fmla="*/ 4517679 h 6407421"/>
              <a:gd name="connsiteX1285" fmla="*/ 10104794 w 11701760"/>
              <a:gd name="connsiteY1285" fmla="*/ 4517679 h 6407421"/>
              <a:gd name="connsiteX1286" fmla="*/ 10104794 w 11701760"/>
              <a:gd name="connsiteY1286" fmla="*/ 4547281 h 6407421"/>
              <a:gd name="connsiteX1287" fmla="*/ 10075192 w 11701760"/>
              <a:gd name="connsiteY1287" fmla="*/ 4547281 h 6407421"/>
              <a:gd name="connsiteX1288" fmla="*/ 9809103 w 11701760"/>
              <a:gd name="connsiteY1288" fmla="*/ 4517679 h 6407421"/>
              <a:gd name="connsiteX1289" fmla="*/ 9838705 w 11701760"/>
              <a:gd name="connsiteY1289" fmla="*/ 4517679 h 6407421"/>
              <a:gd name="connsiteX1290" fmla="*/ 9838705 w 11701760"/>
              <a:gd name="connsiteY1290" fmla="*/ 4547281 h 6407421"/>
              <a:gd name="connsiteX1291" fmla="*/ 9809103 w 11701760"/>
              <a:gd name="connsiteY1291" fmla="*/ 4547281 h 6407421"/>
              <a:gd name="connsiteX1292" fmla="*/ 9542906 w 11701760"/>
              <a:gd name="connsiteY1292" fmla="*/ 4517679 h 6407421"/>
              <a:gd name="connsiteX1293" fmla="*/ 9572509 w 11701760"/>
              <a:gd name="connsiteY1293" fmla="*/ 4517679 h 6407421"/>
              <a:gd name="connsiteX1294" fmla="*/ 9572509 w 11701760"/>
              <a:gd name="connsiteY1294" fmla="*/ 4547281 h 6407421"/>
              <a:gd name="connsiteX1295" fmla="*/ 9542906 w 11701760"/>
              <a:gd name="connsiteY1295" fmla="*/ 4547281 h 6407421"/>
              <a:gd name="connsiteX1296" fmla="*/ 9276817 w 11701760"/>
              <a:gd name="connsiteY1296" fmla="*/ 4517679 h 6407421"/>
              <a:gd name="connsiteX1297" fmla="*/ 9306420 w 11701760"/>
              <a:gd name="connsiteY1297" fmla="*/ 4517679 h 6407421"/>
              <a:gd name="connsiteX1298" fmla="*/ 9306420 w 11701760"/>
              <a:gd name="connsiteY1298" fmla="*/ 4547281 h 6407421"/>
              <a:gd name="connsiteX1299" fmla="*/ 9276817 w 11701760"/>
              <a:gd name="connsiteY1299" fmla="*/ 4547281 h 6407421"/>
              <a:gd name="connsiteX1300" fmla="*/ 9010620 w 11701760"/>
              <a:gd name="connsiteY1300" fmla="*/ 4517679 h 6407421"/>
              <a:gd name="connsiteX1301" fmla="*/ 9040222 w 11701760"/>
              <a:gd name="connsiteY1301" fmla="*/ 4517679 h 6407421"/>
              <a:gd name="connsiteX1302" fmla="*/ 9040222 w 11701760"/>
              <a:gd name="connsiteY1302" fmla="*/ 4547281 h 6407421"/>
              <a:gd name="connsiteX1303" fmla="*/ 9010620 w 11701760"/>
              <a:gd name="connsiteY1303" fmla="*/ 4547281 h 6407421"/>
              <a:gd name="connsiteX1304" fmla="*/ 8744423 w 11701760"/>
              <a:gd name="connsiteY1304" fmla="*/ 4517679 h 6407421"/>
              <a:gd name="connsiteX1305" fmla="*/ 8774026 w 11701760"/>
              <a:gd name="connsiteY1305" fmla="*/ 4517679 h 6407421"/>
              <a:gd name="connsiteX1306" fmla="*/ 8774026 w 11701760"/>
              <a:gd name="connsiteY1306" fmla="*/ 4547281 h 6407421"/>
              <a:gd name="connsiteX1307" fmla="*/ 8744423 w 11701760"/>
              <a:gd name="connsiteY1307" fmla="*/ 4547281 h 6407421"/>
              <a:gd name="connsiteX1308" fmla="*/ 8478226 w 11701760"/>
              <a:gd name="connsiteY1308" fmla="*/ 4517679 h 6407421"/>
              <a:gd name="connsiteX1309" fmla="*/ 8507828 w 11701760"/>
              <a:gd name="connsiteY1309" fmla="*/ 4517679 h 6407421"/>
              <a:gd name="connsiteX1310" fmla="*/ 8507828 w 11701760"/>
              <a:gd name="connsiteY1310" fmla="*/ 4547281 h 6407421"/>
              <a:gd name="connsiteX1311" fmla="*/ 8478226 w 11701760"/>
              <a:gd name="connsiteY1311" fmla="*/ 4547281 h 6407421"/>
              <a:gd name="connsiteX1312" fmla="*/ 8212137 w 11701760"/>
              <a:gd name="connsiteY1312" fmla="*/ 4517679 h 6407421"/>
              <a:gd name="connsiteX1313" fmla="*/ 8241740 w 11701760"/>
              <a:gd name="connsiteY1313" fmla="*/ 4517679 h 6407421"/>
              <a:gd name="connsiteX1314" fmla="*/ 8241740 w 11701760"/>
              <a:gd name="connsiteY1314" fmla="*/ 4547281 h 6407421"/>
              <a:gd name="connsiteX1315" fmla="*/ 8212137 w 11701760"/>
              <a:gd name="connsiteY1315" fmla="*/ 4547281 h 6407421"/>
              <a:gd name="connsiteX1316" fmla="*/ 7945940 w 11701760"/>
              <a:gd name="connsiteY1316" fmla="*/ 4517679 h 6407421"/>
              <a:gd name="connsiteX1317" fmla="*/ 7975543 w 11701760"/>
              <a:gd name="connsiteY1317" fmla="*/ 4517679 h 6407421"/>
              <a:gd name="connsiteX1318" fmla="*/ 7975543 w 11701760"/>
              <a:gd name="connsiteY1318" fmla="*/ 4547281 h 6407421"/>
              <a:gd name="connsiteX1319" fmla="*/ 7945940 w 11701760"/>
              <a:gd name="connsiteY1319" fmla="*/ 4547281 h 6407421"/>
              <a:gd name="connsiteX1320" fmla="*/ 7679743 w 11701760"/>
              <a:gd name="connsiteY1320" fmla="*/ 4517679 h 6407421"/>
              <a:gd name="connsiteX1321" fmla="*/ 7709346 w 11701760"/>
              <a:gd name="connsiteY1321" fmla="*/ 4517679 h 6407421"/>
              <a:gd name="connsiteX1322" fmla="*/ 7709346 w 11701760"/>
              <a:gd name="connsiteY1322" fmla="*/ 4547281 h 6407421"/>
              <a:gd name="connsiteX1323" fmla="*/ 7679743 w 11701760"/>
              <a:gd name="connsiteY1323" fmla="*/ 4547281 h 6407421"/>
              <a:gd name="connsiteX1324" fmla="*/ 7413653 w 11701760"/>
              <a:gd name="connsiteY1324" fmla="*/ 4517679 h 6407421"/>
              <a:gd name="connsiteX1325" fmla="*/ 7443256 w 11701760"/>
              <a:gd name="connsiteY1325" fmla="*/ 4517679 h 6407421"/>
              <a:gd name="connsiteX1326" fmla="*/ 7443256 w 11701760"/>
              <a:gd name="connsiteY1326" fmla="*/ 4547281 h 6407421"/>
              <a:gd name="connsiteX1327" fmla="*/ 7413653 w 11701760"/>
              <a:gd name="connsiteY1327" fmla="*/ 4547281 h 6407421"/>
              <a:gd name="connsiteX1328" fmla="*/ 7147456 w 11701760"/>
              <a:gd name="connsiteY1328" fmla="*/ 4517679 h 6407421"/>
              <a:gd name="connsiteX1329" fmla="*/ 7177058 w 11701760"/>
              <a:gd name="connsiteY1329" fmla="*/ 4517679 h 6407421"/>
              <a:gd name="connsiteX1330" fmla="*/ 7177058 w 11701760"/>
              <a:gd name="connsiteY1330" fmla="*/ 4547281 h 6407421"/>
              <a:gd name="connsiteX1331" fmla="*/ 7147456 w 11701760"/>
              <a:gd name="connsiteY1331" fmla="*/ 4547281 h 6407421"/>
              <a:gd name="connsiteX1332" fmla="*/ 6881367 w 11701760"/>
              <a:gd name="connsiteY1332" fmla="*/ 4517679 h 6407421"/>
              <a:gd name="connsiteX1333" fmla="*/ 6910970 w 11701760"/>
              <a:gd name="connsiteY1333" fmla="*/ 4517679 h 6407421"/>
              <a:gd name="connsiteX1334" fmla="*/ 6910970 w 11701760"/>
              <a:gd name="connsiteY1334" fmla="*/ 4547281 h 6407421"/>
              <a:gd name="connsiteX1335" fmla="*/ 6881367 w 11701760"/>
              <a:gd name="connsiteY1335" fmla="*/ 4547281 h 6407421"/>
              <a:gd name="connsiteX1336" fmla="*/ 6615170 w 11701760"/>
              <a:gd name="connsiteY1336" fmla="*/ 4517679 h 6407421"/>
              <a:gd name="connsiteX1337" fmla="*/ 6644773 w 11701760"/>
              <a:gd name="connsiteY1337" fmla="*/ 4517679 h 6407421"/>
              <a:gd name="connsiteX1338" fmla="*/ 6644773 w 11701760"/>
              <a:gd name="connsiteY1338" fmla="*/ 4547281 h 6407421"/>
              <a:gd name="connsiteX1339" fmla="*/ 6615170 w 11701760"/>
              <a:gd name="connsiteY1339" fmla="*/ 4547281 h 6407421"/>
              <a:gd name="connsiteX1340" fmla="*/ 6349081 w 11701760"/>
              <a:gd name="connsiteY1340" fmla="*/ 4517679 h 6407421"/>
              <a:gd name="connsiteX1341" fmla="*/ 6378683 w 11701760"/>
              <a:gd name="connsiteY1341" fmla="*/ 4517679 h 6407421"/>
              <a:gd name="connsiteX1342" fmla="*/ 6378683 w 11701760"/>
              <a:gd name="connsiteY1342" fmla="*/ 4547281 h 6407421"/>
              <a:gd name="connsiteX1343" fmla="*/ 6349081 w 11701760"/>
              <a:gd name="connsiteY1343" fmla="*/ 4547281 h 6407421"/>
              <a:gd name="connsiteX1344" fmla="*/ 6082884 w 11701760"/>
              <a:gd name="connsiteY1344" fmla="*/ 4517679 h 6407421"/>
              <a:gd name="connsiteX1345" fmla="*/ 6112486 w 11701760"/>
              <a:gd name="connsiteY1345" fmla="*/ 4517679 h 6407421"/>
              <a:gd name="connsiteX1346" fmla="*/ 6112486 w 11701760"/>
              <a:gd name="connsiteY1346" fmla="*/ 4547281 h 6407421"/>
              <a:gd name="connsiteX1347" fmla="*/ 6082884 w 11701760"/>
              <a:gd name="connsiteY1347" fmla="*/ 4547281 h 6407421"/>
              <a:gd name="connsiteX1348" fmla="*/ 5825310 w 11701760"/>
              <a:gd name="connsiteY1348" fmla="*/ 4517679 h 6407421"/>
              <a:gd name="connsiteX1349" fmla="*/ 5854913 w 11701760"/>
              <a:gd name="connsiteY1349" fmla="*/ 4517679 h 6407421"/>
              <a:gd name="connsiteX1350" fmla="*/ 5854913 w 11701760"/>
              <a:gd name="connsiteY1350" fmla="*/ 4547281 h 6407421"/>
              <a:gd name="connsiteX1351" fmla="*/ 5825310 w 11701760"/>
              <a:gd name="connsiteY1351" fmla="*/ 4547281 h 6407421"/>
              <a:gd name="connsiteX1352" fmla="*/ 5559113 w 11701760"/>
              <a:gd name="connsiteY1352" fmla="*/ 4517679 h 6407421"/>
              <a:gd name="connsiteX1353" fmla="*/ 5588715 w 11701760"/>
              <a:gd name="connsiteY1353" fmla="*/ 4517679 h 6407421"/>
              <a:gd name="connsiteX1354" fmla="*/ 5588715 w 11701760"/>
              <a:gd name="connsiteY1354" fmla="*/ 4547281 h 6407421"/>
              <a:gd name="connsiteX1355" fmla="*/ 5559113 w 11701760"/>
              <a:gd name="connsiteY1355" fmla="*/ 4547281 h 6407421"/>
              <a:gd name="connsiteX1356" fmla="*/ 5293024 w 11701760"/>
              <a:gd name="connsiteY1356" fmla="*/ 4517679 h 6407421"/>
              <a:gd name="connsiteX1357" fmla="*/ 5322626 w 11701760"/>
              <a:gd name="connsiteY1357" fmla="*/ 4517679 h 6407421"/>
              <a:gd name="connsiteX1358" fmla="*/ 5322626 w 11701760"/>
              <a:gd name="connsiteY1358" fmla="*/ 4547281 h 6407421"/>
              <a:gd name="connsiteX1359" fmla="*/ 5293024 w 11701760"/>
              <a:gd name="connsiteY1359" fmla="*/ 4547281 h 6407421"/>
              <a:gd name="connsiteX1360" fmla="*/ 5026827 w 11701760"/>
              <a:gd name="connsiteY1360" fmla="*/ 4517679 h 6407421"/>
              <a:gd name="connsiteX1361" fmla="*/ 5056429 w 11701760"/>
              <a:gd name="connsiteY1361" fmla="*/ 4517679 h 6407421"/>
              <a:gd name="connsiteX1362" fmla="*/ 5056429 w 11701760"/>
              <a:gd name="connsiteY1362" fmla="*/ 4547281 h 6407421"/>
              <a:gd name="connsiteX1363" fmla="*/ 5026827 w 11701760"/>
              <a:gd name="connsiteY1363" fmla="*/ 4547281 h 6407421"/>
              <a:gd name="connsiteX1364" fmla="*/ 4760630 w 11701760"/>
              <a:gd name="connsiteY1364" fmla="*/ 4517679 h 6407421"/>
              <a:gd name="connsiteX1365" fmla="*/ 4790340 w 11701760"/>
              <a:gd name="connsiteY1365" fmla="*/ 4517679 h 6407421"/>
              <a:gd name="connsiteX1366" fmla="*/ 4790340 w 11701760"/>
              <a:gd name="connsiteY1366" fmla="*/ 4547281 h 6407421"/>
              <a:gd name="connsiteX1367" fmla="*/ 4760630 w 11701760"/>
              <a:gd name="connsiteY1367" fmla="*/ 4547281 h 6407421"/>
              <a:gd name="connsiteX1368" fmla="*/ 4494541 w 11701760"/>
              <a:gd name="connsiteY1368" fmla="*/ 4517679 h 6407421"/>
              <a:gd name="connsiteX1369" fmla="*/ 4524144 w 11701760"/>
              <a:gd name="connsiteY1369" fmla="*/ 4517679 h 6407421"/>
              <a:gd name="connsiteX1370" fmla="*/ 4524144 w 11701760"/>
              <a:gd name="connsiteY1370" fmla="*/ 4547281 h 6407421"/>
              <a:gd name="connsiteX1371" fmla="*/ 4494541 w 11701760"/>
              <a:gd name="connsiteY1371" fmla="*/ 4547281 h 6407421"/>
              <a:gd name="connsiteX1372" fmla="*/ 4228344 w 11701760"/>
              <a:gd name="connsiteY1372" fmla="*/ 4517679 h 6407421"/>
              <a:gd name="connsiteX1373" fmla="*/ 4257946 w 11701760"/>
              <a:gd name="connsiteY1373" fmla="*/ 4517679 h 6407421"/>
              <a:gd name="connsiteX1374" fmla="*/ 4257946 w 11701760"/>
              <a:gd name="connsiteY1374" fmla="*/ 4547281 h 6407421"/>
              <a:gd name="connsiteX1375" fmla="*/ 4228344 w 11701760"/>
              <a:gd name="connsiteY1375" fmla="*/ 4547281 h 6407421"/>
              <a:gd name="connsiteX1376" fmla="*/ 3962255 w 11701760"/>
              <a:gd name="connsiteY1376" fmla="*/ 4517679 h 6407421"/>
              <a:gd name="connsiteX1377" fmla="*/ 3991857 w 11701760"/>
              <a:gd name="connsiteY1377" fmla="*/ 4517679 h 6407421"/>
              <a:gd name="connsiteX1378" fmla="*/ 3991857 w 11701760"/>
              <a:gd name="connsiteY1378" fmla="*/ 4547281 h 6407421"/>
              <a:gd name="connsiteX1379" fmla="*/ 3962255 w 11701760"/>
              <a:gd name="connsiteY1379" fmla="*/ 4547281 h 6407421"/>
              <a:gd name="connsiteX1380" fmla="*/ 3696058 w 11701760"/>
              <a:gd name="connsiteY1380" fmla="*/ 4517679 h 6407421"/>
              <a:gd name="connsiteX1381" fmla="*/ 3725661 w 11701760"/>
              <a:gd name="connsiteY1381" fmla="*/ 4517679 h 6407421"/>
              <a:gd name="connsiteX1382" fmla="*/ 3725661 w 11701760"/>
              <a:gd name="connsiteY1382" fmla="*/ 4547281 h 6407421"/>
              <a:gd name="connsiteX1383" fmla="*/ 3696058 w 11701760"/>
              <a:gd name="connsiteY1383" fmla="*/ 4547281 h 6407421"/>
              <a:gd name="connsiteX1384" fmla="*/ 3429969 w 11701760"/>
              <a:gd name="connsiteY1384" fmla="*/ 4517679 h 6407421"/>
              <a:gd name="connsiteX1385" fmla="*/ 3459572 w 11701760"/>
              <a:gd name="connsiteY1385" fmla="*/ 4517679 h 6407421"/>
              <a:gd name="connsiteX1386" fmla="*/ 3459572 w 11701760"/>
              <a:gd name="connsiteY1386" fmla="*/ 4547281 h 6407421"/>
              <a:gd name="connsiteX1387" fmla="*/ 3429969 w 11701760"/>
              <a:gd name="connsiteY1387" fmla="*/ 4547281 h 6407421"/>
              <a:gd name="connsiteX1388" fmla="*/ 3163772 w 11701760"/>
              <a:gd name="connsiteY1388" fmla="*/ 4517679 h 6407421"/>
              <a:gd name="connsiteX1389" fmla="*/ 3193374 w 11701760"/>
              <a:gd name="connsiteY1389" fmla="*/ 4517679 h 6407421"/>
              <a:gd name="connsiteX1390" fmla="*/ 3193374 w 11701760"/>
              <a:gd name="connsiteY1390" fmla="*/ 4547281 h 6407421"/>
              <a:gd name="connsiteX1391" fmla="*/ 3163772 w 11701760"/>
              <a:gd name="connsiteY1391" fmla="*/ 4547281 h 6407421"/>
              <a:gd name="connsiteX1392" fmla="*/ 2897575 w 11701760"/>
              <a:gd name="connsiteY1392" fmla="*/ 4517679 h 6407421"/>
              <a:gd name="connsiteX1393" fmla="*/ 2927178 w 11701760"/>
              <a:gd name="connsiteY1393" fmla="*/ 4517679 h 6407421"/>
              <a:gd name="connsiteX1394" fmla="*/ 2927178 w 11701760"/>
              <a:gd name="connsiteY1394" fmla="*/ 4547281 h 6407421"/>
              <a:gd name="connsiteX1395" fmla="*/ 2897575 w 11701760"/>
              <a:gd name="connsiteY1395" fmla="*/ 4547281 h 6407421"/>
              <a:gd name="connsiteX1396" fmla="*/ 2631378 w 11701760"/>
              <a:gd name="connsiteY1396" fmla="*/ 4517679 h 6407421"/>
              <a:gd name="connsiteX1397" fmla="*/ 2660980 w 11701760"/>
              <a:gd name="connsiteY1397" fmla="*/ 4517679 h 6407421"/>
              <a:gd name="connsiteX1398" fmla="*/ 2660980 w 11701760"/>
              <a:gd name="connsiteY1398" fmla="*/ 4547281 h 6407421"/>
              <a:gd name="connsiteX1399" fmla="*/ 2631378 w 11701760"/>
              <a:gd name="connsiteY1399" fmla="*/ 4547281 h 6407421"/>
              <a:gd name="connsiteX1400" fmla="*/ 2365289 w 11701760"/>
              <a:gd name="connsiteY1400" fmla="*/ 4517679 h 6407421"/>
              <a:gd name="connsiteX1401" fmla="*/ 2394892 w 11701760"/>
              <a:gd name="connsiteY1401" fmla="*/ 4517679 h 6407421"/>
              <a:gd name="connsiteX1402" fmla="*/ 2394892 w 11701760"/>
              <a:gd name="connsiteY1402" fmla="*/ 4547281 h 6407421"/>
              <a:gd name="connsiteX1403" fmla="*/ 2365289 w 11701760"/>
              <a:gd name="connsiteY1403" fmla="*/ 4547281 h 6407421"/>
              <a:gd name="connsiteX1404" fmla="*/ 2099092 w 11701760"/>
              <a:gd name="connsiteY1404" fmla="*/ 4517679 h 6407421"/>
              <a:gd name="connsiteX1405" fmla="*/ 2128695 w 11701760"/>
              <a:gd name="connsiteY1405" fmla="*/ 4517679 h 6407421"/>
              <a:gd name="connsiteX1406" fmla="*/ 2128695 w 11701760"/>
              <a:gd name="connsiteY1406" fmla="*/ 4547281 h 6407421"/>
              <a:gd name="connsiteX1407" fmla="*/ 2099092 w 11701760"/>
              <a:gd name="connsiteY1407" fmla="*/ 4547281 h 6407421"/>
              <a:gd name="connsiteX1408" fmla="*/ 1832898 w 11701760"/>
              <a:gd name="connsiteY1408" fmla="*/ 4517679 h 6407421"/>
              <a:gd name="connsiteX1409" fmla="*/ 1862498 w 11701760"/>
              <a:gd name="connsiteY1409" fmla="*/ 4517679 h 6407421"/>
              <a:gd name="connsiteX1410" fmla="*/ 1862498 w 11701760"/>
              <a:gd name="connsiteY1410" fmla="*/ 4547281 h 6407421"/>
              <a:gd name="connsiteX1411" fmla="*/ 1832898 w 11701760"/>
              <a:gd name="connsiteY1411" fmla="*/ 4547281 h 6407421"/>
              <a:gd name="connsiteX1412" fmla="*/ 1566808 w 11701760"/>
              <a:gd name="connsiteY1412" fmla="*/ 4517679 h 6407421"/>
              <a:gd name="connsiteX1413" fmla="*/ 1596409 w 11701760"/>
              <a:gd name="connsiteY1413" fmla="*/ 4517679 h 6407421"/>
              <a:gd name="connsiteX1414" fmla="*/ 1596409 w 11701760"/>
              <a:gd name="connsiteY1414" fmla="*/ 4547281 h 6407421"/>
              <a:gd name="connsiteX1415" fmla="*/ 1566808 w 11701760"/>
              <a:gd name="connsiteY1415" fmla="*/ 4547281 h 6407421"/>
              <a:gd name="connsiteX1416" fmla="*/ 1300611 w 11701760"/>
              <a:gd name="connsiteY1416" fmla="*/ 4517679 h 6407421"/>
              <a:gd name="connsiteX1417" fmla="*/ 1330213 w 11701760"/>
              <a:gd name="connsiteY1417" fmla="*/ 4517679 h 6407421"/>
              <a:gd name="connsiteX1418" fmla="*/ 1330213 w 11701760"/>
              <a:gd name="connsiteY1418" fmla="*/ 4547281 h 6407421"/>
              <a:gd name="connsiteX1419" fmla="*/ 1300611 w 11701760"/>
              <a:gd name="connsiteY1419" fmla="*/ 4547281 h 6407421"/>
              <a:gd name="connsiteX1420" fmla="*/ 1034520 w 11701760"/>
              <a:gd name="connsiteY1420" fmla="*/ 4517679 h 6407421"/>
              <a:gd name="connsiteX1421" fmla="*/ 1064123 w 11701760"/>
              <a:gd name="connsiteY1421" fmla="*/ 4517679 h 6407421"/>
              <a:gd name="connsiteX1422" fmla="*/ 1064123 w 11701760"/>
              <a:gd name="connsiteY1422" fmla="*/ 4547281 h 6407421"/>
              <a:gd name="connsiteX1423" fmla="*/ 1034520 w 11701760"/>
              <a:gd name="connsiteY1423" fmla="*/ 4547281 h 6407421"/>
              <a:gd name="connsiteX1424" fmla="*/ 768327 w 11701760"/>
              <a:gd name="connsiteY1424" fmla="*/ 4517679 h 6407421"/>
              <a:gd name="connsiteX1425" fmla="*/ 797926 w 11701760"/>
              <a:gd name="connsiteY1425" fmla="*/ 4517679 h 6407421"/>
              <a:gd name="connsiteX1426" fmla="*/ 797926 w 11701760"/>
              <a:gd name="connsiteY1426" fmla="*/ 4547281 h 6407421"/>
              <a:gd name="connsiteX1427" fmla="*/ 768327 w 11701760"/>
              <a:gd name="connsiteY1427" fmla="*/ 4547281 h 6407421"/>
              <a:gd name="connsiteX1428" fmla="*/ 502236 w 11701760"/>
              <a:gd name="connsiteY1428" fmla="*/ 4517679 h 6407421"/>
              <a:gd name="connsiteX1429" fmla="*/ 531839 w 11701760"/>
              <a:gd name="connsiteY1429" fmla="*/ 4517679 h 6407421"/>
              <a:gd name="connsiteX1430" fmla="*/ 531839 w 11701760"/>
              <a:gd name="connsiteY1430" fmla="*/ 4547281 h 6407421"/>
              <a:gd name="connsiteX1431" fmla="*/ 502236 w 11701760"/>
              <a:gd name="connsiteY1431" fmla="*/ 4547281 h 6407421"/>
              <a:gd name="connsiteX1432" fmla="*/ 236037 w 11701760"/>
              <a:gd name="connsiteY1432" fmla="*/ 4517679 h 6407421"/>
              <a:gd name="connsiteX1433" fmla="*/ 265640 w 11701760"/>
              <a:gd name="connsiteY1433" fmla="*/ 4517679 h 6407421"/>
              <a:gd name="connsiteX1434" fmla="*/ 265640 w 11701760"/>
              <a:gd name="connsiteY1434" fmla="*/ 4547281 h 6407421"/>
              <a:gd name="connsiteX1435" fmla="*/ 236037 w 11701760"/>
              <a:gd name="connsiteY1435" fmla="*/ 4547281 h 6407421"/>
              <a:gd name="connsiteX1436" fmla="*/ 2 w 11701760"/>
              <a:gd name="connsiteY1436" fmla="*/ 4517679 h 6407421"/>
              <a:gd name="connsiteX1437" fmla="*/ 29603 w 11701760"/>
              <a:gd name="connsiteY1437" fmla="*/ 4517679 h 6407421"/>
              <a:gd name="connsiteX1438" fmla="*/ 29603 w 11701760"/>
              <a:gd name="connsiteY1438" fmla="*/ 4547281 h 6407421"/>
              <a:gd name="connsiteX1439" fmla="*/ 2 w 11701760"/>
              <a:gd name="connsiteY1439" fmla="*/ 4547281 h 6407421"/>
              <a:gd name="connsiteX1440" fmla="*/ 11672158 w 11701760"/>
              <a:gd name="connsiteY1440" fmla="*/ 4252022 h 6407421"/>
              <a:gd name="connsiteX1441" fmla="*/ 11701760 w 11701760"/>
              <a:gd name="connsiteY1441" fmla="*/ 4252022 h 6407421"/>
              <a:gd name="connsiteX1442" fmla="*/ 11701760 w 11701760"/>
              <a:gd name="connsiteY1442" fmla="*/ 4281516 h 6407421"/>
              <a:gd name="connsiteX1443" fmla="*/ 11672158 w 11701760"/>
              <a:gd name="connsiteY1443" fmla="*/ 4281516 h 6407421"/>
              <a:gd name="connsiteX1444" fmla="*/ 11405961 w 11701760"/>
              <a:gd name="connsiteY1444" fmla="*/ 4252022 h 6407421"/>
              <a:gd name="connsiteX1445" fmla="*/ 11435563 w 11701760"/>
              <a:gd name="connsiteY1445" fmla="*/ 4252022 h 6407421"/>
              <a:gd name="connsiteX1446" fmla="*/ 11435563 w 11701760"/>
              <a:gd name="connsiteY1446" fmla="*/ 4281516 h 6407421"/>
              <a:gd name="connsiteX1447" fmla="*/ 11405961 w 11701760"/>
              <a:gd name="connsiteY1447" fmla="*/ 4281516 h 6407421"/>
              <a:gd name="connsiteX1448" fmla="*/ 11139872 w 11701760"/>
              <a:gd name="connsiteY1448" fmla="*/ 4252022 h 6407421"/>
              <a:gd name="connsiteX1449" fmla="*/ 11169474 w 11701760"/>
              <a:gd name="connsiteY1449" fmla="*/ 4252022 h 6407421"/>
              <a:gd name="connsiteX1450" fmla="*/ 11169474 w 11701760"/>
              <a:gd name="connsiteY1450" fmla="*/ 4281516 h 6407421"/>
              <a:gd name="connsiteX1451" fmla="*/ 11139872 w 11701760"/>
              <a:gd name="connsiteY1451" fmla="*/ 4281516 h 6407421"/>
              <a:gd name="connsiteX1452" fmla="*/ 10873675 w 11701760"/>
              <a:gd name="connsiteY1452" fmla="*/ 4252022 h 6407421"/>
              <a:gd name="connsiteX1453" fmla="*/ 10903277 w 11701760"/>
              <a:gd name="connsiteY1453" fmla="*/ 4252022 h 6407421"/>
              <a:gd name="connsiteX1454" fmla="*/ 10903277 w 11701760"/>
              <a:gd name="connsiteY1454" fmla="*/ 4281516 h 6407421"/>
              <a:gd name="connsiteX1455" fmla="*/ 10873675 w 11701760"/>
              <a:gd name="connsiteY1455" fmla="*/ 4281516 h 6407421"/>
              <a:gd name="connsiteX1456" fmla="*/ 10607478 w 11701760"/>
              <a:gd name="connsiteY1456" fmla="*/ 4252022 h 6407421"/>
              <a:gd name="connsiteX1457" fmla="*/ 10637188 w 11701760"/>
              <a:gd name="connsiteY1457" fmla="*/ 4252022 h 6407421"/>
              <a:gd name="connsiteX1458" fmla="*/ 10637188 w 11701760"/>
              <a:gd name="connsiteY1458" fmla="*/ 4281516 h 6407421"/>
              <a:gd name="connsiteX1459" fmla="*/ 10607478 w 11701760"/>
              <a:gd name="connsiteY1459" fmla="*/ 4281516 h 6407421"/>
              <a:gd name="connsiteX1460" fmla="*/ 10341389 w 11701760"/>
              <a:gd name="connsiteY1460" fmla="*/ 4252022 h 6407421"/>
              <a:gd name="connsiteX1461" fmla="*/ 10370992 w 11701760"/>
              <a:gd name="connsiteY1461" fmla="*/ 4252022 h 6407421"/>
              <a:gd name="connsiteX1462" fmla="*/ 10370992 w 11701760"/>
              <a:gd name="connsiteY1462" fmla="*/ 4281516 h 6407421"/>
              <a:gd name="connsiteX1463" fmla="*/ 10341389 w 11701760"/>
              <a:gd name="connsiteY1463" fmla="*/ 4281516 h 6407421"/>
              <a:gd name="connsiteX1464" fmla="*/ 10075192 w 11701760"/>
              <a:gd name="connsiteY1464" fmla="*/ 4252022 h 6407421"/>
              <a:gd name="connsiteX1465" fmla="*/ 10104794 w 11701760"/>
              <a:gd name="connsiteY1465" fmla="*/ 4252022 h 6407421"/>
              <a:gd name="connsiteX1466" fmla="*/ 10104794 w 11701760"/>
              <a:gd name="connsiteY1466" fmla="*/ 4281516 h 6407421"/>
              <a:gd name="connsiteX1467" fmla="*/ 10075192 w 11701760"/>
              <a:gd name="connsiteY1467" fmla="*/ 4281516 h 6407421"/>
              <a:gd name="connsiteX1468" fmla="*/ 9809103 w 11701760"/>
              <a:gd name="connsiteY1468" fmla="*/ 4252022 h 6407421"/>
              <a:gd name="connsiteX1469" fmla="*/ 9838705 w 11701760"/>
              <a:gd name="connsiteY1469" fmla="*/ 4252022 h 6407421"/>
              <a:gd name="connsiteX1470" fmla="*/ 9838705 w 11701760"/>
              <a:gd name="connsiteY1470" fmla="*/ 4281516 h 6407421"/>
              <a:gd name="connsiteX1471" fmla="*/ 9809103 w 11701760"/>
              <a:gd name="connsiteY1471" fmla="*/ 4281516 h 6407421"/>
              <a:gd name="connsiteX1472" fmla="*/ 9542906 w 11701760"/>
              <a:gd name="connsiteY1472" fmla="*/ 4252022 h 6407421"/>
              <a:gd name="connsiteX1473" fmla="*/ 9572509 w 11701760"/>
              <a:gd name="connsiteY1473" fmla="*/ 4252022 h 6407421"/>
              <a:gd name="connsiteX1474" fmla="*/ 9572509 w 11701760"/>
              <a:gd name="connsiteY1474" fmla="*/ 4281516 h 6407421"/>
              <a:gd name="connsiteX1475" fmla="*/ 9542906 w 11701760"/>
              <a:gd name="connsiteY1475" fmla="*/ 4281516 h 6407421"/>
              <a:gd name="connsiteX1476" fmla="*/ 9276817 w 11701760"/>
              <a:gd name="connsiteY1476" fmla="*/ 4252022 h 6407421"/>
              <a:gd name="connsiteX1477" fmla="*/ 9306420 w 11701760"/>
              <a:gd name="connsiteY1477" fmla="*/ 4252022 h 6407421"/>
              <a:gd name="connsiteX1478" fmla="*/ 9306420 w 11701760"/>
              <a:gd name="connsiteY1478" fmla="*/ 4281516 h 6407421"/>
              <a:gd name="connsiteX1479" fmla="*/ 9276817 w 11701760"/>
              <a:gd name="connsiteY1479" fmla="*/ 4281516 h 6407421"/>
              <a:gd name="connsiteX1480" fmla="*/ 9010620 w 11701760"/>
              <a:gd name="connsiteY1480" fmla="*/ 4252022 h 6407421"/>
              <a:gd name="connsiteX1481" fmla="*/ 9040222 w 11701760"/>
              <a:gd name="connsiteY1481" fmla="*/ 4252022 h 6407421"/>
              <a:gd name="connsiteX1482" fmla="*/ 9040222 w 11701760"/>
              <a:gd name="connsiteY1482" fmla="*/ 4281516 h 6407421"/>
              <a:gd name="connsiteX1483" fmla="*/ 9010620 w 11701760"/>
              <a:gd name="connsiteY1483" fmla="*/ 4281516 h 6407421"/>
              <a:gd name="connsiteX1484" fmla="*/ 8744423 w 11701760"/>
              <a:gd name="connsiteY1484" fmla="*/ 4252022 h 6407421"/>
              <a:gd name="connsiteX1485" fmla="*/ 8774026 w 11701760"/>
              <a:gd name="connsiteY1485" fmla="*/ 4252022 h 6407421"/>
              <a:gd name="connsiteX1486" fmla="*/ 8774026 w 11701760"/>
              <a:gd name="connsiteY1486" fmla="*/ 4281516 h 6407421"/>
              <a:gd name="connsiteX1487" fmla="*/ 8744423 w 11701760"/>
              <a:gd name="connsiteY1487" fmla="*/ 4281516 h 6407421"/>
              <a:gd name="connsiteX1488" fmla="*/ 8478226 w 11701760"/>
              <a:gd name="connsiteY1488" fmla="*/ 4252022 h 6407421"/>
              <a:gd name="connsiteX1489" fmla="*/ 8507828 w 11701760"/>
              <a:gd name="connsiteY1489" fmla="*/ 4252022 h 6407421"/>
              <a:gd name="connsiteX1490" fmla="*/ 8507828 w 11701760"/>
              <a:gd name="connsiteY1490" fmla="*/ 4281516 h 6407421"/>
              <a:gd name="connsiteX1491" fmla="*/ 8478226 w 11701760"/>
              <a:gd name="connsiteY1491" fmla="*/ 4281516 h 6407421"/>
              <a:gd name="connsiteX1492" fmla="*/ 8212137 w 11701760"/>
              <a:gd name="connsiteY1492" fmla="*/ 4252022 h 6407421"/>
              <a:gd name="connsiteX1493" fmla="*/ 8241740 w 11701760"/>
              <a:gd name="connsiteY1493" fmla="*/ 4252022 h 6407421"/>
              <a:gd name="connsiteX1494" fmla="*/ 8241740 w 11701760"/>
              <a:gd name="connsiteY1494" fmla="*/ 4281516 h 6407421"/>
              <a:gd name="connsiteX1495" fmla="*/ 8212137 w 11701760"/>
              <a:gd name="connsiteY1495" fmla="*/ 4281516 h 6407421"/>
              <a:gd name="connsiteX1496" fmla="*/ 7945940 w 11701760"/>
              <a:gd name="connsiteY1496" fmla="*/ 4252022 h 6407421"/>
              <a:gd name="connsiteX1497" fmla="*/ 7975543 w 11701760"/>
              <a:gd name="connsiteY1497" fmla="*/ 4252022 h 6407421"/>
              <a:gd name="connsiteX1498" fmla="*/ 7975543 w 11701760"/>
              <a:gd name="connsiteY1498" fmla="*/ 4281516 h 6407421"/>
              <a:gd name="connsiteX1499" fmla="*/ 7945940 w 11701760"/>
              <a:gd name="connsiteY1499" fmla="*/ 4281516 h 6407421"/>
              <a:gd name="connsiteX1500" fmla="*/ 7679743 w 11701760"/>
              <a:gd name="connsiteY1500" fmla="*/ 4252022 h 6407421"/>
              <a:gd name="connsiteX1501" fmla="*/ 7709346 w 11701760"/>
              <a:gd name="connsiteY1501" fmla="*/ 4252022 h 6407421"/>
              <a:gd name="connsiteX1502" fmla="*/ 7709346 w 11701760"/>
              <a:gd name="connsiteY1502" fmla="*/ 4281516 h 6407421"/>
              <a:gd name="connsiteX1503" fmla="*/ 7679743 w 11701760"/>
              <a:gd name="connsiteY1503" fmla="*/ 4281516 h 6407421"/>
              <a:gd name="connsiteX1504" fmla="*/ 7413653 w 11701760"/>
              <a:gd name="connsiteY1504" fmla="*/ 4252022 h 6407421"/>
              <a:gd name="connsiteX1505" fmla="*/ 7443256 w 11701760"/>
              <a:gd name="connsiteY1505" fmla="*/ 4252022 h 6407421"/>
              <a:gd name="connsiteX1506" fmla="*/ 7443256 w 11701760"/>
              <a:gd name="connsiteY1506" fmla="*/ 4281516 h 6407421"/>
              <a:gd name="connsiteX1507" fmla="*/ 7413653 w 11701760"/>
              <a:gd name="connsiteY1507" fmla="*/ 4281516 h 6407421"/>
              <a:gd name="connsiteX1508" fmla="*/ 7147456 w 11701760"/>
              <a:gd name="connsiteY1508" fmla="*/ 4252022 h 6407421"/>
              <a:gd name="connsiteX1509" fmla="*/ 7177058 w 11701760"/>
              <a:gd name="connsiteY1509" fmla="*/ 4252022 h 6407421"/>
              <a:gd name="connsiteX1510" fmla="*/ 7177058 w 11701760"/>
              <a:gd name="connsiteY1510" fmla="*/ 4281516 h 6407421"/>
              <a:gd name="connsiteX1511" fmla="*/ 7147456 w 11701760"/>
              <a:gd name="connsiteY1511" fmla="*/ 4281516 h 6407421"/>
              <a:gd name="connsiteX1512" fmla="*/ 6881367 w 11701760"/>
              <a:gd name="connsiteY1512" fmla="*/ 4252022 h 6407421"/>
              <a:gd name="connsiteX1513" fmla="*/ 6910970 w 11701760"/>
              <a:gd name="connsiteY1513" fmla="*/ 4252022 h 6407421"/>
              <a:gd name="connsiteX1514" fmla="*/ 6910970 w 11701760"/>
              <a:gd name="connsiteY1514" fmla="*/ 4281516 h 6407421"/>
              <a:gd name="connsiteX1515" fmla="*/ 6881367 w 11701760"/>
              <a:gd name="connsiteY1515" fmla="*/ 4281516 h 6407421"/>
              <a:gd name="connsiteX1516" fmla="*/ 6615170 w 11701760"/>
              <a:gd name="connsiteY1516" fmla="*/ 4252022 h 6407421"/>
              <a:gd name="connsiteX1517" fmla="*/ 6644773 w 11701760"/>
              <a:gd name="connsiteY1517" fmla="*/ 4252022 h 6407421"/>
              <a:gd name="connsiteX1518" fmla="*/ 6644773 w 11701760"/>
              <a:gd name="connsiteY1518" fmla="*/ 4281516 h 6407421"/>
              <a:gd name="connsiteX1519" fmla="*/ 6615170 w 11701760"/>
              <a:gd name="connsiteY1519" fmla="*/ 4281516 h 6407421"/>
              <a:gd name="connsiteX1520" fmla="*/ 6349081 w 11701760"/>
              <a:gd name="connsiteY1520" fmla="*/ 4252022 h 6407421"/>
              <a:gd name="connsiteX1521" fmla="*/ 6378683 w 11701760"/>
              <a:gd name="connsiteY1521" fmla="*/ 4252022 h 6407421"/>
              <a:gd name="connsiteX1522" fmla="*/ 6378683 w 11701760"/>
              <a:gd name="connsiteY1522" fmla="*/ 4281516 h 6407421"/>
              <a:gd name="connsiteX1523" fmla="*/ 6349081 w 11701760"/>
              <a:gd name="connsiteY1523" fmla="*/ 4281516 h 6407421"/>
              <a:gd name="connsiteX1524" fmla="*/ 6082884 w 11701760"/>
              <a:gd name="connsiteY1524" fmla="*/ 4252022 h 6407421"/>
              <a:gd name="connsiteX1525" fmla="*/ 6112486 w 11701760"/>
              <a:gd name="connsiteY1525" fmla="*/ 4252022 h 6407421"/>
              <a:gd name="connsiteX1526" fmla="*/ 6112486 w 11701760"/>
              <a:gd name="connsiteY1526" fmla="*/ 4281516 h 6407421"/>
              <a:gd name="connsiteX1527" fmla="*/ 6082884 w 11701760"/>
              <a:gd name="connsiteY1527" fmla="*/ 4281516 h 6407421"/>
              <a:gd name="connsiteX1528" fmla="*/ 5825310 w 11701760"/>
              <a:gd name="connsiteY1528" fmla="*/ 4252022 h 6407421"/>
              <a:gd name="connsiteX1529" fmla="*/ 5854913 w 11701760"/>
              <a:gd name="connsiteY1529" fmla="*/ 4252022 h 6407421"/>
              <a:gd name="connsiteX1530" fmla="*/ 5854913 w 11701760"/>
              <a:gd name="connsiteY1530" fmla="*/ 4281516 h 6407421"/>
              <a:gd name="connsiteX1531" fmla="*/ 5825310 w 11701760"/>
              <a:gd name="connsiteY1531" fmla="*/ 4281516 h 6407421"/>
              <a:gd name="connsiteX1532" fmla="*/ 5559113 w 11701760"/>
              <a:gd name="connsiteY1532" fmla="*/ 4252022 h 6407421"/>
              <a:gd name="connsiteX1533" fmla="*/ 5588715 w 11701760"/>
              <a:gd name="connsiteY1533" fmla="*/ 4252022 h 6407421"/>
              <a:gd name="connsiteX1534" fmla="*/ 5588715 w 11701760"/>
              <a:gd name="connsiteY1534" fmla="*/ 4281516 h 6407421"/>
              <a:gd name="connsiteX1535" fmla="*/ 5559113 w 11701760"/>
              <a:gd name="connsiteY1535" fmla="*/ 4281516 h 6407421"/>
              <a:gd name="connsiteX1536" fmla="*/ 5293024 w 11701760"/>
              <a:gd name="connsiteY1536" fmla="*/ 4252022 h 6407421"/>
              <a:gd name="connsiteX1537" fmla="*/ 5322626 w 11701760"/>
              <a:gd name="connsiteY1537" fmla="*/ 4252022 h 6407421"/>
              <a:gd name="connsiteX1538" fmla="*/ 5322626 w 11701760"/>
              <a:gd name="connsiteY1538" fmla="*/ 4281516 h 6407421"/>
              <a:gd name="connsiteX1539" fmla="*/ 5293024 w 11701760"/>
              <a:gd name="connsiteY1539" fmla="*/ 4281516 h 6407421"/>
              <a:gd name="connsiteX1540" fmla="*/ 5026827 w 11701760"/>
              <a:gd name="connsiteY1540" fmla="*/ 4252022 h 6407421"/>
              <a:gd name="connsiteX1541" fmla="*/ 5056429 w 11701760"/>
              <a:gd name="connsiteY1541" fmla="*/ 4252022 h 6407421"/>
              <a:gd name="connsiteX1542" fmla="*/ 5056429 w 11701760"/>
              <a:gd name="connsiteY1542" fmla="*/ 4281516 h 6407421"/>
              <a:gd name="connsiteX1543" fmla="*/ 5026827 w 11701760"/>
              <a:gd name="connsiteY1543" fmla="*/ 4281516 h 6407421"/>
              <a:gd name="connsiteX1544" fmla="*/ 4760630 w 11701760"/>
              <a:gd name="connsiteY1544" fmla="*/ 4252022 h 6407421"/>
              <a:gd name="connsiteX1545" fmla="*/ 4790340 w 11701760"/>
              <a:gd name="connsiteY1545" fmla="*/ 4252022 h 6407421"/>
              <a:gd name="connsiteX1546" fmla="*/ 4790340 w 11701760"/>
              <a:gd name="connsiteY1546" fmla="*/ 4281516 h 6407421"/>
              <a:gd name="connsiteX1547" fmla="*/ 4760630 w 11701760"/>
              <a:gd name="connsiteY1547" fmla="*/ 4281516 h 6407421"/>
              <a:gd name="connsiteX1548" fmla="*/ 4494541 w 11701760"/>
              <a:gd name="connsiteY1548" fmla="*/ 4252022 h 6407421"/>
              <a:gd name="connsiteX1549" fmla="*/ 4524144 w 11701760"/>
              <a:gd name="connsiteY1549" fmla="*/ 4252022 h 6407421"/>
              <a:gd name="connsiteX1550" fmla="*/ 4524144 w 11701760"/>
              <a:gd name="connsiteY1550" fmla="*/ 4281516 h 6407421"/>
              <a:gd name="connsiteX1551" fmla="*/ 4494541 w 11701760"/>
              <a:gd name="connsiteY1551" fmla="*/ 4281516 h 6407421"/>
              <a:gd name="connsiteX1552" fmla="*/ 4228344 w 11701760"/>
              <a:gd name="connsiteY1552" fmla="*/ 4252022 h 6407421"/>
              <a:gd name="connsiteX1553" fmla="*/ 4257946 w 11701760"/>
              <a:gd name="connsiteY1553" fmla="*/ 4252022 h 6407421"/>
              <a:gd name="connsiteX1554" fmla="*/ 4257946 w 11701760"/>
              <a:gd name="connsiteY1554" fmla="*/ 4281516 h 6407421"/>
              <a:gd name="connsiteX1555" fmla="*/ 4228344 w 11701760"/>
              <a:gd name="connsiteY1555" fmla="*/ 4281516 h 6407421"/>
              <a:gd name="connsiteX1556" fmla="*/ 3962255 w 11701760"/>
              <a:gd name="connsiteY1556" fmla="*/ 4252022 h 6407421"/>
              <a:gd name="connsiteX1557" fmla="*/ 3991857 w 11701760"/>
              <a:gd name="connsiteY1557" fmla="*/ 4252022 h 6407421"/>
              <a:gd name="connsiteX1558" fmla="*/ 3991857 w 11701760"/>
              <a:gd name="connsiteY1558" fmla="*/ 4281516 h 6407421"/>
              <a:gd name="connsiteX1559" fmla="*/ 3962255 w 11701760"/>
              <a:gd name="connsiteY1559" fmla="*/ 4281516 h 6407421"/>
              <a:gd name="connsiteX1560" fmla="*/ 3696058 w 11701760"/>
              <a:gd name="connsiteY1560" fmla="*/ 4252022 h 6407421"/>
              <a:gd name="connsiteX1561" fmla="*/ 3725661 w 11701760"/>
              <a:gd name="connsiteY1561" fmla="*/ 4252022 h 6407421"/>
              <a:gd name="connsiteX1562" fmla="*/ 3725661 w 11701760"/>
              <a:gd name="connsiteY1562" fmla="*/ 4281516 h 6407421"/>
              <a:gd name="connsiteX1563" fmla="*/ 3696058 w 11701760"/>
              <a:gd name="connsiteY1563" fmla="*/ 4281516 h 6407421"/>
              <a:gd name="connsiteX1564" fmla="*/ 3429969 w 11701760"/>
              <a:gd name="connsiteY1564" fmla="*/ 4252022 h 6407421"/>
              <a:gd name="connsiteX1565" fmla="*/ 3459572 w 11701760"/>
              <a:gd name="connsiteY1565" fmla="*/ 4252022 h 6407421"/>
              <a:gd name="connsiteX1566" fmla="*/ 3459572 w 11701760"/>
              <a:gd name="connsiteY1566" fmla="*/ 4281516 h 6407421"/>
              <a:gd name="connsiteX1567" fmla="*/ 3429969 w 11701760"/>
              <a:gd name="connsiteY1567" fmla="*/ 4281516 h 6407421"/>
              <a:gd name="connsiteX1568" fmla="*/ 3163772 w 11701760"/>
              <a:gd name="connsiteY1568" fmla="*/ 4252022 h 6407421"/>
              <a:gd name="connsiteX1569" fmla="*/ 3193374 w 11701760"/>
              <a:gd name="connsiteY1569" fmla="*/ 4252022 h 6407421"/>
              <a:gd name="connsiteX1570" fmla="*/ 3193374 w 11701760"/>
              <a:gd name="connsiteY1570" fmla="*/ 4281516 h 6407421"/>
              <a:gd name="connsiteX1571" fmla="*/ 3163772 w 11701760"/>
              <a:gd name="connsiteY1571" fmla="*/ 4281516 h 6407421"/>
              <a:gd name="connsiteX1572" fmla="*/ 2897575 w 11701760"/>
              <a:gd name="connsiteY1572" fmla="*/ 4252022 h 6407421"/>
              <a:gd name="connsiteX1573" fmla="*/ 2927178 w 11701760"/>
              <a:gd name="connsiteY1573" fmla="*/ 4252022 h 6407421"/>
              <a:gd name="connsiteX1574" fmla="*/ 2927178 w 11701760"/>
              <a:gd name="connsiteY1574" fmla="*/ 4281516 h 6407421"/>
              <a:gd name="connsiteX1575" fmla="*/ 2897575 w 11701760"/>
              <a:gd name="connsiteY1575" fmla="*/ 4281516 h 6407421"/>
              <a:gd name="connsiteX1576" fmla="*/ 2631378 w 11701760"/>
              <a:gd name="connsiteY1576" fmla="*/ 4252022 h 6407421"/>
              <a:gd name="connsiteX1577" fmla="*/ 2660980 w 11701760"/>
              <a:gd name="connsiteY1577" fmla="*/ 4252022 h 6407421"/>
              <a:gd name="connsiteX1578" fmla="*/ 2660980 w 11701760"/>
              <a:gd name="connsiteY1578" fmla="*/ 4281516 h 6407421"/>
              <a:gd name="connsiteX1579" fmla="*/ 2631378 w 11701760"/>
              <a:gd name="connsiteY1579" fmla="*/ 4281516 h 6407421"/>
              <a:gd name="connsiteX1580" fmla="*/ 2365289 w 11701760"/>
              <a:gd name="connsiteY1580" fmla="*/ 4252022 h 6407421"/>
              <a:gd name="connsiteX1581" fmla="*/ 2394892 w 11701760"/>
              <a:gd name="connsiteY1581" fmla="*/ 4252022 h 6407421"/>
              <a:gd name="connsiteX1582" fmla="*/ 2394892 w 11701760"/>
              <a:gd name="connsiteY1582" fmla="*/ 4281516 h 6407421"/>
              <a:gd name="connsiteX1583" fmla="*/ 2365289 w 11701760"/>
              <a:gd name="connsiteY1583" fmla="*/ 4281516 h 6407421"/>
              <a:gd name="connsiteX1584" fmla="*/ 2099092 w 11701760"/>
              <a:gd name="connsiteY1584" fmla="*/ 4252022 h 6407421"/>
              <a:gd name="connsiteX1585" fmla="*/ 2128695 w 11701760"/>
              <a:gd name="connsiteY1585" fmla="*/ 4252022 h 6407421"/>
              <a:gd name="connsiteX1586" fmla="*/ 2128695 w 11701760"/>
              <a:gd name="connsiteY1586" fmla="*/ 4281516 h 6407421"/>
              <a:gd name="connsiteX1587" fmla="*/ 2099092 w 11701760"/>
              <a:gd name="connsiteY1587" fmla="*/ 4281516 h 6407421"/>
              <a:gd name="connsiteX1588" fmla="*/ 1832898 w 11701760"/>
              <a:gd name="connsiteY1588" fmla="*/ 4252022 h 6407421"/>
              <a:gd name="connsiteX1589" fmla="*/ 1862498 w 11701760"/>
              <a:gd name="connsiteY1589" fmla="*/ 4252022 h 6407421"/>
              <a:gd name="connsiteX1590" fmla="*/ 1862498 w 11701760"/>
              <a:gd name="connsiteY1590" fmla="*/ 4281516 h 6407421"/>
              <a:gd name="connsiteX1591" fmla="*/ 1832898 w 11701760"/>
              <a:gd name="connsiteY1591" fmla="*/ 4281516 h 6407421"/>
              <a:gd name="connsiteX1592" fmla="*/ 1566808 w 11701760"/>
              <a:gd name="connsiteY1592" fmla="*/ 4252022 h 6407421"/>
              <a:gd name="connsiteX1593" fmla="*/ 1596409 w 11701760"/>
              <a:gd name="connsiteY1593" fmla="*/ 4252022 h 6407421"/>
              <a:gd name="connsiteX1594" fmla="*/ 1596409 w 11701760"/>
              <a:gd name="connsiteY1594" fmla="*/ 4281516 h 6407421"/>
              <a:gd name="connsiteX1595" fmla="*/ 1566808 w 11701760"/>
              <a:gd name="connsiteY1595" fmla="*/ 4281516 h 6407421"/>
              <a:gd name="connsiteX1596" fmla="*/ 1300611 w 11701760"/>
              <a:gd name="connsiteY1596" fmla="*/ 4252022 h 6407421"/>
              <a:gd name="connsiteX1597" fmla="*/ 1330213 w 11701760"/>
              <a:gd name="connsiteY1597" fmla="*/ 4252022 h 6407421"/>
              <a:gd name="connsiteX1598" fmla="*/ 1330213 w 11701760"/>
              <a:gd name="connsiteY1598" fmla="*/ 4281516 h 6407421"/>
              <a:gd name="connsiteX1599" fmla="*/ 1300611 w 11701760"/>
              <a:gd name="connsiteY1599" fmla="*/ 4281516 h 6407421"/>
              <a:gd name="connsiteX1600" fmla="*/ 1034520 w 11701760"/>
              <a:gd name="connsiteY1600" fmla="*/ 4252022 h 6407421"/>
              <a:gd name="connsiteX1601" fmla="*/ 1064123 w 11701760"/>
              <a:gd name="connsiteY1601" fmla="*/ 4252022 h 6407421"/>
              <a:gd name="connsiteX1602" fmla="*/ 1064123 w 11701760"/>
              <a:gd name="connsiteY1602" fmla="*/ 4281516 h 6407421"/>
              <a:gd name="connsiteX1603" fmla="*/ 1034520 w 11701760"/>
              <a:gd name="connsiteY1603" fmla="*/ 4281516 h 6407421"/>
              <a:gd name="connsiteX1604" fmla="*/ 768327 w 11701760"/>
              <a:gd name="connsiteY1604" fmla="*/ 4252022 h 6407421"/>
              <a:gd name="connsiteX1605" fmla="*/ 797926 w 11701760"/>
              <a:gd name="connsiteY1605" fmla="*/ 4252022 h 6407421"/>
              <a:gd name="connsiteX1606" fmla="*/ 797926 w 11701760"/>
              <a:gd name="connsiteY1606" fmla="*/ 4281516 h 6407421"/>
              <a:gd name="connsiteX1607" fmla="*/ 768327 w 11701760"/>
              <a:gd name="connsiteY1607" fmla="*/ 4281516 h 6407421"/>
              <a:gd name="connsiteX1608" fmla="*/ 502236 w 11701760"/>
              <a:gd name="connsiteY1608" fmla="*/ 4252022 h 6407421"/>
              <a:gd name="connsiteX1609" fmla="*/ 531839 w 11701760"/>
              <a:gd name="connsiteY1609" fmla="*/ 4252022 h 6407421"/>
              <a:gd name="connsiteX1610" fmla="*/ 531839 w 11701760"/>
              <a:gd name="connsiteY1610" fmla="*/ 4281516 h 6407421"/>
              <a:gd name="connsiteX1611" fmla="*/ 502236 w 11701760"/>
              <a:gd name="connsiteY1611" fmla="*/ 4281516 h 6407421"/>
              <a:gd name="connsiteX1612" fmla="*/ 236037 w 11701760"/>
              <a:gd name="connsiteY1612" fmla="*/ 4252022 h 6407421"/>
              <a:gd name="connsiteX1613" fmla="*/ 265640 w 11701760"/>
              <a:gd name="connsiteY1613" fmla="*/ 4252022 h 6407421"/>
              <a:gd name="connsiteX1614" fmla="*/ 265640 w 11701760"/>
              <a:gd name="connsiteY1614" fmla="*/ 4281516 h 6407421"/>
              <a:gd name="connsiteX1615" fmla="*/ 236037 w 11701760"/>
              <a:gd name="connsiteY1615" fmla="*/ 4281516 h 6407421"/>
              <a:gd name="connsiteX1616" fmla="*/ 1 w 11701760"/>
              <a:gd name="connsiteY1616" fmla="*/ 4252022 h 6407421"/>
              <a:gd name="connsiteX1617" fmla="*/ 29603 w 11701760"/>
              <a:gd name="connsiteY1617" fmla="*/ 4252022 h 6407421"/>
              <a:gd name="connsiteX1618" fmla="*/ 29603 w 11701760"/>
              <a:gd name="connsiteY1618" fmla="*/ 4281516 h 6407421"/>
              <a:gd name="connsiteX1619" fmla="*/ 1 w 11701760"/>
              <a:gd name="connsiteY1619" fmla="*/ 4281516 h 6407421"/>
              <a:gd name="connsiteX1620" fmla="*/ 11672158 w 11701760"/>
              <a:gd name="connsiteY1620" fmla="*/ 3986257 h 6407421"/>
              <a:gd name="connsiteX1621" fmla="*/ 11701760 w 11701760"/>
              <a:gd name="connsiteY1621" fmla="*/ 3986257 h 6407421"/>
              <a:gd name="connsiteX1622" fmla="*/ 11701760 w 11701760"/>
              <a:gd name="connsiteY1622" fmla="*/ 4015859 h 6407421"/>
              <a:gd name="connsiteX1623" fmla="*/ 11672158 w 11701760"/>
              <a:gd name="connsiteY1623" fmla="*/ 4015859 h 6407421"/>
              <a:gd name="connsiteX1624" fmla="*/ 11405961 w 11701760"/>
              <a:gd name="connsiteY1624" fmla="*/ 3986257 h 6407421"/>
              <a:gd name="connsiteX1625" fmla="*/ 11435563 w 11701760"/>
              <a:gd name="connsiteY1625" fmla="*/ 3986257 h 6407421"/>
              <a:gd name="connsiteX1626" fmla="*/ 11435563 w 11701760"/>
              <a:gd name="connsiteY1626" fmla="*/ 4015859 h 6407421"/>
              <a:gd name="connsiteX1627" fmla="*/ 11405961 w 11701760"/>
              <a:gd name="connsiteY1627" fmla="*/ 4015859 h 6407421"/>
              <a:gd name="connsiteX1628" fmla="*/ 11139872 w 11701760"/>
              <a:gd name="connsiteY1628" fmla="*/ 3986257 h 6407421"/>
              <a:gd name="connsiteX1629" fmla="*/ 11169474 w 11701760"/>
              <a:gd name="connsiteY1629" fmla="*/ 3986257 h 6407421"/>
              <a:gd name="connsiteX1630" fmla="*/ 11169474 w 11701760"/>
              <a:gd name="connsiteY1630" fmla="*/ 4015859 h 6407421"/>
              <a:gd name="connsiteX1631" fmla="*/ 11139872 w 11701760"/>
              <a:gd name="connsiteY1631" fmla="*/ 4015859 h 6407421"/>
              <a:gd name="connsiteX1632" fmla="*/ 10873675 w 11701760"/>
              <a:gd name="connsiteY1632" fmla="*/ 3986257 h 6407421"/>
              <a:gd name="connsiteX1633" fmla="*/ 10903277 w 11701760"/>
              <a:gd name="connsiteY1633" fmla="*/ 3986257 h 6407421"/>
              <a:gd name="connsiteX1634" fmla="*/ 10903277 w 11701760"/>
              <a:gd name="connsiteY1634" fmla="*/ 4015859 h 6407421"/>
              <a:gd name="connsiteX1635" fmla="*/ 10873675 w 11701760"/>
              <a:gd name="connsiteY1635" fmla="*/ 4015859 h 6407421"/>
              <a:gd name="connsiteX1636" fmla="*/ 10607478 w 11701760"/>
              <a:gd name="connsiteY1636" fmla="*/ 3986257 h 6407421"/>
              <a:gd name="connsiteX1637" fmla="*/ 10637188 w 11701760"/>
              <a:gd name="connsiteY1637" fmla="*/ 3986257 h 6407421"/>
              <a:gd name="connsiteX1638" fmla="*/ 10637188 w 11701760"/>
              <a:gd name="connsiteY1638" fmla="*/ 4015859 h 6407421"/>
              <a:gd name="connsiteX1639" fmla="*/ 10607478 w 11701760"/>
              <a:gd name="connsiteY1639" fmla="*/ 4015859 h 6407421"/>
              <a:gd name="connsiteX1640" fmla="*/ 10341389 w 11701760"/>
              <a:gd name="connsiteY1640" fmla="*/ 3986257 h 6407421"/>
              <a:gd name="connsiteX1641" fmla="*/ 10370992 w 11701760"/>
              <a:gd name="connsiteY1641" fmla="*/ 3986257 h 6407421"/>
              <a:gd name="connsiteX1642" fmla="*/ 10370992 w 11701760"/>
              <a:gd name="connsiteY1642" fmla="*/ 4015859 h 6407421"/>
              <a:gd name="connsiteX1643" fmla="*/ 10341389 w 11701760"/>
              <a:gd name="connsiteY1643" fmla="*/ 4015859 h 6407421"/>
              <a:gd name="connsiteX1644" fmla="*/ 10075192 w 11701760"/>
              <a:gd name="connsiteY1644" fmla="*/ 3986257 h 6407421"/>
              <a:gd name="connsiteX1645" fmla="*/ 10104794 w 11701760"/>
              <a:gd name="connsiteY1645" fmla="*/ 3986257 h 6407421"/>
              <a:gd name="connsiteX1646" fmla="*/ 10104794 w 11701760"/>
              <a:gd name="connsiteY1646" fmla="*/ 4015859 h 6407421"/>
              <a:gd name="connsiteX1647" fmla="*/ 10075192 w 11701760"/>
              <a:gd name="connsiteY1647" fmla="*/ 4015859 h 6407421"/>
              <a:gd name="connsiteX1648" fmla="*/ 9809103 w 11701760"/>
              <a:gd name="connsiteY1648" fmla="*/ 3986257 h 6407421"/>
              <a:gd name="connsiteX1649" fmla="*/ 9838705 w 11701760"/>
              <a:gd name="connsiteY1649" fmla="*/ 3986257 h 6407421"/>
              <a:gd name="connsiteX1650" fmla="*/ 9838705 w 11701760"/>
              <a:gd name="connsiteY1650" fmla="*/ 4015859 h 6407421"/>
              <a:gd name="connsiteX1651" fmla="*/ 9809103 w 11701760"/>
              <a:gd name="connsiteY1651" fmla="*/ 4015859 h 6407421"/>
              <a:gd name="connsiteX1652" fmla="*/ 9542906 w 11701760"/>
              <a:gd name="connsiteY1652" fmla="*/ 3986257 h 6407421"/>
              <a:gd name="connsiteX1653" fmla="*/ 9572509 w 11701760"/>
              <a:gd name="connsiteY1653" fmla="*/ 3986257 h 6407421"/>
              <a:gd name="connsiteX1654" fmla="*/ 9572509 w 11701760"/>
              <a:gd name="connsiteY1654" fmla="*/ 4015859 h 6407421"/>
              <a:gd name="connsiteX1655" fmla="*/ 9542906 w 11701760"/>
              <a:gd name="connsiteY1655" fmla="*/ 4015859 h 6407421"/>
              <a:gd name="connsiteX1656" fmla="*/ 9276817 w 11701760"/>
              <a:gd name="connsiteY1656" fmla="*/ 3986257 h 6407421"/>
              <a:gd name="connsiteX1657" fmla="*/ 9306420 w 11701760"/>
              <a:gd name="connsiteY1657" fmla="*/ 3986257 h 6407421"/>
              <a:gd name="connsiteX1658" fmla="*/ 9306420 w 11701760"/>
              <a:gd name="connsiteY1658" fmla="*/ 4015859 h 6407421"/>
              <a:gd name="connsiteX1659" fmla="*/ 9276817 w 11701760"/>
              <a:gd name="connsiteY1659" fmla="*/ 4015859 h 6407421"/>
              <a:gd name="connsiteX1660" fmla="*/ 9010620 w 11701760"/>
              <a:gd name="connsiteY1660" fmla="*/ 3986257 h 6407421"/>
              <a:gd name="connsiteX1661" fmla="*/ 9040222 w 11701760"/>
              <a:gd name="connsiteY1661" fmla="*/ 3986257 h 6407421"/>
              <a:gd name="connsiteX1662" fmla="*/ 9040222 w 11701760"/>
              <a:gd name="connsiteY1662" fmla="*/ 4015859 h 6407421"/>
              <a:gd name="connsiteX1663" fmla="*/ 9010620 w 11701760"/>
              <a:gd name="connsiteY1663" fmla="*/ 4015859 h 6407421"/>
              <a:gd name="connsiteX1664" fmla="*/ 8744423 w 11701760"/>
              <a:gd name="connsiteY1664" fmla="*/ 3986257 h 6407421"/>
              <a:gd name="connsiteX1665" fmla="*/ 8774026 w 11701760"/>
              <a:gd name="connsiteY1665" fmla="*/ 3986257 h 6407421"/>
              <a:gd name="connsiteX1666" fmla="*/ 8774026 w 11701760"/>
              <a:gd name="connsiteY1666" fmla="*/ 4015859 h 6407421"/>
              <a:gd name="connsiteX1667" fmla="*/ 8744423 w 11701760"/>
              <a:gd name="connsiteY1667" fmla="*/ 4015859 h 6407421"/>
              <a:gd name="connsiteX1668" fmla="*/ 8478226 w 11701760"/>
              <a:gd name="connsiteY1668" fmla="*/ 3986257 h 6407421"/>
              <a:gd name="connsiteX1669" fmla="*/ 8507828 w 11701760"/>
              <a:gd name="connsiteY1669" fmla="*/ 3986257 h 6407421"/>
              <a:gd name="connsiteX1670" fmla="*/ 8507828 w 11701760"/>
              <a:gd name="connsiteY1670" fmla="*/ 4015859 h 6407421"/>
              <a:gd name="connsiteX1671" fmla="*/ 8478226 w 11701760"/>
              <a:gd name="connsiteY1671" fmla="*/ 4015859 h 6407421"/>
              <a:gd name="connsiteX1672" fmla="*/ 8212137 w 11701760"/>
              <a:gd name="connsiteY1672" fmla="*/ 3986257 h 6407421"/>
              <a:gd name="connsiteX1673" fmla="*/ 8241740 w 11701760"/>
              <a:gd name="connsiteY1673" fmla="*/ 3986257 h 6407421"/>
              <a:gd name="connsiteX1674" fmla="*/ 8241740 w 11701760"/>
              <a:gd name="connsiteY1674" fmla="*/ 4015859 h 6407421"/>
              <a:gd name="connsiteX1675" fmla="*/ 8212137 w 11701760"/>
              <a:gd name="connsiteY1675" fmla="*/ 4015859 h 6407421"/>
              <a:gd name="connsiteX1676" fmla="*/ 7945940 w 11701760"/>
              <a:gd name="connsiteY1676" fmla="*/ 3986257 h 6407421"/>
              <a:gd name="connsiteX1677" fmla="*/ 7975543 w 11701760"/>
              <a:gd name="connsiteY1677" fmla="*/ 3986257 h 6407421"/>
              <a:gd name="connsiteX1678" fmla="*/ 7975543 w 11701760"/>
              <a:gd name="connsiteY1678" fmla="*/ 4015859 h 6407421"/>
              <a:gd name="connsiteX1679" fmla="*/ 7945940 w 11701760"/>
              <a:gd name="connsiteY1679" fmla="*/ 4015859 h 6407421"/>
              <a:gd name="connsiteX1680" fmla="*/ 7679743 w 11701760"/>
              <a:gd name="connsiteY1680" fmla="*/ 3986257 h 6407421"/>
              <a:gd name="connsiteX1681" fmla="*/ 7709346 w 11701760"/>
              <a:gd name="connsiteY1681" fmla="*/ 3986257 h 6407421"/>
              <a:gd name="connsiteX1682" fmla="*/ 7709346 w 11701760"/>
              <a:gd name="connsiteY1682" fmla="*/ 4015859 h 6407421"/>
              <a:gd name="connsiteX1683" fmla="*/ 7679743 w 11701760"/>
              <a:gd name="connsiteY1683" fmla="*/ 4015859 h 6407421"/>
              <a:gd name="connsiteX1684" fmla="*/ 7413653 w 11701760"/>
              <a:gd name="connsiteY1684" fmla="*/ 3986257 h 6407421"/>
              <a:gd name="connsiteX1685" fmla="*/ 7443256 w 11701760"/>
              <a:gd name="connsiteY1685" fmla="*/ 3986257 h 6407421"/>
              <a:gd name="connsiteX1686" fmla="*/ 7443256 w 11701760"/>
              <a:gd name="connsiteY1686" fmla="*/ 4015859 h 6407421"/>
              <a:gd name="connsiteX1687" fmla="*/ 7413653 w 11701760"/>
              <a:gd name="connsiteY1687" fmla="*/ 4015859 h 6407421"/>
              <a:gd name="connsiteX1688" fmla="*/ 7147456 w 11701760"/>
              <a:gd name="connsiteY1688" fmla="*/ 3986257 h 6407421"/>
              <a:gd name="connsiteX1689" fmla="*/ 7177058 w 11701760"/>
              <a:gd name="connsiteY1689" fmla="*/ 3986257 h 6407421"/>
              <a:gd name="connsiteX1690" fmla="*/ 7177058 w 11701760"/>
              <a:gd name="connsiteY1690" fmla="*/ 4015859 h 6407421"/>
              <a:gd name="connsiteX1691" fmla="*/ 7147456 w 11701760"/>
              <a:gd name="connsiteY1691" fmla="*/ 4015859 h 6407421"/>
              <a:gd name="connsiteX1692" fmla="*/ 6881367 w 11701760"/>
              <a:gd name="connsiteY1692" fmla="*/ 3986257 h 6407421"/>
              <a:gd name="connsiteX1693" fmla="*/ 6910970 w 11701760"/>
              <a:gd name="connsiteY1693" fmla="*/ 3986257 h 6407421"/>
              <a:gd name="connsiteX1694" fmla="*/ 6910970 w 11701760"/>
              <a:gd name="connsiteY1694" fmla="*/ 4015859 h 6407421"/>
              <a:gd name="connsiteX1695" fmla="*/ 6881367 w 11701760"/>
              <a:gd name="connsiteY1695" fmla="*/ 4015859 h 6407421"/>
              <a:gd name="connsiteX1696" fmla="*/ 6615170 w 11701760"/>
              <a:gd name="connsiteY1696" fmla="*/ 3986257 h 6407421"/>
              <a:gd name="connsiteX1697" fmla="*/ 6644773 w 11701760"/>
              <a:gd name="connsiteY1697" fmla="*/ 3986257 h 6407421"/>
              <a:gd name="connsiteX1698" fmla="*/ 6644773 w 11701760"/>
              <a:gd name="connsiteY1698" fmla="*/ 4015859 h 6407421"/>
              <a:gd name="connsiteX1699" fmla="*/ 6615170 w 11701760"/>
              <a:gd name="connsiteY1699" fmla="*/ 4015859 h 6407421"/>
              <a:gd name="connsiteX1700" fmla="*/ 6349081 w 11701760"/>
              <a:gd name="connsiteY1700" fmla="*/ 3986257 h 6407421"/>
              <a:gd name="connsiteX1701" fmla="*/ 6378683 w 11701760"/>
              <a:gd name="connsiteY1701" fmla="*/ 3986257 h 6407421"/>
              <a:gd name="connsiteX1702" fmla="*/ 6378683 w 11701760"/>
              <a:gd name="connsiteY1702" fmla="*/ 4015859 h 6407421"/>
              <a:gd name="connsiteX1703" fmla="*/ 6349081 w 11701760"/>
              <a:gd name="connsiteY1703" fmla="*/ 4015859 h 6407421"/>
              <a:gd name="connsiteX1704" fmla="*/ 6082884 w 11701760"/>
              <a:gd name="connsiteY1704" fmla="*/ 3986257 h 6407421"/>
              <a:gd name="connsiteX1705" fmla="*/ 6112486 w 11701760"/>
              <a:gd name="connsiteY1705" fmla="*/ 3986257 h 6407421"/>
              <a:gd name="connsiteX1706" fmla="*/ 6112486 w 11701760"/>
              <a:gd name="connsiteY1706" fmla="*/ 4015859 h 6407421"/>
              <a:gd name="connsiteX1707" fmla="*/ 6082884 w 11701760"/>
              <a:gd name="connsiteY1707" fmla="*/ 4015859 h 6407421"/>
              <a:gd name="connsiteX1708" fmla="*/ 5825310 w 11701760"/>
              <a:gd name="connsiteY1708" fmla="*/ 3986257 h 6407421"/>
              <a:gd name="connsiteX1709" fmla="*/ 5854913 w 11701760"/>
              <a:gd name="connsiteY1709" fmla="*/ 3986257 h 6407421"/>
              <a:gd name="connsiteX1710" fmla="*/ 5854913 w 11701760"/>
              <a:gd name="connsiteY1710" fmla="*/ 4015859 h 6407421"/>
              <a:gd name="connsiteX1711" fmla="*/ 5825310 w 11701760"/>
              <a:gd name="connsiteY1711" fmla="*/ 4015859 h 6407421"/>
              <a:gd name="connsiteX1712" fmla="*/ 5559113 w 11701760"/>
              <a:gd name="connsiteY1712" fmla="*/ 3986257 h 6407421"/>
              <a:gd name="connsiteX1713" fmla="*/ 5588715 w 11701760"/>
              <a:gd name="connsiteY1713" fmla="*/ 3986257 h 6407421"/>
              <a:gd name="connsiteX1714" fmla="*/ 5588715 w 11701760"/>
              <a:gd name="connsiteY1714" fmla="*/ 4015859 h 6407421"/>
              <a:gd name="connsiteX1715" fmla="*/ 5559113 w 11701760"/>
              <a:gd name="connsiteY1715" fmla="*/ 4015859 h 6407421"/>
              <a:gd name="connsiteX1716" fmla="*/ 5293024 w 11701760"/>
              <a:gd name="connsiteY1716" fmla="*/ 3986257 h 6407421"/>
              <a:gd name="connsiteX1717" fmla="*/ 5322626 w 11701760"/>
              <a:gd name="connsiteY1717" fmla="*/ 3986257 h 6407421"/>
              <a:gd name="connsiteX1718" fmla="*/ 5322626 w 11701760"/>
              <a:gd name="connsiteY1718" fmla="*/ 4015859 h 6407421"/>
              <a:gd name="connsiteX1719" fmla="*/ 5293024 w 11701760"/>
              <a:gd name="connsiteY1719" fmla="*/ 4015859 h 6407421"/>
              <a:gd name="connsiteX1720" fmla="*/ 5026827 w 11701760"/>
              <a:gd name="connsiteY1720" fmla="*/ 3986257 h 6407421"/>
              <a:gd name="connsiteX1721" fmla="*/ 5056429 w 11701760"/>
              <a:gd name="connsiteY1721" fmla="*/ 3986257 h 6407421"/>
              <a:gd name="connsiteX1722" fmla="*/ 5056429 w 11701760"/>
              <a:gd name="connsiteY1722" fmla="*/ 4015859 h 6407421"/>
              <a:gd name="connsiteX1723" fmla="*/ 5026827 w 11701760"/>
              <a:gd name="connsiteY1723" fmla="*/ 4015859 h 6407421"/>
              <a:gd name="connsiteX1724" fmla="*/ 4760630 w 11701760"/>
              <a:gd name="connsiteY1724" fmla="*/ 3986257 h 6407421"/>
              <a:gd name="connsiteX1725" fmla="*/ 4790340 w 11701760"/>
              <a:gd name="connsiteY1725" fmla="*/ 3986257 h 6407421"/>
              <a:gd name="connsiteX1726" fmla="*/ 4790340 w 11701760"/>
              <a:gd name="connsiteY1726" fmla="*/ 4015859 h 6407421"/>
              <a:gd name="connsiteX1727" fmla="*/ 4760630 w 11701760"/>
              <a:gd name="connsiteY1727" fmla="*/ 4015859 h 6407421"/>
              <a:gd name="connsiteX1728" fmla="*/ 4494541 w 11701760"/>
              <a:gd name="connsiteY1728" fmla="*/ 3986257 h 6407421"/>
              <a:gd name="connsiteX1729" fmla="*/ 4524144 w 11701760"/>
              <a:gd name="connsiteY1729" fmla="*/ 3986257 h 6407421"/>
              <a:gd name="connsiteX1730" fmla="*/ 4524144 w 11701760"/>
              <a:gd name="connsiteY1730" fmla="*/ 4015859 h 6407421"/>
              <a:gd name="connsiteX1731" fmla="*/ 4494541 w 11701760"/>
              <a:gd name="connsiteY1731" fmla="*/ 4015859 h 6407421"/>
              <a:gd name="connsiteX1732" fmla="*/ 4228344 w 11701760"/>
              <a:gd name="connsiteY1732" fmla="*/ 3986257 h 6407421"/>
              <a:gd name="connsiteX1733" fmla="*/ 4257946 w 11701760"/>
              <a:gd name="connsiteY1733" fmla="*/ 3986257 h 6407421"/>
              <a:gd name="connsiteX1734" fmla="*/ 4257946 w 11701760"/>
              <a:gd name="connsiteY1734" fmla="*/ 4015859 h 6407421"/>
              <a:gd name="connsiteX1735" fmla="*/ 4228344 w 11701760"/>
              <a:gd name="connsiteY1735" fmla="*/ 4015859 h 6407421"/>
              <a:gd name="connsiteX1736" fmla="*/ 3962255 w 11701760"/>
              <a:gd name="connsiteY1736" fmla="*/ 3986257 h 6407421"/>
              <a:gd name="connsiteX1737" fmla="*/ 3991857 w 11701760"/>
              <a:gd name="connsiteY1737" fmla="*/ 3986257 h 6407421"/>
              <a:gd name="connsiteX1738" fmla="*/ 3991857 w 11701760"/>
              <a:gd name="connsiteY1738" fmla="*/ 4015859 h 6407421"/>
              <a:gd name="connsiteX1739" fmla="*/ 3962255 w 11701760"/>
              <a:gd name="connsiteY1739" fmla="*/ 4015859 h 6407421"/>
              <a:gd name="connsiteX1740" fmla="*/ 3696058 w 11701760"/>
              <a:gd name="connsiteY1740" fmla="*/ 3986257 h 6407421"/>
              <a:gd name="connsiteX1741" fmla="*/ 3725661 w 11701760"/>
              <a:gd name="connsiteY1741" fmla="*/ 3986257 h 6407421"/>
              <a:gd name="connsiteX1742" fmla="*/ 3725661 w 11701760"/>
              <a:gd name="connsiteY1742" fmla="*/ 4015859 h 6407421"/>
              <a:gd name="connsiteX1743" fmla="*/ 3696058 w 11701760"/>
              <a:gd name="connsiteY1743" fmla="*/ 4015859 h 6407421"/>
              <a:gd name="connsiteX1744" fmla="*/ 3429969 w 11701760"/>
              <a:gd name="connsiteY1744" fmla="*/ 3986257 h 6407421"/>
              <a:gd name="connsiteX1745" fmla="*/ 3459572 w 11701760"/>
              <a:gd name="connsiteY1745" fmla="*/ 3986257 h 6407421"/>
              <a:gd name="connsiteX1746" fmla="*/ 3459572 w 11701760"/>
              <a:gd name="connsiteY1746" fmla="*/ 4015859 h 6407421"/>
              <a:gd name="connsiteX1747" fmla="*/ 3429969 w 11701760"/>
              <a:gd name="connsiteY1747" fmla="*/ 4015859 h 6407421"/>
              <a:gd name="connsiteX1748" fmla="*/ 3163772 w 11701760"/>
              <a:gd name="connsiteY1748" fmla="*/ 3986257 h 6407421"/>
              <a:gd name="connsiteX1749" fmla="*/ 3193374 w 11701760"/>
              <a:gd name="connsiteY1749" fmla="*/ 3986257 h 6407421"/>
              <a:gd name="connsiteX1750" fmla="*/ 3193374 w 11701760"/>
              <a:gd name="connsiteY1750" fmla="*/ 4015859 h 6407421"/>
              <a:gd name="connsiteX1751" fmla="*/ 3163772 w 11701760"/>
              <a:gd name="connsiteY1751" fmla="*/ 4015859 h 6407421"/>
              <a:gd name="connsiteX1752" fmla="*/ 2897575 w 11701760"/>
              <a:gd name="connsiteY1752" fmla="*/ 3986257 h 6407421"/>
              <a:gd name="connsiteX1753" fmla="*/ 2927178 w 11701760"/>
              <a:gd name="connsiteY1753" fmla="*/ 3986257 h 6407421"/>
              <a:gd name="connsiteX1754" fmla="*/ 2927178 w 11701760"/>
              <a:gd name="connsiteY1754" fmla="*/ 4015859 h 6407421"/>
              <a:gd name="connsiteX1755" fmla="*/ 2897575 w 11701760"/>
              <a:gd name="connsiteY1755" fmla="*/ 4015859 h 6407421"/>
              <a:gd name="connsiteX1756" fmla="*/ 2631378 w 11701760"/>
              <a:gd name="connsiteY1756" fmla="*/ 3986257 h 6407421"/>
              <a:gd name="connsiteX1757" fmla="*/ 2660980 w 11701760"/>
              <a:gd name="connsiteY1757" fmla="*/ 3986257 h 6407421"/>
              <a:gd name="connsiteX1758" fmla="*/ 2660980 w 11701760"/>
              <a:gd name="connsiteY1758" fmla="*/ 4015859 h 6407421"/>
              <a:gd name="connsiteX1759" fmla="*/ 2631378 w 11701760"/>
              <a:gd name="connsiteY1759" fmla="*/ 4015859 h 6407421"/>
              <a:gd name="connsiteX1760" fmla="*/ 2365289 w 11701760"/>
              <a:gd name="connsiteY1760" fmla="*/ 3986257 h 6407421"/>
              <a:gd name="connsiteX1761" fmla="*/ 2394892 w 11701760"/>
              <a:gd name="connsiteY1761" fmla="*/ 3986257 h 6407421"/>
              <a:gd name="connsiteX1762" fmla="*/ 2394892 w 11701760"/>
              <a:gd name="connsiteY1762" fmla="*/ 4015859 h 6407421"/>
              <a:gd name="connsiteX1763" fmla="*/ 2365289 w 11701760"/>
              <a:gd name="connsiteY1763" fmla="*/ 4015859 h 6407421"/>
              <a:gd name="connsiteX1764" fmla="*/ 2099092 w 11701760"/>
              <a:gd name="connsiteY1764" fmla="*/ 3986257 h 6407421"/>
              <a:gd name="connsiteX1765" fmla="*/ 2128695 w 11701760"/>
              <a:gd name="connsiteY1765" fmla="*/ 3986257 h 6407421"/>
              <a:gd name="connsiteX1766" fmla="*/ 2128695 w 11701760"/>
              <a:gd name="connsiteY1766" fmla="*/ 4015859 h 6407421"/>
              <a:gd name="connsiteX1767" fmla="*/ 2099092 w 11701760"/>
              <a:gd name="connsiteY1767" fmla="*/ 4015859 h 6407421"/>
              <a:gd name="connsiteX1768" fmla="*/ 1832898 w 11701760"/>
              <a:gd name="connsiteY1768" fmla="*/ 3986257 h 6407421"/>
              <a:gd name="connsiteX1769" fmla="*/ 1862498 w 11701760"/>
              <a:gd name="connsiteY1769" fmla="*/ 3986257 h 6407421"/>
              <a:gd name="connsiteX1770" fmla="*/ 1862498 w 11701760"/>
              <a:gd name="connsiteY1770" fmla="*/ 4015859 h 6407421"/>
              <a:gd name="connsiteX1771" fmla="*/ 1832898 w 11701760"/>
              <a:gd name="connsiteY1771" fmla="*/ 4015859 h 6407421"/>
              <a:gd name="connsiteX1772" fmla="*/ 1566808 w 11701760"/>
              <a:gd name="connsiteY1772" fmla="*/ 3986257 h 6407421"/>
              <a:gd name="connsiteX1773" fmla="*/ 1596409 w 11701760"/>
              <a:gd name="connsiteY1773" fmla="*/ 3986257 h 6407421"/>
              <a:gd name="connsiteX1774" fmla="*/ 1596409 w 11701760"/>
              <a:gd name="connsiteY1774" fmla="*/ 4015859 h 6407421"/>
              <a:gd name="connsiteX1775" fmla="*/ 1566808 w 11701760"/>
              <a:gd name="connsiteY1775" fmla="*/ 4015859 h 6407421"/>
              <a:gd name="connsiteX1776" fmla="*/ 1300611 w 11701760"/>
              <a:gd name="connsiteY1776" fmla="*/ 3986257 h 6407421"/>
              <a:gd name="connsiteX1777" fmla="*/ 1330213 w 11701760"/>
              <a:gd name="connsiteY1777" fmla="*/ 3986257 h 6407421"/>
              <a:gd name="connsiteX1778" fmla="*/ 1330213 w 11701760"/>
              <a:gd name="connsiteY1778" fmla="*/ 4015859 h 6407421"/>
              <a:gd name="connsiteX1779" fmla="*/ 1300611 w 11701760"/>
              <a:gd name="connsiteY1779" fmla="*/ 4015859 h 6407421"/>
              <a:gd name="connsiteX1780" fmla="*/ 1034520 w 11701760"/>
              <a:gd name="connsiteY1780" fmla="*/ 3986257 h 6407421"/>
              <a:gd name="connsiteX1781" fmla="*/ 1064123 w 11701760"/>
              <a:gd name="connsiteY1781" fmla="*/ 3986257 h 6407421"/>
              <a:gd name="connsiteX1782" fmla="*/ 1064123 w 11701760"/>
              <a:gd name="connsiteY1782" fmla="*/ 4015859 h 6407421"/>
              <a:gd name="connsiteX1783" fmla="*/ 1034520 w 11701760"/>
              <a:gd name="connsiteY1783" fmla="*/ 4015859 h 6407421"/>
              <a:gd name="connsiteX1784" fmla="*/ 768327 w 11701760"/>
              <a:gd name="connsiteY1784" fmla="*/ 3986257 h 6407421"/>
              <a:gd name="connsiteX1785" fmla="*/ 797926 w 11701760"/>
              <a:gd name="connsiteY1785" fmla="*/ 3986257 h 6407421"/>
              <a:gd name="connsiteX1786" fmla="*/ 797926 w 11701760"/>
              <a:gd name="connsiteY1786" fmla="*/ 4015859 h 6407421"/>
              <a:gd name="connsiteX1787" fmla="*/ 768327 w 11701760"/>
              <a:gd name="connsiteY1787" fmla="*/ 4015859 h 6407421"/>
              <a:gd name="connsiteX1788" fmla="*/ 502236 w 11701760"/>
              <a:gd name="connsiteY1788" fmla="*/ 3986257 h 6407421"/>
              <a:gd name="connsiteX1789" fmla="*/ 531839 w 11701760"/>
              <a:gd name="connsiteY1789" fmla="*/ 3986257 h 6407421"/>
              <a:gd name="connsiteX1790" fmla="*/ 531839 w 11701760"/>
              <a:gd name="connsiteY1790" fmla="*/ 4015859 h 6407421"/>
              <a:gd name="connsiteX1791" fmla="*/ 502236 w 11701760"/>
              <a:gd name="connsiteY1791" fmla="*/ 4015859 h 6407421"/>
              <a:gd name="connsiteX1792" fmla="*/ 236037 w 11701760"/>
              <a:gd name="connsiteY1792" fmla="*/ 3986257 h 6407421"/>
              <a:gd name="connsiteX1793" fmla="*/ 265640 w 11701760"/>
              <a:gd name="connsiteY1793" fmla="*/ 3986257 h 6407421"/>
              <a:gd name="connsiteX1794" fmla="*/ 265640 w 11701760"/>
              <a:gd name="connsiteY1794" fmla="*/ 4015859 h 6407421"/>
              <a:gd name="connsiteX1795" fmla="*/ 236037 w 11701760"/>
              <a:gd name="connsiteY1795" fmla="*/ 4015859 h 6407421"/>
              <a:gd name="connsiteX1796" fmla="*/ 1 w 11701760"/>
              <a:gd name="connsiteY1796" fmla="*/ 3986257 h 6407421"/>
              <a:gd name="connsiteX1797" fmla="*/ 29603 w 11701760"/>
              <a:gd name="connsiteY1797" fmla="*/ 3986257 h 6407421"/>
              <a:gd name="connsiteX1798" fmla="*/ 29603 w 11701760"/>
              <a:gd name="connsiteY1798" fmla="*/ 4015859 h 6407421"/>
              <a:gd name="connsiteX1799" fmla="*/ 1 w 11701760"/>
              <a:gd name="connsiteY1799" fmla="*/ 4015859 h 6407421"/>
              <a:gd name="connsiteX1800" fmla="*/ 11672158 w 11701760"/>
              <a:gd name="connsiteY1800" fmla="*/ 3720492 h 6407421"/>
              <a:gd name="connsiteX1801" fmla="*/ 11701760 w 11701760"/>
              <a:gd name="connsiteY1801" fmla="*/ 3720492 h 6407421"/>
              <a:gd name="connsiteX1802" fmla="*/ 11701760 w 11701760"/>
              <a:gd name="connsiteY1802" fmla="*/ 3750094 h 6407421"/>
              <a:gd name="connsiteX1803" fmla="*/ 11672158 w 11701760"/>
              <a:gd name="connsiteY1803" fmla="*/ 3750094 h 6407421"/>
              <a:gd name="connsiteX1804" fmla="*/ 11405961 w 11701760"/>
              <a:gd name="connsiteY1804" fmla="*/ 3720492 h 6407421"/>
              <a:gd name="connsiteX1805" fmla="*/ 11435563 w 11701760"/>
              <a:gd name="connsiteY1805" fmla="*/ 3720492 h 6407421"/>
              <a:gd name="connsiteX1806" fmla="*/ 11435563 w 11701760"/>
              <a:gd name="connsiteY1806" fmla="*/ 3750094 h 6407421"/>
              <a:gd name="connsiteX1807" fmla="*/ 11405961 w 11701760"/>
              <a:gd name="connsiteY1807" fmla="*/ 3750094 h 6407421"/>
              <a:gd name="connsiteX1808" fmla="*/ 11139872 w 11701760"/>
              <a:gd name="connsiteY1808" fmla="*/ 3720492 h 6407421"/>
              <a:gd name="connsiteX1809" fmla="*/ 11169474 w 11701760"/>
              <a:gd name="connsiteY1809" fmla="*/ 3720492 h 6407421"/>
              <a:gd name="connsiteX1810" fmla="*/ 11169474 w 11701760"/>
              <a:gd name="connsiteY1810" fmla="*/ 3750094 h 6407421"/>
              <a:gd name="connsiteX1811" fmla="*/ 11139872 w 11701760"/>
              <a:gd name="connsiteY1811" fmla="*/ 3750094 h 6407421"/>
              <a:gd name="connsiteX1812" fmla="*/ 10873675 w 11701760"/>
              <a:gd name="connsiteY1812" fmla="*/ 3720492 h 6407421"/>
              <a:gd name="connsiteX1813" fmla="*/ 10903277 w 11701760"/>
              <a:gd name="connsiteY1813" fmla="*/ 3720492 h 6407421"/>
              <a:gd name="connsiteX1814" fmla="*/ 10903277 w 11701760"/>
              <a:gd name="connsiteY1814" fmla="*/ 3750094 h 6407421"/>
              <a:gd name="connsiteX1815" fmla="*/ 10873675 w 11701760"/>
              <a:gd name="connsiteY1815" fmla="*/ 3750094 h 6407421"/>
              <a:gd name="connsiteX1816" fmla="*/ 10607478 w 11701760"/>
              <a:gd name="connsiteY1816" fmla="*/ 3720492 h 6407421"/>
              <a:gd name="connsiteX1817" fmla="*/ 10637188 w 11701760"/>
              <a:gd name="connsiteY1817" fmla="*/ 3720492 h 6407421"/>
              <a:gd name="connsiteX1818" fmla="*/ 10637188 w 11701760"/>
              <a:gd name="connsiteY1818" fmla="*/ 3750094 h 6407421"/>
              <a:gd name="connsiteX1819" fmla="*/ 10607478 w 11701760"/>
              <a:gd name="connsiteY1819" fmla="*/ 3750094 h 6407421"/>
              <a:gd name="connsiteX1820" fmla="*/ 10341389 w 11701760"/>
              <a:gd name="connsiteY1820" fmla="*/ 3720492 h 6407421"/>
              <a:gd name="connsiteX1821" fmla="*/ 10370992 w 11701760"/>
              <a:gd name="connsiteY1821" fmla="*/ 3720492 h 6407421"/>
              <a:gd name="connsiteX1822" fmla="*/ 10370992 w 11701760"/>
              <a:gd name="connsiteY1822" fmla="*/ 3750094 h 6407421"/>
              <a:gd name="connsiteX1823" fmla="*/ 10341389 w 11701760"/>
              <a:gd name="connsiteY1823" fmla="*/ 3750094 h 6407421"/>
              <a:gd name="connsiteX1824" fmla="*/ 10075192 w 11701760"/>
              <a:gd name="connsiteY1824" fmla="*/ 3720492 h 6407421"/>
              <a:gd name="connsiteX1825" fmla="*/ 10104794 w 11701760"/>
              <a:gd name="connsiteY1825" fmla="*/ 3720492 h 6407421"/>
              <a:gd name="connsiteX1826" fmla="*/ 10104794 w 11701760"/>
              <a:gd name="connsiteY1826" fmla="*/ 3750094 h 6407421"/>
              <a:gd name="connsiteX1827" fmla="*/ 10075192 w 11701760"/>
              <a:gd name="connsiteY1827" fmla="*/ 3750094 h 6407421"/>
              <a:gd name="connsiteX1828" fmla="*/ 9809103 w 11701760"/>
              <a:gd name="connsiteY1828" fmla="*/ 3720492 h 6407421"/>
              <a:gd name="connsiteX1829" fmla="*/ 9838705 w 11701760"/>
              <a:gd name="connsiteY1829" fmla="*/ 3720492 h 6407421"/>
              <a:gd name="connsiteX1830" fmla="*/ 9838705 w 11701760"/>
              <a:gd name="connsiteY1830" fmla="*/ 3750094 h 6407421"/>
              <a:gd name="connsiteX1831" fmla="*/ 9809103 w 11701760"/>
              <a:gd name="connsiteY1831" fmla="*/ 3750094 h 6407421"/>
              <a:gd name="connsiteX1832" fmla="*/ 9542906 w 11701760"/>
              <a:gd name="connsiteY1832" fmla="*/ 3720492 h 6407421"/>
              <a:gd name="connsiteX1833" fmla="*/ 9572509 w 11701760"/>
              <a:gd name="connsiteY1833" fmla="*/ 3720492 h 6407421"/>
              <a:gd name="connsiteX1834" fmla="*/ 9572509 w 11701760"/>
              <a:gd name="connsiteY1834" fmla="*/ 3750094 h 6407421"/>
              <a:gd name="connsiteX1835" fmla="*/ 9542906 w 11701760"/>
              <a:gd name="connsiteY1835" fmla="*/ 3750094 h 6407421"/>
              <a:gd name="connsiteX1836" fmla="*/ 9276817 w 11701760"/>
              <a:gd name="connsiteY1836" fmla="*/ 3720492 h 6407421"/>
              <a:gd name="connsiteX1837" fmla="*/ 9306420 w 11701760"/>
              <a:gd name="connsiteY1837" fmla="*/ 3720492 h 6407421"/>
              <a:gd name="connsiteX1838" fmla="*/ 9306420 w 11701760"/>
              <a:gd name="connsiteY1838" fmla="*/ 3750094 h 6407421"/>
              <a:gd name="connsiteX1839" fmla="*/ 9276817 w 11701760"/>
              <a:gd name="connsiteY1839" fmla="*/ 3750094 h 6407421"/>
              <a:gd name="connsiteX1840" fmla="*/ 9010620 w 11701760"/>
              <a:gd name="connsiteY1840" fmla="*/ 3720492 h 6407421"/>
              <a:gd name="connsiteX1841" fmla="*/ 9040222 w 11701760"/>
              <a:gd name="connsiteY1841" fmla="*/ 3720492 h 6407421"/>
              <a:gd name="connsiteX1842" fmla="*/ 9040222 w 11701760"/>
              <a:gd name="connsiteY1842" fmla="*/ 3750094 h 6407421"/>
              <a:gd name="connsiteX1843" fmla="*/ 9010620 w 11701760"/>
              <a:gd name="connsiteY1843" fmla="*/ 3750094 h 6407421"/>
              <a:gd name="connsiteX1844" fmla="*/ 8744423 w 11701760"/>
              <a:gd name="connsiteY1844" fmla="*/ 3720492 h 6407421"/>
              <a:gd name="connsiteX1845" fmla="*/ 8774026 w 11701760"/>
              <a:gd name="connsiteY1845" fmla="*/ 3720492 h 6407421"/>
              <a:gd name="connsiteX1846" fmla="*/ 8774026 w 11701760"/>
              <a:gd name="connsiteY1846" fmla="*/ 3750094 h 6407421"/>
              <a:gd name="connsiteX1847" fmla="*/ 8744423 w 11701760"/>
              <a:gd name="connsiteY1847" fmla="*/ 3750094 h 6407421"/>
              <a:gd name="connsiteX1848" fmla="*/ 8478226 w 11701760"/>
              <a:gd name="connsiteY1848" fmla="*/ 3720492 h 6407421"/>
              <a:gd name="connsiteX1849" fmla="*/ 8507828 w 11701760"/>
              <a:gd name="connsiteY1849" fmla="*/ 3720492 h 6407421"/>
              <a:gd name="connsiteX1850" fmla="*/ 8507828 w 11701760"/>
              <a:gd name="connsiteY1850" fmla="*/ 3750094 h 6407421"/>
              <a:gd name="connsiteX1851" fmla="*/ 8478226 w 11701760"/>
              <a:gd name="connsiteY1851" fmla="*/ 3750094 h 6407421"/>
              <a:gd name="connsiteX1852" fmla="*/ 8212137 w 11701760"/>
              <a:gd name="connsiteY1852" fmla="*/ 3720492 h 6407421"/>
              <a:gd name="connsiteX1853" fmla="*/ 8241740 w 11701760"/>
              <a:gd name="connsiteY1853" fmla="*/ 3720492 h 6407421"/>
              <a:gd name="connsiteX1854" fmla="*/ 8241740 w 11701760"/>
              <a:gd name="connsiteY1854" fmla="*/ 3750094 h 6407421"/>
              <a:gd name="connsiteX1855" fmla="*/ 8212137 w 11701760"/>
              <a:gd name="connsiteY1855" fmla="*/ 3750094 h 6407421"/>
              <a:gd name="connsiteX1856" fmla="*/ 7945940 w 11701760"/>
              <a:gd name="connsiteY1856" fmla="*/ 3720492 h 6407421"/>
              <a:gd name="connsiteX1857" fmla="*/ 7975543 w 11701760"/>
              <a:gd name="connsiteY1857" fmla="*/ 3720492 h 6407421"/>
              <a:gd name="connsiteX1858" fmla="*/ 7975543 w 11701760"/>
              <a:gd name="connsiteY1858" fmla="*/ 3750094 h 6407421"/>
              <a:gd name="connsiteX1859" fmla="*/ 7945940 w 11701760"/>
              <a:gd name="connsiteY1859" fmla="*/ 3750094 h 6407421"/>
              <a:gd name="connsiteX1860" fmla="*/ 7679743 w 11701760"/>
              <a:gd name="connsiteY1860" fmla="*/ 3720492 h 6407421"/>
              <a:gd name="connsiteX1861" fmla="*/ 7709346 w 11701760"/>
              <a:gd name="connsiteY1861" fmla="*/ 3720492 h 6407421"/>
              <a:gd name="connsiteX1862" fmla="*/ 7709346 w 11701760"/>
              <a:gd name="connsiteY1862" fmla="*/ 3750094 h 6407421"/>
              <a:gd name="connsiteX1863" fmla="*/ 7679743 w 11701760"/>
              <a:gd name="connsiteY1863" fmla="*/ 3750094 h 6407421"/>
              <a:gd name="connsiteX1864" fmla="*/ 7413653 w 11701760"/>
              <a:gd name="connsiteY1864" fmla="*/ 3720492 h 6407421"/>
              <a:gd name="connsiteX1865" fmla="*/ 7443256 w 11701760"/>
              <a:gd name="connsiteY1865" fmla="*/ 3720492 h 6407421"/>
              <a:gd name="connsiteX1866" fmla="*/ 7443256 w 11701760"/>
              <a:gd name="connsiteY1866" fmla="*/ 3750094 h 6407421"/>
              <a:gd name="connsiteX1867" fmla="*/ 7413653 w 11701760"/>
              <a:gd name="connsiteY1867" fmla="*/ 3750094 h 6407421"/>
              <a:gd name="connsiteX1868" fmla="*/ 7147456 w 11701760"/>
              <a:gd name="connsiteY1868" fmla="*/ 3720492 h 6407421"/>
              <a:gd name="connsiteX1869" fmla="*/ 7177058 w 11701760"/>
              <a:gd name="connsiteY1869" fmla="*/ 3720492 h 6407421"/>
              <a:gd name="connsiteX1870" fmla="*/ 7177058 w 11701760"/>
              <a:gd name="connsiteY1870" fmla="*/ 3750094 h 6407421"/>
              <a:gd name="connsiteX1871" fmla="*/ 7147456 w 11701760"/>
              <a:gd name="connsiteY1871" fmla="*/ 3750094 h 6407421"/>
              <a:gd name="connsiteX1872" fmla="*/ 6881367 w 11701760"/>
              <a:gd name="connsiteY1872" fmla="*/ 3720492 h 6407421"/>
              <a:gd name="connsiteX1873" fmla="*/ 6910970 w 11701760"/>
              <a:gd name="connsiteY1873" fmla="*/ 3720492 h 6407421"/>
              <a:gd name="connsiteX1874" fmla="*/ 6910970 w 11701760"/>
              <a:gd name="connsiteY1874" fmla="*/ 3750094 h 6407421"/>
              <a:gd name="connsiteX1875" fmla="*/ 6881367 w 11701760"/>
              <a:gd name="connsiteY1875" fmla="*/ 3750094 h 6407421"/>
              <a:gd name="connsiteX1876" fmla="*/ 6615170 w 11701760"/>
              <a:gd name="connsiteY1876" fmla="*/ 3720492 h 6407421"/>
              <a:gd name="connsiteX1877" fmla="*/ 6644773 w 11701760"/>
              <a:gd name="connsiteY1877" fmla="*/ 3720492 h 6407421"/>
              <a:gd name="connsiteX1878" fmla="*/ 6644773 w 11701760"/>
              <a:gd name="connsiteY1878" fmla="*/ 3750094 h 6407421"/>
              <a:gd name="connsiteX1879" fmla="*/ 6615170 w 11701760"/>
              <a:gd name="connsiteY1879" fmla="*/ 3750094 h 6407421"/>
              <a:gd name="connsiteX1880" fmla="*/ 6349081 w 11701760"/>
              <a:gd name="connsiteY1880" fmla="*/ 3720492 h 6407421"/>
              <a:gd name="connsiteX1881" fmla="*/ 6378683 w 11701760"/>
              <a:gd name="connsiteY1881" fmla="*/ 3720492 h 6407421"/>
              <a:gd name="connsiteX1882" fmla="*/ 6378683 w 11701760"/>
              <a:gd name="connsiteY1882" fmla="*/ 3750094 h 6407421"/>
              <a:gd name="connsiteX1883" fmla="*/ 6349081 w 11701760"/>
              <a:gd name="connsiteY1883" fmla="*/ 3750094 h 6407421"/>
              <a:gd name="connsiteX1884" fmla="*/ 6082884 w 11701760"/>
              <a:gd name="connsiteY1884" fmla="*/ 3720492 h 6407421"/>
              <a:gd name="connsiteX1885" fmla="*/ 6112486 w 11701760"/>
              <a:gd name="connsiteY1885" fmla="*/ 3720492 h 6407421"/>
              <a:gd name="connsiteX1886" fmla="*/ 6112486 w 11701760"/>
              <a:gd name="connsiteY1886" fmla="*/ 3750094 h 6407421"/>
              <a:gd name="connsiteX1887" fmla="*/ 6082884 w 11701760"/>
              <a:gd name="connsiteY1887" fmla="*/ 3750094 h 6407421"/>
              <a:gd name="connsiteX1888" fmla="*/ 5825310 w 11701760"/>
              <a:gd name="connsiteY1888" fmla="*/ 3720492 h 6407421"/>
              <a:gd name="connsiteX1889" fmla="*/ 5854913 w 11701760"/>
              <a:gd name="connsiteY1889" fmla="*/ 3720492 h 6407421"/>
              <a:gd name="connsiteX1890" fmla="*/ 5854913 w 11701760"/>
              <a:gd name="connsiteY1890" fmla="*/ 3750094 h 6407421"/>
              <a:gd name="connsiteX1891" fmla="*/ 5825310 w 11701760"/>
              <a:gd name="connsiteY1891" fmla="*/ 3750094 h 6407421"/>
              <a:gd name="connsiteX1892" fmla="*/ 5559113 w 11701760"/>
              <a:gd name="connsiteY1892" fmla="*/ 3720492 h 6407421"/>
              <a:gd name="connsiteX1893" fmla="*/ 5588715 w 11701760"/>
              <a:gd name="connsiteY1893" fmla="*/ 3720492 h 6407421"/>
              <a:gd name="connsiteX1894" fmla="*/ 5588715 w 11701760"/>
              <a:gd name="connsiteY1894" fmla="*/ 3750094 h 6407421"/>
              <a:gd name="connsiteX1895" fmla="*/ 5559113 w 11701760"/>
              <a:gd name="connsiteY1895" fmla="*/ 3750094 h 6407421"/>
              <a:gd name="connsiteX1896" fmla="*/ 5293024 w 11701760"/>
              <a:gd name="connsiteY1896" fmla="*/ 3720492 h 6407421"/>
              <a:gd name="connsiteX1897" fmla="*/ 5322626 w 11701760"/>
              <a:gd name="connsiteY1897" fmla="*/ 3720492 h 6407421"/>
              <a:gd name="connsiteX1898" fmla="*/ 5322626 w 11701760"/>
              <a:gd name="connsiteY1898" fmla="*/ 3750094 h 6407421"/>
              <a:gd name="connsiteX1899" fmla="*/ 5293024 w 11701760"/>
              <a:gd name="connsiteY1899" fmla="*/ 3750094 h 6407421"/>
              <a:gd name="connsiteX1900" fmla="*/ 5026827 w 11701760"/>
              <a:gd name="connsiteY1900" fmla="*/ 3720492 h 6407421"/>
              <a:gd name="connsiteX1901" fmla="*/ 5056429 w 11701760"/>
              <a:gd name="connsiteY1901" fmla="*/ 3720492 h 6407421"/>
              <a:gd name="connsiteX1902" fmla="*/ 5056429 w 11701760"/>
              <a:gd name="connsiteY1902" fmla="*/ 3750094 h 6407421"/>
              <a:gd name="connsiteX1903" fmla="*/ 5026827 w 11701760"/>
              <a:gd name="connsiteY1903" fmla="*/ 3750094 h 6407421"/>
              <a:gd name="connsiteX1904" fmla="*/ 4760630 w 11701760"/>
              <a:gd name="connsiteY1904" fmla="*/ 3720492 h 6407421"/>
              <a:gd name="connsiteX1905" fmla="*/ 4790340 w 11701760"/>
              <a:gd name="connsiteY1905" fmla="*/ 3720492 h 6407421"/>
              <a:gd name="connsiteX1906" fmla="*/ 4790340 w 11701760"/>
              <a:gd name="connsiteY1906" fmla="*/ 3750094 h 6407421"/>
              <a:gd name="connsiteX1907" fmla="*/ 4760630 w 11701760"/>
              <a:gd name="connsiteY1907" fmla="*/ 3750094 h 6407421"/>
              <a:gd name="connsiteX1908" fmla="*/ 4494541 w 11701760"/>
              <a:gd name="connsiteY1908" fmla="*/ 3720492 h 6407421"/>
              <a:gd name="connsiteX1909" fmla="*/ 4524144 w 11701760"/>
              <a:gd name="connsiteY1909" fmla="*/ 3720492 h 6407421"/>
              <a:gd name="connsiteX1910" fmla="*/ 4524144 w 11701760"/>
              <a:gd name="connsiteY1910" fmla="*/ 3750094 h 6407421"/>
              <a:gd name="connsiteX1911" fmla="*/ 4494541 w 11701760"/>
              <a:gd name="connsiteY1911" fmla="*/ 3750094 h 6407421"/>
              <a:gd name="connsiteX1912" fmla="*/ 4228344 w 11701760"/>
              <a:gd name="connsiteY1912" fmla="*/ 3720492 h 6407421"/>
              <a:gd name="connsiteX1913" fmla="*/ 4257946 w 11701760"/>
              <a:gd name="connsiteY1913" fmla="*/ 3720492 h 6407421"/>
              <a:gd name="connsiteX1914" fmla="*/ 4257946 w 11701760"/>
              <a:gd name="connsiteY1914" fmla="*/ 3750094 h 6407421"/>
              <a:gd name="connsiteX1915" fmla="*/ 4228344 w 11701760"/>
              <a:gd name="connsiteY1915" fmla="*/ 3750094 h 6407421"/>
              <a:gd name="connsiteX1916" fmla="*/ 3962255 w 11701760"/>
              <a:gd name="connsiteY1916" fmla="*/ 3720492 h 6407421"/>
              <a:gd name="connsiteX1917" fmla="*/ 3991857 w 11701760"/>
              <a:gd name="connsiteY1917" fmla="*/ 3720492 h 6407421"/>
              <a:gd name="connsiteX1918" fmla="*/ 3991857 w 11701760"/>
              <a:gd name="connsiteY1918" fmla="*/ 3750094 h 6407421"/>
              <a:gd name="connsiteX1919" fmla="*/ 3962255 w 11701760"/>
              <a:gd name="connsiteY1919" fmla="*/ 3750094 h 6407421"/>
              <a:gd name="connsiteX1920" fmla="*/ 3696058 w 11701760"/>
              <a:gd name="connsiteY1920" fmla="*/ 3720492 h 6407421"/>
              <a:gd name="connsiteX1921" fmla="*/ 3725661 w 11701760"/>
              <a:gd name="connsiteY1921" fmla="*/ 3720492 h 6407421"/>
              <a:gd name="connsiteX1922" fmla="*/ 3725661 w 11701760"/>
              <a:gd name="connsiteY1922" fmla="*/ 3750094 h 6407421"/>
              <a:gd name="connsiteX1923" fmla="*/ 3696058 w 11701760"/>
              <a:gd name="connsiteY1923" fmla="*/ 3750094 h 6407421"/>
              <a:gd name="connsiteX1924" fmla="*/ 3429969 w 11701760"/>
              <a:gd name="connsiteY1924" fmla="*/ 3720492 h 6407421"/>
              <a:gd name="connsiteX1925" fmla="*/ 3459572 w 11701760"/>
              <a:gd name="connsiteY1925" fmla="*/ 3720492 h 6407421"/>
              <a:gd name="connsiteX1926" fmla="*/ 3459572 w 11701760"/>
              <a:gd name="connsiteY1926" fmla="*/ 3750094 h 6407421"/>
              <a:gd name="connsiteX1927" fmla="*/ 3429969 w 11701760"/>
              <a:gd name="connsiteY1927" fmla="*/ 3750094 h 6407421"/>
              <a:gd name="connsiteX1928" fmla="*/ 3163772 w 11701760"/>
              <a:gd name="connsiteY1928" fmla="*/ 3720492 h 6407421"/>
              <a:gd name="connsiteX1929" fmla="*/ 3193374 w 11701760"/>
              <a:gd name="connsiteY1929" fmla="*/ 3720492 h 6407421"/>
              <a:gd name="connsiteX1930" fmla="*/ 3193374 w 11701760"/>
              <a:gd name="connsiteY1930" fmla="*/ 3750094 h 6407421"/>
              <a:gd name="connsiteX1931" fmla="*/ 3163772 w 11701760"/>
              <a:gd name="connsiteY1931" fmla="*/ 3750094 h 6407421"/>
              <a:gd name="connsiteX1932" fmla="*/ 2897575 w 11701760"/>
              <a:gd name="connsiteY1932" fmla="*/ 3720492 h 6407421"/>
              <a:gd name="connsiteX1933" fmla="*/ 2927178 w 11701760"/>
              <a:gd name="connsiteY1933" fmla="*/ 3720492 h 6407421"/>
              <a:gd name="connsiteX1934" fmla="*/ 2927178 w 11701760"/>
              <a:gd name="connsiteY1934" fmla="*/ 3750094 h 6407421"/>
              <a:gd name="connsiteX1935" fmla="*/ 2897575 w 11701760"/>
              <a:gd name="connsiteY1935" fmla="*/ 3750094 h 6407421"/>
              <a:gd name="connsiteX1936" fmla="*/ 2631378 w 11701760"/>
              <a:gd name="connsiteY1936" fmla="*/ 3720492 h 6407421"/>
              <a:gd name="connsiteX1937" fmla="*/ 2660980 w 11701760"/>
              <a:gd name="connsiteY1937" fmla="*/ 3720492 h 6407421"/>
              <a:gd name="connsiteX1938" fmla="*/ 2660980 w 11701760"/>
              <a:gd name="connsiteY1938" fmla="*/ 3750094 h 6407421"/>
              <a:gd name="connsiteX1939" fmla="*/ 2631378 w 11701760"/>
              <a:gd name="connsiteY1939" fmla="*/ 3750094 h 6407421"/>
              <a:gd name="connsiteX1940" fmla="*/ 2365289 w 11701760"/>
              <a:gd name="connsiteY1940" fmla="*/ 3720492 h 6407421"/>
              <a:gd name="connsiteX1941" fmla="*/ 2394892 w 11701760"/>
              <a:gd name="connsiteY1941" fmla="*/ 3720492 h 6407421"/>
              <a:gd name="connsiteX1942" fmla="*/ 2394892 w 11701760"/>
              <a:gd name="connsiteY1942" fmla="*/ 3750094 h 6407421"/>
              <a:gd name="connsiteX1943" fmla="*/ 2365289 w 11701760"/>
              <a:gd name="connsiteY1943" fmla="*/ 3750094 h 6407421"/>
              <a:gd name="connsiteX1944" fmla="*/ 2099092 w 11701760"/>
              <a:gd name="connsiteY1944" fmla="*/ 3720492 h 6407421"/>
              <a:gd name="connsiteX1945" fmla="*/ 2128695 w 11701760"/>
              <a:gd name="connsiteY1945" fmla="*/ 3720492 h 6407421"/>
              <a:gd name="connsiteX1946" fmla="*/ 2128695 w 11701760"/>
              <a:gd name="connsiteY1946" fmla="*/ 3750094 h 6407421"/>
              <a:gd name="connsiteX1947" fmla="*/ 2099092 w 11701760"/>
              <a:gd name="connsiteY1947" fmla="*/ 3750094 h 6407421"/>
              <a:gd name="connsiteX1948" fmla="*/ 1832898 w 11701760"/>
              <a:gd name="connsiteY1948" fmla="*/ 3720492 h 6407421"/>
              <a:gd name="connsiteX1949" fmla="*/ 1862498 w 11701760"/>
              <a:gd name="connsiteY1949" fmla="*/ 3720492 h 6407421"/>
              <a:gd name="connsiteX1950" fmla="*/ 1862498 w 11701760"/>
              <a:gd name="connsiteY1950" fmla="*/ 3750094 h 6407421"/>
              <a:gd name="connsiteX1951" fmla="*/ 1832898 w 11701760"/>
              <a:gd name="connsiteY1951" fmla="*/ 3750094 h 6407421"/>
              <a:gd name="connsiteX1952" fmla="*/ 1566808 w 11701760"/>
              <a:gd name="connsiteY1952" fmla="*/ 3720492 h 6407421"/>
              <a:gd name="connsiteX1953" fmla="*/ 1596409 w 11701760"/>
              <a:gd name="connsiteY1953" fmla="*/ 3720492 h 6407421"/>
              <a:gd name="connsiteX1954" fmla="*/ 1596409 w 11701760"/>
              <a:gd name="connsiteY1954" fmla="*/ 3750094 h 6407421"/>
              <a:gd name="connsiteX1955" fmla="*/ 1566808 w 11701760"/>
              <a:gd name="connsiteY1955" fmla="*/ 3750094 h 6407421"/>
              <a:gd name="connsiteX1956" fmla="*/ 1300611 w 11701760"/>
              <a:gd name="connsiteY1956" fmla="*/ 3720492 h 6407421"/>
              <a:gd name="connsiteX1957" fmla="*/ 1330213 w 11701760"/>
              <a:gd name="connsiteY1957" fmla="*/ 3720492 h 6407421"/>
              <a:gd name="connsiteX1958" fmla="*/ 1330213 w 11701760"/>
              <a:gd name="connsiteY1958" fmla="*/ 3750094 h 6407421"/>
              <a:gd name="connsiteX1959" fmla="*/ 1300611 w 11701760"/>
              <a:gd name="connsiteY1959" fmla="*/ 3750094 h 6407421"/>
              <a:gd name="connsiteX1960" fmla="*/ 1034520 w 11701760"/>
              <a:gd name="connsiteY1960" fmla="*/ 3720492 h 6407421"/>
              <a:gd name="connsiteX1961" fmla="*/ 1064123 w 11701760"/>
              <a:gd name="connsiteY1961" fmla="*/ 3720492 h 6407421"/>
              <a:gd name="connsiteX1962" fmla="*/ 1064123 w 11701760"/>
              <a:gd name="connsiteY1962" fmla="*/ 3750094 h 6407421"/>
              <a:gd name="connsiteX1963" fmla="*/ 1034520 w 11701760"/>
              <a:gd name="connsiteY1963" fmla="*/ 3750094 h 6407421"/>
              <a:gd name="connsiteX1964" fmla="*/ 768327 w 11701760"/>
              <a:gd name="connsiteY1964" fmla="*/ 3720492 h 6407421"/>
              <a:gd name="connsiteX1965" fmla="*/ 797926 w 11701760"/>
              <a:gd name="connsiteY1965" fmla="*/ 3720492 h 6407421"/>
              <a:gd name="connsiteX1966" fmla="*/ 797926 w 11701760"/>
              <a:gd name="connsiteY1966" fmla="*/ 3750094 h 6407421"/>
              <a:gd name="connsiteX1967" fmla="*/ 768327 w 11701760"/>
              <a:gd name="connsiteY1967" fmla="*/ 3750094 h 6407421"/>
              <a:gd name="connsiteX1968" fmla="*/ 502236 w 11701760"/>
              <a:gd name="connsiteY1968" fmla="*/ 3720492 h 6407421"/>
              <a:gd name="connsiteX1969" fmla="*/ 531839 w 11701760"/>
              <a:gd name="connsiteY1969" fmla="*/ 3720492 h 6407421"/>
              <a:gd name="connsiteX1970" fmla="*/ 531839 w 11701760"/>
              <a:gd name="connsiteY1970" fmla="*/ 3750094 h 6407421"/>
              <a:gd name="connsiteX1971" fmla="*/ 502236 w 11701760"/>
              <a:gd name="connsiteY1971" fmla="*/ 3750094 h 6407421"/>
              <a:gd name="connsiteX1972" fmla="*/ 236037 w 11701760"/>
              <a:gd name="connsiteY1972" fmla="*/ 3720492 h 6407421"/>
              <a:gd name="connsiteX1973" fmla="*/ 265640 w 11701760"/>
              <a:gd name="connsiteY1973" fmla="*/ 3720492 h 6407421"/>
              <a:gd name="connsiteX1974" fmla="*/ 265640 w 11701760"/>
              <a:gd name="connsiteY1974" fmla="*/ 3750094 h 6407421"/>
              <a:gd name="connsiteX1975" fmla="*/ 236037 w 11701760"/>
              <a:gd name="connsiteY1975" fmla="*/ 3750094 h 6407421"/>
              <a:gd name="connsiteX1976" fmla="*/ 1 w 11701760"/>
              <a:gd name="connsiteY1976" fmla="*/ 3720492 h 6407421"/>
              <a:gd name="connsiteX1977" fmla="*/ 29603 w 11701760"/>
              <a:gd name="connsiteY1977" fmla="*/ 3720492 h 6407421"/>
              <a:gd name="connsiteX1978" fmla="*/ 29603 w 11701760"/>
              <a:gd name="connsiteY1978" fmla="*/ 3750094 h 6407421"/>
              <a:gd name="connsiteX1979" fmla="*/ 1 w 11701760"/>
              <a:gd name="connsiteY1979" fmla="*/ 3750094 h 6407421"/>
              <a:gd name="connsiteX1980" fmla="*/ 11672158 w 11701760"/>
              <a:gd name="connsiteY1980" fmla="*/ 3454727 h 6407421"/>
              <a:gd name="connsiteX1981" fmla="*/ 11701760 w 11701760"/>
              <a:gd name="connsiteY1981" fmla="*/ 3454727 h 6407421"/>
              <a:gd name="connsiteX1982" fmla="*/ 11701760 w 11701760"/>
              <a:gd name="connsiteY1982" fmla="*/ 3484330 h 6407421"/>
              <a:gd name="connsiteX1983" fmla="*/ 11672158 w 11701760"/>
              <a:gd name="connsiteY1983" fmla="*/ 3484330 h 6407421"/>
              <a:gd name="connsiteX1984" fmla="*/ 11405961 w 11701760"/>
              <a:gd name="connsiteY1984" fmla="*/ 3454727 h 6407421"/>
              <a:gd name="connsiteX1985" fmla="*/ 11435563 w 11701760"/>
              <a:gd name="connsiteY1985" fmla="*/ 3454727 h 6407421"/>
              <a:gd name="connsiteX1986" fmla="*/ 11435563 w 11701760"/>
              <a:gd name="connsiteY1986" fmla="*/ 3484330 h 6407421"/>
              <a:gd name="connsiteX1987" fmla="*/ 11405961 w 11701760"/>
              <a:gd name="connsiteY1987" fmla="*/ 3484330 h 6407421"/>
              <a:gd name="connsiteX1988" fmla="*/ 11139872 w 11701760"/>
              <a:gd name="connsiteY1988" fmla="*/ 3454727 h 6407421"/>
              <a:gd name="connsiteX1989" fmla="*/ 11169474 w 11701760"/>
              <a:gd name="connsiteY1989" fmla="*/ 3454727 h 6407421"/>
              <a:gd name="connsiteX1990" fmla="*/ 11169474 w 11701760"/>
              <a:gd name="connsiteY1990" fmla="*/ 3484330 h 6407421"/>
              <a:gd name="connsiteX1991" fmla="*/ 11139872 w 11701760"/>
              <a:gd name="connsiteY1991" fmla="*/ 3484330 h 6407421"/>
              <a:gd name="connsiteX1992" fmla="*/ 10873675 w 11701760"/>
              <a:gd name="connsiteY1992" fmla="*/ 3454727 h 6407421"/>
              <a:gd name="connsiteX1993" fmla="*/ 10903277 w 11701760"/>
              <a:gd name="connsiteY1993" fmla="*/ 3454727 h 6407421"/>
              <a:gd name="connsiteX1994" fmla="*/ 10903277 w 11701760"/>
              <a:gd name="connsiteY1994" fmla="*/ 3484330 h 6407421"/>
              <a:gd name="connsiteX1995" fmla="*/ 10873675 w 11701760"/>
              <a:gd name="connsiteY1995" fmla="*/ 3484330 h 6407421"/>
              <a:gd name="connsiteX1996" fmla="*/ 10607478 w 11701760"/>
              <a:gd name="connsiteY1996" fmla="*/ 3454727 h 6407421"/>
              <a:gd name="connsiteX1997" fmla="*/ 10637188 w 11701760"/>
              <a:gd name="connsiteY1997" fmla="*/ 3454727 h 6407421"/>
              <a:gd name="connsiteX1998" fmla="*/ 10637188 w 11701760"/>
              <a:gd name="connsiteY1998" fmla="*/ 3484330 h 6407421"/>
              <a:gd name="connsiteX1999" fmla="*/ 10607478 w 11701760"/>
              <a:gd name="connsiteY1999" fmla="*/ 3484330 h 6407421"/>
              <a:gd name="connsiteX2000" fmla="*/ 10341389 w 11701760"/>
              <a:gd name="connsiteY2000" fmla="*/ 3454727 h 6407421"/>
              <a:gd name="connsiteX2001" fmla="*/ 10370992 w 11701760"/>
              <a:gd name="connsiteY2001" fmla="*/ 3454727 h 6407421"/>
              <a:gd name="connsiteX2002" fmla="*/ 10370992 w 11701760"/>
              <a:gd name="connsiteY2002" fmla="*/ 3484330 h 6407421"/>
              <a:gd name="connsiteX2003" fmla="*/ 10341389 w 11701760"/>
              <a:gd name="connsiteY2003" fmla="*/ 3484330 h 6407421"/>
              <a:gd name="connsiteX2004" fmla="*/ 10075192 w 11701760"/>
              <a:gd name="connsiteY2004" fmla="*/ 3454727 h 6407421"/>
              <a:gd name="connsiteX2005" fmla="*/ 10104794 w 11701760"/>
              <a:gd name="connsiteY2005" fmla="*/ 3454727 h 6407421"/>
              <a:gd name="connsiteX2006" fmla="*/ 10104794 w 11701760"/>
              <a:gd name="connsiteY2006" fmla="*/ 3484330 h 6407421"/>
              <a:gd name="connsiteX2007" fmla="*/ 10075192 w 11701760"/>
              <a:gd name="connsiteY2007" fmla="*/ 3484330 h 6407421"/>
              <a:gd name="connsiteX2008" fmla="*/ 9809103 w 11701760"/>
              <a:gd name="connsiteY2008" fmla="*/ 3454727 h 6407421"/>
              <a:gd name="connsiteX2009" fmla="*/ 9838705 w 11701760"/>
              <a:gd name="connsiteY2009" fmla="*/ 3454727 h 6407421"/>
              <a:gd name="connsiteX2010" fmla="*/ 9838705 w 11701760"/>
              <a:gd name="connsiteY2010" fmla="*/ 3484330 h 6407421"/>
              <a:gd name="connsiteX2011" fmla="*/ 9809103 w 11701760"/>
              <a:gd name="connsiteY2011" fmla="*/ 3484330 h 6407421"/>
              <a:gd name="connsiteX2012" fmla="*/ 9542906 w 11701760"/>
              <a:gd name="connsiteY2012" fmla="*/ 3454727 h 6407421"/>
              <a:gd name="connsiteX2013" fmla="*/ 9572509 w 11701760"/>
              <a:gd name="connsiteY2013" fmla="*/ 3454727 h 6407421"/>
              <a:gd name="connsiteX2014" fmla="*/ 9572509 w 11701760"/>
              <a:gd name="connsiteY2014" fmla="*/ 3484330 h 6407421"/>
              <a:gd name="connsiteX2015" fmla="*/ 9542906 w 11701760"/>
              <a:gd name="connsiteY2015" fmla="*/ 3484330 h 6407421"/>
              <a:gd name="connsiteX2016" fmla="*/ 9276817 w 11701760"/>
              <a:gd name="connsiteY2016" fmla="*/ 3454727 h 6407421"/>
              <a:gd name="connsiteX2017" fmla="*/ 9306420 w 11701760"/>
              <a:gd name="connsiteY2017" fmla="*/ 3454727 h 6407421"/>
              <a:gd name="connsiteX2018" fmla="*/ 9306420 w 11701760"/>
              <a:gd name="connsiteY2018" fmla="*/ 3484330 h 6407421"/>
              <a:gd name="connsiteX2019" fmla="*/ 9276817 w 11701760"/>
              <a:gd name="connsiteY2019" fmla="*/ 3484330 h 6407421"/>
              <a:gd name="connsiteX2020" fmla="*/ 9010620 w 11701760"/>
              <a:gd name="connsiteY2020" fmla="*/ 3454727 h 6407421"/>
              <a:gd name="connsiteX2021" fmla="*/ 9040222 w 11701760"/>
              <a:gd name="connsiteY2021" fmla="*/ 3454727 h 6407421"/>
              <a:gd name="connsiteX2022" fmla="*/ 9040222 w 11701760"/>
              <a:gd name="connsiteY2022" fmla="*/ 3484330 h 6407421"/>
              <a:gd name="connsiteX2023" fmla="*/ 9010620 w 11701760"/>
              <a:gd name="connsiteY2023" fmla="*/ 3484330 h 6407421"/>
              <a:gd name="connsiteX2024" fmla="*/ 8744423 w 11701760"/>
              <a:gd name="connsiteY2024" fmla="*/ 3454727 h 6407421"/>
              <a:gd name="connsiteX2025" fmla="*/ 8774026 w 11701760"/>
              <a:gd name="connsiteY2025" fmla="*/ 3454727 h 6407421"/>
              <a:gd name="connsiteX2026" fmla="*/ 8774026 w 11701760"/>
              <a:gd name="connsiteY2026" fmla="*/ 3484330 h 6407421"/>
              <a:gd name="connsiteX2027" fmla="*/ 8744423 w 11701760"/>
              <a:gd name="connsiteY2027" fmla="*/ 3484330 h 6407421"/>
              <a:gd name="connsiteX2028" fmla="*/ 8478226 w 11701760"/>
              <a:gd name="connsiteY2028" fmla="*/ 3454727 h 6407421"/>
              <a:gd name="connsiteX2029" fmla="*/ 8507828 w 11701760"/>
              <a:gd name="connsiteY2029" fmla="*/ 3454727 h 6407421"/>
              <a:gd name="connsiteX2030" fmla="*/ 8507828 w 11701760"/>
              <a:gd name="connsiteY2030" fmla="*/ 3484330 h 6407421"/>
              <a:gd name="connsiteX2031" fmla="*/ 8478226 w 11701760"/>
              <a:gd name="connsiteY2031" fmla="*/ 3484330 h 6407421"/>
              <a:gd name="connsiteX2032" fmla="*/ 8212137 w 11701760"/>
              <a:gd name="connsiteY2032" fmla="*/ 3454727 h 6407421"/>
              <a:gd name="connsiteX2033" fmla="*/ 8241740 w 11701760"/>
              <a:gd name="connsiteY2033" fmla="*/ 3454727 h 6407421"/>
              <a:gd name="connsiteX2034" fmla="*/ 8241740 w 11701760"/>
              <a:gd name="connsiteY2034" fmla="*/ 3484330 h 6407421"/>
              <a:gd name="connsiteX2035" fmla="*/ 8212137 w 11701760"/>
              <a:gd name="connsiteY2035" fmla="*/ 3484330 h 6407421"/>
              <a:gd name="connsiteX2036" fmla="*/ 7945940 w 11701760"/>
              <a:gd name="connsiteY2036" fmla="*/ 3454727 h 6407421"/>
              <a:gd name="connsiteX2037" fmla="*/ 7975543 w 11701760"/>
              <a:gd name="connsiteY2037" fmla="*/ 3454727 h 6407421"/>
              <a:gd name="connsiteX2038" fmla="*/ 7975543 w 11701760"/>
              <a:gd name="connsiteY2038" fmla="*/ 3484330 h 6407421"/>
              <a:gd name="connsiteX2039" fmla="*/ 7945940 w 11701760"/>
              <a:gd name="connsiteY2039" fmla="*/ 3484330 h 6407421"/>
              <a:gd name="connsiteX2040" fmla="*/ 7679743 w 11701760"/>
              <a:gd name="connsiteY2040" fmla="*/ 3454727 h 6407421"/>
              <a:gd name="connsiteX2041" fmla="*/ 7709346 w 11701760"/>
              <a:gd name="connsiteY2041" fmla="*/ 3454727 h 6407421"/>
              <a:gd name="connsiteX2042" fmla="*/ 7709346 w 11701760"/>
              <a:gd name="connsiteY2042" fmla="*/ 3484330 h 6407421"/>
              <a:gd name="connsiteX2043" fmla="*/ 7679743 w 11701760"/>
              <a:gd name="connsiteY2043" fmla="*/ 3484330 h 6407421"/>
              <a:gd name="connsiteX2044" fmla="*/ 7413653 w 11701760"/>
              <a:gd name="connsiteY2044" fmla="*/ 3454727 h 6407421"/>
              <a:gd name="connsiteX2045" fmla="*/ 7443256 w 11701760"/>
              <a:gd name="connsiteY2045" fmla="*/ 3454727 h 6407421"/>
              <a:gd name="connsiteX2046" fmla="*/ 7443256 w 11701760"/>
              <a:gd name="connsiteY2046" fmla="*/ 3484330 h 6407421"/>
              <a:gd name="connsiteX2047" fmla="*/ 7413653 w 11701760"/>
              <a:gd name="connsiteY2047" fmla="*/ 3484330 h 6407421"/>
              <a:gd name="connsiteX2048" fmla="*/ 7147456 w 11701760"/>
              <a:gd name="connsiteY2048" fmla="*/ 3454727 h 6407421"/>
              <a:gd name="connsiteX2049" fmla="*/ 7177058 w 11701760"/>
              <a:gd name="connsiteY2049" fmla="*/ 3454727 h 6407421"/>
              <a:gd name="connsiteX2050" fmla="*/ 7177058 w 11701760"/>
              <a:gd name="connsiteY2050" fmla="*/ 3484330 h 6407421"/>
              <a:gd name="connsiteX2051" fmla="*/ 7147456 w 11701760"/>
              <a:gd name="connsiteY2051" fmla="*/ 3484330 h 6407421"/>
              <a:gd name="connsiteX2052" fmla="*/ 6881367 w 11701760"/>
              <a:gd name="connsiteY2052" fmla="*/ 3454727 h 6407421"/>
              <a:gd name="connsiteX2053" fmla="*/ 6910970 w 11701760"/>
              <a:gd name="connsiteY2053" fmla="*/ 3454727 h 6407421"/>
              <a:gd name="connsiteX2054" fmla="*/ 6910970 w 11701760"/>
              <a:gd name="connsiteY2054" fmla="*/ 3484330 h 6407421"/>
              <a:gd name="connsiteX2055" fmla="*/ 6881367 w 11701760"/>
              <a:gd name="connsiteY2055" fmla="*/ 3484330 h 6407421"/>
              <a:gd name="connsiteX2056" fmla="*/ 6615170 w 11701760"/>
              <a:gd name="connsiteY2056" fmla="*/ 3454727 h 6407421"/>
              <a:gd name="connsiteX2057" fmla="*/ 6644773 w 11701760"/>
              <a:gd name="connsiteY2057" fmla="*/ 3454727 h 6407421"/>
              <a:gd name="connsiteX2058" fmla="*/ 6644773 w 11701760"/>
              <a:gd name="connsiteY2058" fmla="*/ 3484330 h 6407421"/>
              <a:gd name="connsiteX2059" fmla="*/ 6615170 w 11701760"/>
              <a:gd name="connsiteY2059" fmla="*/ 3484330 h 6407421"/>
              <a:gd name="connsiteX2060" fmla="*/ 6349081 w 11701760"/>
              <a:gd name="connsiteY2060" fmla="*/ 3454727 h 6407421"/>
              <a:gd name="connsiteX2061" fmla="*/ 6378683 w 11701760"/>
              <a:gd name="connsiteY2061" fmla="*/ 3454727 h 6407421"/>
              <a:gd name="connsiteX2062" fmla="*/ 6378683 w 11701760"/>
              <a:gd name="connsiteY2062" fmla="*/ 3484330 h 6407421"/>
              <a:gd name="connsiteX2063" fmla="*/ 6349081 w 11701760"/>
              <a:gd name="connsiteY2063" fmla="*/ 3484330 h 6407421"/>
              <a:gd name="connsiteX2064" fmla="*/ 6082884 w 11701760"/>
              <a:gd name="connsiteY2064" fmla="*/ 3454727 h 6407421"/>
              <a:gd name="connsiteX2065" fmla="*/ 6112486 w 11701760"/>
              <a:gd name="connsiteY2065" fmla="*/ 3454727 h 6407421"/>
              <a:gd name="connsiteX2066" fmla="*/ 6112486 w 11701760"/>
              <a:gd name="connsiteY2066" fmla="*/ 3484330 h 6407421"/>
              <a:gd name="connsiteX2067" fmla="*/ 6082884 w 11701760"/>
              <a:gd name="connsiteY2067" fmla="*/ 3484330 h 6407421"/>
              <a:gd name="connsiteX2068" fmla="*/ 5825310 w 11701760"/>
              <a:gd name="connsiteY2068" fmla="*/ 3454727 h 6407421"/>
              <a:gd name="connsiteX2069" fmla="*/ 5854913 w 11701760"/>
              <a:gd name="connsiteY2069" fmla="*/ 3454727 h 6407421"/>
              <a:gd name="connsiteX2070" fmla="*/ 5854913 w 11701760"/>
              <a:gd name="connsiteY2070" fmla="*/ 3484330 h 6407421"/>
              <a:gd name="connsiteX2071" fmla="*/ 5825310 w 11701760"/>
              <a:gd name="connsiteY2071" fmla="*/ 3484330 h 6407421"/>
              <a:gd name="connsiteX2072" fmla="*/ 5559113 w 11701760"/>
              <a:gd name="connsiteY2072" fmla="*/ 3454727 h 6407421"/>
              <a:gd name="connsiteX2073" fmla="*/ 5588715 w 11701760"/>
              <a:gd name="connsiteY2073" fmla="*/ 3454727 h 6407421"/>
              <a:gd name="connsiteX2074" fmla="*/ 5588715 w 11701760"/>
              <a:gd name="connsiteY2074" fmla="*/ 3484330 h 6407421"/>
              <a:gd name="connsiteX2075" fmla="*/ 5559113 w 11701760"/>
              <a:gd name="connsiteY2075" fmla="*/ 3484330 h 6407421"/>
              <a:gd name="connsiteX2076" fmla="*/ 5293024 w 11701760"/>
              <a:gd name="connsiteY2076" fmla="*/ 3454727 h 6407421"/>
              <a:gd name="connsiteX2077" fmla="*/ 5322626 w 11701760"/>
              <a:gd name="connsiteY2077" fmla="*/ 3454727 h 6407421"/>
              <a:gd name="connsiteX2078" fmla="*/ 5322626 w 11701760"/>
              <a:gd name="connsiteY2078" fmla="*/ 3484330 h 6407421"/>
              <a:gd name="connsiteX2079" fmla="*/ 5293024 w 11701760"/>
              <a:gd name="connsiteY2079" fmla="*/ 3484330 h 6407421"/>
              <a:gd name="connsiteX2080" fmla="*/ 5026827 w 11701760"/>
              <a:gd name="connsiteY2080" fmla="*/ 3454727 h 6407421"/>
              <a:gd name="connsiteX2081" fmla="*/ 5056429 w 11701760"/>
              <a:gd name="connsiteY2081" fmla="*/ 3454727 h 6407421"/>
              <a:gd name="connsiteX2082" fmla="*/ 5056429 w 11701760"/>
              <a:gd name="connsiteY2082" fmla="*/ 3484330 h 6407421"/>
              <a:gd name="connsiteX2083" fmla="*/ 5026827 w 11701760"/>
              <a:gd name="connsiteY2083" fmla="*/ 3484330 h 6407421"/>
              <a:gd name="connsiteX2084" fmla="*/ 4760630 w 11701760"/>
              <a:gd name="connsiteY2084" fmla="*/ 3454727 h 6407421"/>
              <a:gd name="connsiteX2085" fmla="*/ 4790340 w 11701760"/>
              <a:gd name="connsiteY2085" fmla="*/ 3454727 h 6407421"/>
              <a:gd name="connsiteX2086" fmla="*/ 4790340 w 11701760"/>
              <a:gd name="connsiteY2086" fmla="*/ 3484330 h 6407421"/>
              <a:gd name="connsiteX2087" fmla="*/ 4760630 w 11701760"/>
              <a:gd name="connsiteY2087" fmla="*/ 3484330 h 6407421"/>
              <a:gd name="connsiteX2088" fmla="*/ 4494541 w 11701760"/>
              <a:gd name="connsiteY2088" fmla="*/ 3454727 h 6407421"/>
              <a:gd name="connsiteX2089" fmla="*/ 4524144 w 11701760"/>
              <a:gd name="connsiteY2089" fmla="*/ 3454727 h 6407421"/>
              <a:gd name="connsiteX2090" fmla="*/ 4524144 w 11701760"/>
              <a:gd name="connsiteY2090" fmla="*/ 3484330 h 6407421"/>
              <a:gd name="connsiteX2091" fmla="*/ 4494541 w 11701760"/>
              <a:gd name="connsiteY2091" fmla="*/ 3484330 h 6407421"/>
              <a:gd name="connsiteX2092" fmla="*/ 4228344 w 11701760"/>
              <a:gd name="connsiteY2092" fmla="*/ 3454727 h 6407421"/>
              <a:gd name="connsiteX2093" fmla="*/ 4257946 w 11701760"/>
              <a:gd name="connsiteY2093" fmla="*/ 3454727 h 6407421"/>
              <a:gd name="connsiteX2094" fmla="*/ 4257946 w 11701760"/>
              <a:gd name="connsiteY2094" fmla="*/ 3484330 h 6407421"/>
              <a:gd name="connsiteX2095" fmla="*/ 4228344 w 11701760"/>
              <a:gd name="connsiteY2095" fmla="*/ 3484330 h 6407421"/>
              <a:gd name="connsiteX2096" fmla="*/ 3962255 w 11701760"/>
              <a:gd name="connsiteY2096" fmla="*/ 3454727 h 6407421"/>
              <a:gd name="connsiteX2097" fmla="*/ 3991857 w 11701760"/>
              <a:gd name="connsiteY2097" fmla="*/ 3454727 h 6407421"/>
              <a:gd name="connsiteX2098" fmla="*/ 3991857 w 11701760"/>
              <a:gd name="connsiteY2098" fmla="*/ 3484330 h 6407421"/>
              <a:gd name="connsiteX2099" fmla="*/ 3962255 w 11701760"/>
              <a:gd name="connsiteY2099" fmla="*/ 3484330 h 6407421"/>
              <a:gd name="connsiteX2100" fmla="*/ 3696058 w 11701760"/>
              <a:gd name="connsiteY2100" fmla="*/ 3454727 h 6407421"/>
              <a:gd name="connsiteX2101" fmla="*/ 3725661 w 11701760"/>
              <a:gd name="connsiteY2101" fmla="*/ 3454727 h 6407421"/>
              <a:gd name="connsiteX2102" fmla="*/ 3725661 w 11701760"/>
              <a:gd name="connsiteY2102" fmla="*/ 3484330 h 6407421"/>
              <a:gd name="connsiteX2103" fmla="*/ 3696058 w 11701760"/>
              <a:gd name="connsiteY2103" fmla="*/ 3484330 h 6407421"/>
              <a:gd name="connsiteX2104" fmla="*/ 3429969 w 11701760"/>
              <a:gd name="connsiteY2104" fmla="*/ 3454727 h 6407421"/>
              <a:gd name="connsiteX2105" fmla="*/ 3459572 w 11701760"/>
              <a:gd name="connsiteY2105" fmla="*/ 3454727 h 6407421"/>
              <a:gd name="connsiteX2106" fmla="*/ 3459572 w 11701760"/>
              <a:gd name="connsiteY2106" fmla="*/ 3484330 h 6407421"/>
              <a:gd name="connsiteX2107" fmla="*/ 3429969 w 11701760"/>
              <a:gd name="connsiteY2107" fmla="*/ 3484330 h 6407421"/>
              <a:gd name="connsiteX2108" fmla="*/ 3163772 w 11701760"/>
              <a:gd name="connsiteY2108" fmla="*/ 3454727 h 6407421"/>
              <a:gd name="connsiteX2109" fmla="*/ 3193374 w 11701760"/>
              <a:gd name="connsiteY2109" fmla="*/ 3454727 h 6407421"/>
              <a:gd name="connsiteX2110" fmla="*/ 3193374 w 11701760"/>
              <a:gd name="connsiteY2110" fmla="*/ 3484330 h 6407421"/>
              <a:gd name="connsiteX2111" fmla="*/ 3163772 w 11701760"/>
              <a:gd name="connsiteY2111" fmla="*/ 3484330 h 6407421"/>
              <a:gd name="connsiteX2112" fmla="*/ 2897575 w 11701760"/>
              <a:gd name="connsiteY2112" fmla="*/ 3454727 h 6407421"/>
              <a:gd name="connsiteX2113" fmla="*/ 2927178 w 11701760"/>
              <a:gd name="connsiteY2113" fmla="*/ 3454727 h 6407421"/>
              <a:gd name="connsiteX2114" fmla="*/ 2927178 w 11701760"/>
              <a:gd name="connsiteY2114" fmla="*/ 3484330 h 6407421"/>
              <a:gd name="connsiteX2115" fmla="*/ 2897575 w 11701760"/>
              <a:gd name="connsiteY2115" fmla="*/ 3484330 h 6407421"/>
              <a:gd name="connsiteX2116" fmla="*/ 2631378 w 11701760"/>
              <a:gd name="connsiteY2116" fmla="*/ 3454727 h 6407421"/>
              <a:gd name="connsiteX2117" fmla="*/ 2660980 w 11701760"/>
              <a:gd name="connsiteY2117" fmla="*/ 3454727 h 6407421"/>
              <a:gd name="connsiteX2118" fmla="*/ 2660980 w 11701760"/>
              <a:gd name="connsiteY2118" fmla="*/ 3484330 h 6407421"/>
              <a:gd name="connsiteX2119" fmla="*/ 2631378 w 11701760"/>
              <a:gd name="connsiteY2119" fmla="*/ 3484330 h 6407421"/>
              <a:gd name="connsiteX2120" fmla="*/ 2365289 w 11701760"/>
              <a:gd name="connsiteY2120" fmla="*/ 3454727 h 6407421"/>
              <a:gd name="connsiteX2121" fmla="*/ 2394892 w 11701760"/>
              <a:gd name="connsiteY2121" fmla="*/ 3454727 h 6407421"/>
              <a:gd name="connsiteX2122" fmla="*/ 2394892 w 11701760"/>
              <a:gd name="connsiteY2122" fmla="*/ 3484330 h 6407421"/>
              <a:gd name="connsiteX2123" fmla="*/ 2365289 w 11701760"/>
              <a:gd name="connsiteY2123" fmla="*/ 3484330 h 6407421"/>
              <a:gd name="connsiteX2124" fmla="*/ 2099092 w 11701760"/>
              <a:gd name="connsiteY2124" fmla="*/ 3454727 h 6407421"/>
              <a:gd name="connsiteX2125" fmla="*/ 2128695 w 11701760"/>
              <a:gd name="connsiteY2125" fmla="*/ 3454727 h 6407421"/>
              <a:gd name="connsiteX2126" fmla="*/ 2128695 w 11701760"/>
              <a:gd name="connsiteY2126" fmla="*/ 3484330 h 6407421"/>
              <a:gd name="connsiteX2127" fmla="*/ 2099092 w 11701760"/>
              <a:gd name="connsiteY2127" fmla="*/ 3484330 h 6407421"/>
              <a:gd name="connsiteX2128" fmla="*/ 1832898 w 11701760"/>
              <a:gd name="connsiteY2128" fmla="*/ 3454727 h 6407421"/>
              <a:gd name="connsiteX2129" fmla="*/ 1862498 w 11701760"/>
              <a:gd name="connsiteY2129" fmla="*/ 3454727 h 6407421"/>
              <a:gd name="connsiteX2130" fmla="*/ 1862498 w 11701760"/>
              <a:gd name="connsiteY2130" fmla="*/ 3484330 h 6407421"/>
              <a:gd name="connsiteX2131" fmla="*/ 1832898 w 11701760"/>
              <a:gd name="connsiteY2131" fmla="*/ 3484330 h 6407421"/>
              <a:gd name="connsiteX2132" fmla="*/ 1566808 w 11701760"/>
              <a:gd name="connsiteY2132" fmla="*/ 3454727 h 6407421"/>
              <a:gd name="connsiteX2133" fmla="*/ 1596409 w 11701760"/>
              <a:gd name="connsiteY2133" fmla="*/ 3454727 h 6407421"/>
              <a:gd name="connsiteX2134" fmla="*/ 1596409 w 11701760"/>
              <a:gd name="connsiteY2134" fmla="*/ 3484330 h 6407421"/>
              <a:gd name="connsiteX2135" fmla="*/ 1566808 w 11701760"/>
              <a:gd name="connsiteY2135" fmla="*/ 3484330 h 6407421"/>
              <a:gd name="connsiteX2136" fmla="*/ 1300611 w 11701760"/>
              <a:gd name="connsiteY2136" fmla="*/ 3454727 h 6407421"/>
              <a:gd name="connsiteX2137" fmla="*/ 1330213 w 11701760"/>
              <a:gd name="connsiteY2137" fmla="*/ 3454727 h 6407421"/>
              <a:gd name="connsiteX2138" fmla="*/ 1330213 w 11701760"/>
              <a:gd name="connsiteY2138" fmla="*/ 3484330 h 6407421"/>
              <a:gd name="connsiteX2139" fmla="*/ 1300611 w 11701760"/>
              <a:gd name="connsiteY2139" fmla="*/ 3484330 h 6407421"/>
              <a:gd name="connsiteX2140" fmla="*/ 1034520 w 11701760"/>
              <a:gd name="connsiteY2140" fmla="*/ 3454727 h 6407421"/>
              <a:gd name="connsiteX2141" fmla="*/ 1064123 w 11701760"/>
              <a:gd name="connsiteY2141" fmla="*/ 3454727 h 6407421"/>
              <a:gd name="connsiteX2142" fmla="*/ 1064123 w 11701760"/>
              <a:gd name="connsiteY2142" fmla="*/ 3484330 h 6407421"/>
              <a:gd name="connsiteX2143" fmla="*/ 1034520 w 11701760"/>
              <a:gd name="connsiteY2143" fmla="*/ 3484330 h 6407421"/>
              <a:gd name="connsiteX2144" fmla="*/ 768327 w 11701760"/>
              <a:gd name="connsiteY2144" fmla="*/ 3454727 h 6407421"/>
              <a:gd name="connsiteX2145" fmla="*/ 797926 w 11701760"/>
              <a:gd name="connsiteY2145" fmla="*/ 3454727 h 6407421"/>
              <a:gd name="connsiteX2146" fmla="*/ 797926 w 11701760"/>
              <a:gd name="connsiteY2146" fmla="*/ 3484330 h 6407421"/>
              <a:gd name="connsiteX2147" fmla="*/ 768327 w 11701760"/>
              <a:gd name="connsiteY2147" fmla="*/ 3484330 h 6407421"/>
              <a:gd name="connsiteX2148" fmla="*/ 502236 w 11701760"/>
              <a:gd name="connsiteY2148" fmla="*/ 3454727 h 6407421"/>
              <a:gd name="connsiteX2149" fmla="*/ 531839 w 11701760"/>
              <a:gd name="connsiteY2149" fmla="*/ 3454727 h 6407421"/>
              <a:gd name="connsiteX2150" fmla="*/ 531839 w 11701760"/>
              <a:gd name="connsiteY2150" fmla="*/ 3484330 h 6407421"/>
              <a:gd name="connsiteX2151" fmla="*/ 502236 w 11701760"/>
              <a:gd name="connsiteY2151" fmla="*/ 3484330 h 6407421"/>
              <a:gd name="connsiteX2152" fmla="*/ 236037 w 11701760"/>
              <a:gd name="connsiteY2152" fmla="*/ 3454727 h 6407421"/>
              <a:gd name="connsiteX2153" fmla="*/ 265640 w 11701760"/>
              <a:gd name="connsiteY2153" fmla="*/ 3454727 h 6407421"/>
              <a:gd name="connsiteX2154" fmla="*/ 265640 w 11701760"/>
              <a:gd name="connsiteY2154" fmla="*/ 3484330 h 6407421"/>
              <a:gd name="connsiteX2155" fmla="*/ 236037 w 11701760"/>
              <a:gd name="connsiteY2155" fmla="*/ 3484330 h 6407421"/>
              <a:gd name="connsiteX2156" fmla="*/ 1 w 11701760"/>
              <a:gd name="connsiteY2156" fmla="*/ 3454727 h 6407421"/>
              <a:gd name="connsiteX2157" fmla="*/ 29603 w 11701760"/>
              <a:gd name="connsiteY2157" fmla="*/ 3454727 h 6407421"/>
              <a:gd name="connsiteX2158" fmla="*/ 29603 w 11701760"/>
              <a:gd name="connsiteY2158" fmla="*/ 3484330 h 6407421"/>
              <a:gd name="connsiteX2159" fmla="*/ 1 w 11701760"/>
              <a:gd name="connsiteY2159" fmla="*/ 3484330 h 6407421"/>
              <a:gd name="connsiteX2160" fmla="*/ 11672158 w 11701760"/>
              <a:gd name="connsiteY2160" fmla="*/ 3189089 h 6407421"/>
              <a:gd name="connsiteX2161" fmla="*/ 11701760 w 11701760"/>
              <a:gd name="connsiteY2161" fmla="*/ 3189089 h 6407421"/>
              <a:gd name="connsiteX2162" fmla="*/ 11701760 w 11701760"/>
              <a:gd name="connsiteY2162" fmla="*/ 3218566 h 6407421"/>
              <a:gd name="connsiteX2163" fmla="*/ 11672158 w 11701760"/>
              <a:gd name="connsiteY2163" fmla="*/ 3218566 h 6407421"/>
              <a:gd name="connsiteX2164" fmla="*/ 11405961 w 11701760"/>
              <a:gd name="connsiteY2164" fmla="*/ 3189089 h 6407421"/>
              <a:gd name="connsiteX2165" fmla="*/ 11435563 w 11701760"/>
              <a:gd name="connsiteY2165" fmla="*/ 3189089 h 6407421"/>
              <a:gd name="connsiteX2166" fmla="*/ 11435563 w 11701760"/>
              <a:gd name="connsiteY2166" fmla="*/ 3218566 h 6407421"/>
              <a:gd name="connsiteX2167" fmla="*/ 11405961 w 11701760"/>
              <a:gd name="connsiteY2167" fmla="*/ 3218566 h 6407421"/>
              <a:gd name="connsiteX2168" fmla="*/ 5825310 w 11701760"/>
              <a:gd name="connsiteY2168" fmla="*/ 3189089 h 6407421"/>
              <a:gd name="connsiteX2169" fmla="*/ 5854913 w 11701760"/>
              <a:gd name="connsiteY2169" fmla="*/ 3189089 h 6407421"/>
              <a:gd name="connsiteX2170" fmla="*/ 5854913 w 11701760"/>
              <a:gd name="connsiteY2170" fmla="*/ 3218566 h 6407421"/>
              <a:gd name="connsiteX2171" fmla="*/ 5825310 w 11701760"/>
              <a:gd name="connsiteY2171" fmla="*/ 3218566 h 6407421"/>
              <a:gd name="connsiteX2172" fmla="*/ 5559113 w 11701760"/>
              <a:gd name="connsiteY2172" fmla="*/ 3189089 h 6407421"/>
              <a:gd name="connsiteX2173" fmla="*/ 5588715 w 11701760"/>
              <a:gd name="connsiteY2173" fmla="*/ 3189089 h 6407421"/>
              <a:gd name="connsiteX2174" fmla="*/ 5588715 w 11701760"/>
              <a:gd name="connsiteY2174" fmla="*/ 3218566 h 6407421"/>
              <a:gd name="connsiteX2175" fmla="*/ 5559113 w 11701760"/>
              <a:gd name="connsiteY2175" fmla="*/ 3218566 h 6407421"/>
              <a:gd name="connsiteX2176" fmla="*/ 11139872 w 11701760"/>
              <a:gd name="connsiteY2176" fmla="*/ 3189087 h 6407421"/>
              <a:gd name="connsiteX2177" fmla="*/ 11169474 w 11701760"/>
              <a:gd name="connsiteY2177" fmla="*/ 3189087 h 6407421"/>
              <a:gd name="connsiteX2178" fmla="*/ 11169474 w 11701760"/>
              <a:gd name="connsiteY2178" fmla="*/ 3218566 h 6407421"/>
              <a:gd name="connsiteX2179" fmla="*/ 11139872 w 11701760"/>
              <a:gd name="connsiteY2179" fmla="*/ 3218566 h 6407421"/>
              <a:gd name="connsiteX2180" fmla="*/ 10873675 w 11701760"/>
              <a:gd name="connsiteY2180" fmla="*/ 3189087 h 6407421"/>
              <a:gd name="connsiteX2181" fmla="*/ 10903277 w 11701760"/>
              <a:gd name="connsiteY2181" fmla="*/ 3189087 h 6407421"/>
              <a:gd name="connsiteX2182" fmla="*/ 10903277 w 11701760"/>
              <a:gd name="connsiteY2182" fmla="*/ 3218566 h 6407421"/>
              <a:gd name="connsiteX2183" fmla="*/ 10873675 w 11701760"/>
              <a:gd name="connsiteY2183" fmla="*/ 3218566 h 6407421"/>
              <a:gd name="connsiteX2184" fmla="*/ 5293024 w 11701760"/>
              <a:gd name="connsiteY2184" fmla="*/ 3189087 h 6407421"/>
              <a:gd name="connsiteX2185" fmla="*/ 5322626 w 11701760"/>
              <a:gd name="connsiteY2185" fmla="*/ 3189087 h 6407421"/>
              <a:gd name="connsiteX2186" fmla="*/ 5322626 w 11701760"/>
              <a:gd name="connsiteY2186" fmla="*/ 3218566 h 6407421"/>
              <a:gd name="connsiteX2187" fmla="*/ 5293024 w 11701760"/>
              <a:gd name="connsiteY2187" fmla="*/ 3218566 h 6407421"/>
              <a:gd name="connsiteX2188" fmla="*/ 5026827 w 11701760"/>
              <a:gd name="connsiteY2188" fmla="*/ 3189087 h 6407421"/>
              <a:gd name="connsiteX2189" fmla="*/ 5056429 w 11701760"/>
              <a:gd name="connsiteY2189" fmla="*/ 3189087 h 6407421"/>
              <a:gd name="connsiteX2190" fmla="*/ 5056429 w 11701760"/>
              <a:gd name="connsiteY2190" fmla="*/ 3218566 h 6407421"/>
              <a:gd name="connsiteX2191" fmla="*/ 5026827 w 11701760"/>
              <a:gd name="connsiteY2191" fmla="*/ 3218566 h 6407421"/>
              <a:gd name="connsiteX2192" fmla="*/ 10607478 w 11701760"/>
              <a:gd name="connsiteY2192" fmla="*/ 3189086 h 6407421"/>
              <a:gd name="connsiteX2193" fmla="*/ 10637188 w 11701760"/>
              <a:gd name="connsiteY2193" fmla="*/ 3189086 h 6407421"/>
              <a:gd name="connsiteX2194" fmla="*/ 10637188 w 11701760"/>
              <a:gd name="connsiteY2194" fmla="*/ 3218566 h 6407421"/>
              <a:gd name="connsiteX2195" fmla="*/ 10607478 w 11701760"/>
              <a:gd name="connsiteY2195" fmla="*/ 3218566 h 6407421"/>
              <a:gd name="connsiteX2196" fmla="*/ 4760630 w 11701760"/>
              <a:gd name="connsiteY2196" fmla="*/ 3189086 h 6407421"/>
              <a:gd name="connsiteX2197" fmla="*/ 4790340 w 11701760"/>
              <a:gd name="connsiteY2197" fmla="*/ 3189086 h 6407421"/>
              <a:gd name="connsiteX2198" fmla="*/ 4790340 w 11701760"/>
              <a:gd name="connsiteY2198" fmla="*/ 3218566 h 6407421"/>
              <a:gd name="connsiteX2199" fmla="*/ 4760630 w 11701760"/>
              <a:gd name="connsiteY2199" fmla="*/ 3218566 h 6407421"/>
              <a:gd name="connsiteX2200" fmla="*/ 10341389 w 11701760"/>
              <a:gd name="connsiteY2200" fmla="*/ 3189085 h 6407421"/>
              <a:gd name="connsiteX2201" fmla="*/ 10370992 w 11701760"/>
              <a:gd name="connsiteY2201" fmla="*/ 3189085 h 6407421"/>
              <a:gd name="connsiteX2202" fmla="*/ 10370992 w 11701760"/>
              <a:gd name="connsiteY2202" fmla="*/ 3218566 h 6407421"/>
              <a:gd name="connsiteX2203" fmla="*/ 10341389 w 11701760"/>
              <a:gd name="connsiteY2203" fmla="*/ 3218566 h 6407421"/>
              <a:gd name="connsiteX2204" fmla="*/ 4494541 w 11701760"/>
              <a:gd name="connsiteY2204" fmla="*/ 3189085 h 6407421"/>
              <a:gd name="connsiteX2205" fmla="*/ 4524144 w 11701760"/>
              <a:gd name="connsiteY2205" fmla="*/ 3189085 h 6407421"/>
              <a:gd name="connsiteX2206" fmla="*/ 4524144 w 11701760"/>
              <a:gd name="connsiteY2206" fmla="*/ 3218566 h 6407421"/>
              <a:gd name="connsiteX2207" fmla="*/ 4494541 w 11701760"/>
              <a:gd name="connsiteY2207" fmla="*/ 3218566 h 6407421"/>
              <a:gd name="connsiteX2208" fmla="*/ 10075192 w 11701760"/>
              <a:gd name="connsiteY2208" fmla="*/ 3189084 h 6407421"/>
              <a:gd name="connsiteX2209" fmla="*/ 10104794 w 11701760"/>
              <a:gd name="connsiteY2209" fmla="*/ 3189084 h 6407421"/>
              <a:gd name="connsiteX2210" fmla="*/ 10104794 w 11701760"/>
              <a:gd name="connsiteY2210" fmla="*/ 3218566 h 6407421"/>
              <a:gd name="connsiteX2211" fmla="*/ 10075192 w 11701760"/>
              <a:gd name="connsiteY2211" fmla="*/ 3218566 h 6407421"/>
              <a:gd name="connsiteX2212" fmla="*/ 4228344 w 11701760"/>
              <a:gd name="connsiteY2212" fmla="*/ 3189084 h 6407421"/>
              <a:gd name="connsiteX2213" fmla="*/ 4257946 w 11701760"/>
              <a:gd name="connsiteY2213" fmla="*/ 3189084 h 6407421"/>
              <a:gd name="connsiteX2214" fmla="*/ 4257946 w 11701760"/>
              <a:gd name="connsiteY2214" fmla="*/ 3218566 h 6407421"/>
              <a:gd name="connsiteX2215" fmla="*/ 4228344 w 11701760"/>
              <a:gd name="connsiteY2215" fmla="*/ 3218566 h 6407421"/>
              <a:gd name="connsiteX2216" fmla="*/ 9809103 w 11701760"/>
              <a:gd name="connsiteY2216" fmla="*/ 3189083 h 6407421"/>
              <a:gd name="connsiteX2217" fmla="*/ 9838705 w 11701760"/>
              <a:gd name="connsiteY2217" fmla="*/ 3189083 h 6407421"/>
              <a:gd name="connsiteX2218" fmla="*/ 9838705 w 11701760"/>
              <a:gd name="connsiteY2218" fmla="*/ 3218566 h 6407421"/>
              <a:gd name="connsiteX2219" fmla="*/ 9809103 w 11701760"/>
              <a:gd name="connsiteY2219" fmla="*/ 3218566 h 6407421"/>
              <a:gd name="connsiteX2220" fmla="*/ 3962255 w 11701760"/>
              <a:gd name="connsiteY2220" fmla="*/ 3189083 h 6407421"/>
              <a:gd name="connsiteX2221" fmla="*/ 3991857 w 11701760"/>
              <a:gd name="connsiteY2221" fmla="*/ 3189083 h 6407421"/>
              <a:gd name="connsiteX2222" fmla="*/ 3991857 w 11701760"/>
              <a:gd name="connsiteY2222" fmla="*/ 3218566 h 6407421"/>
              <a:gd name="connsiteX2223" fmla="*/ 3962255 w 11701760"/>
              <a:gd name="connsiteY2223" fmla="*/ 3218566 h 6407421"/>
              <a:gd name="connsiteX2224" fmla="*/ 9542906 w 11701760"/>
              <a:gd name="connsiteY2224" fmla="*/ 3189082 h 6407421"/>
              <a:gd name="connsiteX2225" fmla="*/ 9572509 w 11701760"/>
              <a:gd name="connsiteY2225" fmla="*/ 3189082 h 6407421"/>
              <a:gd name="connsiteX2226" fmla="*/ 9572509 w 11701760"/>
              <a:gd name="connsiteY2226" fmla="*/ 3218566 h 6407421"/>
              <a:gd name="connsiteX2227" fmla="*/ 9542906 w 11701760"/>
              <a:gd name="connsiteY2227" fmla="*/ 3218566 h 6407421"/>
              <a:gd name="connsiteX2228" fmla="*/ 3696058 w 11701760"/>
              <a:gd name="connsiteY2228" fmla="*/ 3189082 h 6407421"/>
              <a:gd name="connsiteX2229" fmla="*/ 3725661 w 11701760"/>
              <a:gd name="connsiteY2229" fmla="*/ 3189082 h 6407421"/>
              <a:gd name="connsiteX2230" fmla="*/ 3725661 w 11701760"/>
              <a:gd name="connsiteY2230" fmla="*/ 3218566 h 6407421"/>
              <a:gd name="connsiteX2231" fmla="*/ 3696058 w 11701760"/>
              <a:gd name="connsiteY2231" fmla="*/ 3218566 h 6407421"/>
              <a:gd name="connsiteX2232" fmla="*/ 9276817 w 11701760"/>
              <a:gd name="connsiteY2232" fmla="*/ 3189081 h 6407421"/>
              <a:gd name="connsiteX2233" fmla="*/ 9306420 w 11701760"/>
              <a:gd name="connsiteY2233" fmla="*/ 3189081 h 6407421"/>
              <a:gd name="connsiteX2234" fmla="*/ 9306420 w 11701760"/>
              <a:gd name="connsiteY2234" fmla="*/ 3218566 h 6407421"/>
              <a:gd name="connsiteX2235" fmla="*/ 9276817 w 11701760"/>
              <a:gd name="connsiteY2235" fmla="*/ 3218566 h 6407421"/>
              <a:gd name="connsiteX2236" fmla="*/ 9010620 w 11701760"/>
              <a:gd name="connsiteY2236" fmla="*/ 3189081 h 6407421"/>
              <a:gd name="connsiteX2237" fmla="*/ 9040222 w 11701760"/>
              <a:gd name="connsiteY2237" fmla="*/ 3189081 h 6407421"/>
              <a:gd name="connsiteX2238" fmla="*/ 9040222 w 11701760"/>
              <a:gd name="connsiteY2238" fmla="*/ 3218566 h 6407421"/>
              <a:gd name="connsiteX2239" fmla="*/ 9010620 w 11701760"/>
              <a:gd name="connsiteY2239" fmla="*/ 3218566 h 6407421"/>
              <a:gd name="connsiteX2240" fmla="*/ 3429969 w 11701760"/>
              <a:gd name="connsiteY2240" fmla="*/ 3189081 h 6407421"/>
              <a:gd name="connsiteX2241" fmla="*/ 3459572 w 11701760"/>
              <a:gd name="connsiteY2241" fmla="*/ 3189081 h 6407421"/>
              <a:gd name="connsiteX2242" fmla="*/ 3459572 w 11701760"/>
              <a:gd name="connsiteY2242" fmla="*/ 3218566 h 6407421"/>
              <a:gd name="connsiteX2243" fmla="*/ 3429969 w 11701760"/>
              <a:gd name="connsiteY2243" fmla="*/ 3218566 h 6407421"/>
              <a:gd name="connsiteX2244" fmla="*/ 3163772 w 11701760"/>
              <a:gd name="connsiteY2244" fmla="*/ 3189081 h 6407421"/>
              <a:gd name="connsiteX2245" fmla="*/ 3193374 w 11701760"/>
              <a:gd name="connsiteY2245" fmla="*/ 3189081 h 6407421"/>
              <a:gd name="connsiteX2246" fmla="*/ 3193374 w 11701760"/>
              <a:gd name="connsiteY2246" fmla="*/ 3218566 h 6407421"/>
              <a:gd name="connsiteX2247" fmla="*/ 3163772 w 11701760"/>
              <a:gd name="connsiteY2247" fmla="*/ 3218566 h 6407421"/>
              <a:gd name="connsiteX2248" fmla="*/ 8744423 w 11701760"/>
              <a:gd name="connsiteY2248" fmla="*/ 3189080 h 6407421"/>
              <a:gd name="connsiteX2249" fmla="*/ 8774026 w 11701760"/>
              <a:gd name="connsiteY2249" fmla="*/ 3189080 h 6407421"/>
              <a:gd name="connsiteX2250" fmla="*/ 8774026 w 11701760"/>
              <a:gd name="connsiteY2250" fmla="*/ 3218566 h 6407421"/>
              <a:gd name="connsiteX2251" fmla="*/ 8744423 w 11701760"/>
              <a:gd name="connsiteY2251" fmla="*/ 3218566 h 6407421"/>
              <a:gd name="connsiteX2252" fmla="*/ 2897575 w 11701760"/>
              <a:gd name="connsiteY2252" fmla="*/ 3189080 h 6407421"/>
              <a:gd name="connsiteX2253" fmla="*/ 2927178 w 11701760"/>
              <a:gd name="connsiteY2253" fmla="*/ 3189080 h 6407421"/>
              <a:gd name="connsiteX2254" fmla="*/ 2927178 w 11701760"/>
              <a:gd name="connsiteY2254" fmla="*/ 3218566 h 6407421"/>
              <a:gd name="connsiteX2255" fmla="*/ 2897575 w 11701760"/>
              <a:gd name="connsiteY2255" fmla="*/ 3218566 h 6407421"/>
              <a:gd name="connsiteX2256" fmla="*/ 8478226 w 11701760"/>
              <a:gd name="connsiteY2256" fmla="*/ 3189079 h 6407421"/>
              <a:gd name="connsiteX2257" fmla="*/ 8507828 w 11701760"/>
              <a:gd name="connsiteY2257" fmla="*/ 3189079 h 6407421"/>
              <a:gd name="connsiteX2258" fmla="*/ 8507828 w 11701760"/>
              <a:gd name="connsiteY2258" fmla="*/ 3218566 h 6407421"/>
              <a:gd name="connsiteX2259" fmla="*/ 8478226 w 11701760"/>
              <a:gd name="connsiteY2259" fmla="*/ 3218566 h 6407421"/>
              <a:gd name="connsiteX2260" fmla="*/ 2631378 w 11701760"/>
              <a:gd name="connsiteY2260" fmla="*/ 3189079 h 6407421"/>
              <a:gd name="connsiteX2261" fmla="*/ 2660980 w 11701760"/>
              <a:gd name="connsiteY2261" fmla="*/ 3189079 h 6407421"/>
              <a:gd name="connsiteX2262" fmla="*/ 2660980 w 11701760"/>
              <a:gd name="connsiteY2262" fmla="*/ 3218566 h 6407421"/>
              <a:gd name="connsiteX2263" fmla="*/ 2631378 w 11701760"/>
              <a:gd name="connsiteY2263" fmla="*/ 3218566 h 6407421"/>
              <a:gd name="connsiteX2264" fmla="*/ 8212137 w 11701760"/>
              <a:gd name="connsiteY2264" fmla="*/ 3189078 h 6407421"/>
              <a:gd name="connsiteX2265" fmla="*/ 8241740 w 11701760"/>
              <a:gd name="connsiteY2265" fmla="*/ 3189078 h 6407421"/>
              <a:gd name="connsiteX2266" fmla="*/ 8241740 w 11701760"/>
              <a:gd name="connsiteY2266" fmla="*/ 3218566 h 6407421"/>
              <a:gd name="connsiteX2267" fmla="*/ 8212137 w 11701760"/>
              <a:gd name="connsiteY2267" fmla="*/ 3218566 h 6407421"/>
              <a:gd name="connsiteX2268" fmla="*/ 2365289 w 11701760"/>
              <a:gd name="connsiteY2268" fmla="*/ 3189078 h 6407421"/>
              <a:gd name="connsiteX2269" fmla="*/ 2394892 w 11701760"/>
              <a:gd name="connsiteY2269" fmla="*/ 3189078 h 6407421"/>
              <a:gd name="connsiteX2270" fmla="*/ 2394892 w 11701760"/>
              <a:gd name="connsiteY2270" fmla="*/ 3218566 h 6407421"/>
              <a:gd name="connsiteX2271" fmla="*/ 2365289 w 11701760"/>
              <a:gd name="connsiteY2271" fmla="*/ 3218566 h 6407421"/>
              <a:gd name="connsiteX2272" fmla="*/ 7945940 w 11701760"/>
              <a:gd name="connsiteY2272" fmla="*/ 3189077 h 6407421"/>
              <a:gd name="connsiteX2273" fmla="*/ 7975543 w 11701760"/>
              <a:gd name="connsiteY2273" fmla="*/ 3189077 h 6407421"/>
              <a:gd name="connsiteX2274" fmla="*/ 7975543 w 11701760"/>
              <a:gd name="connsiteY2274" fmla="*/ 3218566 h 6407421"/>
              <a:gd name="connsiteX2275" fmla="*/ 7945940 w 11701760"/>
              <a:gd name="connsiteY2275" fmla="*/ 3218566 h 6407421"/>
              <a:gd name="connsiteX2276" fmla="*/ 2099092 w 11701760"/>
              <a:gd name="connsiteY2276" fmla="*/ 3189077 h 6407421"/>
              <a:gd name="connsiteX2277" fmla="*/ 2128695 w 11701760"/>
              <a:gd name="connsiteY2277" fmla="*/ 3189077 h 6407421"/>
              <a:gd name="connsiteX2278" fmla="*/ 2128695 w 11701760"/>
              <a:gd name="connsiteY2278" fmla="*/ 3218566 h 6407421"/>
              <a:gd name="connsiteX2279" fmla="*/ 2099092 w 11701760"/>
              <a:gd name="connsiteY2279" fmla="*/ 3218566 h 6407421"/>
              <a:gd name="connsiteX2280" fmla="*/ 7679743 w 11701760"/>
              <a:gd name="connsiteY2280" fmla="*/ 3189076 h 6407421"/>
              <a:gd name="connsiteX2281" fmla="*/ 7709346 w 11701760"/>
              <a:gd name="connsiteY2281" fmla="*/ 3189076 h 6407421"/>
              <a:gd name="connsiteX2282" fmla="*/ 7709346 w 11701760"/>
              <a:gd name="connsiteY2282" fmla="*/ 3218566 h 6407421"/>
              <a:gd name="connsiteX2283" fmla="*/ 7679743 w 11701760"/>
              <a:gd name="connsiteY2283" fmla="*/ 3218566 h 6407421"/>
              <a:gd name="connsiteX2284" fmla="*/ 7413653 w 11701760"/>
              <a:gd name="connsiteY2284" fmla="*/ 3189076 h 6407421"/>
              <a:gd name="connsiteX2285" fmla="*/ 7443256 w 11701760"/>
              <a:gd name="connsiteY2285" fmla="*/ 3189076 h 6407421"/>
              <a:gd name="connsiteX2286" fmla="*/ 7443256 w 11701760"/>
              <a:gd name="connsiteY2286" fmla="*/ 3218566 h 6407421"/>
              <a:gd name="connsiteX2287" fmla="*/ 7413653 w 11701760"/>
              <a:gd name="connsiteY2287" fmla="*/ 3218566 h 6407421"/>
              <a:gd name="connsiteX2288" fmla="*/ 1832898 w 11701760"/>
              <a:gd name="connsiteY2288" fmla="*/ 3189076 h 6407421"/>
              <a:gd name="connsiteX2289" fmla="*/ 1862498 w 11701760"/>
              <a:gd name="connsiteY2289" fmla="*/ 3189076 h 6407421"/>
              <a:gd name="connsiteX2290" fmla="*/ 1862498 w 11701760"/>
              <a:gd name="connsiteY2290" fmla="*/ 3218566 h 6407421"/>
              <a:gd name="connsiteX2291" fmla="*/ 1832898 w 11701760"/>
              <a:gd name="connsiteY2291" fmla="*/ 3218566 h 6407421"/>
              <a:gd name="connsiteX2292" fmla="*/ 1566808 w 11701760"/>
              <a:gd name="connsiteY2292" fmla="*/ 3189076 h 6407421"/>
              <a:gd name="connsiteX2293" fmla="*/ 1596409 w 11701760"/>
              <a:gd name="connsiteY2293" fmla="*/ 3189076 h 6407421"/>
              <a:gd name="connsiteX2294" fmla="*/ 1596409 w 11701760"/>
              <a:gd name="connsiteY2294" fmla="*/ 3218566 h 6407421"/>
              <a:gd name="connsiteX2295" fmla="*/ 1566808 w 11701760"/>
              <a:gd name="connsiteY2295" fmla="*/ 3218566 h 6407421"/>
              <a:gd name="connsiteX2296" fmla="*/ 7147456 w 11701760"/>
              <a:gd name="connsiteY2296" fmla="*/ 3189075 h 6407421"/>
              <a:gd name="connsiteX2297" fmla="*/ 7177058 w 11701760"/>
              <a:gd name="connsiteY2297" fmla="*/ 3189075 h 6407421"/>
              <a:gd name="connsiteX2298" fmla="*/ 7177058 w 11701760"/>
              <a:gd name="connsiteY2298" fmla="*/ 3218566 h 6407421"/>
              <a:gd name="connsiteX2299" fmla="*/ 7147456 w 11701760"/>
              <a:gd name="connsiteY2299" fmla="*/ 3218566 h 6407421"/>
              <a:gd name="connsiteX2300" fmla="*/ 1300611 w 11701760"/>
              <a:gd name="connsiteY2300" fmla="*/ 3189075 h 6407421"/>
              <a:gd name="connsiteX2301" fmla="*/ 1330213 w 11701760"/>
              <a:gd name="connsiteY2301" fmla="*/ 3189075 h 6407421"/>
              <a:gd name="connsiteX2302" fmla="*/ 1330213 w 11701760"/>
              <a:gd name="connsiteY2302" fmla="*/ 3218566 h 6407421"/>
              <a:gd name="connsiteX2303" fmla="*/ 1300611 w 11701760"/>
              <a:gd name="connsiteY2303" fmla="*/ 3218566 h 6407421"/>
              <a:gd name="connsiteX2304" fmla="*/ 6881367 w 11701760"/>
              <a:gd name="connsiteY2304" fmla="*/ 3189074 h 6407421"/>
              <a:gd name="connsiteX2305" fmla="*/ 6910970 w 11701760"/>
              <a:gd name="connsiteY2305" fmla="*/ 3189074 h 6407421"/>
              <a:gd name="connsiteX2306" fmla="*/ 6910970 w 11701760"/>
              <a:gd name="connsiteY2306" fmla="*/ 3218566 h 6407421"/>
              <a:gd name="connsiteX2307" fmla="*/ 6881367 w 11701760"/>
              <a:gd name="connsiteY2307" fmla="*/ 3218566 h 6407421"/>
              <a:gd name="connsiteX2308" fmla="*/ 1034520 w 11701760"/>
              <a:gd name="connsiteY2308" fmla="*/ 3189074 h 6407421"/>
              <a:gd name="connsiteX2309" fmla="*/ 1064123 w 11701760"/>
              <a:gd name="connsiteY2309" fmla="*/ 3189074 h 6407421"/>
              <a:gd name="connsiteX2310" fmla="*/ 1064123 w 11701760"/>
              <a:gd name="connsiteY2310" fmla="*/ 3218566 h 6407421"/>
              <a:gd name="connsiteX2311" fmla="*/ 1034520 w 11701760"/>
              <a:gd name="connsiteY2311" fmla="*/ 3218566 h 6407421"/>
              <a:gd name="connsiteX2312" fmla="*/ 6615170 w 11701760"/>
              <a:gd name="connsiteY2312" fmla="*/ 3189073 h 6407421"/>
              <a:gd name="connsiteX2313" fmla="*/ 6644773 w 11701760"/>
              <a:gd name="connsiteY2313" fmla="*/ 3189073 h 6407421"/>
              <a:gd name="connsiteX2314" fmla="*/ 6644773 w 11701760"/>
              <a:gd name="connsiteY2314" fmla="*/ 3218566 h 6407421"/>
              <a:gd name="connsiteX2315" fmla="*/ 6615170 w 11701760"/>
              <a:gd name="connsiteY2315" fmla="*/ 3218566 h 6407421"/>
              <a:gd name="connsiteX2316" fmla="*/ 768327 w 11701760"/>
              <a:gd name="connsiteY2316" fmla="*/ 3189073 h 6407421"/>
              <a:gd name="connsiteX2317" fmla="*/ 797926 w 11701760"/>
              <a:gd name="connsiteY2317" fmla="*/ 3189073 h 6407421"/>
              <a:gd name="connsiteX2318" fmla="*/ 797926 w 11701760"/>
              <a:gd name="connsiteY2318" fmla="*/ 3218566 h 6407421"/>
              <a:gd name="connsiteX2319" fmla="*/ 768327 w 11701760"/>
              <a:gd name="connsiteY2319" fmla="*/ 3218566 h 6407421"/>
              <a:gd name="connsiteX2320" fmla="*/ 6349081 w 11701760"/>
              <a:gd name="connsiteY2320" fmla="*/ 3189072 h 6407421"/>
              <a:gd name="connsiteX2321" fmla="*/ 6378683 w 11701760"/>
              <a:gd name="connsiteY2321" fmla="*/ 3189072 h 6407421"/>
              <a:gd name="connsiteX2322" fmla="*/ 6378683 w 11701760"/>
              <a:gd name="connsiteY2322" fmla="*/ 3218566 h 6407421"/>
              <a:gd name="connsiteX2323" fmla="*/ 6349081 w 11701760"/>
              <a:gd name="connsiteY2323" fmla="*/ 3218566 h 6407421"/>
              <a:gd name="connsiteX2324" fmla="*/ 502236 w 11701760"/>
              <a:gd name="connsiteY2324" fmla="*/ 3189072 h 6407421"/>
              <a:gd name="connsiteX2325" fmla="*/ 531839 w 11701760"/>
              <a:gd name="connsiteY2325" fmla="*/ 3189072 h 6407421"/>
              <a:gd name="connsiteX2326" fmla="*/ 531839 w 11701760"/>
              <a:gd name="connsiteY2326" fmla="*/ 3218566 h 6407421"/>
              <a:gd name="connsiteX2327" fmla="*/ 502236 w 11701760"/>
              <a:gd name="connsiteY2327" fmla="*/ 3218566 h 6407421"/>
              <a:gd name="connsiteX2328" fmla="*/ 6082884 w 11701760"/>
              <a:gd name="connsiteY2328" fmla="*/ 3189071 h 6407421"/>
              <a:gd name="connsiteX2329" fmla="*/ 6112486 w 11701760"/>
              <a:gd name="connsiteY2329" fmla="*/ 3189071 h 6407421"/>
              <a:gd name="connsiteX2330" fmla="*/ 6112486 w 11701760"/>
              <a:gd name="connsiteY2330" fmla="*/ 3218566 h 6407421"/>
              <a:gd name="connsiteX2331" fmla="*/ 6082884 w 11701760"/>
              <a:gd name="connsiteY2331" fmla="*/ 3218566 h 6407421"/>
              <a:gd name="connsiteX2332" fmla="*/ 236037 w 11701760"/>
              <a:gd name="connsiteY2332" fmla="*/ 3189071 h 6407421"/>
              <a:gd name="connsiteX2333" fmla="*/ 265639 w 11701760"/>
              <a:gd name="connsiteY2333" fmla="*/ 3189071 h 6407421"/>
              <a:gd name="connsiteX2334" fmla="*/ 265639 w 11701760"/>
              <a:gd name="connsiteY2334" fmla="*/ 3218566 h 6407421"/>
              <a:gd name="connsiteX2335" fmla="*/ 236037 w 11701760"/>
              <a:gd name="connsiteY2335" fmla="*/ 3218566 h 6407421"/>
              <a:gd name="connsiteX2336" fmla="*/ 1 w 11701760"/>
              <a:gd name="connsiteY2336" fmla="*/ 3189071 h 6407421"/>
              <a:gd name="connsiteX2337" fmla="*/ 29603 w 11701760"/>
              <a:gd name="connsiteY2337" fmla="*/ 3189071 h 6407421"/>
              <a:gd name="connsiteX2338" fmla="*/ 29603 w 11701760"/>
              <a:gd name="connsiteY2338" fmla="*/ 3218566 h 6407421"/>
              <a:gd name="connsiteX2339" fmla="*/ 1 w 11701760"/>
              <a:gd name="connsiteY2339" fmla="*/ 3218566 h 6407421"/>
              <a:gd name="connsiteX2340" fmla="*/ 11672158 w 11701760"/>
              <a:gd name="connsiteY2340" fmla="*/ 2923329 h 6407421"/>
              <a:gd name="connsiteX2341" fmla="*/ 11701760 w 11701760"/>
              <a:gd name="connsiteY2341" fmla="*/ 2923329 h 6407421"/>
              <a:gd name="connsiteX2342" fmla="*/ 11701760 w 11701760"/>
              <a:gd name="connsiteY2342" fmla="*/ 2952824 h 6407421"/>
              <a:gd name="connsiteX2343" fmla="*/ 11672158 w 11701760"/>
              <a:gd name="connsiteY2343" fmla="*/ 2952824 h 6407421"/>
              <a:gd name="connsiteX2344" fmla="*/ 5825310 w 11701760"/>
              <a:gd name="connsiteY2344" fmla="*/ 2923329 h 6407421"/>
              <a:gd name="connsiteX2345" fmla="*/ 5854913 w 11701760"/>
              <a:gd name="connsiteY2345" fmla="*/ 2923329 h 6407421"/>
              <a:gd name="connsiteX2346" fmla="*/ 5854913 w 11701760"/>
              <a:gd name="connsiteY2346" fmla="*/ 2952824 h 6407421"/>
              <a:gd name="connsiteX2347" fmla="*/ 5825310 w 11701760"/>
              <a:gd name="connsiteY2347" fmla="*/ 2952824 h 6407421"/>
              <a:gd name="connsiteX2348" fmla="*/ 11405961 w 11701760"/>
              <a:gd name="connsiteY2348" fmla="*/ 2923328 h 6407421"/>
              <a:gd name="connsiteX2349" fmla="*/ 11435563 w 11701760"/>
              <a:gd name="connsiteY2349" fmla="*/ 2923328 h 6407421"/>
              <a:gd name="connsiteX2350" fmla="*/ 11435563 w 11701760"/>
              <a:gd name="connsiteY2350" fmla="*/ 2952823 h 6407421"/>
              <a:gd name="connsiteX2351" fmla="*/ 11405961 w 11701760"/>
              <a:gd name="connsiteY2351" fmla="*/ 2952823 h 6407421"/>
              <a:gd name="connsiteX2352" fmla="*/ 5559113 w 11701760"/>
              <a:gd name="connsiteY2352" fmla="*/ 2923328 h 6407421"/>
              <a:gd name="connsiteX2353" fmla="*/ 5588715 w 11701760"/>
              <a:gd name="connsiteY2353" fmla="*/ 2923328 h 6407421"/>
              <a:gd name="connsiteX2354" fmla="*/ 5588715 w 11701760"/>
              <a:gd name="connsiteY2354" fmla="*/ 2952823 h 6407421"/>
              <a:gd name="connsiteX2355" fmla="*/ 5559113 w 11701760"/>
              <a:gd name="connsiteY2355" fmla="*/ 2952823 h 6407421"/>
              <a:gd name="connsiteX2356" fmla="*/ 11139872 w 11701760"/>
              <a:gd name="connsiteY2356" fmla="*/ 2923327 h 6407421"/>
              <a:gd name="connsiteX2357" fmla="*/ 11169474 w 11701760"/>
              <a:gd name="connsiteY2357" fmla="*/ 2923327 h 6407421"/>
              <a:gd name="connsiteX2358" fmla="*/ 11169474 w 11701760"/>
              <a:gd name="connsiteY2358" fmla="*/ 2952822 h 6407421"/>
              <a:gd name="connsiteX2359" fmla="*/ 11139872 w 11701760"/>
              <a:gd name="connsiteY2359" fmla="*/ 2952822 h 6407421"/>
              <a:gd name="connsiteX2360" fmla="*/ 5293024 w 11701760"/>
              <a:gd name="connsiteY2360" fmla="*/ 2923327 h 6407421"/>
              <a:gd name="connsiteX2361" fmla="*/ 5322626 w 11701760"/>
              <a:gd name="connsiteY2361" fmla="*/ 2923327 h 6407421"/>
              <a:gd name="connsiteX2362" fmla="*/ 5322626 w 11701760"/>
              <a:gd name="connsiteY2362" fmla="*/ 2952822 h 6407421"/>
              <a:gd name="connsiteX2363" fmla="*/ 5293024 w 11701760"/>
              <a:gd name="connsiteY2363" fmla="*/ 2952822 h 6407421"/>
              <a:gd name="connsiteX2364" fmla="*/ 10873675 w 11701760"/>
              <a:gd name="connsiteY2364" fmla="*/ 2923326 h 6407421"/>
              <a:gd name="connsiteX2365" fmla="*/ 10903277 w 11701760"/>
              <a:gd name="connsiteY2365" fmla="*/ 2923326 h 6407421"/>
              <a:gd name="connsiteX2366" fmla="*/ 10903277 w 11701760"/>
              <a:gd name="connsiteY2366" fmla="*/ 2952821 h 6407421"/>
              <a:gd name="connsiteX2367" fmla="*/ 10873675 w 11701760"/>
              <a:gd name="connsiteY2367" fmla="*/ 2952821 h 6407421"/>
              <a:gd name="connsiteX2368" fmla="*/ 5026827 w 11701760"/>
              <a:gd name="connsiteY2368" fmla="*/ 2923326 h 6407421"/>
              <a:gd name="connsiteX2369" fmla="*/ 5056429 w 11701760"/>
              <a:gd name="connsiteY2369" fmla="*/ 2923326 h 6407421"/>
              <a:gd name="connsiteX2370" fmla="*/ 5056429 w 11701760"/>
              <a:gd name="connsiteY2370" fmla="*/ 2952821 h 6407421"/>
              <a:gd name="connsiteX2371" fmla="*/ 5026827 w 11701760"/>
              <a:gd name="connsiteY2371" fmla="*/ 2952821 h 6407421"/>
              <a:gd name="connsiteX2372" fmla="*/ 10607478 w 11701760"/>
              <a:gd name="connsiteY2372" fmla="*/ 2923325 h 6407421"/>
              <a:gd name="connsiteX2373" fmla="*/ 10637188 w 11701760"/>
              <a:gd name="connsiteY2373" fmla="*/ 2923325 h 6407421"/>
              <a:gd name="connsiteX2374" fmla="*/ 10637188 w 11701760"/>
              <a:gd name="connsiteY2374" fmla="*/ 2952820 h 6407421"/>
              <a:gd name="connsiteX2375" fmla="*/ 10607478 w 11701760"/>
              <a:gd name="connsiteY2375" fmla="*/ 2952820 h 6407421"/>
              <a:gd name="connsiteX2376" fmla="*/ 4760630 w 11701760"/>
              <a:gd name="connsiteY2376" fmla="*/ 2923325 h 6407421"/>
              <a:gd name="connsiteX2377" fmla="*/ 4790340 w 11701760"/>
              <a:gd name="connsiteY2377" fmla="*/ 2923325 h 6407421"/>
              <a:gd name="connsiteX2378" fmla="*/ 4790340 w 11701760"/>
              <a:gd name="connsiteY2378" fmla="*/ 2952820 h 6407421"/>
              <a:gd name="connsiteX2379" fmla="*/ 4760630 w 11701760"/>
              <a:gd name="connsiteY2379" fmla="*/ 2952820 h 6407421"/>
              <a:gd name="connsiteX2380" fmla="*/ 10341389 w 11701760"/>
              <a:gd name="connsiteY2380" fmla="*/ 2923323 h 6407421"/>
              <a:gd name="connsiteX2381" fmla="*/ 10370992 w 11701760"/>
              <a:gd name="connsiteY2381" fmla="*/ 2923323 h 6407421"/>
              <a:gd name="connsiteX2382" fmla="*/ 10370992 w 11701760"/>
              <a:gd name="connsiteY2382" fmla="*/ 2952819 h 6407421"/>
              <a:gd name="connsiteX2383" fmla="*/ 10341389 w 11701760"/>
              <a:gd name="connsiteY2383" fmla="*/ 2952819 h 6407421"/>
              <a:gd name="connsiteX2384" fmla="*/ 4494541 w 11701760"/>
              <a:gd name="connsiteY2384" fmla="*/ 2923323 h 6407421"/>
              <a:gd name="connsiteX2385" fmla="*/ 4524144 w 11701760"/>
              <a:gd name="connsiteY2385" fmla="*/ 2923323 h 6407421"/>
              <a:gd name="connsiteX2386" fmla="*/ 4524144 w 11701760"/>
              <a:gd name="connsiteY2386" fmla="*/ 2952819 h 6407421"/>
              <a:gd name="connsiteX2387" fmla="*/ 4494541 w 11701760"/>
              <a:gd name="connsiteY2387" fmla="*/ 2952819 h 6407421"/>
              <a:gd name="connsiteX2388" fmla="*/ 10075192 w 11701760"/>
              <a:gd name="connsiteY2388" fmla="*/ 2923322 h 6407421"/>
              <a:gd name="connsiteX2389" fmla="*/ 10104794 w 11701760"/>
              <a:gd name="connsiteY2389" fmla="*/ 2923322 h 6407421"/>
              <a:gd name="connsiteX2390" fmla="*/ 10104794 w 11701760"/>
              <a:gd name="connsiteY2390" fmla="*/ 2952818 h 6407421"/>
              <a:gd name="connsiteX2391" fmla="*/ 10075192 w 11701760"/>
              <a:gd name="connsiteY2391" fmla="*/ 2952818 h 6407421"/>
              <a:gd name="connsiteX2392" fmla="*/ 4228344 w 11701760"/>
              <a:gd name="connsiteY2392" fmla="*/ 2923322 h 6407421"/>
              <a:gd name="connsiteX2393" fmla="*/ 4257946 w 11701760"/>
              <a:gd name="connsiteY2393" fmla="*/ 2923322 h 6407421"/>
              <a:gd name="connsiteX2394" fmla="*/ 4257946 w 11701760"/>
              <a:gd name="connsiteY2394" fmla="*/ 2952818 h 6407421"/>
              <a:gd name="connsiteX2395" fmla="*/ 4228344 w 11701760"/>
              <a:gd name="connsiteY2395" fmla="*/ 2952818 h 6407421"/>
              <a:gd name="connsiteX2396" fmla="*/ 9809103 w 11701760"/>
              <a:gd name="connsiteY2396" fmla="*/ 2923321 h 6407421"/>
              <a:gd name="connsiteX2397" fmla="*/ 9838705 w 11701760"/>
              <a:gd name="connsiteY2397" fmla="*/ 2923321 h 6407421"/>
              <a:gd name="connsiteX2398" fmla="*/ 9838705 w 11701760"/>
              <a:gd name="connsiteY2398" fmla="*/ 2952817 h 6407421"/>
              <a:gd name="connsiteX2399" fmla="*/ 9809103 w 11701760"/>
              <a:gd name="connsiteY2399" fmla="*/ 2952817 h 6407421"/>
              <a:gd name="connsiteX2400" fmla="*/ 3962255 w 11701760"/>
              <a:gd name="connsiteY2400" fmla="*/ 2923321 h 6407421"/>
              <a:gd name="connsiteX2401" fmla="*/ 3991857 w 11701760"/>
              <a:gd name="connsiteY2401" fmla="*/ 2923321 h 6407421"/>
              <a:gd name="connsiteX2402" fmla="*/ 3991857 w 11701760"/>
              <a:gd name="connsiteY2402" fmla="*/ 2952817 h 6407421"/>
              <a:gd name="connsiteX2403" fmla="*/ 3962255 w 11701760"/>
              <a:gd name="connsiteY2403" fmla="*/ 2952817 h 6407421"/>
              <a:gd name="connsiteX2404" fmla="*/ 9542906 w 11701760"/>
              <a:gd name="connsiteY2404" fmla="*/ 2923320 h 6407421"/>
              <a:gd name="connsiteX2405" fmla="*/ 9572509 w 11701760"/>
              <a:gd name="connsiteY2405" fmla="*/ 2923320 h 6407421"/>
              <a:gd name="connsiteX2406" fmla="*/ 9572509 w 11701760"/>
              <a:gd name="connsiteY2406" fmla="*/ 2952815 h 6407421"/>
              <a:gd name="connsiteX2407" fmla="*/ 9542906 w 11701760"/>
              <a:gd name="connsiteY2407" fmla="*/ 2952815 h 6407421"/>
              <a:gd name="connsiteX2408" fmla="*/ 3696058 w 11701760"/>
              <a:gd name="connsiteY2408" fmla="*/ 2923320 h 6407421"/>
              <a:gd name="connsiteX2409" fmla="*/ 3725661 w 11701760"/>
              <a:gd name="connsiteY2409" fmla="*/ 2923320 h 6407421"/>
              <a:gd name="connsiteX2410" fmla="*/ 3725661 w 11701760"/>
              <a:gd name="connsiteY2410" fmla="*/ 2952815 h 6407421"/>
              <a:gd name="connsiteX2411" fmla="*/ 3696058 w 11701760"/>
              <a:gd name="connsiteY2411" fmla="*/ 2952815 h 6407421"/>
              <a:gd name="connsiteX2412" fmla="*/ 9276817 w 11701760"/>
              <a:gd name="connsiteY2412" fmla="*/ 2923319 h 6407421"/>
              <a:gd name="connsiteX2413" fmla="*/ 9306420 w 11701760"/>
              <a:gd name="connsiteY2413" fmla="*/ 2923319 h 6407421"/>
              <a:gd name="connsiteX2414" fmla="*/ 9306420 w 11701760"/>
              <a:gd name="connsiteY2414" fmla="*/ 2952814 h 6407421"/>
              <a:gd name="connsiteX2415" fmla="*/ 9276817 w 11701760"/>
              <a:gd name="connsiteY2415" fmla="*/ 2952814 h 6407421"/>
              <a:gd name="connsiteX2416" fmla="*/ 3429969 w 11701760"/>
              <a:gd name="connsiteY2416" fmla="*/ 2923319 h 6407421"/>
              <a:gd name="connsiteX2417" fmla="*/ 3459572 w 11701760"/>
              <a:gd name="connsiteY2417" fmla="*/ 2923319 h 6407421"/>
              <a:gd name="connsiteX2418" fmla="*/ 3459572 w 11701760"/>
              <a:gd name="connsiteY2418" fmla="*/ 2952814 h 6407421"/>
              <a:gd name="connsiteX2419" fmla="*/ 3429969 w 11701760"/>
              <a:gd name="connsiteY2419" fmla="*/ 2952814 h 6407421"/>
              <a:gd name="connsiteX2420" fmla="*/ 9010620 w 11701760"/>
              <a:gd name="connsiteY2420" fmla="*/ 2923318 h 6407421"/>
              <a:gd name="connsiteX2421" fmla="*/ 9040222 w 11701760"/>
              <a:gd name="connsiteY2421" fmla="*/ 2923318 h 6407421"/>
              <a:gd name="connsiteX2422" fmla="*/ 9040222 w 11701760"/>
              <a:gd name="connsiteY2422" fmla="*/ 2952813 h 6407421"/>
              <a:gd name="connsiteX2423" fmla="*/ 9010620 w 11701760"/>
              <a:gd name="connsiteY2423" fmla="*/ 2952813 h 6407421"/>
              <a:gd name="connsiteX2424" fmla="*/ 3163772 w 11701760"/>
              <a:gd name="connsiteY2424" fmla="*/ 2923318 h 6407421"/>
              <a:gd name="connsiteX2425" fmla="*/ 3193374 w 11701760"/>
              <a:gd name="connsiteY2425" fmla="*/ 2923318 h 6407421"/>
              <a:gd name="connsiteX2426" fmla="*/ 3193374 w 11701760"/>
              <a:gd name="connsiteY2426" fmla="*/ 2952813 h 6407421"/>
              <a:gd name="connsiteX2427" fmla="*/ 3163772 w 11701760"/>
              <a:gd name="connsiteY2427" fmla="*/ 2952813 h 6407421"/>
              <a:gd name="connsiteX2428" fmla="*/ 8744423 w 11701760"/>
              <a:gd name="connsiteY2428" fmla="*/ 2923317 h 6407421"/>
              <a:gd name="connsiteX2429" fmla="*/ 8774026 w 11701760"/>
              <a:gd name="connsiteY2429" fmla="*/ 2923317 h 6407421"/>
              <a:gd name="connsiteX2430" fmla="*/ 8774026 w 11701760"/>
              <a:gd name="connsiteY2430" fmla="*/ 2952812 h 6407421"/>
              <a:gd name="connsiteX2431" fmla="*/ 8744423 w 11701760"/>
              <a:gd name="connsiteY2431" fmla="*/ 2952812 h 6407421"/>
              <a:gd name="connsiteX2432" fmla="*/ 2897575 w 11701760"/>
              <a:gd name="connsiteY2432" fmla="*/ 2923317 h 6407421"/>
              <a:gd name="connsiteX2433" fmla="*/ 2927178 w 11701760"/>
              <a:gd name="connsiteY2433" fmla="*/ 2923317 h 6407421"/>
              <a:gd name="connsiteX2434" fmla="*/ 2927178 w 11701760"/>
              <a:gd name="connsiteY2434" fmla="*/ 2952812 h 6407421"/>
              <a:gd name="connsiteX2435" fmla="*/ 2897575 w 11701760"/>
              <a:gd name="connsiteY2435" fmla="*/ 2952812 h 6407421"/>
              <a:gd name="connsiteX2436" fmla="*/ 8478226 w 11701760"/>
              <a:gd name="connsiteY2436" fmla="*/ 2923316 h 6407421"/>
              <a:gd name="connsiteX2437" fmla="*/ 8507828 w 11701760"/>
              <a:gd name="connsiteY2437" fmla="*/ 2923316 h 6407421"/>
              <a:gd name="connsiteX2438" fmla="*/ 8507828 w 11701760"/>
              <a:gd name="connsiteY2438" fmla="*/ 2952811 h 6407421"/>
              <a:gd name="connsiteX2439" fmla="*/ 8478226 w 11701760"/>
              <a:gd name="connsiteY2439" fmla="*/ 2952811 h 6407421"/>
              <a:gd name="connsiteX2440" fmla="*/ 2631378 w 11701760"/>
              <a:gd name="connsiteY2440" fmla="*/ 2923316 h 6407421"/>
              <a:gd name="connsiteX2441" fmla="*/ 2660980 w 11701760"/>
              <a:gd name="connsiteY2441" fmla="*/ 2923316 h 6407421"/>
              <a:gd name="connsiteX2442" fmla="*/ 2660980 w 11701760"/>
              <a:gd name="connsiteY2442" fmla="*/ 2952811 h 6407421"/>
              <a:gd name="connsiteX2443" fmla="*/ 2631378 w 11701760"/>
              <a:gd name="connsiteY2443" fmla="*/ 2952811 h 6407421"/>
              <a:gd name="connsiteX2444" fmla="*/ 8212137 w 11701760"/>
              <a:gd name="connsiteY2444" fmla="*/ 2923315 h 6407421"/>
              <a:gd name="connsiteX2445" fmla="*/ 8241740 w 11701760"/>
              <a:gd name="connsiteY2445" fmla="*/ 2923315 h 6407421"/>
              <a:gd name="connsiteX2446" fmla="*/ 8241740 w 11701760"/>
              <a:gd name="connsiteY2446" fmla="*/ 2952810 h 6407421"/>
              <a:gd name="connsiteX2447" fmla="*/ 8212137 w 11701760"/>
              <a:gd name="connsiteY2447" fmla="*/ 2952810 h 6407421"/>
              <a:gd name="connsiteX2448" fmla="*/ 2365289 w 11701760"/>
              <a:gd name="connsiteY2448" fmla="*/ 2923315 h 6407421"/>
              <a:gd name="connsiteX2449" fmla="*/ 2394892 w 11701760"/>
              <a:gd name="connsiteY2449" fmla="*/ 2923315 h 6407421"/>
              <a:gd name="connsiteX2450" fmla="*/ 2394892 w 11701760"/>
              <a:gd name="connsiteY2450" fmla="*/ 2952810 h 6407421"/>
              <a:gd name="connsiteX2451" fmla="*/ 2365289 w 11701760"/>
              <a:gd name="connsiteY2451" fmla="*/ 2952810 h 6407421"/>
              <a:gd name="connsiteX2452" fmla="*/ 7945940 w 11701760"/>
              <a:gd name="connsiteY2452" fmla="*/ 2923314 h 6407421"/>
              <a:gd name="connsiteX2453" fmla="*/ 7975543 w 11701760"/>
              <a:gd name="connsiteY2453" fmla="*/ 2923314 h 6407421"/>
              <a:gd name="connsiteX2454" fmla="*/ 7975543 w 11701760"/>
              <a:gd name="connsiteY2454" fmla="*/ 2952809 h 6407421"/>
              <a:gd name="connsiteX2455" fmla="*/ 7945940 w 11701760"/>
              <a:gd name="connsiteY2455" fmla="*/ 2952809 h 6407421"/>
              <a:gd name="connsiteX2456" fmla="*/ 2099092 w 11701760"/>
              <a:gd name="connsiteY2456" fmla="*/ 2923314 h 6407421"/>
              <a:gd name="connsiteX2457" fmla="*/ 2128695 w 11701760"/>
              <a:gd name="connsiteY2457" fmla="*/ 2923314 h 6407421"/>
              <a:gd name="connsiteX2458" fmla="*/ 2128695 w 11701760"/>
              <a:gd name="connsiteY2458" fmla="*/ 2952809 h 6407421"/>
              <a:gd name="connsiteX2459" fmla="*/ 2099092 w 11701760"/>
              <a:gd name="connsiteY2459" fmla="*/ 2952809 h 6407421"/>
              <a:gd name="connsiteX2460" fmla="*/ 7679743 w 11701760"/>
              <a:gd name="connsiteY2460" fmla="*/ 2923313 h 6407421"/>
              <a:gd name="connsiteX2461" fmla="*/ 7709346 w 11701760"/>
              <a:gd name="connsiteY2461" fmla="*/ 2923313 h 6407421"/>
              <a:gd name="connsiteX2462" fmla="*/ 7709346 w 11701760"/>
              <a:gd name="connsiteY2462" fmla="*/ 2952808 h 6407421"/>
              <a:gd name="connsiteX2463" fmla="*/ 7679743 w 11701760"/>
              <a:gd name="connsiteY2463" fmla="*/ 2952808 h 6407421"/>
              <a:gd name="connsiteX2464" fmla="*/ 1832898 w 11701760"/>
              <a:gd name="connsiteY2464" fmla="*/ 2923313 h 6407421"/>
              <a:gd name="connsiteX2465" fmla="*/ 1862498 w 11701760"/>
              <a:gd name="connsiteY2465" fmla="*/ 2923313 h 6407421"/>
              <a:gd name="connsiteX2466" fmla="*/ 1862498 w 11701760"/>
              <a:gd name="connsiteY2466" fmla="*/ 2952808 h 6407421"/>
              <a:gd name="connsiteX2467" fmla="*/ 1832898 w 11701760"/>
              <a:gd name="connsiteY2467" fmla="*/ 2952808 h 6407421"/>
              <a:gd name="connsiteX2468" fmla="*/ 7413653 w 11701760"/>
              <a:gd name="connsiteY2468" fmla="*/ 2923312 h 6407421"/>
              <a:gd name="connsiteX2469" fmla="*/ 7443256 w 11701760"/>
              <a:gd name="connsiteY2469" fmla="*/ 2923312 h 6407421"/>
              <a:gd name="connsiteX2470" fmla="*/ 7443256 w 11701760"/>
              <a:gd name="connsiteY2470" fmla="*/ 2952807 h 6407421"/>
              <a:gd name="connsiteX2471" fmla="*/ 7413653 w 11701760"/>
              <a:gd name="connsiteY2471" fmla="*/ 2952807 h 6407421"/>
              <a:gd name="connsiteX2472" fmla="*/ 1566808 w 11701760"/>
              <a:gd name="connsiteY2472" fmla="*/ 2923312 h 6407421"/>
              <a:gd name="connsiteX2473" fmla="*/ 1596409 w 11701760"/>
              <a:gd name="connsiteY2473" fmla="*/ 2923312 h 6407421"/>
              <a:gd name="connsiteX2474" fmla="*/ 1596409 w 11701760"/>
              <a:gd name="connsiteY2474" fmla="*/ 2952807 h 6407421"/>
              <a:gd name="connsiteX2475" fmla="*/ 1566808 w 11701760"/>
              <a:gd name="connsiteY2475" fmla="*/ 2952807 h 6407421"/>
              <a:gd name="connsiteX2476" fmla="*/ 7147456 w 11701760"/>
              <a:gd name="connsiteY2476" fmla="*/ 2923311 h 6407421"/>
              <a:gd name="connsiteX2477" fmla="*/ 7177058 w 11701760"/>
              <a:gd name="connsiteY2477" fmla="*/ 2923311 h 6407421"/>
              <a:gd name="connsiteX2478" fmla="*/ 7177058 w 11701760"/>
              <a:gd name="connsiteY2478" fmla="*/ 2952806 h 6407421"/>
              <a:gd name="connsiteX2479" fmla="*/ 7147456 w 11701760"/>
              <a:gd name="connsiteY2479" fmla="*/ 2952806 h 6407421"/>
              <a:gd name="connsiteX2480" fmla="*/ 1300611 w 11701760"/>
              <a:gd name="connsiteY2480" fmla="*/ 2923311 h 6407421"/>
              <a:gd name="connsiteX2481" fmla="*/ 1330213 w 11701760"/>
              <a:gd name="connsiteY2481" fmla="*/ 2923311 h 6407421"/>
              <a:gd name="connsiteX2482" fmla="*/ 1330213 w 11701760"/>
              <a:gd name="connsiteY2482" fmla="*/ 2952806 h 6407421"/>
              <a:gd name="connsiteX2483" fmla="*/ 1300611 w 11701760"/>
              <a:gd name="connsiteY2483" fmla="*/ 2952806 h 6407421"/>
              <a:gd name="connsiteX2484" fmla="*/ 6881367 w 11701760"/>
              <a:gd name="connsiteY2484" fmla="*/ 2923310 h 6407421"/>
              <a:gd name="connsiteX2485" fmla="*/ 6910970 w 11701760"/>
              <a:gd name="connsiteY2485" fmla="*/ 2923310 h 6407421"/>
              <a:gd name="connsiteX2486" fmla="*/ 6910970 w 11701760"/>
              <a:gd name="connsiteY2486" fmla="*/ 2952805 h 6407421"/>
              <a:gd name="connsiteX2487" fmla="*/ 6881367 w 11701760"/>
              <a:gd name="connsiteY2487" fmla="*/ 2952805 h 6407421"/>
              <a:gd name="connsiteX2488" fmla="*/ 1034520 w 11701760"/>
              <a:gd name="connsiteY2488" fmla="*/ 2923310 h 6407421"/>
              <a:gd name="connsiteX2489" fmla="*/ 1064123 w 11701760"/>
              <a:gd name="connsiteY2489" fmla="*/ 2923310 h 6407421"/>
              <a:gd name="connsiteX2490" fmla="*/ 1064123 w 11701760"/>
              <a:gd name="connsiteY2490" fmla="*/ 2952805 h 6407421"/>
              <a:gd name="connsiteX2491" fmla="*/ 1034520 w 11701760"/>
              <a:gd name="connsiteY2491" fmla="*/ 2952805 h 6407421"/>
              <a:gd name="connsiteX2492" fmla="*/ 6615170 w 11701760"/>
              <a:gd name="connsiteY2492" fmla="*/ 2923309 h 6407421"/>
              <a:gd name="connsiteX2493" fmla="*/ 6644773 w 11701760"/>
              <a:gd name="connsiteY2493" fmla="*/ 2923309 h 6407421"/>
              <a:gd name="connsiteX2494" fmla="*/ 6644773 w 11701760"/>
              <a:gd name="connsiteY2494" fmla="*/ 2952804 h 6407421"/>
              <a:gd name="connsiteX2495" fmla="*/ 6615170 w 11701760"/>
              <a:gd name="connsiteY2495" fmla="*/ 2952804 h 6407421"/>
              <a:gd name="connsiteX2496" fmla="*/ 768327 w 11701760"/>
              <a:gd name="connsiteY2496" fmla="*/ 2923309 h 6407421"/>
              <a:gd name="connsiteX2497" fmla="*/ 797926 w 11701760"/>
              <a:gd name="connsiteY2497" fmla="*/ 2923309 h 6407421"/>
              <a:gd name="connsiteX2498" fmla="*/ 797926 w 11701760"/>
              <a:gd name="connsiteY2498" fmla="*/ 2952804 h 6407421"/>
              <a:gd name="connsiteX2499" fmla="*/ 768327 w 11701760"/>
              <a:gd name="connsiteY2499" fmla="*/ 2952804 h 6407421"/>
              <a:gd name="connsiteX2500" fmla="*/ 6349081 w 11701760"/>
              <a:gd name="connsiteY2500" fmla="*/ 2923308 h 6407421"/>
              <a:gd name="connsiteX2501" fmla="*/ 6378683 w 11701760"/>
              <a:gd name="connsiteY2501" fmla="*/ 2923308 h 6407421"/>
              <a:gd name="connsiteX2502" fmla="*/ 6378683 w 11701760"/>
              <a:gd name="connsiteY2502" fmla="*/ 2952803 h 6407421"/>
              <a:gd name="connsiteX2503" fmla="*/ 6349081 w 11701760"/>
              <a:gd name="connsiteY2503" fmla="*/ 2952803 h 6407421"/>
              <a:gd name="connsiteX2504" fmla="*/ 502236 w 11701760"/>
              <a:gd name="connsiteY2504" fmla="*/ 2923308 h 6407421"/>
              <a:gd name="connsiteX2505" fmla="*/ 531838 w 11701760"/>
              <a:gd name="connsiteY2505" fmla="*/ 2923308 h 6407421"/>
              <a:gd name="connsiteX2506" fmla="*/ 531838 w 11701760"/>
              <a:gd name="connsiteY2506" fmla="*/ 2952803 h 6407421"/>
              <a:gd name="connsiteX2507" fmla="*/ 502236 w 11701760"/>
              <a:gd name="connsiteY2507" fmla="*/ 2952803 h 6407421"/>
              <a:gd name="connsiteX2508" fmla="*/ 6082884 w 11701760"/>
              <a:gd name="connsiteY2508" fmla="*/ 2923307 h 6407421"/>
              <a:gd name="connsiteX2509" fmla="*/ 6112486 w 11701760"/>
              <a:gd name="connsiteY2509" fmla="*/ 2923307 h 6407421"/>
              <a:gd name="connsiteX2510" fmla="*/ 6112486 w 11701760"/>
              <a:gd name="connsiteY2510" fmla="*/ 2952802 h 6407421"/>
              <a:gd name="connsiteX2511" fmla="*/ 6082884 w 11701760"/>
              <a:gd name="connsiteY2511" fmla="*/ 2952802 h 6407421"/>
              <a:gd name="connsiteX2512" fmla="*/ 236037 w 11701760"/>
              <a:gd name="connsiteY2512" fmla="*/ 2923307 h 6407421"/>
              <a:gd name="connsiteX2513" fmla="*/ 265639 w 11701760"/>
              <a:gd name="connsiteY2513" fmla="*/ 2923307 h 6407421"/>
              <a:gd name="connsiteX2514" fmla="*/ 265639 w 11701760"/>
              <a:gd name="connsiteY2514" fmla="*/ 2952802 h 6407421"/>
              <a:gd name="connsiteX2515" fmla="*/ 236037 w 11701760"/>
              <a:gd name="connsiteY2515" fmla="*/ 2952802 h 6407421"/>
              <a:gd name="connsiteX2516" fmla="*/ 1 w 11701760"/>
              <a:gd name="connsiteY2516" fmla="*/ 2923307 h 6407421"/>
              <a:gd name="connsiteX2517" fmla="*/ 29603 w 11701760"/>
              <a:gd name="connsiteY2517" fmla="*/ 2923307 h 6407421"/>
              <a:gd name="connsiteX2518" fmla="*/ 29603 w 11701760"/>
              <a:gd name="connsiteY2518" fmla="*/ 2952802 h 6407421"/>
              <a:gd name="connsiteX2519" fmla="*/ 1 w 11701760"/>
              <a:gd name="connsiteY2519" fmla="*/ 2952802 h 6407421"/>
              <a:gd name="connsiteX2520" fmla="*/ 11672158 w 11701760"/>
              <a:gd name="connsiteY2520" fmla="*/ 2657500 h 6407421"/>
              <a:gd name="connsiteX2521" fmla="*/ 11701760 w 11701760"/>
              <a:gd name="connsiteY2521" fmla="*/ 2657500 h 6407421"/>
              <a:gd name="connsiteX2522" fmla="*/ 11701760 w 11701760"/>
              <a:gd name="connsiteY2522" fmla="*/ 2687101 h 6407421"/>
              <a:gd name="connsiteX2523" fmla="*/ 11672158 w 11701760"/>
              <a:gd name="connsiteY2523" fmla="*/ 2687101 h 6407421"/>
              <a:gd name="connsiteX2524" fmla="*/ 5825310 w 11701760"/>
              <a:gd name="connsiteY2524" fmla="*/ 2657500 h 6407421"/>
              <a:gd name="connsiteX2525" fmla="*/ 5854913 w 11701760"/>
              <a:gd name="connsiteY2525" fmla="*/ 2657500 h 6407421"/>
              <a:gd name="connsiteX2526" fmla="*/ 5854913 w 11701760"/>
              <a:gd name="connsiteY2526" fmla="*/ 2687101 h 6407421"/>
              <a:gd name="connsiteX2527" fmla="*/ 5825310 w 11701760"/>
              <a:gd name="connsiteY2527" fmla="*/ 2687101 h 6407421"/>
              <a:gd name="connsiteX2528" fmla="*/ 11405961 w 11701760"/>
              <a:gd name="connsiteY2528" fmla="*/ 2657497 h 6407421"/>
              <a:gd name="connsiteX2529" fmla="*/ 11435563 w 11701760"/>
              <a:gd name="connsiteY2529" fmla="*/ 2657497 h 6407421"/>
              <a:gd name="connsiteX2530" fmla="*/ 11435563 w 11701760"/>
              <a:gd name="connsiteY2530" fmla="*/ 2687099 h 6407421"/>
              <a:gd name="connsiteX2531" fmla="*/ 11405961 w 11701760"/>
              <a:gd name="connsiteY2531" fmla="*/ 2687099 h 6407421"/>
              <a:gd name="connsiteX2532" fmla="*/ 5559113 w 11701760"/>
              <a:gd name="connsiteY2532" fmla="*/ 2657497 h 6407421"/>
              <a:gd name="connsiteX2533" fmla="*/ 5588715 w 11701760"/>
              <a:gd name="connsiteY2533" fmla="*/ 2657497 h 6407421"/>
              <a:gd name="connsiteX2534" fmla="*/ 5588715 w 11701760"/>
              <a:gd name="connsiteY2534" fmla="*/ 2687099 h 6407421"/>
              <a:gd name="connsiteX2535" fmla="*/ 5559113 w 11701760"/>
              <a:gd name="connsiteY2535" fmla="*/ 2687099 h 6407421"/>
              <a:gd name="connsiteX2536" fmla="*/ 11139872 w 11701760"/>
              <a:gd name="connsiteY2536" fmla="*/ 2657494 h 6407421"/>
              <a:gd name="connsiteX2537" fmla="*/ 11169474 w 11701760"/>
              <a:gd name="connsiteY2537" fmla="*/ 2657494 h 6407421"/>
              <a:gd name="connsiteX2538" fmla="*/ 11169474 w 11701760"/>
              <a:gd name="connsiteY2538" fmla="*/ 2687096 h 6407421"/>
              <a:gd name="connsiteX2539" fmla="*/ 11139872 w 11701760"/>
              <a:gd name="connsiteY2539" fmla="*/ 2687096 h 6407421"/>
              <a:gd name="connsiteX2540" fmla="*/ 5293024 w 11701760"/>
              <a:gd name="connsiteY2540" fmla="*/ 2657494 h 6407421"/>
              <a:gd name="connsiteX2541" fmla="*/ 5322626 w 11701760"/>
              <a:gd name="connsiteY2541" fmla="*/ 2657494 h 6407421"/>
              <a:gd name="connsiteX2542" fmla="*/ 5322626 w 11701760"/>
              <a:gd name="connsiteY2542" fmla="*/ 2687096 h 6407421"/>
              <a:gd name="connsiteX2543" fmla="*/ 5293024 w 11701760"/>
              <a:gd name="connsiteY2543" fmla="*/ 2687096 h 6407421"/>
              <a:gd name="connsiteX2544" fmla="*/ 10873675 w 11701760"/>
              <a:gd name="connsiteY2544" fmla="*/ 2657491 h 6407421"/>
              <a:gd name="connsiteX2545" fmla="*/ 10903277 w 11701760"/>
              <a:gd name="connsiteY2545" fmla="*/ 2657491 h 6407421"/>
              <a:gd name="connsiteX2546" fmla="*/ 10903277 w 11701760"/>
              <a:gd name="connsiteY2546" fmla="*/ 2687093 h 6407421"/>
              <a:gd name="connsiteX2547" fmla="*/ 10873675 w 11701760"/>
              <a:gd name="connsiteY2547" fmla="*/ 2687093 h 6407421"/>
              <a:gd name="connsiteX2548" fmla="*/ 5026827 w 11701760"/>
              <a:gd name="connsiteY2548" fmla="*/ 2657491 h 6407421"/>
              <a:gd name="connsiteX2549" fmla="*/ 5056429 w 11701760"/>
              <a:gd name="connsiteY2549" fmla="*/ 2657491 h 6407421"/>
              <a:gd name="connsiteX2550" fmla="*/ 5056429 w 11701760"/>
              <a:gd name="connsiteY2550" fmla="*/ 2687093 h 6407421"/>
              <a:gd name="connsiteX2551" fmla="*/ 5026827 w 11701760"/>
              <a:gd name="connsiteY2551" fmla="*/ 2687093 h 6407421"/>
              <a:gd name="connsiteX2552" fmla="*/ 10607478 w 11701760"/>
              <a:gd name="connsiteY2552" fmla="*/ 2657488 h 6407421"/>
              <a:gd name="connsiteX2553" fmla="*/ 10637188 w 11701760"/>
              <a:gd name="connsiteY2553" fmla="*/ 2657488 h 6407421"/>
              <a:gd name="connsiteX2554" fmla="*/ 10637188 w 11701760"/>
              <a:gd name="connsiteY2554" fmla="*/ 2687090 h 6407421"/>
              <a:gd name="connsiteX2555" fmla="*/ 10607478 w 11701760"/>
              <a:gd name="connsiteY2555" fmla="*/ 2687090 h 6407421"/>
              <a:gd name="connsiteX2556" fmla="*/ 4760630 w 11701760"/>
              <a:gd name="connsiteY2556" fmla="*/ 2657488 h 6407421"/>
              <a:gd name="connsiteX2557" fmla="*/ 4790340 w 11701760"/>
              <a:gd name="connsiteY2557" fmla="*/ 2657488 h 6407421"/>
              <a:gd name="connsiteX2558" fmla="*/ 4790340 w 11701760"/>
              <a:gd name="connsiteY2558" fmla="*/ 2687090 h 6407421"/>
              <a:gd name="connsiteX2559" fmla="*/ 4760630 w 11701760"/>
              <a:gd name="connsiteY2559" fmla="*/ 2687090 h 6407421"/>
              <a:gd name="connsiteX2560" fmla="*/ 10341389 w 11701760"/>
              <a:gd name="connsiteY2560" fmla="*/ 2657485 h 6407421"/>
              <a:gd name="connsiteX2561" fmla="*/ 10370992 w 11701760"/>
              <a:gd name="connsiteY2561" fmla="*/ 2657485 h 6407421"/>
              <a:gd name="connsiteX2562" fmla="*/ 10370992 w 11701760"/>
              <a:gd name="connsiteY2562" fmla="*/ 2687087 h 6407421"/>
              <a:gd name="connsiteX2563" fmla="*/ 10341389 w 11701760"/>
              <a:gd name="connsiteY2563" fmla="*/ 2687087 h 6407421"/>
              <a:gd name="connsiteX2564" fmla="*/ 4494541 w 11701760"/>
              <a:gd name="connsiteY2564" fmla="*/ 2657485 h 6407421"/>
              <a:gd name="connsiteX2565" fmla="*/ 4524144 w 11701760"/>
              <a:gd name="connsiteY2565" fmla="*/ 2657485 h 6407421"/>
              <a:gd name="connsiteX2566" fmla="*/ 4524144 w 11701760"/>
              <a:gd name="connsiteY2566" fmla="*/ 2687087 h 6407421"/>
              <a:gd name="connsiteX2567" fmla="*/ 4494541 w 11701760"/>
              <a:gd name="connsiteY2567" fmla="*/ 2687087 h 6407421"/>
              <a:gd name="connsiteX2568" fmla="*/ 10075192 w 11701760"/>
              <a:gd name="connsiteY2568" fmla="*/ 2657482 h 6407421"/>
              <a:gd name="connsiteX2569" fmla="*/ 10104794 w 11701760"/>
              <a:gd name="connsiteY2569" fmla="*/ 2657482 h 6407421"/>
              <a:gd name="connsiteX2570" fmla="*/ 10104794 w 11701760"/>
              <a:gd name="connsiteY2570" fmla="*/ 2687083 h 6407421"/>
              <a:gd name="connsiteX2571" fmla="*/ 10075192 w 11701760"/>
              <a:gd name="connsiteY2571" fmla="*/ 2687083 h 6407421"/>
              <a:gd name="connsiteX2572" fmla="*/ 4228344 w 11701760"/>
              <a:gd name="connsiteY2572" fmla="*/ 2657482 h 6407421"/>
              <a:gd name="connsiteX2573" fmla="*/ 4257946 w 11701760"/>
              <a:gd name="connsiteY2573" fmla="*/ 2657482 h 6407421"/>
              <a:gd name="connsiteX2574" fmla="*/ 4257946 w 11701760"/>
              <a:gd name="connsiteY2574" fmla="*/ 2687083 h 6407421"/>
              <a:gd name="connsiteX2575" fmla="*/ 4228344 w 11701760"/>
              <a:gd name="connsiteY2575" fmla="*/ 2687083 h 6407421"/>
              <a:gd name="connsiteX2576" fmla="*/ 9809103 w 11701760"/>
              <a:gd name="connsiteY2576" fmla="*/ 2657478 h 6407421"/>
              <a:gd name="connsiteX2577" fmla="*/ 9838705 w 11701760"/>
              <a:gd name="connsiteY2577" fmla="*/ 2657478 h 6407421"/>
              <a:gd name="connsiteX2578" fmla="*/ 9838705 w 11701760"/>
              <a:gd name="connsiteY2578" fmla="*/ 2687080 h 6407421"/>
              <a:gd name="connsiteX2579" fmla="*/ 9809103 w 11701760"/>
              <a:gd name="connsiteY2579" fmla="*/ 2687080 h 6407421"/>
              <a:gd name="connsiteX2580" fmla="*/ 3962255 w 11701760"/>
              <a:gd name="connsiteY2580" fmla="*/ 2657478 h 6407421"/>
              <a:gd name="connsiteX2581" fmla="*/ 3991857 w 11701760"/>
              <a:gd name="connsiteY2581" fmla="*/ 2657478 h 6407421"/>
              <a:gd name="connsiteX2582" fmla="*/ 3991857 w 11701760"/>
              <a:gd name="connsiteY2582" fmla="*/ 2687080 h 6407421"/>
              <a:gd name="connsiteX2583" fmla="*/ 3962255 w 11701760"/>
              <a:gd name="connsiteY2583" fmla="*/ 2687080 h 6407421"/>
              <a:gd name="connsiteX2584" fmla="*/ 9542906 w 11701760"/>
              <a:gd name="connsiteY2584" fmla="*/ 2657475 h 6407421"/>
              <a:gd name="connsiteX2585" fmla="*/ 9572509 w 11701760"/>
              <a:gd name="connsiteY2585" fmla="*/ 2657475 h 6407421"/>
              <a:gd name="connsiteX2586" fmla="*/ 9572509 w 11701760"/>
              <a:gd name="connsiteY2586" fmla="*/ 2687077 h 6407421"/>
              <a:gd name="connsiteX2587" fmla="*/ 9542906 w 11701760"/>
              <a:gd name="connsiteY2587" fmla="*/ 2687077 h 6407421"/>
              <a:gd name="connsiteX2588" fmla="*/ 3696058 w 11701760"/>
              <a:gd name="connsiteY2588" fmla="*/ 2657475 h 6407421"/>
              <a:gd name="connsiteX2589" fmla="*/ 3725661 w 11701760"/>
              <a:gd name="connsiteY2589" fmla="*/ 2657475 h 6407421"/>
              <a:gd name="connsiteX2590" fmla="*/ 3725661 w 11701760"/>
              <a:gd name="connsiteY2590" fmla="*/ 2687077 h 6407421"/>
              <a:gd name="connsiteX2591" fmla="*/ 3696058 w 11701760"/>
              <a:gd name="connsiteY2591" fmla="*/ 2687077 h 6407421"/>
              <a:gd name="connsiteX2592" fmla="*/ 9276817 w 11701760"/>
              <a:gd name="connsiteY2592" fmla="*/ 2657472 h 6407421"/>
              <a:gd name="connsiteX2593" fmla="*/ 9306420 w 11701760"/>
              <a:gd name="connsiteY2593" fmla="*/ 2657472 h 6407421"/>
              <a:gd name="connsiteX2594" fmla="*/ 9306420 w 11701760"/>
              <a:gd name="connsiteY2594" fmla="*/ 2687074 h 6407421"/>
              <a:gd name="connsiteX2595" fmla="*/ 9276817 w 11701760"/>
              <a:gd name="connsiteY2595" fmla="*/ 2687074 h 6407421"/>
              <a:gd name="connsiteX2596" fmla="*/ 3429969 w 11701760"/>
              <a:gd name="connsiteY2596" fmla="*/ 2657472 h 6407421"/>
              <a:gd name="connsiteX2597" fmla="*/ 3459572 w 11701760"/>
              <a:gd name="connsiteY2597" fmla="*/ 2657472 h 6407421"/>
              <a:gd name="connsiteX2598" fmla="*/ 3459572 w 11701760"/>
              <a:gd name="connsiteY2598" fmla="*/ 2687074 h 6407421"/>
              <a:gd name="connsiteX2599" fmla="*/ 3429969 w 11701760"/>
              <a:gd name="connsiteY2599" fmla="*/ 2687074 h 6407421"/>
              <a:gd name="connsiteX2600" fmla="*/ 9010620 w 11701760"/>
              <a:gd name="connsiteY2600" fmla="*/ 2657469 h 6407421"/>
              <a:gd name="connsiteX2601" fmla="*/ 9040222 w 11701760"/>
              <a:gd name="connsiteY2601" fmla="*/ 2657469 h 6407421"/>
              <a:gd name="connsiteX2602" fmla="*/ 9040222 w 11701760"/>
              <a:gd name="connsiteY2602" fmla="*/ 2687071 h 6407421"/>
              <a:gd name="connsiteX2603" fmla="*/ 9010620 w 11701760"/>
              <a:gd name="connsiteY2603" fmla="*/ 2687071 h 6407421"/>
              <a:gd name="connsiteX2604" fmla="*/ 3163772 w 11701760"/>
              <a:gd name="connsiteY2604" fmla="*/ 2657469 h 6407421"/>
              <a:gd name="connsiteX2605" fmla="*/ 3193374 w 11701760"/>
              <a:gd name="connsiteY2605" fmla="*/ 2657469 h 6407421"/>
              <a:gd name="connsiteX2606" fmla="*/ 3193374 w 11701760"/>
              <a:gd name="connsiteY2606" fmla="*/ 2687071 h 6407421"/>
              <a:gd name="connsiteX2607" fmla="*/ 3163772 w 11701760"/>
              <a:gd name="connsiteY2607" fmla="*/ 2687071 h 6407421"/>
              <a:gd name="connsiteX2608" fmla="*/ 8744423 w 11701760"/>
              <a:gd name="connsiteY2608" fmla="*/ 2657466 h 6407421"/>
              <a:gd name="connsiteX2609" fmla="*/ 8774026 w 11701760"/>
              <a:gd name="connsiteY2609" fmla="*/ 2657466 h 6407421"/>
              <a:gd name="connsiteX2610" fmla="*/ 8774026 w 11701760"/>
              <a:gd name="connsiteY2610" fmla="*/ 2687068 h 6407421"/>
              <a:gd name="connsiteX2611" fmla="*/ 8744423 w 11701760"/>
              <a:gd name="connsiteY2611" fmla="*/ 2687068 h 6407421"/>
              <a:gd name="connsiteX2612" fmla="*/ 2897575 w 11701760"/>
              <a:gd name="connsiteY2612" fmla="*/ 2657466 h 6407421"/>
              <a:gd name="connsiteX2613" fmla="*/ 2927178 w 11701760"/>
              <a:gd name="connsiteY2613" fmla="*/ 2657466 h 6407421"/>
              <a:gd name="connsiteX2614" fmla="*/ 2927178 w 11701760"/>
              <a:gd name="connsiteY2614" fmla="*/ 2687068 h 6407421"/>
              <a:gd name="connsiteX2615" fmla="*/ 2897575 w 11701760"/>
              <a:gd name="connsiteY2615" fmla="*/ 2687068 h 6407421"/>
              <a:gd name="connsiteX2616" fmla="*/ 8478226 w 11701760"/>
              <a:gd name="connsiteY2616" fmla="*/ 2657462 h 6407421"/>
              <a:gd name="connsiteX2617" fmla="*/ 8507828 w 11701760"/>
              <a:gd name="connsiteY2617" fmla="*/ 2657462 h 6407421"/>
              <a:gd name="connsiteX2618" fmla="*/ 8507828 w 11701760"/>
              <a:gd name="connsiteY2618" fmla="*/ 2687064 h 6407421"/>
              <a:gd name="connsiteX2619" fmla="*/ 8478226 w 11701760"/>
              <a:gd name="connsiteY2619" fmla="*/ 2687064 h 6407421"/>
              <a:gd name="connsiteX2620" fmla="*/ 2631378 w 11701760"/>
              <a:gd name="connsiteY2620" fmla="*/ 2657462 h 6407421"/>
              <a:gd name="connsiteX2621" fmla="*/ 2660980 w 11701760"/>
              <a:gd name="connsiteY2621" fmla="*/ 2657462 h 6407421"/>
              <a:gd name="connsiteX2622" fmla="*/ 2660980 w 11701760"/>
              <a:gd name="connsiteY2622" fmla="*/ 2687064 h 6407421"/>
              <a:gd name="connsiteX2623" fmla="*/ 2631378 w 11701760"/>
              <a:gd name="connsiteY2623" fmla="*/ 2687064 h 6407421"/>
              <a:gd name="connsiteX2624" fmla="*/ 8212137 w 11701760"/>
              <a:gd name="connsiteY2624" fmla="*/ 2657459 h 6407421"/>
              <a:gd name="connsiteX2625" fmla="*/ 8241740 w 11701760"/>
              <a:gd name="connsiteY2625" fmla="*/ 2657459 h 6407421"/>
              <a:gd name="connsiteX2626" fmla="*/ 8241740 w 11701760"/>
              <a:gd name="connsiteY2626" fmla="*/ 2687061 h 6407421"/>
              <a:gd name="connsiteX2627" fmla="*/ 8212137 w 11701760"/>
              <a:gd name="connsiteY2627" fmla="*/ 2687061 h 6407421"/>
              <a:gd name="connsiteX2628" fmla="*/ 2365289 w 11701760"/>
              <a:gd name="connsiteY2628" fmla="*/ 2657459 h 6407421"/>
              <a:gd name="connsiteX2629" fmla="*/ 2394892 w 11701760"/>
              <a:gd name="connsiteY2629" fmla="*/ 2657459 h 6407421"/>
              <a:gd name="connsiteX2630" fmla="*/ 2394892 w 11701760"/>
              <a:gd name="connsiteY2630" fmla="*/ 2687061 h 6407421"/>
              <a:gd name="connsiteX2631" fmla="*/ 2365289 w 11701760"/>
              <a:gd name="connsiteY2631" fmla="*/ 2687061 h 6407421"/>
              <a:gd name="connsiteX2632" fmla="*/ 7945940 w 11701760"/>
              <a:gd name="connsiteY2632" fmla="*/ 2657456 h 6407421"/>
              <a:gd name="connsiteX2633" fmla="*/ 7975543 w 11701760"/>
              <a:gd name="connsiteY2633" fmla="*/ 2657456 h 6407421"/>
              <a:gd name="connsiteX2634" fmla="*/ 7975543 w 11701760"/>
              <a:gd name="connsiteY2634" fmla="*/ 2687058 h 6407421"/>
              <a:gd name="connsiteX2635" fmla="*/ 7945940 w 11701760"/>
              <a:gd name="connsiteY2635" fmla="*/ 2687058 h 6407421"/>
              <a:gd name="connsiteX2636" fmla="*/ 2099092 w 11701760"/>
              <a:gd name="connsiteY2636" fmla="*/ 2657456 h 6407421"/>
              <a:gd name="connsiteX2637" fmla="*/ 2128695 w 11701760"/>
              <a:gd name="connsiteY2637" fmla="*/ 2657456 h 6407421"/>
              <a:gd name="connsiteX2638" fmla="*/ 2128695 w 11701760"/>
              <a:gd name="connsiteY2638" fmla="*/ 2687058 h 6407421"/>
              <a:gd name="connsiteX2639" fmla="*/ 2099092 w 11701760"/>
              <a:gd name="connsiteY2639" fmla="*/ 2687058 h 6407421"/>
              <a:gd name="connsiteX2640" fmla="*/ 7679743 w 11701760"/>
              <a:gd name="connsiteY2640" fmla="*/ 2657453 h 6407421"/>
              <a:gd name="connsiteX2641" fmla="*/ 7709346 w 11701760"/>
              <a:gd name="connsiteY2641" fmla="*/ 2657453 h 6407421"/>
              <a:gd name="connsiteX2642" fmla="*/ 7709346 w 11701760"/>
              <a:gd name="connsiteY2642" fmla="*/ 2687055 h 6407421"/>
              <a:gd name="connsiteX2643" fmla="*/ 7679743 w 11701760"/>
              <a:gd name="connsiteY2643" fmla="*/ 2687055 h 6407421"/>
              <a:gd name="connsiteX2644" fmla="*/ 1832898 w 11701760"/>
              <a:gd name="connsiteY2644" fmla="*/ 2657453 h 6407421"/>
              <a:gd name="connsiteX2645" fmla="*/ 1862498 w 11701760"/>
              <a:gd name="connsiteY2645" fmla="*/ 2657453 h 6407421"/>
              <a:gd name="connsiteX2646" fmla="*/ 1862498 w 11701760"/>
              <a:gd name="connsiteY2646" fmla="*/ 2687055 h 6407421"/>
              <a:gd name="connsiteX2647" fmla="*/ 1832898 w 11701760"/>
              <a:gd name="connsiteY2647" fmla="*/ 2687055 h 6407421"/>
              <a:gd name="connsiteX2648" fmla="*/ 7413653 w 11701760"/>
              <a:gd name="connsiteY2648" fmla="*/ 2657450 h 6407421"/>
              <a:gd name="connsiteX2649" fmla="*/ 7443256 w 11701760"/>
              <a:gd name="connsiteY2649" fmla="*/ 2657450 h 6407421"/>
              <a:gd name="connsiteX2650" fmla="*/ 7443256 w 11701760"/>
              <a:gd name="connsiteY2650" fmla="*/ 2687052 h 6407421"/>
              <a:gd name="connsiteX2651" fmla="*/ 7413653 w 11701760"/>
              <a:gd name="connsiteY2651" fmla="*/ 2687052 h 6407421"/>
              <a:gd name="connsiteX2652" fmla="*/ 1566808 w 11701760"/>
              <a:gd name="connsiteY2652" fmla="*/ 2657450 h 6407421"/>
              <a:gd name="connsiteX2653" fmla="*/ 1596409 w 11701760"/>
              <a:gd name="connsiteY2653" fmla="*/ 2657450 h 6407421"/>
              <a:gd name="connsiteX2654" fmla="*/ 1596409 w 11701760"/>
              <a:gd name="connsiteY2654" fmla="*/ 2687052 h 6407421"/>
              <a:gd name="connsiteX2655" fmla="*/ 1566808 w 11701760"/>
              <a:gd name="connsiteY2655" fmla="*/ 2687052 h 6407421"/>
              <a:gd name="connsiteX2656" fmla="*/ 7147456 w 11701760"/>
              <a:gd name="connsiteY2656" fmla="*/ 2657447 h 6407421"/>
              <a:gd name="connsiteX2657" fmla="*/ 7177058 w 11701760"/>
              <a:gd name="connsiteY2657" fmla="*/ 2657447 h 6407421"/>
              <a:gd name="connsiteX2658" fmla="*/ 7177058 w 11701760"/>
              <a:gd name="connsiteY2658" fmla="*/ 2687049 h 6407421"/>
              <a:gd name="connsiteX2659" fmla="*/ 7147456 w 11701760"/>
              <a:gd name="connsiteY2659" fmla="*/ 2687049 h 6407421"/>
              <a:gd name="connsiteX2660" fmla="*/ 1300611 w 11701760"/>
              <a:gd name="connsiteY2660" fmla="*/ 2657447 h 6407421"/>
              <a:gd name="connsiteX2661" fmla="*/ 1330213 w 11701760"/>
              <a:gd name="connsiteY2661" fmla="*/ 2657447 h 6407421"/>
              <a:gd name="connsiteX2662" fmla="*/ 1330213 w 11701760"/>
              <a:gd name="connsiteY2662" fmla="*/ 2687049 h 6407421"/>
              <a:gd name="connsiteX2663" fmla="*/ 1300611 w 11701760"/>
              <a:gd name="connsiteY2663" fmla="*/ 2687049 h 6407421"/>
              <a:gd name="connsiteX2664" fmla="*/ 6881367 w 11701760"/>
              <a:gd name="connsiteY2664" fmla="*/ 2657443 h 6407421"/>
              <a:gd name="connsiteX2665" fmla="*/ 6910970 w 11701760"/>
              <a:gd name="connsiteY2665" fmla="*/ 2657443 h 6407421"/>
              <a:gd name="connsiteX2666" fmla="*/ 6910970 w 11701760"/>
              <a:gd name="connsiteY2666" fmla="*/ 2687045 h 6407421"/>
              <a:gd name="connsiteX2667" fmla="*/ 6881367 w 11701760"/>
              <a:gd name="connsiteY2667" fmla="*/ 2687045 h 6407421"/>
              <a:gd name="connsiteX2668" fmla="*/ 1034520 w 11701760"/>
              <a:gd name="connsiteY2668" fmla="*/ 2657443 h 6407421"/>
              <a:gd name="connsiteX2669" fmla="*/ 1064123 w 11701760"/>
              <a:gd name="connsiteY2669" fmla="*/ 2657443 h 6407421"/>
              <a:gd name="connsiteX2670" fmla="*/ 1064123 w 11701760"/>
              <a:gd name="connsiteY2670" fmla="*/ 2687045 h 6407421"/>
              <a:gd name="connsiteX2671" fmla="*/ 1034520 w 11701760"/>
              <a:gd name="connsiteY2671" fmla="*/ 2687045 h 6407421"/>
              <a:gd name="connsiteX2672" fmla="*/ 6615170 w 11701760"/>
              <a:gd name="connsiteY2672" fmla="*/ 2657440 h 6407421"/>
              <a:gd name="connsiteX2673" fmla="*/ 6644773 w 11701760"/>
              <a:gd name="connsiteY2673" fmla="*/ 2657440 h 6407421"/>
              <a:gd name="connsiteX2674" fmla="*/ 6644773 w 11701760"/>
              <a:gd name="connsiteY2674" fmla="*/ 2687042 h 6407421"/>
              <a:gd name="connsiteX2675" fmla="*/ 6615170 w 11701760"/>
              <a:gd name="connsiteY2675" fmla="*/ 2687042 h 6407421"/>
              <a:gd name="connsiteX2676" fmla="*/ 768327 w 11701760"/>
              <a:gd name="connsiteY2676" fmla="*/ 2657440 h 6407421"/>
              <a:gd name="connsiteX2677" fmla="*/ 797926 w 11701760"/>
              <a:gd name="connsiteY2677" fmla="*/ 2657440 h 6407421"/>
              <a:gd name="connsiteX2678" fmla="*/ 797926 w 11701760"/>
              <a:gd name="connsiteY2678" fmla="*/ 2687042 h 6407421"/>
              <a:gd name="connsiteX2679" fmla="*/ 768327 w 11701760"/>
              <a:gd name="connsiteY2679" fmla="*/ 2687042 h 6407421"/>
              <a:gd name="connsiteX2680" fmla="*/ 6349081 w 11701760"/>
              <a:gd name="connsiteY2680" fmla="*/ 2657437 h 6407421"/>
              <a:gd name="connsiteX2681" fmla="*/ 6378683 w 11701760"/>
              <a:gd name="connsiteY2681" fmla="*/ 2657437 h 6407421"/>
              <a:gd name="connsiteX2682" fmla="*/ 6378683 w 11701760"/>
              <a:gd name="connsiteY2682" fmla="*/ 2687039 h 6407421"/>
              <a:gd name="connsiteX2683" fmla="*/ 6349081 w 11701760"/>
              <a:gd name="connsiteY2683" fmla="*/ 2687039 h 6407421"/>
              <a:gd name="connsiteX2684" fmla="*/ 502236 w 11701760"/>
              <a:gd name="connsiteY2684" fmla="*/ 2657437 h 6407421"/>
              <a:gd name="connsiteX2685" fmla="*/ 531838 w 11701760"/>
              <a:gd name="connsiteY2685" fmla="*/ 2657437 h 6407421"/>
              <a:gd name="connsiteX2686" fmla="*/ 531838 w 11701760"/>
              <a:gd name="connsiteY2686" fmla="*/ 2687039 h 6407421"/>
              <a:gd name="connsiteX2687" fmla="*/ 502236 w 11701760"/>
              <a:gd name="connsiteY2687" fmla="*/ 2687039 h 6407421"/>
              <a:gd name="connsiteX2688" fmla="*/ 6082884 w 11701760"/>
              <a:gd name="connsiteY2688" fmla="*/ 2657434 h 6407421"/>
              <a:gd name="connsiteX2689" fmla="*/ 6112486 w 11701760"/>
              <a:gd name="connsiteY2689" fmla="*/ 2657434 h 6407421"/>
              <a:gd name="connsiteX2690" fmla="*/ 6112486 w 11701760"/>
              <a:gd name="connsiteY2690" fmla="*/ 2687036 h 6407421"/>
              <a:gd name="connsiteX2691" fmla="*/ 6082884 w 11701760"/>
              <a:gd name="connsiteY2691" fmla="*/ 2687036 h 6407421"/>
              <a:gd name="connsiteX2692" fmla="*/ 236037 w 11701760"/>
              <a:gd name="connsiteY2692" fmla="*/ 2657434 h 6407421"/>
              <a:gd name="connsiteX2693" fmla="*/ 265639 w 11701760"/>
              <a:gd name="connsiteY2693" fmla="*/ 2657434 h 6407421"/>
              <a:gd name="connsiteX2694" fmla="*/ 265639 w 11701760"/>
              <a:gd name="connsiteY2694" fmla="*/ 2687036 h 6407421"/>
              <a:gd name="connsiteX2695" fmla="*/ 236037 w 11701760"/>
              <a:gd name="connsiteY2695" fmla="*/ 2687036 h 6407421"/>
              <a:gd name="connsiteX2696" fmla="*/ 1 w 11701760"/>
              <a:gd name="connsiteY2696" fmla="*/ 2657434 h 6407421"/>
              <a:gd name="connsiteX2697" fmla="*/ 29603 w 11701760"/>
              <a:gd name="connsiteY2697" fmla="*/ 2657434 h 6407421"/>
              <a:gd name="connsiteX2698" fmla="*/ 29603 w 11701760"/>
              <a:gd name="connsiteY2698" fmla="*/ 2687036 h 6407421"/>
              <a:gd name="connsiteX2699" fmla="*/ 1 w 11701760"/>
              <a:gd name="connsiteY2699" fmla="*/ 2687036 h 6407421"/>
              <a:gd name="connsiteX2700" fmla="*/ 11672158 w 11701760"/>
              <a:gd name="connsiteY2700" fmla="*/ 2391735 h 6407421"/>
              <a:gd name="connsiteX2701" fmla="*/ 11701760 w 11701760"/>
              <a:gd name="connsiteY2701" fmla="*/ 2391735 h 6407421"/>
              <a:gd name="connsiteX2702" fmla="*/ 11701760 w 11701760"/>
              <a:gd name="connsiteY2702" fmla="*/ 2421368 h 6407421"/>
              <a:gd name="connsiteX2703" fmla="*/ 11672158 w 11701760"/>
              <a:gd name="connsiteY2703" fmla="*/ 2421368 h 6407421"/>
              <a:gd name="connsiteX2704" fmla="*/ 5825310 w 11701760"/>
              <a:gd name="connsiteY2704" fmla="*/ 2391735 h 6407421"/>
              <a:gd name="connsiteX2705" fmla="*/ 5854913 w 11701760"/>
              <a:gd name="connsiteY2705" fmla="*/ 2391735 h 6407421"/>
              <a:gd name="connsiteX2706" fmla="*/ 5854913 w 11701760"/>
              <a:gd name="connsiteY2706" fmla="*/ 2421368 h 6407421"/>
              <a:gd name="connsiteX2707" fmla="*/ 5825310 w 11701760"/>
              <a:gd name="connsiteY2707" fmla="*/ 2421368 h 6407421"/>
              <a:gd name="connsiteX2708" fmla="*/ 11405961 w 11701760"/>
              <a:gd name="connsiteY2708" fmla="*/ 2391732 h 6407421"/>
              <a:gd name="connsiteX2709" fmla="*/ 11435563 w 11701760"/>
              <a:gd name="connsiteY2709" fmla="*/ 2391732 h 6407421"/>
              <a:gd name="connsiteX2710" fmla="*/ 11435563 w 11701760"/>
              <a:gd name="connsiteY2710" fmla="*/ 2421368 h 6407421"/>
              <a:gd name="connsiteX2711" fmla="*/ 11405961 w 11701760"/>
              <a:gd name="connsiteY2711" fmla="*/ 2421368 h 6407421"/>
              <a:gd name="connsiteX2712" fmla="*/ 5559113 w 11701760"/>
              <a:gd name="connsiteY2712" fmla="*/ 2391732 h 6407421"/>
              <a:gd name="connsiteX2713" fmla="*/ 5588715 w 11701760"/>
              <a:gd name="connsiteY2713" fmla="*/ 2391732 h 6407421"/>
              <a:gd name="connsiteX2714" fmla="*/ 5588715 w 11701760"/>
              <a:gd name="connsiteY2714" fmla="*/ 2421368 h 6407421"/>
              <a:gd name="connsiteX2715" fmla="*/ 5559113 w 11701760"/>
              <a:gd name="connsiteY2715" fmla="*/ 2421368 h 6407421"/>
              <a:gd name="connsiteX2716" fmla="*/ 11139872 w 11701760"/>
              <a:gd name="connsiteY2716" fmla="*/ 2391729 h 6407421"/>
              <a:gd name="connsiteX2717" fmla="*/ 11169474 w 11701760"/>
              <a:gd name="connsiteY2717" fmla="*/ 2391729 h 6407421"/>
              <a:gd name="connsiteX2718" fmla="*/ 11169474 w 11701760"/>
              <a:gd name="connsiteY2718" fmla="*/ 2421364 h 6407421"/>
              <a:gd name="connsiteX2719" fmla="*/ 11139872 w 11701760"/>
              <a:gd name="connsiteY2719" fmla="*/ 2421364 h 6407421"/>
              <a:gd name="connsiteX2720" fmla="*/ 5293024 w 11701760"/>
              <a:gd name="connsiteY2720" fmla="*/ 2391729 h 6407421"/>
              <a:gd name="connsiteX2721" fmla="*/ 5322626 w 11701760"/>
              <a:gd name="connsiteY2721" fmla="*/ 2391729 h 6407421"/>
              <a:gd name="connsiteX2722" fmla="*/ 5322626 w 11701760"/>
              <a:gd name="connsiteY2722" fmla="*/ 2421364 h 6407421"/>
              <a:gd name="connsiteX2723" fmla="*/ 5293024 w 11701760"/>
              <a:gd name="connsiteY2723" fmla="*/ 2421364 h 6407421"/>
              <a:gd name="connsiteX2724" fmla="*/ 10873675 w 11701760"/>
              <a:gd name="connsiteY2724" fmla="*/ 2391726 h 6407421"/>
              <a:gd name="connsiteX2725" fmla="*/ 10903277 w 11701760"/>
              <a:gd name="connsiteY2725" fmla="*/ 2391726 h 6407421"/>
              <a:gd name="connsiteX2726" fmla="*/ 10903277 w 11701760"/>
              <a:gd name="connsiteY2726" fmla="*/ 2421359 h 6407421"/>
              <a:gd name="connsiteX2727" fmla="*/ 10873675 w 11701760"/>
              <a:gd name="connsiteY2727" fmla="*/ 2421359 h 6407421"/>
              <a:gd name="connsiteX2728" fmla="*/ 5026827 w 11701760"/>
              <a:gd name="connsiteY2728" fmla="*/ 2391726 h 6407421"/>
              <a:gd name="connsiteX2729" fmla="*/ 5056429 w 11701760"/>
              <a:gd name="connsiteY2729" fmla="*/ 2391726 h 6407421"/>
              <a:gd name="connsiteX2730" fmla="*/ 5056429 w 11701760"/>
              <a:gd name="connsiteY2730" fmla="*/ 2421359 h 6407421"/>
              <a:gd name="connsiteX2731" fmla="*/ 5026827 w 11701760"/>
              <a:gd name="connsiteY2731" fmla="*/ 2421359 h 6407421"/>
              <a:gd name="connsiteX2732" fmla="*/ 10607478 w 11701760"/>
              <a:gd name="connsiteY2732" fmla="*/ 2391725 h 6407421"/>
              <a:gd name="connsiteX2733" fmla="*/ 10637188 w 11701760"/>
              <a:gd name="connsiteY2733" fmla="*/ 2391725 h 6407421"/>
              <a:gd name="connsiteX2734" fmla="*/ 10637188 w 11701760"/>
              <a:gd name="connsiteY2734" fmla="*/ 2421354 h 6407421"/>
              <a:gd name="connsiteX2735" fmla="*/ 10607478 w 11701760"/>
              <a:gd name="connsiteY2735" fmla="*/ 2421354 h 6407421"/>
              <a:gd name="connsiteX2736" fmla="*/ 4760630 w 11701760"/>
              <a:gd name="connsiteY2736" fmla="*/ 2391725 h 6407421"/>
              <a:gd name="connsiteX2737" fmla="*/ 4790340 w 11701760"/>
              <a:gd name="connsiteY2737" fmla="*/ 2391725 h 6407421"/>
              <a:gd name="connsiteX2738" fmla="*/ 4790340 w 11701760"/>
              <a:gd name="connsiteY2738" fmla="*/ 2421354 h 6407421"/>
              <a:gd name="connsiteX2739" fmla="*/ 4760630 w 11701760"/>
              <a:gd name="connsiteY2739" fmla="*/ 2421354 h 6407421"/>
              <a:gd name="connsiteX2740" fmla="*/ 10341389 w 11701760"/>
              <a:gd name="connsiteY2740" fmla="*/ 2391720 h 6407421"/>
              <a:gd name="connsiteX2741" fmla="*/ 10370992 w 11701760"/>
              <a:gd name="connsiteY2741" fmla="*/ 2391720 h 6407421"/>
              <a:gd name="connsiteX2742" fmla="*/ 10370992 w 11701760"/>
              <a:gd name="connsiteY2742" fmla="*/ 2421349 h 6407421"/>
              <a:gd name="connsiteX2743" fmla="*/ 10341389 w 11701760"/>
              <a:gd name="connsiteY2743" fmla="*/ 2421349 h 6407421"/>
              <a:gd name="connsiteX2744" fmla="*/ 4494541 w 11701760"/>
              <a:gd name="connsiteY2744" fmla="*/ 2391720 h 6407421"/>
              <a:gd name="connsiteX2745" fmla="*/ 4524144 w 11701760"/>
              <a:gd name="connsiteY2745" fmla="*/ 2391720 h 6407421"/>
              <a:gd name="connsiteX2746" fmla="*/ 4524144 w 11701760"/>
              <a:gd name="connsiteY2746" fmla="*/ 2421349 h 6407421"/>
              <a:gd name="connsiteX2747" fmla="*/ 4494541 w 11701760"/>
              <a:gd name="connsiteY2747" fmla="*/ 2421349 h 6407421"/>
              <a:gd name="connsiteX2748" fmla="*/ 10075192 w 11701760"/>
              <a:gd name="connsiteY2748" fmla="*/ 2391716 h 6407421"/>
              <a:gd name="connsiteX2749" fmla="*/ 10104794 w 11701760"/>
              <a:gd name="connsiteY2749" fmla="*/ 2391716 h 6407421"/>
              <a:gd name="connsiteX2750" fmla="*/ 10104794 w 11701760"/>
              <a:gd name="connsiteY2750" fmla="*/ 2421345 h 6407421"/>
              <a:gd name="connsiteX2751" fmla="*/ 10075192 w 11701760"/>
              <a:gd name="connsiteY2751" fmla="*/ 2421345 h 6407421"/>
              <a:gd name="connsiteX2752" fmla="*/ 4228344 w 11701760"/>
              <a:gd name="connsiteY2752" fmla="*/ 2391716 h 6407421"/>
              <a:gd name="connsiteX2753" fmla="*/ 4257946 w 11701760"/>
              <a:gd name="connsiteY2753" fmla="*/ 2391716 h 6407421"/>
              <a:gd name="connsiteX2754" fmla="*/ 4257946 w 11701760"/>
              <a:gd name="connsiteY2754" fmla="*/ 2421345 h 6407421"/>
              <a:gd name="connsiteX2755" fmla="*/ 4228344 w 11701760"/>
              <a:gd name="connsiteY2755" fmla="*/ 2421345 h 6407421"/>
              <a:gd name="connsiteX2756" fmla="*/ 9809103 w 11701760"/>
              <a:gd name="connsiteY2756" fmla="*/ 2391713 h 6407421"/>
              <a:gd name="connsiteX2757" fmla="*/ 9838705 w 11701760"/>
              <a:gd name="connsiteY2757" fmla="*/ 2391713 h 6407421"/>
              <a:gd name="connsiteX2758" fmla="*/ 9838705 w 11701760"/>
              <a:gd name="connsiteY2758" fmla="*/ 2421340 h 6407421"/>
              <a:gd name="connsiteX2759" fmla="*/ 9809103 w 11701760"/>
              <a:gd name="connsiteY2759" fmla="*/ 2421340 h 6407421"/>
              <a:gd name="connsiteX2760" fmla="*/ 3962255 w 11701760"/>
              <a:gd name="connsiteY2760" fmla="*/ 2391713 h 6407421"/>
              <a:gd name="connsiteX2761" fmla="*/ 3991857 w 11701760"/>
              <a:gd name="connsiteY2761" fmla="*/ 2391713 h 6407421"/>
              <a:gd name="connsiteX2762" fmla="*/ 3991857 w 11701760"/>
              <a:gd name="connsiteY2762" fmla="*/ 2421340 h 6407421"/>
              <a:gd name="connsiteX2763" fmla="*/ 3962255 w 11701760"/>
              <a:gd name="connsiteY2763" fmla="*/ 2421340 h 6407421"/>
              <a:gd name="connsiteX2764" fmla="*/ 9542906 w 11701760"/>
              <a:gd name="connsiteY2764" fmla="*/ 2391710 h 6407421"/>
              <a:gd name="connsiteX2765" fmla="*/ 9572509 w 11701760"/>
              <a:gd name="connsiteY2765" fmla="*/ 2391710 h 6407421"/>
              <a:gd name="connsiteX2766" fmla="*/ 9572509 w 11701760"/>
              <a:gd name="connsiteY2766" fmla="*/ 2421336 h 6407421"/>
              <a:gd name="connsiteX2767" fmla="*/ 9542906 w 11701760"/>
              <a:gd name="connsiteY2767" fmla="*/ 2421336 h 6407421"/>
              <a:gd name="connsiteX2768" fmla="*/ 3696058 w 11701760"/>
              <a:gd name="connsiteY2768" fmla="*/ 2391710 h 6407421"/>
              <a:gd name="connsiteX2769" fmla="*/ 3725661 w 11701760"/>
              <a:gd name="connsiteY2769" fmla="*/ 2391710 h 6407421"/>
              <a:gd name="connsiteX2770" fmla="*/ 3725661 w 11701760"/>
              <a:gd name="connsiteY2770" fmla="*/ 2421336 h 6407421"/>
              <a:gd name="connsiteX2771" fmla="*/ 3696058 w 11701760"/>
              <a:gd name="connsiteY2771" fmla="*/ 2421336 h 6407421"/>
              <a:gd name="connsiteX2772" fmla="*/ 9276817 w 11701760"/>
              <a:gd name="connsiteY2772" fmla="*/ 2391707 h 6407421"/>
              <a:gd name="connsiteX2773" fmla="*/ 9306420 w 11701760"/>
              <a:gd name="connsiteY2773" fmla="*/ 2391707 h 6407421"/>
              <a:gd name="connsiteX2774" fmla="*/ 9306420 w 11701760"/>
              <a:gd name="connsiteY2774" fmla="*/ 2421331 h 6407421"/>
              <a:gd name="connsiteX2775" fmla="*/ 9276817 w 11701760"/>
              <a:gd name="connsiteY2775" fmla="*/ 2421331 h 6407421"/>
              <a:gd name="connsiteX2776" fmla="*/ 3429969 w 11701760"/>
              <a:gd name="connsiteY2776" fmla="*/ 2391707 h 6407421"/>
              <a:gd name="connsiteX2777" fmla="*/ 3459572 w 11701760"/>
              <a:gd name="connsiteY2777" fmla="*/ 2391707 h 6407421"/>
              <a:gd name="connsiteX2778" fmla="*/ 3459572 w 11701760"/>
              <a:gd name="connsiteY2778" fmla="*/ 2421331 h 6407421"/>
              <a:gd name="connsiteX2779" fmla="*/ 3429969 w 11701760"/>
              <a:gd name="connsiteY2779" fmla="*/ 2421331 h 6407421"/>
              <a:gd name="connsiteX2780" fmla="*/ 9010620 w 11701760"/>
              <a:gd name="connsiteY2780" fmla="*/ 2391706 h 6407421"/>
              <a:gd name="connsiteX2781" fmla="*/ 9040222 w 11701760"/>
              <a:gd name="connsiteY2781" fmla="*/ 2391706 h 6407421"/>
              <a:gd name="connsiteX2782" fmla="*/ 9040222 w 11701760"/>
              <a:gd name="connsiteY2782" fmla="*/ 2421326 h 6407421"/>
              <a:gd name="connsiteX2783" fmla="*/ 9010620 w 11701760"/>
              <a:gd name="connsiteY2783" fmla="*/ 2421326 h 6407421"/>
              <a:gd name="connsiteX2784" fmla="*/ 3163772 w 11701760"/>
              <a:gd name="connsiteY2784" fmla="*/ 2391706 h 6407421"/>
              <a:gd name="connsiteX2785" fmla="*/ 3193374 w 11701760"/>
              <a:gd name="connsiteY2785" fmla="*/ 2391706 h 6407421"/>
              <a:gd name="connsiteX2786" fmla="*/ 3193374 w 11701760"/>
              <a:gd name="connsiteY2786" fmla="*/ 2421326 h 6407421"/>
              <a:gd name="connsiteX2787" fmla="*/ 3163772 w 11701760"/>
              <a:gd name="connsiteY2787" fmla="*/ 2421326 h 6407421"/>
              <a:gd name="connsiteX2788" fmla="*/ 8744423 w 11701760"/>
              <a:gd name="connsiteY2788" fmla="*/ 2391701 h 6407421"/>
              <a:gd name="connsiteX2789" fmla="*/ 8774026 w 11701760"/>
              <a:gd name="connsiteY2789" fmla="*/ 2391701 h 6407421"/>
              <a:gd name="connsiteX2790" fmla="*/ 8774026 w 11701760"/>
              <a:gd name="connsiteY2790" fmla="*/ 2421321 h 6407421"/>
              <a:gd name="connsiteX2791" fmla="*/ 8744423 w 11701760"/>
              <a:gd name="connsiteY2791" fmla="*/ 2421321 h 6407421"/>
              <a:gd name="connsiteX2792" fmla="*/ 2897575 w 11701760"/>
              <a:gd name="connsiteY2792" fmla="*/ 2391701 h 6407421"/>
              <a:gd name="connsiteX2793" fmla="*/ 2927178 w 11701760"/>
              <a:gd name="connsiteY2793" fmla="*/ 2391701 h 6407421"/>
              <a:gd name="connsiteX2794" fmla="*/ 2927178 w 11701760"/>
              <a:gd name="connsiteY2794" fmla="*/ 2421321 h 6407421"/>
              <a:gd name="connsiteX2795" fmla="*/ 2897575 w 11701760"/>
              <a:gd name="connsiteY2795" fmla="*/ 2421321 h 6407421"/>
              <a:gd name="connsiteX2796" fmla="*/ 8478226 w 11701760"/>
              <a:gd name="connsiteY2796" fmla="*/ 2391697 h 6407421"/>
              <a:gd name="connsiteX2797" fmla="*/ 8507828 w 11701760"/>
              <a:gd name="connsiteY2797" fmla="*/ 2391697 h 6407421"/>
              <a:gd name="connsiteX2798" fmla="*/ 8507828 w 11701760"/>
              <a:gd name="connsiteY2798" fmla="*/ 2421317 h 6407421"/>
              <a:gd name="connsiteX2799" fmla="*/ 8478226 w 11701760"/>
              <a:gd name="connsiteY2799" fmla="*/ 2421317 h 6407421"/>
              <a:gd name="connsiteX2800" fmla="*/ 2631378 w 11701760"/>
              <a:gd name="connsiteY2800" fmla="*/ 2391697 h 6407421"/>
              <a:gd name="connsiteX2801" fmla="*/ 2660980 w 11701760"/>
              <a:gd name="connsiteY2801" fmla="*/ 2391697 h 6407421"/>
              <a:gd name="connsiteX2802" fmla="*/ 2660980 w 11701760"/>
              <a:gd name="connsiteY2802" fmla="*/ 2421317 h 6407421"/>
              <a:gd name="connsiteX2803" fmla="*/ 2631378 w 11701760"/>
              <a:gd name="connsiteY2803" fmla="*/ 2421317 h 6407421"/>
              <a:gd name="connsiteX2804" fmla="*/ 8212137 w 11701760"/>
              <a:gd name="connsiteY2804" fmla="*/ 2391694 h 6407421"/>
              <a:gd name="connsiteX2805" fmla="*/ 8241740 w 11701760"/>
              <a:gd name="connsiteY2805" fmla="*/ 2391694 h 6407421"/>
              <a:gd name="connsiteX2806" fmla="*/ 8241740 w 11701760"/>
              <a:gd name="connsiteY2806" fmla="*/ 2421312 h 6407421"/>
              <a:gd name="connsiteX2807" fmla="*/ 8212137 w 11701760"/>
              <a:gd name="connsiteY2807" fmla="*/ 2421312 h 6407421"/>
              <a:gd name="connsiteX2808" fmla="*/ 2365289 w 11701760"/>
              <a:gd name="connsiteY2808" fmla="*/ 2391694 h 6407421"/>
              <a:gd name="connsiteX2809" fmla="*/ 2394892 w 11701760"/>
              <a:gd name="connsiteY2809" fmla="*/ 2391694 h 6407421"/>
              <a:gd name="connsiteX2810" fmla="*/ 2394892 w 11701760"/>
              <a:gd name="connsiteY2810" fmla="*/ 2421312 h 6407421"/>
              <a:gd name="connsiteX2811" fmla="*/ 2365289 w 11701760"/>
              <a:gd name="connsiteY2811" fmla="*/ 2421312 h 6407421"/>
              <a:gd name="connsiteX2812" fmla="*/ 7945940 w 11701760"/>
              <a:gd name="connsiteY2812" fmla="*/ 2391691 h 6407421"/>
              <a:gd name="connsiteX2813" fmla="*/ 7975543 w 11701760"/>
              <a:gd name="connsiteY2813" fmla="*/ 2391691 h 6407421"/>
              <a:gd name="connsiteX2814" fmla="*/ 7975543 w 11701760"/>
              <a:gd name="connsiteY2814" fmla="*/ 2421307 h 6407421"/>
              <a:gd name="connsiteX2815" fmla="*/ 7945940 w 11701760"/>
              <a:gd name="connsiteY2815" fmla="*/ 2421307 h 6407421"/>
              <a:gd name="connsiteX2816" fmla="*/ 2099092 w 11701760"/>
              <a:gd name="connsiteY2816" fmla="*/ 2391691 h 6407421"/>
              <a:gd name="connsiteX2817" fmla="*/ 2128695 w 11701760"/>
              <a:gd name="connsiteY2817" fmla="*/ 2391691 h 6407421"/>
              <a:gd name="connsiteX2818" fmla="*/ 2128695 w 11701760"/>
              <a:gd name="connsiteY2818" fmla="*/ 2421307 h 6407421"/>
              <a:gd name="connsiteX2819" fmla="*/ 2099092 w 11701760"/>
              <a:gd name="connsiteY2819" fmla="*/ 2421307 h 6407421"/>
              <a:gd name="connsiteX2820" fmla="*/ 7679743 w 11701760"/>
              <a:gd name="connsiteY2820" fmla="*/ 2391688 h 6407421"/>
              <a:gd name="connsiteX2821" fmla="*/ 7709346 w 11701760"/>
              <a:gd name="connsiteY2821" fmla="*/ 2391688 h 6407421"/>
              <a:gd name="connsiteX2822" fmla="*/ 7709346 w 11701760"/>
              <a:gd name="connsiteY2822" fmla="*/ 2421302 h 6407421"/>
              <a:gd name="connsiteX2823" fmla="*/ 7679743 w 11701760"/>
              <a:gd name="connsiteY2823" fmla="*/ 2421302 h 6407421"/>
              <a:gd name="connsiteX2824" fmla="*/ 1832898 w 11701760"/>
              <a:gd name="connsiteY2824" fmla="*/ 2391688 h 6407421"/>
              <a:gd name="connsiteX2825" fmla="*/ 1862498 w 11701760"/>
              <a:gd name="connsiteY2825" fmla="*/ 2391688 h 6407421"/>
              <a:gd name="connsiteX2826" fmla="*/ 1862498 w 11701760"/>
              <a:gd name="connsiteY2826" fmla="*/ 2421302 h 6407421"/>
              <a:gd name="connsiteX2827" fmla="*/ 1832898 w 11701760"/>
              <a:gd name="connsiteY2827" fmla="*/ 2421302 h 6407421"/>
              <a:gd name="connsiteX2828" fmla="*/ 7413653 w 11701760"/>
              <a:gd name="connsiteY2828" fmla="*/ 2391687 h 6407421"/>
              <a:gd name="connsiteX2829" fmla="*/ 7443256 w 11701760"/>
              <a:gd name="connsiteY2829" fmla="*/ 2391687 h 6407421"/>
              <a:gd name="connsiteX2830" fmla="*/ 7443256 w 11701760"/>
              <a:gd name="connsiteY2830" fmla="*/ 2421298 h 6407421"/>
              <a:gd name="connsiteX2831" fmla="*/ 7413653 w 11701760"/>
              <a:gd name="connsiteY2831" fmla="*/ 2421298 h 6407421"/>
              <a:gd name="connsiteX2832" fmla="*/ 1566808 w 11701760"/>
              <a:gd name="connsiteY2832" fmla="*/ 2391687 h 6407421"/>
              <a:gd name="connsiteX2833" fmla="*/ 1596409 w 11701760"/>
              <a:gd name="connsiteY2833" fmla="*/ 2391687 h 6407421"/>
              <a:gd name="connsiteX2834" fmla="*/ 1596409 w 11701760"/>
              <a:gd name="connsiteY2834" fmla="*/ 2421298 h 6407421"/>
              <a:gd name="connsiteX2835" fmla="*/ 1566808 w 11701760"/>
              <a:gd name="connsiteY2835" fmla="*/ 2421298 h 6407421"/>
              <a:gd name="connsiteX2836" fmla="*/ 7147456 w 11701760"/>
              <a:gd name="connsiteY2836" fmla="*/ 2391682 h 6407421"/>
              <a:gd name="connsiteX2837" fmla="*/ 7177058 w 11701760"/>
              <a:gd name="connsiteY2837" fmla="*/ 2391682 h 6407421"/>
              <a:gd name="connsiteX2838" fmla="*/ 7177058 w 11701760"/>
              <a:gd name="connsiteY2838" fmla="*/ 2421293 h 6407421"/>
              <a:gd name="connsiteX2839" fmla="*/ 7147456 w 11701760"/>
              <a:gd name="connsiteY2839" fmla="*/ 2421293 h 6407421"/>
              <a:gd name="connsiteX2840" fmla="*/ 1300611 w 11701760"/>
              <a:gd name="connsiteY2840" fmla="*/ 2391682 h 6407421"/>
              <a:gd name="connsiteX2841" fmla="*/ 1330213 w 11701760"/>
              <a:gd name="connsiteY2841" fmla="*/ 2391682 h 6407421"/>
              <a:gd name="connsiteX2842" fmla="*/ 1330213 w 11701760"/>
              <a:gd name="connsiteY2842" fmla="*/ 2421293 h 6407421"/>
              <a:gd name="connsiteX2843" fmla="*/ 1300611 w 11701760"/>
              <a:gd name="connsiteY2843" fmla="*/ 2421293 h 6407421"/>
              <a:gd name="connsiteX2844" fmla="*/ 6881367 w 11701760"/>
              <a:gd name="connsiteY2844" fmla="*/ 2391678 h 6407421"/>
              <a:gd name="connsiteX2845" fmla="*/ 6910970 w 11701760"/>
              <a:gd name="connsiteY2845" fmla="*/ 2391678 h 6407421"/>
              <a:gd name="connsiteX2846" fmla="*/ 6910970 w 11701760"/>
              <a:gd name="connsiteY2846" fmla="*/ 2421288 h 6407421"/>
              <a:gd name="connsiteX2847" fmla="*/ 6881367 w 11701760"/>
              <a:gd name="connsiteY2847" fmla="*/ 2421288 h 6407421"/>
              <a:gd name="connsiteX2848" fmla="*/ 1034520 w 11701760"/>
              <a:gd name="connsiteY2848" fmla="*/ 2391678 h 6407421"/>
              <a:gd name="connsiteX2849" fmla="*/ 1064123 w 11701760"/>
              <a:gd name="connsiteY2849" fmla="*/ 2391678 h 6407421"/>
              <a:gd name="connsiteX2850" fmla="*/ 1064123 w 11701760"/>
              <a:gd name="connsiteY2850" fmla="*/ 2421288 h 6407421"/>
              <a:gd name="connsiteX2851" fmla="*/ 1034520 w 11701760"/>
              <a:gd name="connsiteY2851" fmla="*/ 2421288 h 6407421"/>
              <a:gd name="connsiteX2852" fmla="*/ 6615170 w 11701760"/>
              <a:gd name="connsiteY2852" fmla="*/ 2391675 h 6407421"/>
              <a:gd name="connsiteX2853" fmla="*/ 6644773 w 11701760"/>
              <a:gd name="connsiteY2853" fmla="*/ 2391675 h 6407421"/>
              <a:gd name="connsiteX2854" fmla="*/ 6644773 w 11701760"/>
              <a:gd name="connsiteY2854" fmla="*/ 2421283 h 6407421"/>
              <a:gd name="connsiteX2855" fmla="*/ 6615170 w 11701760"/>
              <a:gd name="connsiteY2855" fmla="*/ 2421283 h 6407421"/>
              <a:gd name="connsiteX2856" fmla="*/ 768327 w 11701760"/>
              <a:gd name="connsiteY2856" fmla="*/ 2391675 h 6407421"/>
              <a:gd name="connsiteX2857" fmla="*/ 797926 w 11701760"/>
              <a:gd name="connsiteY2857" fmla="*/ 2391675 h 6407421"/>
              <a:gd name="connsiteX2858" fmla="*/ 797926 w 11701760"/>
              <a:gd name="connsiteY2858" fmla="*/ 2421283 h 6407421"/>
              <a:gd name="connsiteX2859" fmla="*/ 768327 w 11701760"/>
              <a:gd name="connsiteY2859" fmla="*/ 2421283 h 6407421"/>
              <a:gd name="connsiteX2860" fmla="*/ 6349081 w 11701760"/>
              <a:gd name="connsiteY2860" fmla="*/ 2391672 h 6407421"/>
              <a:gd name="connsiteX2861" fmla="*/ 6378683 w 11701760"/>
              <a:gd name="connsiteY2861" fmla="*/ 2391672 h 6407421"/>
              <a:gd name="connsiteX2862" fmla="*/ 6378683 w 11701760"/>
              <a:gd name="connsiteY2862" fmla="*/ 2421278 h 6407421"/>
              <a:gd name="connsiteX2863" fmla="*/ 6349081 w 11701760"/>
              <a:gd name="connsiteY2863" fmla="*/ 2421278 h 6407421"/>
              <a:gd name="connsiteX2864" fmla="*/ 502236 w 11701760"/>
              <a:gd name="connsiteY2864" fmla="*/ 2391672 h 6407421"/>
              <a:gd name="connsiteX2865" fmla="*/ 531838 w 11701760"/>
              <a:gd name="connsiteY2865" fmla="*/ 2391672 h 6407421"/>
              <a:gd name="connsiteX2866" fmla="*/ 531838 w 11701760"/>
              <a:gd name="connsiteY2866" fmla="*/ 2421278 h 6407421"/>
              <a:gd name="connsiteX2867" fmla="*/ 502236 w 11701760"/>
              <a:gd name="connsiteY2867" fmla="*/ 2421278 h 6407421"/>
              <a:gd name="connsiteX2868" fmla="*/ 6082884 w 11701760"/>
              <a:gd name="connsiteY2868" fmla="*/ 2391669 h 6407421"/>
              <a:gd name="connsiteX2869" fmla="*/ 6112486 w 11701760"/>
              <a:gd name="connsiteY2869" fmla="*/ 2391669 h 6407421"/>
              <a:gd name="connsiteX2870" fmla="*/ 6112486 w 11701760"/>
              <a:gd name="connsiteY2870" fmla="*/ 2421272 h 6407421"/>
              <a:gd name="connsiteX2871" fmla="*/ 6082884 w 11701760"/>
              <a:gd name="connsiteY2871" fmla="*/ 2421272 h 6407421"/>
              <a:gd name="connsiteX2872" fmla="*/ 236037 w 11701760"/>
              <a:gd name="connsiteY2872" fmla="*/ 2391669 h 6407421"/>
              <a:gd name="connsiteX2873" fmla="*/ 265639 w 11701760"/>
              <a:gd name="connsiteY2873" fmla="*/ 2391669 h 6407421"/>
              <a:gd name="connsiteX2874" fmla="*/ 265639 w 11701760"/>
              <a:gd name="connsiteY2874" fmla="*/ 2421272 h 6407421"/>
              <a:gd name="connsiteX2875" fmla="*/ 236037 w 11701760"/>
              <a:gd name="connsiteY2875" fmla="*/ 2421272 h 6407421"/>
              <a:gd name="connsiteX2876" fmla="*/ 1 w 11701760"/>
              <a:gd name="connsiteY2876" fmla="*/ 2391669 h 6407421"/>
              <a:gd name="connsiteX2877" fmla="*/ 29603 w 11701760"/>
              <a:gd name="connsiteY2877" fmla="*/ 2391669 h 6407421"/>
              <a:gd name="connsiteX2878" fmla="*/ 29603 w 11701760"/>
              <a:gd name="connsiteY2878" fmla="*/ 2421272 h 6407421"/>
              <a:gd name="connsiteX2879" fmla="*/ 1 w 11701760"/>
              <a:gd name="connsiteY2879" fmla="*/ 2421272 h 6407421"/>
              <a:gd name="connsiteX2880" fmla="*/ 11672158 w 11701760"/>
              <a:gd name="connsiteY2880" fmla="*/ 2126064 h 6407421"/>
              <a:gd name="connsiteX2881" fmla="*/ 11701760 w 11701760"/>
              <a:gd name="connsiteY2881" fmla="*/ 2126064 h 6407421"/>
              <a:gd name="connsiteX2882" fmla="*/ 11701760 w 11701760"/>
              <a:gd name="connsiteY2882" fmla="*/ 2155577 h 6407421"/>
              <a:gd name="connsiteX2883" fmla="*/ 11672158 w 11701760"/>
              <a:gd name="connsiteY2883" fmla="*/ 2155577 h 6407421"/>
              <a:gd name="connsiteX2884" fmla="*/ 5825310 w 11701760"/>
              <a:gd name="connsiteY2884" fmla="*/ 2126064 h 6407421"/>
              <a:gd name="connsiteX2885" fmla="*/ 5854913 w 11701760"/>
              <a:gd name="connsiteY2885" fmla="*/ 2126064 h 6407421"/>
              <a:gd name="connsiteX2886" fmla="*/ 5854913 w 11701760"/>
              <a:gd name="connsiteY2886" fmla="*/ 2155577 h 6407421"/>
              <a:gd name="connsiteX2887" fmla="*/ 5825310 w 11701760"/>
              <a:gd name="connsiteY2887" fmla="*/ 2155577 h 6407421"/>
              <a:gd name="connsiteX2888" fmla="*/ 11405961 w 11701760"/>
              <a:gd name="connsiteY2888" fmla="*/ 2126062 h 6407421"/>
              <a:gd name="connsiteX2889" fmla="*/ 11435563 w 11701760"/>
              <a:gd name="connsiteY2889" fmla="*/ 2126062 h 6407421"/>
              <a:gd name="connsiteX2890" fmla="*/ 11435563 w 11701760"/>
              <a:gd name="connsiteY2890" fmla="*/ 2155575 h 6407421"/>
              <a:gd name="connsiteX2891" fmla="*/ 11405961 w 11701760"/>
              <a:gd name="connsiteY2891" fmla="*/ 2155575 h 6407421"/>
              <a:gd name="connsiteX2892" fmla="*/ 5559113 w 11701760"/>
              <a:gd name="connsiteY2892" fmla="*/ 2126062 h 6407421"/>
              <a:gd name="connsiteX2893" fmla="*/ 5588715 w 11701760"/>
              <a:gd name="connsiteY2893" fmla="*/ 2126062 h 6407421"/>
              <a:gd name="connsiteX2894" fmla="*/ 5588715 w 11701760"/>
              <a:gd name="connsiteY2894" fmla="*/ 2155575 h 6407421"/>
              <a:gd name="connsiteX2895" fmla="*/ 5559113 w 11701760"/>
              <a:gd name="connsiteY2895" fmla="*/ 2155575 h 6407421"/>
              <a:gd name="connsiteX2896" fmla="*/ 11139872 w 11701760"/>
              <a:gd name="connsiteY2896" fmla="*/ 2126061 h 6407421"/>
              <a:gd name="connsiteX2897" fmla="*/ 11169474 w 11701760"/>
              <a:gd name="connsiteY2897" fmla="*/ 2126061 h 6407421"/>
              <a:gd name="connsiteX2898" fmla="*/ 11169474 w 11701760"/>
              <a:gd name="connsiteY2898" fmla="*/ 2155572 h 6407421"/>
              <a:gd name="connsiteX2899" fmla="*/ 11139872 w 11701760"/>
              <a:gd name="connsiteY2899" fmla="*/ 2155572 h 6407421"/>
              <a:gd name="connsiteX2900" fmla="*/ 5293024 w 11701760"/>
              <a:gd name="connsiteY2900" fmla="*/ 2126061 h 6407421"/>
              <a:gd name="connsiteX2901" fmla="*/ 5322626 w 11701760"/>
              <a:gd name="connsiteY2901" fmla="*/ 2126061 h 6407421"/>
              <a:gd name="connsiteX2902" fmla="*/ 5322626 w 11701760"/>
              <a:gd name="connsiteY2902" fmla="*/ 2155572 h 6407421"/>
              <a:gd name="connsiteX2903" fmla="*/ 5293024 w 11701760"/>
              <a:gd name="connsiteY2903" fmla="*/ 2155572 h 6407421"/>
              <a:gd name="connsiteX2904" fmla="*/ 10873675 w 11701760"/>
              <a:gd name="connsiteY2904" fmla="*/ 2126058 h 6407421"/>
              <a:gd name="connsiteX2905" fmla="*/ 10903277 w 11701760"/>
              <a:gd name="connsiteY2905" fmla="*/ 2126058 h 6407421"/>
              <a:gd name="connsiteX2906" fmla="*/ 10903277 w 11701760"/>
              <a:gd name="connsiteY2906" fmla="*/ 2155569 h 6407421"/>
              <a:gd name="connsiteX2907" fmla="*/ 10873675 w 11701760"/>
              <a:gd name="connsiteY2907" fmla="*/ 2155569 h 6407421"/>
              <a:gd name="connsiteX2908" fmla="*/ 5026827 w 11701760"/>
              <a:gd name="connsiteY2908" fmla="*/ 2126058 h 6407421"/>
              <a:gd name="connsiteX2909" fmla="*/ 5056429 w 11701760"/>
              <a:gd name="connsiteY2909" fmla="*/ 2126058 h 6407421"/>
              <a:gd name="connsiteX2910" fmla="*/ 5056429 w 11701760"/>
              <a:gd name="connsiteY2910" fmla="*/ 2155569 h 6407421"/>
              <a:gd name="connsiteX2911" fmla="*/ 5026827 w 11701760"/>
              <a:gd name="connsiteY2911" fmla="*/ 2155569 h 6407421"/>
              <a:gd name="connsiteX2912" fmla="*/ 10607478 w 11701760"/>
              <a:gd name="connsiteY2912" fmla="*/ 2126055 h 6407421"/>
              <a:gd name="connsiteX2913" fmla="*/ 10637188 w 11701760"/>
              <a:gd name="connsiteY2913" fmla="*/ 2126055 h 6407421"/>
              <a:gd name="connsiteX2914" fmla="*/ 10637188 w 11701760"/>
              <a:gd name="connsiteY2914" fmla="*/ 2155565 h 6407421"/>
              <a:gd name="connsiteX2915" fmla="*/ 10607478 w 11701760"/>
              <a:gd name="connsiteY2915" fmla="*/ 2155565 h 6407421"/>
              <a:gd name="connsiteX2916" fmla="*/ 4760630 w 11701760"/>
              <a:gd name="connsiteY2916" fmla="*/ 2126055 h 6407421"/>
              <a:gd name="connsiteX2917" fmla="*/ 4790340 w 11701760"/>
              <a:gd name="connsiteY2917" fmla="*/ 2126055 h 6407421"/>
              <a:gd name="connsiteX2918" fmla="*/ 4790340 w 11701760"/>
              <a:gd name="connsiteY2918" fmla="*/ 2155565 h 6407421"/>
              <a:gd name="connsiteX2919" fmla="*/ 4760630 w 11701760"/>
              <a:gd name="connsiteY2919" fmla="*/ 2155565 h 6407421"/>
              <a:gd name="connsiteX2920" fmla="*/ 10341389 w 11701760"/>
              <a:gd name="connsiteY2920" fmla="*/ 2126052 h 6407421"/>
              <a:gd name="connsiteX2921" fmla="*/ 10370992 w 11701760"/>
              <a:gd name="connsiteY2921" fmla="*/ 2126052 h 6407421"/>
              <a:gd name="connsiteX2922" fmla="*/ 10370992 w 11701760"/>
              <a:gd name="connsiteY2922" fmla="*/ 2155561 h 6407421"/>
              <a:gd name="connsiteX2923" fmla="*/ 10341389 w 11701760"/>
              <a:gd name="connsiteY2923" fmla="*/ 2155561 h 6407421"/>
              <a:gd name="connsiteX2924" fmla="*/ 4494541 w 11701760"/>
              <a:gd name="connsiteY2924" fmla="*/ 2126052 h 6407421"/>
              <a:gd name="connsiteX2925" fmla="*/ 4524144 w 11701760"/>
              <a:gd name="connsiteY2925" fmla="*/ 2126052 h 6407421"/>
              <a:gd name="connsiteX2926" fmla="*/ 4524144 w 11701760"/>
              <a:gd name="connsiteY2926" fmla="*/ 2155561 h 6407421"/>
              <a:gd name="connsiteX2927" fmla="*/ 4494541 w 11701760"/>
              <a:gd name="connsiteY2927" fmla="*/ 2155561 h 6407421"/>
              <a:gd name="connsiteX2928" fmla="*/ 10075192 w 11701760"/>
              <a:gd name="connsiteY2928" fmla="*/ 2126049 h 6407421"/>
              <a:gd name="connsiteX2929" fmla="*/ 10104794 w 11701760"/>
              <a:gd name="connsiteY2929" fmla="*/ 2126049 h 6407421"/>
              <a:gd name="connsiteX2930" fmla="*/ 10104794 w 11701760"/>
              <a:gd name="connsiteY2930" fmla="*/ 2155558 h 6407421"/>
              <a:gd name="connsiteX2931" fmla="*/ 10075192 w 11701760"/>
              <a:gd name="connsiteY2931" fmla="*/ 2155558 h 6407421"/>
              <a:gd name="connsiteX2932" fmla="*/ 4228344 w 11701760"/>
              <a:gd name="connsiteY2932" fmla="*/ 2126049 h 6407421"/>
              <a:gd name="connsiteX2933" fmla="*/ 4257946 w 11701760"/>
              <a:gd name="connsiteY2933" fmla="*/ 2126049 h 6407421"/>
              <a:gd name="connsiteX2934" fmla="*/ 4257946 w 11701760"/>
              <a:gd name="connsiteY2934" fmla="*/ 2155558 h 6407421"/>
              <a:gd name="connsiteX2935" fmla="*/ 4228344 w 11701760"/>
              <a:gd name="connsiteY2935" fmla="*/ 2155558 h 6407421"/>
              <a:gd name="connsiteX2936" fmla="*/ 9809103 w 11701760"/>
              <a:gd name="connsiteY2936" fmla="*/ 2126047 h 6407421"/>
              <a:gd name="connsiteX2937" fmla="*/ 9838705 w 11701760"/>
              <a:gd name="connsiteY2937" fmla="*/ 2126047 h 6407421"/>
              <a:gd name="connsiteX2938" fmla="*/ 9838705 w 11701760"/>
              <a:gd name="connsiteY2938" fmla="*/ 2155554 h 6407421"/>
              <a:gd name="connsiteX2939" fmla="*/ 9809103 w 11701760"/>
              <a:gd name="connsiteY2939" fmla="*/ 2155554 h 6407421"/>
              <a:gd name="connsiteX2940" fmla="*/ 3962255 w 11701760"/>
              <a:gd name="connsiteY2940" fmla="*/ 2126047 h 6407421"/>
              <a:gd name="connsiteX2941" fmla="*/ 3991857 w 11701760"/>
              <a:gd name="connsiteY2941" fmla="*/ 2126047 h 6407421"/>
              <a:gd name="connsiteX2942" fmla="*/ 3991857 w 11701760"/>
              <a:gd name="connsiteY2942" fmla="*/ 2155554 h 6407421"/>
              <a:gd name="connsiteX2943" fmla="*/ 3962255 w 11701760"/>
              <a:gd name="connsiteY2943" fmla="*/ 2155554 h 6407421"/>
              <a:gd name="connsiteX2944" fmla="*/ 9542906 w 11701760"/>
              <a:gd name="connsiteY2944" fmla="*/ 2126044 h 6407421"/>
              <a:gd name="connsiteX2945" fmla="*/ 9572509 w 11701760"/>
              <a:gd name="connsiteY2945" fmla="*/ 2126044 h 6407421"/>
              <a:gd name="connsiteX2946" fmla="*/ 9572509 w 11701760"/>
              <a:gd name="connsiteY2946" fmla="*/ 2155551 h 6407421"/>
              <a:gd name="connsiteX2947" fmla="*/ 9542906 w 11701760"/>
              <a:gd name="connsiteY2947" fmla="*/ 2155551 h 6407421"/>
              <a:gd name="connsiteX2948" fmla="*/ 3696058 w 11701760"/>
              <a:gd name="connsiteY2948" fmla="*/ 2126044 h 6407421"/>
              <a:gd name="connsiteX2949" fmla="*/ 3725661 w 11701760"/>
              <a:gd name="connsiteY2949" fmla="*/ 2126044 h 6407421"/>
              <a:gd name="connsiteX2950" fmla="*/ 3725661 w 11701760"/>
              <a:gd name="connsiteY2950" fmla="*/ 2155551 h 6407421"/>
              <a:gd name="connsiteX2951" fmla="*/ 3696058 w 11701760"/>
              <a:gd name="connsiteY2951" fmla="*/ 2155551 h 6407421"/>
              <a:gd name="connsiteX2952" fmla="*/ 9276817 w 11701760"/>
              <a:gd name="connsiteY2952" fmla="*/ 2126042 h 6407421"/>
              <a:gd name="connsiteX2953" fmla="*/ 9306420 w 11701760"/>
              <a:gd name="connsiteY2953" fmla="*/ 2126042 h 6407421"/>
              <a:gd name="connsiteX2954" fmla="*/ 9306420 w 11701760"/>
              <a:gd name="connsiteY2954" fmla="*/ 2155548 h 6407421"/>
              <a:gd name="connsiteX2955" fmla="*/ 9276817 w 11701760"/>
              <a:gd name="connsiteY2955" fmla="*/ 2155548 h 6407421"/>
              <a:gd name="connsiteX2956" fmla="*/ 3429969 w 11701760"/>
              <a:gd name="connsiteY2956" fmla="*/ 2126042 h 6407421"/>
              <a:gd name="connsiteX2957" fmla="*/ 3459572 w 11701760"/>
              <a:gd name="connsiteY2957" fmla="*/ 2126042 h 6407421"/>
              <a:gd name="connsiteX2958" fmla="*/ 3459572 w 11701760"/>
              <a:gd name="connsiteY2958" fmla="*/ 2155548 h 6407421"/>
              <a:gd name="connsiteX2959" fmla="*/ 3429969 w 11701760"/>
              <a:gd name="connsiteY2959" fmla="*/ 2155548 h 6407421"/>
              <a:gd name="connsiteX2960" fmla="*/ 9010620 w 11701760"/>
              <a:gd name="connsiteY2960" fmla="*/ 2126039 h 6407421"/>
              <a:gd name="connsiteX2961" fmla="*/ 9040222 w 11701760"/>
              <a:gd name="connsiteY2961" fmla="*/ 2126039 h 6407421"/>
              <a:gd name="connsiteX2962" fmla="*/ 9040222 w 11701760"/>
              <a:gd name="connsiteY2962" fmla="*/ 2155544 h 6407421"/>
              <a:gd name="connsiteX2963" fmla="*/ 9010620 w 11701760"/>
              <a:gd name="connsiteY2963" fmla="*/ 2155544 h 6407421"/>
              <a:gd name="connsiteX2964" fmla="*/ 3163772 w 11701760"/>
              <a:gd name="connsiteY2964" fmla="*/ 2126039 h 6407421"/>
              <a:gd name="connsiteX2965" fmla="*/ 3193374 w 11701760"/>
              <a:gd name="connsiteY2965" fmla="*/ 2126039 h 6407421"/>
              <a:gd name="connsiteX2966" fmla="*/ 3193374 w 11701760"/>
              <a:gd name="connsiteY2966" fmla="*/ 2155544 h 6407421"/>
              <a:gd name="connsiteX2967" fmla="*/ 3163772 w 11701760"/>
              <a:gd name="connsiteY2967" fmla="*/ 2155544 h 6407421"/>
              <a:gd name="connsiteX2968" fmla="*/ 8744423 w 11701760"/>
              <a:gd name="connsiteY2968" fmla="*/ 2126036 h 6407421"/>
              <a:gd name="connsiteX2969" fmla="*/ 8774026 w 11701760"/>
              <a:gd name="connsiteY2969" fmla="*/ 2126036 h 6407421"/>
              <a:gd name="connsiteX2970" fmla="*/ 8774026 w 11701760"/>
              <a:gd name="connsiteY2970" fmla="*/ 2155541 h 6407421"/>
              <a:gd name="connsiteX2971" fmla="*/ 8744423 w 11701760"/>
              <a:gd name="connsiteY2971" fmla="*/ 2155541 h 6407421"/>
              <a:gd name="connsiteX2972" fmla="*/ 2897575 w 11701760"/>
              <a:gd name="connsiteY2972" fmla="*/ 2126036 h 6407421"/>
              <a:gd name="connsiteX2973" fmla="*/ 2927178 w 11701760"/>
              <a:gd name="connsiteY2973" fmla="*/ 2126036 h 6407421"/>
              <a:gd name="connsiteX2974" fmla="*/ 2927178 w 11701760"/>
              <a:gd name="connsiteY2974" fmla="*/ 2155541 h 6407421"/>
              <a:gd name="connsiteX2975" fmla="*/ 2897575 w 11701760"/>
              <a:gd name="connsiteY2975" fmla="*/ 2155541 h 6407421"/>
              <a:gd name="connsiteX2976" fmla="*/ 8478226 w 11701760"/>
              <a:gd name="connsiteY2976" fmla="*/ 2126033 h 6407421"/>
              <a:gd name="connsiteX2977" fmla="*/ 8507828 w 11701760"/>
              <a:gd name="connsiteY2977" fmla="*/ 2126033 h 6407421"/>
              <a:gd name="connsiteX2978" fmla="*/ 8507828 w 11701760"/>
              <a:gd name="connsiteY2978" fmla="*/ 2155537 h 6407421"/>
              <a:gd name="connsiteX2979" fmla="*/ 8478226 w 11701760"/>
              <a:gd name="connsiteY2979" fmla="*/ 2155537 h 6407421"/>
              <a:gd name="connsiteX2980" fmla="*/ 2631378 w 11701760"/>
              <a:gd name="connsiteY2980" fmla="*/ 2126033 h 6407421"/>
              <a:gd name="connsiteX2981" fmla="*/ 2660980 w 11701760"/>
              <a:gd name="connsiteY2981" fmla="*/ 2126033 h 6407421"/>
              <a:gd name="connsiteX2982" fmla="*/ 2660980 w 11701760"/>
              <a:gd name="connsiteY2982" fmla="*/ 2155537 h 6407421"/>
              <a:gd name="connsiteX2983" fmla="*/ 2631378 w 11701760"/>
              <a:gd name="connsiteY2983" fmla="*/ 2155537 h 6407421"/>
              <a:gd name="connsiteX2984" fmla="*/ 8212137 w 11701760"/>
              <a:gd name="connsiteY2984" fmla="*/ 2126031 h 6407421"/>
              <a:gd name="connsiteX2985" fmla="*/ 8241740 w 11701760"/>
              <a:gd name="connsiteY2985" fmla="*/ 2126031 h 6407421"/>
              <a:gd name="connsiteX2986" fmla="*/ 8241740 w 11701760"/>
              <a:gd name="connsiteY2986" fmla="*/ 2155534 h 6407421"/>
              <a:gd name="connsiteX2987" fmla="*/ 8212137 w 11701760"/>
              <a:gd name="connsiteY2987" fmla="*/ 2155534 h 6407421"/>
              <a:gd name="connsiteX2988" fmla="*/ 2365289 w 11701760"/>
              <a:gd name="connsiteY2988" fmla="*/ 2126031 h 6407421"/>
              <a:gd name="connsiteX2989" fmla="*/ 2394892 w 11701760"/>
              <a:gd name="connsiteY2989" fmla="*/ 2126031 h 6407421"/>
              <a:gd name="connsiteX2990" fmla="*/ 2394892 w 11701760"/>
              <a:gd name="connsiteY2990" fmla="*/ 2155534 h 6407421"/>
              <a:gd name="connsiteX2991" fmla="*/ 2365289 w 11701760"/>
              <a:gd name="connsiteY2991" fmla="*/ 2155534 h 6407421"/>
              <a:gd name="connsiteX2992" fmla="*/ 7945940 w 11701760"/>
              <a:gd name="connsiteY2992" fmla="*/ 2126030 h 6407421"/>
              <a:gd name="connsiteX2993" fmla="*/ 7975543 w 11701760"/>
              <a:gd name="connsiteY2993" fmla="*/ 2126030 h 6407421"/>
              <a:gd name="connsiteX2994" fmla="*/ 7975543 w 11701760"/>
              <a:gd name="connsiteY2994" fmla="*/ 2155531 h 6407421"/>
              <a:gd name="connsiteX2995" fmla="*/ 7945940 w 11701760"/>
              <a:gd name="connsiteY2995" fmla="*/ 2155531 h 6407421"/>
              <a:gd name="connsiteX2996" fmla="*/ 2099092 w 11701760"/>
              <a:gd name="connsiteY2996" fmla="*/ 2126030 h 6407421"/>
              <a:gd name="connsiteX2997" fmla="*/ 2128695 w 11701760"/>
              <a:gd name="connsiteY2997" fmla="*/ 2126030 h 6407421"/>
              <a:gd name="connsiteX2998" fmla="*/ 2128695 w 11701760"/>
              <a:gd name="connsiteY2998" fmla="*/ 2155531 h 6407421"/>
              <a:gd name="connsiteX2999" fmla="*/ 2099092 w 11701760"/>
              <a:gd name="connsiteY2999" fmla="*/ 2155531 h 6407421"/>
              <a:gd name="connsiteX3000" fmla="*/ 7679743 w 11701760"/>
              <a:gd name="connsiteY3000" fmla="*/ 2126028 h 6407421"/>
              <a:gd name="connsiteX3001" fmla="*/ 7709346 w 11701760"/>
              <a:gd name="connsiteY3001" fmla="*/ 2126028 h 6407421"/>
              <a:gd name="connsiteX3002" fmla="*/ 7709346 w 11701760"/>
              <a:gd name="connsiteY3002" fmla="*/ 2155527 h 6407421"/>
              <a:gd name="connsiteX3003" fmla="*/ 7679743 w 11701760"/>
              <a:gd name="connsiteY3003" fmla="*/ 2155527 h 6407421"/>
              <a:gd name="connsiteX3004" fmla="*/ 1832898 w 11701760"/>
              <a:gd name="connsiteY3004" fmla="*/ 2126028 h 6407421"/>
              <a:gd name="connsiteX3005" fmla="*/ 1862498 w 11701760"/>
              <a:gd name="connsiteY3005" fmla="*/ 2126028 h 6407421"/>
              <a:gd name="connsiteX3006" fmla="*/ 1862498 w 11701760"/>
              <a:gd name="connsiteY3006" fmla="*/ 2155527 h 6407421"/>
              <a:gd name="connsiteX3007" fmla="*/ 1832898 w 11701760"/>
              <a:gd name="connsiteY3007" fmla="*/ 2155527 h 6407421"/>
              <a:gd name="connsiteX3008" fmla="*/ 7413653 w 11701760"/>
              <a:gd name="connsiteY3008" fmla="*/ 2126025 h 6407421"/>
              <a:gd name="connsiteX3009" fmla="*/ 7443256 w 11701760"/>
              <a:gd name="connsiteY3009" fmla="*/ 2126025 h 6407421"/>
              <a:gd name="connsiteX3010" fmla="*/ 7443256 w 11701760"/>
              <a:gd name="connsiteY3010" fmla="*/ 2155523 h 6407421"/>
              <a:gd name="connsiteX3011" fmla="*/ 7413653 w 11701760"/>
              <a:gd name="connsiteY3011" fmla="*/ 2155523 h 6407421"/>
              <a:gd name="connsiteX3012" fmla="*/ 1566808 w 11701760"/>
              <a:gd name="connsiteY3012" fmla="*/ 2126025 h 6407421"/>
              <a:gd name="connsiteX3013" fmla="*/ 1596409 w 11701760"/>
              <a:gd name="connsiteY3013" fmla="*/ 2126025 h 6407421"/>
              <a:gd name="connsiteX3014" fmla="*/ 1596409 w 11701760"/>
              <a:gd name="connsiteY3014" fmla="*/ 2155523 h 6407421"/>
              <a:gd name="connsiteX3015" fmla="*/ 1566808 w 11701760"/>
              <a:gd name="connsiteY3015" fmla="*/ 2155523 h 6407421"/>
              <a:gd name="connsiteX3016" fmla="*/ 7147456 w 11701760"/>
              <a:gd name="connsiteY3016" fmla="*/ 2126023 h 6407421"/>
              <a:gd name="connsiteX3017" fmla="*/ 7177058 w 11701760"/>
              <a:gd name="connsiteY3017" fmla="*/ 2126023 h 6407421"/>
              <a:gd name="connsiteX3018" fmla="*/ 7177058 w 11701760"/>
              <a:gd name="connsiteY3018" fmla="*/ 2155520 h 6407421"/>
              <a:gd name="connsiteX3019" fmla="*/ 7147456 w 11701760"/>
              <a:gd name="connsiteY3019" fmla="*/ 2155520 h 6407421"/>
              <a:gd name="connsiteX3020" fmla="*/ 1300611 w 11701760"/>
              <a:gd name="connsiteY3020" fmla="*/ 2126023 h 6407421"/>
              <a:gd name="connsiteX3021" fmla="*/ 1330213 w 11701760"/>
              <a:gd name="connsiteY3021" fmla="*/ 2126023 h 6407421"/>
              <a:gd name="connsiteX3022" fmla="*/ 1330213 w 11701760"/>
              <a:gd name="connsiteY3022" fmla="*/ 2155520 h 6407421"/>
              <a:gd name="connsiteX3023" fmla="*/ 1300611 w 11701760"/>
              <a:gd name="connsiteY3023" fmla="*/ 2155520 h 6407421"/>
              <a:gd name="connsiteX3024" fmla="*/ 6881367 w 11701760"/>
              <a:gd name="connsiteY3024" fmla="*/ 2126020 h 6407421"/>
              <a:gd name="connsiteX3025" fmla="*/ 6910970 w 11701760"/>
              <a:gd name="connsiteY3025" fmla="*/ 2126020 h 6407421"/>
              <a:gd name="connsiteX3026" fmla="*/ 6910970 w 11701760"/>
              <a:gd name="connsiteY3026" fmla="*/ 2155517 h 6407421"/>
              <a:gd name="connsiteX3027" fmla="*/ 6881367 w 11701760"/>
              <a:gd name="connsiteY3027" fmla="*/ 2155517 h 6407421"/>
              <a:gd name="connsiteX3028" fmla="*/ 1034520 w 11701760"/>
              <a:gd name="connsiteY3028" fmla="*/ 2126020 h 6407421"/>
              <a:gd name="connsiteX3029" fmla="*/ 1064123 w 11701760"/>
              <a:gd name="connsiteY3029" fmla="*/ 2126020 h 6407421"/>
              <a:gd name="connsiteX3030" fmla="*/ 1064123 w 11701760"/>
              <a:gd name="connsiteY3030" fmla="*/ 2155517 h 6407421"/>
              <a:gd name="connsiteX3031" fmla="*/ 1034520 w 11701760"/>
              <a:gd name="connsiteY3031" fmla="*/ 2155517 h 6407421"/>
              <a:gd name="connsiteX3032" fmla="*/ 6615170 w 11701760"/>
              <a:gd name="connsiteY3032" fmla="*/ 2126017 h 6407421"/>
              <a:gd name="connsiteX3033" fmla="*/ 6644773 w 11701760"/>
              <a:gd name="connsiteY3033" fmla="*/ 2126017 h 6407421"/>
              <a:gd name="connsiteX3034" fmla="*/ 6644773 w 11701760"/>
              <a:gd name="connsiteY3034" fmla="*/ 2155513 h 6407421"/>
              <a:gd name="connsiteX3035" fmla="*/ 6615170 w 11701760"/>
              <a:gd name="connsiteY3035" fmla="*/ 2155513 h 6407421"/>
              <a:gd name="connsiteX3036" fmla="*/ 768327 w 11701760"/>
              <a:gd name="connsiteY3036" fmla="*/ 2126017 h 6407421"/>
              <a:gd name="connsiteX3037" fmla="*/ 797926 w 11701760"/>
              <a:gd name="connsiteY3037" fmla="*/ 2126017 h 6407421"/>
              <a:gd name="connsiteX3038" fmla="*/ 797926 w 11701760"/>
              <a:gd name="connsiteY3038" fmla="*/ 2155513 h 6407421"/>
              <a:gd name="connsiteX3039" fmla="*/ 768327 w 11701760"/>
              <a:gd name="connsiteY3039" fmla="*/ 2155513 h 6407421"/>
              <a:gd name="connsiteX3040" fmla="*/ 6349081 w 11701760"/>
              <a:gd name="connsiteY3040" fmla="*/ 2126014 h 6407421"/>
              <a:gd name="connsiteX3041" fmla="*/ 6378683 w 11701760"/>
              <a:gd name="connsiteY3041" fmla="*/ 2126014 h 6407421"/>
              <a:gd name="connsiteX3042" fmla="*/ 6378683 w 11701760"/>
              <a:gd name="connsiteY3042" fmla="*/ 2155510 h 6407421"/>
              <a:gd name="connsiteX3043" fmla="*/ 6349081 w 11701760"/>
              <a:gd name="connsiteY3043" fmla="*/ 2155510 h 6407421"/>
              <a:gd name="connsiteX3044" fmla="*/ 502236 w 11701760"/>
              <a:gd name="connsiteY3044" fmla="*/ 2126014 h 6407421"/>
              <a:gd name="connsiteX3045" fmla="*/ 531838 w 11701760"/>
              <a:gd name="connsiteY3045" fmla="*/ 2126014 h 6407421"/>
              <a:gd name="connsiteX3046" fmla="*/ 531838 w 11701760"/>
              <a:gd name="connsiteY3046" fmla="*/ 2155510 h 6407421"/>
              <a:gd name="connsiteX3047" fmla="*/ 502236 w 11701760"/>
              <a:gd name="connsiteY3047" fmla="*/ 2155510 h 6407421"/>
              <a:gd name="connsiteX3048" fmla="*/ 6082884 w 11701760"/>
              <a:gd name="connsiteY3048" fmla="*/ 2126012 h 6407421"/>
              <a:gd name="connsiteX3049" fmla="*/ 6112486 w 11701760"/>
              <a:gd name="connsiteY3049" fmla="*/ 2126012 h 6407421"/>
              <a:gd name="connsiteX3050" fmla="*/ 6112486 w 11701760"/>
              <a:gd name="connsiteY3050" fmla="*/ 2155506 h 6407421"/>
              <a:gd name="connsiteX3051" fmla="*/ 6082884 w 11701760"/>
              <a:gd name="connsiteY3051" fmla="*/ 2155506 h 6407421"/>
              <a:gd name="connsiteX3052" fmla="*/ 236037 w 11701760"/>
              <a:gd name="connsiteY3052" fmla="*/ 2126012 h 6407421"/>
              <a:gd name="connsiteX3053" fmla="*/ 265639 w 11701760"/>
              <a:gd name="connsiteY3053" fmla="*/ 2126012 h 6407421"/>
              <a:gd name="connsiteX3054" fmla="*/ 265639 w 11701760"/>
              <a:gd name="connsiteY3054" fmla="*/ 2155506 h 6407421"/>
              <a:gd name="connsiteX3055" fmla="*/ 236037 w 11701760"/>
              <a:gd name="connsiteY3055" fmla="*/ 2155506 h 6407421"/>
              <a:gd name="connsiteX3056" fmla="*/ 1 w 11701760"/>
              <a:gd name="connsiteY3056" fmla="*/ 2126012 h 6407421"/>
              <a:gd name="connsiteX3057" fmla="*/ 29603 w 11701760"/>
              <a:gd name="connsiteY3057" fmla="*/ 2126012 h 6407421"/>
              <a:gd name="connsiteX3058" fmla="*/ 29603 w 11701760"/>
              <a:gd name="connsiteY3058" fmla="*/ 2155506 h 6407421"/>
              <a:gd name="connsiteX3059" fmla="*/ 1 w 11701760"/>
              <a:gd name="connsiteY3059" fmla="*/ 2155506 h 6407421"/>
              <a:gd name="connsiteX3060" fmla="*/ 11672158 w 11701760"/>
              <a:gd name="connsiteY3060" fmla="*/ 1860298 h 6407421"/>
              <a:gd name="connsiteX3061" fmla="*/ 11701760 w 11701760"/>
              <a:gd name="connsiteY3061" fmla="*/ 1860298 h 6407421"/>
              <a:gd name="connsiteX3062" fmla="*/ 11701760 w 11701760"/>
              <a:gd name="connsiteY3062" fmla="*/ 1889774 h 6407421"/>
              <a:gd name="connsiteX3063" fmla="*/ 11672158 w 11701760"/>
              <a:gd name="connsiteY3063" fmla="*/ 1889774 h 6407421"/>
              <a:gd name="connsiteX3064" fmla="*/ 5825310 w 11701760"/>
              <a:gd name="connsiteY3064" fmla="*/ 1860298 h 6407421"/>
              <a:gd name="connsiteX3065" fmla="*/ 5854913 w 11701760"/>
              <a:gd name="connsiteY3065" fmla="*/ 1860298 h 6407421"/>
              <a:gd name="connsiteX3066" fmla="*/ 5854913 w 11701760"/>
              <a:gd name="connsiteY3066" fmla="*/ 1889774 h 6407421"/>
              <a:gd name="connsiteX3067" fmla="*/ 5825310 w 11701760"/>
              <a:gd name="connsiteY3067" fmla="*/ 1889774 h 6407421"/>
              <a:gd name="connsiteX3068" fmla="*/ 11405961 w 11701760"/>
              <a:gd name="connsiteY3068" fmla="*/ 1860296 h 6407421"/>
              <a:gd name="connsiteX3069" fmla="*/ 11435563 w 11701760"/>
              <a:gd name="connsiteY3069" fmla="*/ 1860296 h 6407421"/>
              <a:gd name="connsiteX3070" fmla="*/ 11435563 w 11701760"/>
              <a:gd name="connsiteY3070" fmla="*/ 1889774 h 6407421"/>
              <a:gd name="connsiteX3071" fmla="*/ 11405961 w 11701760"/>
              <a:gd name="connsiteY3071" fmla="*/ 1889774 h 6407421"/>
              <a:gd name="connsiteX3072" fmla="*/ 5559113 w 11701760"/>
              <a:gd name="connsiteY3072" fmla="*/ 1860296 h 6407421"/>
              <a:gd name="connsiteX3073" fmla="*/ 5588715 w 11701760"/>
              <a:gd name="connsiteY3073" fmla="*/ 1860296 h 6407421"/>
              <a:gd name="connsiteX3074" fmla="*/ 5588715 w 11701760"/>
              <a:gd name="connsiteY3074" fmla="*/ 1889774 h 6407421"/>
              <a:gd name="connsiteX3075" fmla="*/ 5559113 w 11701760"/>
              <a:gd name="connsiteY3075" fmla="*/ 1889774 h 6407421"/>
              <a:gd name="connsiteX3076" fmla="*/ 11139872 w 11701760"/>
              <a:gd name="connsiteY3076" fmla="*/ 1860293 h 6407421"/>
              <a:gd name="connsiteX3077" fmla="*/ 11169474 w 11701760"/>
              <a:gd name="connsiteY3077" fmla="*/ 1860293 h 6407421"/>
              <a:gd name="connsiteX3078" fmla="*/ 11169474 w 11701760"/>
              <a:gd name="connsiteY3078" fmla="*/ 1889772 h 6407421"/>
              <a:gd name="connsiteX3079" fmla="*/ 11139872 w 11701760"/>
              <a:gd name="connsiteY3079" fmla="*/ 1889772 h 6407421"/>
              <a:gd name="connsiteX3080" fmla="*/ 5293024 w 11701760"/>
              <a:gd name="connsiteY3080" fmla="*/ 1860293 h 6407421"/>
              <a:gd name="connsiteX3081" fmla="*/ 5322626 w 11701760"/>
              <a:gd name="connsiteY3081" fmla="*/ 1860293 h 6407421"/>
              <a:gd name="connsiteX3082" fmla="*/ 5322626 w 11701760"/>
              <a:gd name="connsiteY3082" fmla="*/ 1889772 h 6407421"/>
              <a:gd name="connsiteX3083" fmla="*/ 5293024 w 11701760"/>
              <a:gd name="connsiteY3083" fmla="*/ 1889772 h 6407421"/>
              <a:gd name="connsiteX3084" fmla="*/ 10873675 w 11701760"/>
              <a:gd name="connsiteY3084" fmla="*/ 1860291 h 6407421"/>
              <a:gd name="connsiteX3085" fmla="*/ 10903277 w 11701760"/>
              <a:gd name="connsiteY3085" fmla="*/ 1860291 h 6407421"/>
              <a:gd name="connsiteX3086" fmla="*/ 10903277 w 11701760"/>
              <a:gd name="connsiteY3086" fmla="*/ 1889770 h 6407421"/>
              <a:gd name="connsiteX3087" fmla="*/ 10873675 w 11701760"/>
              <a:gd name="connsiteY3087" fmla="*/ 1889770 h 6407421"/>
              <a:gd name="connsiteX3088" fmla="*/ 5026827 w 11701760"/>
              <a:gd name="connsiteY3088" fmla="*/ 1860291 h 6407421"/>
              <a:gd name="connsiteX3089" fmla="*/ 5056429 w 11701760"/>
              <a:gd name="connsiteY3089" fmla="*/ 1860291 h 6407421"/>
              <a:gd name="connsiteX3090" fmla="*/ 5056429 w 11701760"/>
              <a:gd name="connsiteY3090" fmla="*/ 1889770 h 6407421"/>
              <a:gd name="connsiteX3091" fmla="*/ 5026827 w 11701760"/>
              <a:gd name="connsiteY3091" fmla="*/ 1889770 h 6407421"/>
              <a:gd name="connsiteX3092" fmla="*/ 10607478 w 11701760"/>
              <a:gd name="connsiteY3092" fmla="*/ 1860288 h 6407421"/>
              <a:gd name="connsiteX3093" fmla="*/ 10637188 w 11701760"/>
              <a:gd name="connsiteY3093" fmla="*/ 1860288 h 6407421"/>
              <a:gd name="connsiteX3094" fmla="*/ 10637188 w 11701760"/>
              <a:gd name="connsiteY3094" fmla="*/ 1889769 h 6407421"/>
              <a:gd name="connsiteX3095" fmla="*/ 10607478 w 11701760"/>
              <a:gd name="connsiteY3095" fmla="*/ 1889769 h 6407421"/>
              <a:gd name="connsiteX3096" fmla="*/ 4760630 w 11701760"/>
              <a:gd name="connsiteY3096" fmla="*/ 1860288 h 6407421"/>
              <a:gd name="connsiteX3097" fmla="*/ 4790340 w 11701760"/>
              <a:gd name="connsiteY3097" fmla="*/ 1860288 h 6407421"/>
              <a:gd name="connsiteX3098" fmla="*/ 4790340 w 11701760"/>
              <a:gd name="connsiteY3098" fmla="*/ 1889769 h 6407421"/>
              <a:gd name="connsiteX3099" fmla="*/ 4760630 w 11701760"/>
              <a:gd name="connsiteY3099" fmla="*/ 1889769 h 6407421"/>
              <a:gd name="connsiteX3100" fmla="*/ 10341389 w 11701760"/>
              <a:gd name="connsiteY3100" fmla="*/ 1860286 h 6407421"/>
              <a:gd name="connsiteX3101" fmla="*/ 10370992 w 11701760"/>
              <a:gd name="connsiteY3101" fmla="*/ 1860286 h 6407421"/>
              <a:gd name="connsiteX3102" fmla="*/ 10370992 w 11701760"/>
              <a:gd name="connsiteY3102" fmla="*/ 1889767 h 6407421"/>
              <a:gd name="connsiteX3103" fmla="*/ 10341389 w 11701760"/>
              <a:gd name="connsiteY3103" fmla="*/ 1889767 h 6407421"/>
              <a:gd name="connsiteX3104" fmla="*/ 4494541 w 11701760"/>
              <a:gd name="connsiteY3104" fmla="*/ 1860286 h 6407421"/>
              <a:gd name="connsiteX3105" fmla="*/ 4524144 w 11701760"/>
              <a:gd name="connsiteY3105" fmla="*/ 1860286 h 6407421"/>
              <a:gd name="connsiteX3106" fmla="*/ 4524144 w 11701760"/>
              <a:gd name="connsiteY3106" fmla="*/ 1889767 h 6407421"/>
              <a:gd name="connsiteX3107" fmla="*/ 4494541 w 11701760"/>
              <a:gd name="connsiteY3107" fmla="*/ 1889767 h 6407421"/>
              <a:gd name="connsiteX3108" fmla="*/ 10075192 w 11701760"/>
              <a:gd name="connsiteY3108" fmla="*/ 1860283 h 6407421"/>
              <a:gd name="connsiteX3109" fmla="*/ 10104794 w 11701760"/>
              <a:gd name="connsiteY3109" fmla="*/ 1860283 h 6407421"/>
              <a:gd name="connsiteX3110" fmla="*/ 10104794 w 11701760"/>
              <a:gd name="connsiteY3110" fmla="*/ 1889766 h 6407421"/>
              <a:gd name="connsiteX3111" fmla="*/ 10075192 w 11701760"/>
              <a:gd name="connsiteY3111" fmla="*/ 1889766 h 6407421"/>
              <a:gd name="connsiteX3112" fmla="*/ 4228344 w 11701760"/>
              <a:gd name="connsiteY3112" fmla="*/ 1860283 h 6407421"/>
              <a:gd name="connsiteX3113" fmla="*/ 4257946 w 11701760"/>
              <a:gd name="connsiteY3113" fmla="*/ 1860283 h 6407421"/>
              <a:gd name="connsiteX3114" fmla="*/ 4257946 w 11701760"/>
              <a:gd name="connsiteY3114" fmla="*/ 1889766 h 6407421"/>
              <a:gd name="connsiteX3115" fmla="*/ 4228344 w 11701760"/>
              <a:gd name="connsiteY3115" fmla="*/ 1889766 h 6407421"/>
              <a:gd name="connsiteX3116" fmla="*/ 9809103 w 11701760"/>
              <a:gd name="connsiteY3116" fmla="*/ 1860281 h 6407421"/>
              <a:gd name="connsiteX3117" fmla="*/ 9838705 w 11701760"/>
              <a:gd name="connsiteY3117" fmla="*/ 1860281 h 6407421"/>
              <a:gd name="connsiteX3118" fmla="*/ 9838705 w 11701760"/>
              <a:gd name="connsiteY3118" fmla="*/ 1889764 h 6407421"/>
              <a:gd name="connsiteX3119" fmla="*/ 9809103 w 11701760"/>
              <a:gd name="connsiteY3119" fmla="*/ 1889764 h 6407421"/>
              <a:gd name="connsiteX3120" fmla="*/ 3962255 w 11701760"/>
              <a:gd name="connsiteY3120" fmla="*/ 1860281 h 6407421"/>
              <a:gd name="connsiteX3121" fmla="*/ 3991857 w 11701760"/>
              <a:gd name="connsiteY3121" fmla="*/ 1860281 h 6407421"/>
              <a:gd name="connsiteX3122" fmla="*/ 3991857 w 11701760"/>
              <a:gd name="connsiteY3122" fmla="*/ 1889764 h 6407421"/>
              <a:gd name="connsiteX3123" fmla="*/ 3962255 w 11701760"/>
              <a:gd name="connsiteY3123" fmla="*/ 1889764 h 6407421"/>
              <a:gd name="connsiteX3124" fmla="*/ 9542906 w 11701760"/>
              <a:gd name="connsiteY3124" fmla="*/ 1860278 h 6407421"/>
              <a:gd name="connsiteX3125" fmla="*/ 9572509 w 11701760"/>
              <a:gd name="connsiteY3125" fmla="*/ 1860278 h 6407421"/>
              <a:gd name="connsiteX3126" fmla="*/ 9572509 w 11701760"/>
              <a:gd name="connsiteY3126" fmla="*/ 1889763 h 6407421"/>
              <a:gd name="connsiteX3127" fmla="*/ 9542906 w 11701760"/>
              <a:gd name="connsiteY3127" fmla="*/ 1889763 h 6407421"/>
              <a:gd name="connsiteX3128" fmla="*/ 3696058 w 11701760"/>
              <a:gd name="connsiteY3128" fmla="*/ 1860278 h 6407421"/>
              <a:gd name="connsiteX3129" fmla="*/ 3725661 w 11701760"/>
              <a:gd name="connsiteY3129" fmla="*/ 1860278 h 6407421"/>
              <a:gd name="connsiteX3130" fmla="*/ 3725661 w 11701760"/>
              <a:gd name="connsiteY3130" fmla="*/ 1889763 h 6407421"/>
              <a:gd name="connsiteX3131" fmla="*/ 3696058 w 11701760"/>
              <a:gd name="connsiteY3131" fmla="*/ 1889763 h 6407421"/>
              <a:gd name="connsiteX3132" fmla="*/ 9276817 w 11701760"/>
              <a:gd name="connsiteY3132" fmla="*/ 1860276 h 6407421"/>
              <a:gd name="connsiteX3133" fmla="*/ 9306420 w 11701760"/>
              <a:gd name="connsiteY3133" fmla="*/ 1860276 h 6407421"/>
              <a:gd name="connsiteX3134" fmla="*/ 9306420 w 11701760"/>
              <a:gd name="connsiteY3134" fmla="*/ 1889762 h 6407421"/>
              <a:gd name="connsiteX3135" fmla="*/ 9276817 w 11701760"/>
              <a:gd name="connsiteY3135" fmla="*/ 1889762 h 6407421"/>
              <a:gd name="connsiteX3136" fmla="*/ 3429969 w 11701760"/>
              <a:gd name="connsiteY3136" fmla="*/ 1860276 h 6407421"/>
              <a:gd name="connsiteX3137" fmla="*/ 3459572 w 11701760"/>
              <a:gd name="connsiteY3137" fmla="*/ 1860276 h 6407421"/>
              <a:gd name="connsiteX3138" fmla="*/ 3459572 w 11701760"/>
              <a:gd name="connsiteY3138" fmla="*/ 1889762 h 6407421"/>
              <a:gd name="connsiteX3139" fmla="*/ 3429969 w 11701760"/>
              <a:gd name="connsiteY3139" fmla="*/ 1889762 h 6407421"/>
              <a:gd name="connsiteX3140" fmla="*/ 9010620 w 11701760"/>
              <a:gd name="connsiteY3140" fmla="*/ 1860273 h 6407421"/>
              <a:gd name="connsiteX3141" fmla="*/ 9040222 w 11701760"/>
              <a:gd name="connsiteY3141" fmla="*/ 1860273 h 6407421"/>
              <a:gd name="connsiteX3142" fmla="*/ 9040222 w 11701760"/>
              <a:gd name="connsiteY3142" fmla="*/ 1889761 h 6407421"/>
              <a:gd name="connsiteX3143" fmla="*/ 9010620 w 11701760"/>
              <a:gd name="connsiteY3143" fmla="*/ 1889761 h 6407421"/>
              <a:gd name="connsiteX3144" fmla="*/ 3163772 w 11701760"/>
              <a:gd name="connsiteY3144" fmla="*/ 1860273 h 6407421"/>
              <a:gd name="connsiteX3145" fmla="*/ 3193374 w 11701760"/>
              <a:gd name="connsiteY3145" fmla="*/ 1860273 h 6407421"/>
              <a:gd name="connsiteX3146" fmla="*/ 3193374 w 11701760"/>
              <a:gd name="connsiteY3146" fmla="*/ 1889761 h 6407421"/>
              <a:gd name="connsiteX3147" fmla="*/ 3163772 w 11701760"/>
              <a:gd name="connsiteY3147" fmla="*/ 1889761 h 6407421"/>
              <a:gd name="connsiteX3148" fmla="*/ 8744423 w 11701760"/>
              <a:gd name="connsiteY3148" fmla="*/ 1860271 h 6407421"/>
              <a:gd name="connsiteX3149" fmla="*/ 8774026 w 11701760"/>
              <a:gd name="connsiteY3149" fmla="*/ 1860271 h 6407421"/>
              <a:gd name="connsiteX3150" fmla="*/ 8774026 w 11701760"/>
              <a:gd name="connsiteY3150" fmla="*/ 1889759 h 6407421"/>
              <a:gd name="connsiteX3151" fmla="*/ 8744423 w 11701760"/>
              <a:gd name="connsiteY3151" fmla="*/ 1889759 h 6407421"/>
              <a:gd name="connsiteX3152" fmla="*/ 2897575 w 11701760"/>
              <a:gd name="connsiteY3152" fmla="*/ 1860271 h 6407421"/>
              <a:gd name="connsiteX3153" fmla="*/ 2927178 w 11701760"/>
              <a:gd name="connsiteY3153" fmla="*/ 1860271 h 6407421"/>
              <a:gd name="connsiteX3154" fmla="*/ 2927178 w 11701760"/>
              <a:gd name="connsiteY3154" fmla="*/ 1889759 h 6407421"/>
              <a:gd name="connsiteX3155" fmla="*/ 2897575 w 11701760"/>
              <a:gd name="connsiteY3155" fmla="*/ 1889759 h 6407421"/>
              <a:gd name="connsiteX3156" fmla="*/ 8478226 w 11701760"/>
              <a:gd name="connsiteY3156" fmla="*/ 1860268 h 6407421"/>
              <a:gd name="connsiteX3157" fmla="*/ 8507828 w 11701760"/>
              <a:gd name="connsiteY3157" fmla="*/ 1860268 h 6407421"/>
              <a:gd name="connsiteX3158" fmla="*/ 8507828 w 11701760"/>
              <a:gd name="connsiteY3158" fmla="*/ 1889757 h 6407421"/>
              <a:gd name="connsiteX3159" fmla="*/ 8478226 w 11701760"/>
              <a:gd name="connsiteY3159" fmla="*/ 1889757 h 6407421"/>
              <a:gd name="connsiteX3160" fmla="*/ 2631378 w 11701760"/>
              <a:gd name="connsiteY3160" fmla="*/ 1860268 h 6407421"/>
              <a:gd name="connsiteX3161" fmla="*/ 2660980 w 11701760"/>
              <a:gd name="connsiteY3161" fmla="*/ 1860268 h 6407421"/>
              <a:gd name="connsiteX3162" fmla="*/ 2660980 w 11701760"/>
              <a:gd name="connsiteY3162" fmla="*/ 1889757 h 6407421"/>
              <a:gd name="connsiteX3163" fmla="*/ 2631378 w 11701760"/>
              <a:gd name="connsiteY3163" fmla="*/ 1889757 h 6407421"/>
              <a:gd name="connsiteX3164" fmla="*/ 8212137 w 11701760"/>
              <a:gd name="connsiteY3164" fmla="*/ 1860266 h 6407421"/>
              <a:gd name="connsiteX3165" fmla="*/ 8241740 w 11701760"/>
              <a:gd name="connsiteY3165" fmla="*/ 1860266 h 6407421"/>
              <a:gd name="connsiteX3166" fmla="*/ 8241740 w 11701760"/>
              <a:gd name="connsiteY3166" fmla="*/ 1889755 h 6407421"/>
              <a:gd name="connsiteX3167" fmla="*/ 8212137 w 11701760"/>
              <a:gd name="connsiteY3167" fmla="*/ 1889755 h 6407421"/>
              <a:gd name="connsiteX3168" fmla="*/ 2365289 w 11701760"/>
              <a:gd name="connsiteY3168" fmla="*/ 1860266 h 6407421"/>
              <a:gd name="connsiteX3169" fmla="*/ 2394892 w 11701760"/>
              <a:gd name="connsiteY3169" fmla="*/ 1860266 h 6407421"/>
              <a:gd name="connsiteX3170" fmla="*/ 2394892 w 11701760"/>
              <a:gd name="connsiteY3170" fmla="*/ 1889755 h 6407421"/>
              <a:gd name="connsiteX3171" fmla="*/ 2365289 w 11701760"/>
              <a:gd name="connsiteY3171" fmla="*/ 1889755 h 6407421"/>
              <a:gd name="connsiteX3172" fmla="*/ 7945940 w 11701760"/>
              <a:gd name="connsiteY3172" fmla="*/ 1860264 h 6407421"/>
              <a:gd name="connsiteX3173" fmla="*/ 7975543 w 11701760"/>
              <a:gd name="connsiteY3173" fmla="*/ 1860264 h 6407421"/>
              <a:gd name="connsiteX3174" fmla="*/ 7975543 w 11701760"/>
              <a:gd name="connsiteY3174" fmla="*/ 1889753 h 6407421"/>
              <a:gd name="connsiteX3175" fmla="*/ 7945940 w 11701760"/>
              <a:gd name="connsiteY3175" fmla="*/ 1889753 h 6407421"/>
              <a:gd name="connsiteX3176" fmla="*/ 2099092 w 11701760"/>
              <a:gd name="connsiteY3176" fmla="*/ 1860264 h 6407421"/>
              <a:gd name="connsiteX3177" fmla="*/ 2128695 w 11701760"/>
              <a:gd name="connsiteY3177" fmla="*/ 1860264 h 6407421"/>
              <a:gd name="connsiteX3178" fmla="*/ 2128695 w 11701760"/>
              <a:gd name="connsiteY3178" fmla="*/ 1889753 h 6407421"/>
              <a:gd name="connsiteX3179" fmla="*/ 2099092 w 11701760"/>
              <a:gd name="connsiteY3179" fmla="*/ 1889753 h 6407421"/>
              <a:gd name="connsiteX3180" fmla="*/ 7679743 w 11701760"/>
              <a:gd name="connsiteY3180" fmla="*/ 1860261 h 6407421"/>
              <a:gd name="connsiteX3181" fmla="*/ 7709346 w 11701760"/>
              <a:gd name="connsiteY3181" fmla="*/ 1860261 h 6407421"/>
              <a:gd name="connsiteX3182" fmla="*/ 7709346 w 11701760"/>
              <a:gd name="connsiteY3182" fmla="*/ 1889751 h 6407421"/>
              <a:gd name="connsiteX3183" fmla="*/ 7679743 w 11701760"/>
              <a:gd name="connsiteY3183" fmla="*/ 1889751 h 6407421"/>
              <a:gd name="connsiteX3184" fmla="*/ 1832898 w 11701760"/>
              <a:gd name="connsiteY3184" fmla="*/ 1860261 h 6407421"/>
              <a:gd name="connsiteX3185" fmla="*/ 1862498 w 11701760"/>
              <a:gd name="connsiteY3185" fmla="*/ 1860261 h 6407421"/>
              <a:gd name="connsiteX3186" fmla="*/ 1862498 w 11701760"/>
              <a:gd name="connsiteY3186" fmla="*/ 1889751 h 6407421"/>
              <a:gd name="connsiteX3187" fmla="*/ 1832898 w 11701760"/>
              <a:gd name="connsiteY3187" fmla="*/ 1889751 h 6407421"/>
              <a:gd name="connsiteX3188" fmla="*/ 7413653 w 11701760"/>
              <a:gd name="connsiteY3188" fmla="*/ 1860259 h 6407421"/>
              <a:gd name="connsiteX3189" fmla="*/ 7443256 w 11701760"/>
              <a:gd name="connsiteY3189" fmla="*/ 1860259 h 6407421"/>
              <a:gd name="connsiteX3190" fmla="*/ 7443256 w 11701760"/>
              <a:gd name="connsiteY3190" fmla="*/ 1889750 h 6407421"/>
              <a:gd name="connsiteX3191" fmla="*/ 7413653 w 11701760"/>
              <a:gd name="connsiteY3191" fmla="*/ 1889750 h 6407421"/>
              <a:gd name="connsiteX3192" fmla="*/ 1566808 w 11701760"/>
              <a:gd name="connsiteY3192" fmla="*/ 1860259 h 6407421"/>
              <a:gd name="connsiteX3193" fmla="*/ 1596409 w 11701760"/>
              <a:gd name="connsiteY3193" fmla="*/ 1860259 h 6407421"/>
              <a:gd name="connsiteX3194" fmla="*/ 1596409 w 11701760"/>
              <a:gd name="connsiteY3194" fmla="*/ 1889750 h 6407421"/>
              <a:gd name="connsiteX3195" fmla="*/ 1566808 w 11701760"/>
              <a:gd name="connsiteY3195" fmla="*/ 1889750 h 6407421"/>
              <a:gd name="connsiteX3196" fmla="*/ 7147456 w 11701760"/>
              <a:gd name="connsiteY3196" fmla="*/ 1860256 h 6407421"/>
              <a:gd name="connsiteX3197" fmla="*/ 7177058 w 11701760"/>
              <a:gd name="connsiteY3197" fmla="*/ 1860256 h 6407421"/>
              <a:gd name="connsiteX3198" fmla="*/ 7177058 w 11701760"/>
              <a:gd name="connsiteY3198" fmla="*/ 1889748 h 6407421"/>
              <a:gd name="connsiteX3199" fmla="*/ 7147456 w 11701760"/>
              <a:gd name="connsiteY3199" fmla="*/ 1889748 h 6407421"/>
              <a:gd name="connsiteX3200" fmla="*/ 1300611 w 11701760"/>
              <a:gd name="connsiteY3200" fmla="*/ 1860256 h 6407421"/>
              <a:gd name="connsiteX3201" fmla="*/ 1330213 w 11701760"/>
              <a:gd name="connsiteY3201" fmla="*/ 1860256 h 6407421"/>
              <a:gd name="connsiteX3202" fmla="*/ 1330213 w 11701760"/>
              <a:gd name="connsiteY3202" fmla="*/ 1889748 h 6407421"/>
              <a:gd name="connsiteX3203" fmla="*/ 1300611 w 11701760"/>
              <a:gd name="connsiteY3203" fmla="*/ 1889748 h 6407421"/>
              <a:gd name="connsiteX3204" fmla="*/ 6881367 w 11701760"/>
              <a:gd name="connsiteY3204" fmla="*/ 1860254 h 6407421"/>
              <a:gd name="connsiteX3205" fmla="*/ 6910970 w 11701760"/>
              <a:gd name="connsiteY3205" fmla="*/ 1860254 h 6407421"/>
              <a:gd name="connsiteX3206" fmla="*/ 6910970 w 11701760"/>
              <a:gd name="connsiteY3206" fmla="*/ 1889747 h 6407421"/>
              <a:gd name="connsiteX3207" fmla="*/ 6881367 w 11701760"/>
              <a:gd name="connsiteY3207" fmla="*/ 1889747 h 6407421"/>
              <a:gd name="connsiteX3208" fmla="*/ 1034520 w 11701760"/>
              <a:gd name="connsiteY3208" fmla="*/ 1860254 h 6407421"/>
              <a:gd name="connsiteX3209" fmla="*/ 1064123 w 11701760"/>
              <a:gd name="connsiteY3209" fmla="*/ 1860254 h 6407421"/>
              <a:gd name="connsiteX3210" fmla="*/ 1064123 w 11701760"/>
              <a:gd name="connsiteY3210" fmla="*/ 1889747 h 6407421"/>
              <a:gd name="connsiteX3211" fmla="*/ 1034520 w 11701760"/>
              <a:gd name="connsiteY3211" fmla="*/ 1889747 h 6407421"/>
              <a:gd name="connsiteX3212" fmla="*/ 6615170 w 11701760"/>
              <a:gd name="connsiteY3212" fmla="*/ 1860252 h 6407421"/>
              <a:gd name="connsiteX3213" fmla="*/ 6644773 w 11701760"/>
              <a:gd name="connsiteY3213" fmla="*/ 1860252 h 6407421"/>
              <a:gd name="connsiteX3214" fmla="*/ 6644773 w 11701760"/>
              <a:gd name="connsiteY3214" fmla="*/ 1889745 h 6407421"/>
              <a:gd name="connsiteX3215" fmla="*/ 6615170 w 11701760"/>
              <a:gd name="connsiteY3215" fmla="*/ 1889745 h 6407421"/>
              <a:gd name="connsiteX3216" fmla="*/ 768327 w 11701760"/>
              <a:gd name="connsiteY3216" fmla="*/ 1860252 h 6407421"/>
              <a:gd name="connsiteX3217" fmla="*/ 797926 w 11701760"/>
              <a:gd name="connsiteY3217" fmla="*/ 1860252 h 6407421"/>
              <a:gd name="connsiteX3218" fmla="*/ 797926 w 11701760"/>
              <a:gd name="connsiteY3218" fmla="*/ 1889745 h 6407421"/>
              <a:gd name="connsiteX3219" fmla="*/ 768327 w 11701760"/>
              <a:gd name="connsiteY3219" fmla="*/ 1889745 h 6407421"/>
              <a:gd name="connsiteX3220" fmla="*/ 6349081 w 11701760"/>
              <a:gd name="connsiteY3220" fmla="*/ 1860249 h 6407421"/>
              <a:gd name="connsiteX3221" fmla="*/ 6378683 w 11701760"/>
              <a:gd name="connsiteY3221" fmla="*/ 1860249 h 6407421"/>
              <a:gd name="connsiteX3222" fmla="*/ 6378683 w 11701760"/>
              <a:gd name="connsiteY3222" fmla="*/ 1889744 h 6407421"/>
              <a:gd name="connsiteX3223" fmla="*/ 6349081 w 11701760"/>
              <a:gd name="connsiteY3223" fmla="*/ 1889744 h 6407421"/>
              <a:gd name="connsiteX3224" fmla="*/ 502236 w 11701760"/>
              <a:gd name="connsiteY3224" fmla="*/ 1860249 h 6407421"/>
              <a:gd name="connsiteX3225" fmla="*/ 531838 w 11701760"/>
              <a:gd name="connsiteY3225" fmla="*/ 1860249 h 6407421"/>
              <a:gd name="connsiteX3226" fmla="*/ 531838 w 11701760"/>
              <a:gd name="connsiteY3226" fmla="*/ 1889744 h 6407421"/>
              <a:gd name="connsiteX3227" fmla="*/ 502236 w 11701760"/>
              <a:gd name="connsiteY3227" fmla="*/ 1889744 h 6407421"/>
              <a:gd name="connsiteX3228" fmla="*/ 6082884 w 11701760"/>
              <a:gd name="connsiteY3228" fmla="*/ 1860247 h 6407421"/>
              <a:gd name="connsiteX3229" fmla="*/ 6112486 w 11701760"/>
              <a:gd name="connsiteY3229" fmla="*/ 1860247 h 6407421"/>
              <a:gd name="connsiteX3230" fmla="*/ 6112486 w 11701760"/>
              <a:gd name="connsiteY3230" fmla="*/ 1889742 h 6407421"/>
              <a:gd name="connsiteX3231" fmla="*/ 6082884 w 11701760"/>
              <a:gd name="connsiteY3231" fmla="*/ 1889742 h 6407421"/>
              <a:gd name="connsiteX3232" fmla="*/ 236037 w 11701760"/>
              <a:gd name="connsiteY3232" fmla="*/ 1860247 h 6407421"/>
              <a:gd name="connsiteX3233" fmla="*/ 265639 w 11701760"/>
              <a:gd name="connsiteY3233" fmla="*/ 1860247 h 6407421"/>
              <a:gd name="connsiteX3234" fmla="*/ 265639 w 11701760"/>
              <a:gd name="connsiteY3234" fmla="*/ 1889742 h 6407421"/>
              <a:gd name="connsiteX3235" fmla="*/ 236037 w 11701760"/>
              <a:gd name="connsiteY3235" fmla="*/ 1889742 h 6407421"/>
              <a:gd name="connsiteX3236" fmla="*/ 1 w 11701760"/>
              <a:gd name="connsiteY3236" fmla="*/ 1860247 h 6407421"/>
              <a:gd name="connsiteX3237" fmla="*/ 29603 w 11701760"/>
              <a:gd name="connsiteY3237" fmla="*/ 1860247 h 6407421"/>
              <a:gd name="connsiteX3238" fmla="*/ 29603 w 11701760"/>
              <a:gd name="connsiteY3238" fmla="*/ 1889742 h 6407421"/>
              <a:gd name="connsiteX3239" fmla="*/ 1 w 11701760"/>
              <a:gd name="connsiteY3239" fmla="*/ 1889742 h 6407421"/>
              <a:gd name="connsiteX3240" fmla="*/ 11672158 w 11701760"/>
              <a:gd name="connsiteY3240" fmla="*/ 1594533 h 6407421"/>
              <a:gd name="connsiteX3241" fmla="*/ 11701760 w 11701760"/>
              <a:gd name="connsiteY3241" fmla="*/ 1594533 h 6407421"/>
              <a:gd name="connsiteX3242" fmla="*/ 11701760 w 11701760"/>
              <a:gd name="connsiteY3242" fmla="*/ 1624136 h 6407421"/>
              <a:gd name="connsiteX3243" fmla="*/ 11672158 w 11701760"/>
              <a:gd name="connsiteY3243" fmla="*/ 1624136 h 6407421"/>
              <a:gd name="connsiteX3244" fmla="*/ 5825310 w 11701760"/>
              <a:gd name="connsiteY3244" fmla="*/ 1594533 h 6407421"/>
              <a:gd name="connsiteX3245" fmla="*/ 5854913 w 11701760"/>
              <a:gd name="connsiteY3245" fmla="*/ 1594533 h 6407421"/>
              <a:gd name="connsiteX3246" fmla="*/ 5854913 w 11701760"/>
              <a:gd name="connsiteY3246" fmla="*/ 1624136 h 6407421"/>
              <a:gd name="connsiteX3247" fmla="*/ 5825310 w 11701760"/>
              <a:gd name="connsiteY3247" fmla="*/ 1624136 h 6407421"/>
              <a:gd name="connsiteX3248" fmla="*/ 11405961 w 11701760"/>
              <a:gd name="connsiteY3248" fmla="*/ 1594531 h 6407421"/>
              <a:gd name="connsiteX3249" fmla="*/ 11435563 w 11701760"/>
              <a:gd name="connsiteY3249" fmla="*/ 1594531 h 6407421"/>
              <a:gd name="connsiteX3250" fmla="*/ 11435563 w 11701760"/>
              <a:gd name="connsiteY3250" fmla="*/ 1624134 h 6407421"/>
              <a:gd name="connsiteX3251" fmla="*/ 11405961 w 11701760"/>
              <a:gd name="connsiteY3251" fmla="*/ 1624134 h 6407421"/>
              <a:gd name="connsiteX3252" fmla="*/ 5559113 w 11701760"/>
              <a:gd name="connsiteY3252" fmla="*/ 1594531 h 6407421"/>
              <a:gd name="connsiteX3253" fmla="*/ 5588715 w 11701760"/>
              <a:gd name="connsiteY3253" fmla="*/ 1594531 h 6407421"/>
              <a:gd name="connsiteX3254" fmla="*/ 5588715 w 11701760"/>
              <a:gd name="connsiteY3254" fmla="*/ 1624134 h 6407421"/>
              <a:gd name="connsiteX3255" fmla="*/ 5559113 w 11701760"/>
              <a:gd name="connsiteY3255" fmla="*/ 1624134 h 6407421"/>
              <a:gd name="connsiteX3256" fmla="*/ 11139872 w 11701760"/>
              <a:gd name="connsiteY3256" fmla="*/ 1594528 h 6407421"/>
              <a:gd name="connsiteX3257" fmla="*/ 11169474 w 11701760"/>
              <a:gd name="connsiteY3257" fmla="*/ 1594528 h 6407421"/>
              <a:gd name="connsiteX3258" fmla="*/ 11169474 w 11701760"/>
              <a:gd name="connsiteY3258" fmla="*/ 1624131 h 6407421"/>
              <a:gd name="connsiteX3259" fmla="*/ 11139872 w 11701760"/>
              <a:gd name="connsiteY3259" fmla="*/ 1624131 h 6407421"/>
              <a:gd name="connsiteX3260" fmla="*/ 5293024 w 11701760"/>
              <a:gd name="connsiteY3260" fmla="*/ 1594528 h 6407421"/>
              <a:gd name="connsiteX3261" fmla="*/ 5322626 w 11701760"/>
              <a:gd name="connsiteY3261" fmla="*/ 1594528 h 6407421"/>
              <a:gd name="connsiteX3262" fmla="*/ 5322626 w 11701760"/>
              <a:gd name="connsiteY3262" fmla="*/ 1624131 h 6407421"/>
              <a:gd name="connsiteX3263" fmla="*/ 5293024 w 11701760"/>
              <a:gd name="connsiteY3263" fmla="*/ 1624131 h 6407421"/>
              <a:gd name="connsiteX3264" fmla="*/ 10873675 w 11701760"/>
              <a:gd name="connsiteY3264" fmla="*/ 1594526 h 6407421"/>
              <a:gd name="connsiteX3265" fmla="*/ 10903277 w 11701760"/>
              <a:gd name="connsiteY3265" fmla="*/ 1594526 h 6407421"/>
              <a:gd name="connsiteX3266" fmla="*/ 10903277 w 11701760"/>
              <a:gd name="connsiteY3266" fmla="*/ 1624129 h 6407421"/>
              <a:gd name="connsiteX3267" fmla="*/ 10873675 w 11701760"/>
              <a:gd name="connsiteY3267" fmla="*/ 1624129 h 6407421"/>
              <a:gd name="connsiteX3268" fmla="*/ 5026827 w 11701760"/>
              <a:gd name="connsiteY3268" fmla="*/ 1594526 h 6407421"/>
              <a:gd name="connsiteX3269" fmla="*/ 5056429 w 11701760"/>
              <a:gd name="connsiteY3269" fmla="*/ 1594526 h 6407421"/>
              <a:gd name="connsiteX3270" fmla="*/ 5056429 w 11701760"/>
              <a:gd name="connsiteY3270" fmla="*/ 1624129 h 6407421"/>
              <a:gd name="connsiteX3271" fmla="*/ 5026827 w 11701760"/>
              <a:gd name="connsiteY3271" fmla="*/ 1624129 h 6407421"/>
              <a:gd name="connsiteX3272" fmla="*/ 10607478 w 11701760"/>
              <a:gd name="connsiteY3272" fmla="*/ 1594523 h 6407421"/>
              <a:gd name="connsiteX3273" fmla="*/ 10637188 w 11701760"/>
              <a:gd name="connsiteY3273" fmla="*/ 1594523 h 6407421"/>
              <a:gd name="connsiteX3274" fmla="*/ 10637188 w 11701760"/>
              <a:gd name="connsiteY3274" fmla="*/ 1624127 h 6407421"/>
              <a:gd name="connsiteX3275" fmla="*/ 10607478 w 11701760"/>
              <a:gd name="connsiteY3275" fmla="*/ 1624127 h 6407421"/>
              <a:gd name="connsiteX3276" fmla="*/ 4760630 w 11701760"/>
              <a:gd name="connsiteY3276" fmla="*/ 1594523 h 6407421"/>
              <a:gd name="connsiteX3277" fmla="*/ 4790340 w 11701760"/>
              <a:gd name="connsiteY3277" fmla="*/ 1594523 h 6407421"/>
              <a:gd name="connsiteX3278" fmla="*/ 4790340 w 11701760"/>
              <a:gd name="connsiteY3278" fmla="*/ 1624127 h 6407421"/>
              <a:gd name="connsiteX3279" fmla="*/ 4760630 w 11701760"/>
              <a:gd name="connsiteY3279" fmla="*/ 1624127 h 6407421"/>
              <a:gd name="connsiteX3280" fmla="*/ 10341389 w 11701760"/>
              <a:gd name="connsiteY3280" fmla="*/ 1594521 h 6407421"/>
              <a:gd name="connsiteX3281" fmla="*/ 10370992 w 11701760"/>
              <a:gd name="connsiteY3281" fmla="*/ 1594521 h 6407421"/>
              <a:gd name="connsiteX3282" fmla="*/ 10370992 w 11701760"/>
              <a:gd name="connsiteY3282" fmla="*/ 1624124 h 6407421"/>
              <a:gd name="connsiteX3283" fmla="*/ 10341389 w 11701760"/>
              <a:gd name="connsiteY3283" fmla="*/ 1624124 h 6407421"/>
              <a:gd name="connsiteX3284" fmla="*/ 4494541 w 11701760"/>
              <a:gd name="connsiteY3284" fmla="*/ 1594521 h 6407421"/>
              <a:gd name="connsiteX3285" fmla="*/ 4524144 w 11701760"/>
              <a:gd name="connsiteY3285" fmla="*/ 1594521 h 6407421"/>
              <a:gd name="connsiteX3286" fmla="*/ 4524144 w 11701760"/>
              <a:gd name="connsiteY3286" fmla="*/ 1624124 h 6407421"/>
              <a:gd name="connsiteX3287" fmla="*/ 4494541 w 11701760"/>
              <a:gd name="connsiteY3287" fmla="*/ 1624124 h 6407421"/>
              <a:gd name="connsiteX3288" fmla="*/ 10075192 w 11701760"/>
              <a:gd name="connsiteY3288" fmla="*/ 1594518 h 6407421"/>
              <a:gd name="connsiteX3289" fmla="*/ 10104794 w 11701760"/>
              <a:gd name="connsiteY3289" fmla="*/ 1594518 h 6407421"/>
              <a:gd name="connsiteX3290" fmla="*/ 10104794 w 11701760"/>
              <a:gd name="connsiteY3290" fmla="*/ 1624122 h 6407421"/>
              <a:gd name="connsiteX3291" fmla="*/ 10075192 w 11701760"/>
              <a:gd name="connsiteY3291" fmla="*/ 1624122 h 6407421"/>
              <a:gd name="connsiteX3292" fmla="*/ 4228344 w 11701760"/>
              <a:gd name="connsiteY3292" fmla="*/ 1594518 h 6407421"/>
              <a:gd name="connsiteX3293" fmla="*/ 4257946 w 11701760"/>
              <a:gd name="connsiteY3293" fmla="*/ 1594518 h 6407421"/>
              <a:gd name="connsiteX3294" fmla="*/ 4257946 w 11701760"/>
              <a:gd name="connsiteY3294" fmla="*/ 1624122 h 6407421"/>
              <a:gd name="connsiteX3295" fmla="*/ 4228344 w 11701760"/>
              <a:gd name="connsiteY3295" fmla="*/ 1624122 h 6407421"/>
              <a:gd name="connsiteX3296" fmla="*/ 9809103 w 11701760"/>
              <a:gd name="connsiteY3296" fmla="*/ 1594516 h 6407421"/>
              <a:gd name="connsiteX3297" fmla="*/ 9838705 w 11701760"/>
              <a:gd name="connsiteY3297" fmla="*/ 1594516 h 6407421"/>
              <a:gd name="connsiteX3298" fmla="*/ 9838705 w 11701760"/>
              <a:gd name="connsiteY3298" fmla="*/ 1624120 h 6407421"/>
              <a:gd name="connsiteX3299" fmla="*/ 9809103 w 11701760"/>
              <a:gd name="connsiteY3299" fmla="*/ 1624120 h 6407421"/>
              <a:gd name="connsiteX3300" fmla="*/ 3962255 w 11701760"/>
              <a:gd name="connsiteY3300" fmla="*/ 1594516 h 6407421"/>
              <a:gd name="connsiteX3301" fmla="*/ 3991857 w 11701760"/>
              <a:gd name="connsiteY3301" fmla="*/ 1594516 h 6407421"/>
              <a:gd name="connsiteX3302" fmla="*/ 3991857 w 11701760"/>
              <a:gd name="connsiteY3302" fmla="*/ 1624120 h 6407421"/>
              <a:gd name="connsiteX3303" fmla="*/ 3962255 w 11701760"/>
              <a:gd name="connsiteY3303" fmla="*/ 1624120 h 6407421"/>
              <a:gd name="connsiteX3304" fmla="*/ 9542906 w 11701760"/>
              <a:gd name="connsiteY3304" fmla="*/ 1594514 h 6407421"/>
              <a:gd name="connsiteX3305" fmla="*/ 9572509 w 11701760"/>
              <a:gd name="connsiteY3305" fmla="*/ 1594514 h 6407421"/>
              <a:gd name="connsiteX3306" fmla="*/ 9572509 w 11701760"/>
              <a:gd name="connsiteY3306" fmla="*/ 1624117 h 6407421"/>
              <a:gd name="connsiteX3307" fmla="*/ 9542906 w 11701760"/>
              <a:gd name="connsiteY3307" fmla="*/ 1624117 h 6407421"/>
              <a:gd name="connsiteX3308" fmla="*/ 3696058 w 11701760"/>
              <a:gd name="connsiteY3308" fmla="*/ 1594514 h 6407421"/>
              <a:gd name="connsiteX3309" fmla="*/ 3725661 w 11701760"/>
              <a:gd name="connsiteY3309" fmla="*/ 1594514 h 6407421"/>
              <a:gd name="connsiteX3310" fmla="*/ 3725661 w 11701760"/>
              <a:gd name="connsiteY3310" fmla="*/ 1624117 h 6407421"/>
              <a:gd name="connsiteX3311" fmla="*/ 3696058 w 11701760"/>
              <a:gd name="connsiteY3311" fmla="*/ 1624117 h 6407421"/>
              <a:gd name="connsiteX3312" fmla="*/ 9276817 w 11701760"/>
              <a:gd name="connsiteY3312" fmla="*/ 1594511 h 6407421"/>
              <a:gd name="connsiteX3313" fmla="*/ 9306420 w 11701760"/>
              <a:gd name="connsiteY3313" fmla="*/ 1594511 h 6407421"/>
              <a:gd name="connsiteX3314" fmla="*/ 9306420 w 11701760"/>
              <a:gd name="connsiteY3314" fmla="*/ 1624114 h 6407421"/>
              <a:gd name="connsiteX3315" fmla="*/ 9276817 w 11701760"/>
              <a:gd name="connsiteY3315" fmla="*/ 1624114 h 6407421"/>
              <a:gd name="connsiteX3316" fmla="*/ 3429969 w 11701760"/>
              <a:gd name="connsiteY3316" fmla="*/ 1594511 h 6407421"/>
              <a:gd name="connsiteX3317" fmla="*/ 3459572 w 11701760"/>
              <a:gd name="connsiteY3317" fmla="*/ 1594511 h 6407421"/>
              <a:gd name="connsiteX3318" fmla="*/ 3459572 w 11701760"/>
              <a:gd name="connsiteY3318" fmla="*/ 1624114 h 6407421"/>
              <a:gd name="connsiteX3319" fmla="*/ 3429969 w 11701760"/>
              <a:gd name="connsiteY3319" fmla="*/ 1624114 h 6407421"/>
              <a:gd name="connsiteX3320" fmla="*/ 9010620 w 11701760"/>
              <a:gd name="connsiteY3320" fmla="*/ 1594509 h 6407421"/>
              <a:gd name="connsiteX3321" fmla="*/ 9040222 w 11701760"/>
              <a:gd name="connsiteY3321" fmla="*/ 1594509 h 6407421"/>
              <a:gd name="connsiteX3322" fmla="*/ 9040222 w 11701760"/>
              <a:gd name="connsiteY3322" fmla="*/ 1624112 h 6407421"/>
              <a:gd name="connsiteX3323" fmla="*/ 9010620 w 11701760"/>
              <a:gd name="connsiteY3323" fmla="*/ 1624112 h 6407421"/>
              <a:gd name="connsiteX3324" fmla="*/ 3163772 w 11701760"/>
              <a:gd name="connsiteY3324" fmla="*/ 1594509 h 6407421"/>
              <a:gd name="connsiteX3325" fmla="*/ 3193374 w 11701760"/>
              <a:gd name="connsiteY3325" fmla="*/ 1594509 h 6407421"/>
              <a:gd name="connsiteX3326" fmla="*/ 3193374 w 11701760"/>
              <a:gd name="connsiteY3326" fmla="*/ 1624112 h 6407421"/>
              <a:gd name="connsiteX3327" fmla="*/ 3163772 w 11701760"/>
              <a:gd name="connsiteY3327" fmla="*/ 1624112 h 6407421"/>
              <a:gd name="connsiteX3328" fmla="*/ 8744423 w 11701760"/>
              <a:gd name="connsiteY3328" fmla="*/ 1594506 h 6407421"/>
              <a:gd name="connsiteX3329" fmla="*/ 8774026 w 11701760"/>
              <a:gd name="connsiteY3329" fmla="*/ 1594506 h 6407421"/>
              <a:gd name="connsiteX3330" fmla="*/ 8774026 w 11701760"/>
              <a:gd name="connsiteY3330" fmla="*/ 1624110 h 6407421"/>
              <a:gd name="connsiteX3331" fmla="*/ 8744423 w 11701760"/>
              <a:gd name="connsiteY3331" fmla="*/ 1624110 h 6407421"/>
              <a:gd name="connsiteX3332" fmla="*/ 2897575 w 11701760"/>
              <a:gd name="connsiteY3332" fmla="*/ 1594506 h 6407421"/>
              <a:gd name="connsiteX3333" fmla="*/ 2927178 w 11701760"/>
              <a:gd name="connsiteY3333" fmla="*/ 1594506 h 6407421"/>
              <a:gd name="connsiteX3334" fmla="*/ 2927178 w 11701760"/>
              <a:gd name="connsiteY3334" fmla="*/ 1624110 h 6407421"/>
              <a:gd name="connsiteX3335" fmla="*/ 2897575 w 11701760"/>
              <a:gd name="connsiteY3335" fmla="*/ 1624110 h 6407421"/>
              <a:gd name="connsiteX3336" fmla="*/ 8478226 w 11701760"/>
              <a:gd name="connsiteY3336" fmla="*/ 1594504 h 6407421"/>
              <a:gd name="connsiteX3337" fmla="*/ 8507828 w 11701760"/>
              <a:gd name="connsiteY3337" fmla="*/ 1594504 h 6407421"/>
              <a:gd name="connsiteX3338" fmla="*/ 8507828 w 11701760"/>
              <a:gd name="connsiteY3338" fmla="*/ 1624107 h 6407421"/>
              <a:gd name="connsiteX3339" fmla="*/ 8478226 w 11701760"/>
              <a:gd name="connsiteY3339" fmla="*/ 1624107 h 6407421"/>
              <a:gd name="connsiteX3340" fmla="*/ 2631378 w 11701760"/>
              <a:gd name="connsiteY3340" fmla="*/ 1594504 h 6407421"/>
              <a:gd name="connsiteX3341" fmla="*/ 2660980 w 11701760"/>
              <a:gd name="connsiteY3341" fmla="*/ 1594504 h 6407421"/>
              <a:gd name="connsiteX3342" fmla="*/ 2660980 w 11701760"/>
              <a:gd name="connsiteY3342" fmla="*/ 1624107 h 6407421"/>
              <a:gd name="connsiteX3343" fmla="*/ 2631378 w 11701760"/>
              <a:gd name="connsiteY3343" fmla="*/ 1624107 h 6407421"/>
              <a:gd name="connsiteX3344" fmla="*/ 8212137 w 11701760"/>
              <a:gd name="connsiteY3344" fmla="*/ 1594502 h 6407421"/>
              <a:gd name="connsiteX3345" fmla="*/ 8241740 w 11701760"/>
              <a:gd name="connsiteY3345" fmla="*/ 1594502 h 6407421"/>
              <a:gd name="connsiteX3346" fmla="*/ 8241740 w 11701760"/>
              <a:gd name="connsiteY3346" fmla="*/ 1624105 h 6407421"/>
              <a:gd name="connsiteX3347" fmla="*/ 8212137 w 11701760"/>
              <a:gd name="connsiteY3347" fmla="*/ 1624105 h 6407421"/>
              <a:gd name="connsiteX3348" fmla="*/ 2365289 w 11701760"/>
              <a:gd name="connsiteY3348" fmla="*/ 1594502 h 6407421"/>
              <a:gd name="connsiteX3349" fmla="*/ 2394892 w 11701760"/>
              <a:gd name="connsiteY3349" fmla="*/ 1594502 h 6407421"/>
              <a:gd name="connsiteX3350" fmla="*/ 2394892 w 11701760"/>
              <a:gd name="connsiteY3350" fmla="*/ 1624105 h 6407421"/>
              <a:gd name="connsiteX3351" fmla="*/ 2365289 w 11701760"/>
              <a:gd name="connsiteY3351" fmla="*/ 1624105 h 6407421"/>
              <a:gd name="connsiteX3352" fmla="*/ 7945940 w 11701760"/>
              <a:gd name="connsiteY3352" fmla="*/ 1594499 h 6407421"/>
              <a:gd name="connsiteX3353" fmla="*/ 7975543 w 11701760"/>
              <a:gd name="connsiteY3353" fmla="*/ 1594499 h 6407421"/>
              <a:gd name="connsiteX3354" fmla="*/ 7975543 w 11701760"/>
              <a:gd name="connsiteY3354" fmla="*/ 1624102 h 6407421"/>
              <a:gd name="connsiteX3355" fmla="*/ 7945940 w 11701760"/>
              <a:gd name="connsiteY3355" fmla="*/ 1624102 h 6407421"/>
              <a:gd name="connsiteX3356" fmla="*/ 2099092 w 11701760"/>
              <a:gd name="connsiteY3356" fmla="*/ 1594499 h 6407421"/>
              <a:gd name="connsiteX3357" fmla="*/ 2128695 w 11701760"/>
              <a:gd name="connsiteY3357" fmla="*/ 1594499 h 6407421"/>
              <a:gd name="connsiteX3358" fmla="*/ 2128695 w 11701760"/>
              <a:gd name="connsiteY3358" fmla="*/ 1624102 h 6407421"/>
              <a:gd name="connsiteX3359" fmla="*/ 2099092 w 11701760"/>
              <a:gd name="connsiteY3359" fmla="*/ 1624102 h 6407421"/>
              <a:gd name="connsiteX3360" fmla="*/ 7679743 w 11701760"/>
              <a:gd name="connsiteY3360" fmla="*/ 1594496 h 6407421"/>
              <a:gd name="connsiteX3361" fmla="*/ 7709346 w 11701760"/>
              <a:gd name="connsiteY3361" fmla="*/ 1594496 h 6407421"/>
              <a:gd name="connsiteX3362" fmla="*/ 7709346 w 11701760"/>
              <a:gd name="connsiteY3362" fmla="*/ 1624100 h 6407421"/>
              <a:gd name="connsiteX3363" fmla="*/ 7679743 w 11701760"/>
              <a:gd name="connsiteY3363" fmla="*/ 1624100 h 6407421"/>
              <a:gd name="connsiteX3364" fmla="*/ 1832898 w 11701760"/>
              <a:gd name="connsiteY3364" fmla="*/ 1594496 h 6407421"/>
              <a:gd name="connsiteX3365" fmla="*/ 1862498 w 11701760"/>
              <a:gd name="connsiteY3365" fmla="*/ 1594496 h 6407421"/>
              <a:gd name="connsiteX3366" fmla="*/ 1862498 w 11701760"/>
              <a:gd name="connsiteY3366" fmla="*/ 1624100 h 6407421"/>
              <a:gd name="connsiteX3367" fmla="*/ 1832898 w 11701760"/>
              <a:gd name="connsiteY3367" fmla="*/ 1624100 h 6407421"/>
              <a:gd name="connsiteX3368" fmla="*/ 7413653 w 11701760"/>
              <a:gd name="connsiteY3368" fmla="*/ 1594494 h 6407421"/>
              <a:gd name="connsiteX3369" fmla="*/ 7443256 w 11701760"/>
              <a:gd name="connsiteY3369" fmla="*/ 1594494 h 6407421"/>
              <a:gd name="connsiteX3370" fmla="*/ 7443256 w 11701760"/>
              <a:gd name="connsiteY3370" fmla="*/ 1624097 h 6407421"/>
              <a:gd name="connsiteX3371" fmla="*/ 7413653 w 11701760"/>
              <a:gd name="connsiteY3371" fmla="*/ 1624097 h 6407421"/>
              <a:gd name="connsiteX3372" fmla="*/ 1566808 w 11701760"/>
              <a:gd name="connsiteY3372" fmla="*/ 1594494 h 6407421"/>
              <a:gd name="connsiteX3373" fmla="*/ 1596409 w 11701760"/>
              <a:gd name="connsiteY3373" fmla="*/ 1594494 h 6407421"/>
              <a:gd name="connsiteX3374" fmla="*/ 1596409 w 11701760"/>
              <a:gd name="connsiteY3374" fmla="*/ 1624097 h 6407421"/>
              <a:gd name="connsiteX3375" fmla="*/ 1566808 w 11701760"/>
              <a:gd name="connsiteY3375" fmla="*/ 1624097 h 6407421"/>
              <a:gd name="connsiteX3376" fmla="*/ 7147456 w 11701760"/>
              <a:gd name="connsiteY3376" fmla="*/ 1594491 h 6407421"/>
              <a:gd name="connsiteX3377" fmla="*/ 7177058 w 11701760"/>
              <a:gd name="connsiteY3377" fmla="*/ 1594491 h 6407421"/>
              <a:gd name="connsiteX3378" fmla="*/ 7177058 w 11701760"/>
              <a:gd name="connsiteY3378" fmla="*/ 1624095 h 6407421"/>
              <a:gd name="connsiteX3379" fmla="*/ 7147456 w 11701760"/>
              <a:gd name="connsiteY3379" fmla="*/ 1624095 h 6407421"/>
              <a:gd name="connsiteX3380" fmla="*/ 1300611 w 11701760"/>
              <a:gd name="connsiteY3380" fmla="*/ 1594491 h 6407421"/>
              <a:gd name="connsiteX3381" fmla="*/ 1330213 w 11701760"/>
              <a:gd name="connsiteY3381" fmla="*/ 1594491 h 6407421"/>
              <a:gd name="connsiteX3382" fmla="*/ 1330213 w 11701760"/>
              <a:gd name="connsiteY3382" fmla="*/ 1624095 h 6407421"/>
              <a:gd name="connsiteX3383" fmla="*/ 1300611 w 11701760"/>
              <a:gd name="connsiteY3383" fmla="*/ 1624095 h 6407421"/>
              <a:gd name="connsiteX3384" fmla="*/ 6881367 w 11701760"/>
              <a:gd name="connsiteY3384" fmla="*/ 1594489 h 6407421"/>
              <a:gd name="connsiteX3385" fmla="*/ 6910970 w 11701760"/>
              <a:gd name="connsiteY3385" fmla="*/ 1594489 h 6407421"/>
              <a:gd name="connsiteX3386" fmla="*/ 6910970 w 11701760"/>
              <a:gd name="connsiteY3386" fmla="*/ 1624092 h 6407421"/>
              <a:gd name="connsiteX3387" fmla="*/ 6881367 w 11701760"/>
              <a:gd name="connsiteY3387" fmla="*/ 1624092 h 6407421"/>
              <a:gd name="connsiteX3388" fmla="*/ 1034520 w 11701760"/>
              <a:gd name="connsiteY3388" fmla="*/ 1594489 h 6407421"/>
              <a:gd name="connsiteX3389" fmla="*/ 1064123 w 11701760"/>
              <a:gd name="connsiteY3389" fmla="*/ 1594489 h 6407421"/>
              <a:gd name="connsiteX3390" fmla="*/ 1064123 w 11701760"/>
              <a:gd name="connsiteY3390" fmla="*/ 1624092 h 6407421"/>
              <a:gd name="connsiteX3391" fmla="*/ 1034520 w 11701760"/>
              <a:gd name="connsiteY3391" fmla="*/ 1624092 h 6407421"/>
              <a:gd name="connsiteX3392" fmla="*/ 6615170 w 11701760"/>
              <a:gd name="connsiteY3392" fmla="*/ 1594486 h 6407421"/>
              <a:gd name="connsiteX3393" fmla="*/ 6644773 w 11701760"/>
              <a:gd name="connsiteY3393" fmla="*/ 1594486 h 6407421"/>
              <a:gd name="connsiteX3394" fmla="*/ 6644773 w 11701760"/>
              <a:gd name="connsiteY3394" fmla="*/ 1624090 h 6407421"/>
              <a:gd name="connsiteX3395" fmla="*/ 6615170 w 11701760"/>
              <a:gd name="connsiteY3395" fmla="*/ 1624090 h 6407421"/>
              <a:gd name="connsiteX3396" fmla="*/ 768327 w 11701760"/>
              <a:gd name="connsiteY3396" fmla="*/ 1594486 h 6407421"/>
              <a:gd name="connsiteX3397" fmla="*/ 797926 w 11701760"/>
              <a:gd name="connsiteY3397" fmla="*/ 1594486 h 6407421"/>
              <a:gd name="connsiteX3398" fmla="*/ 797926 w 11701760"/>
              <a:gd name="connsiteY3398" fmla="*/ 1624090 h 6407421"/>
              <a:gd name="connsiteX3399" fmla="*/ 768327 w 11701760"/>
              <a:gd name="connsiteY3399" fmla="*/ 1624090 h 6407421"/>
              <a:gd name="connsiteX3400" fmla="*/ 6349081 w 11701760"/>
              <a:gd name="connsiteY3400" fmla="*/ 1594484 h 6407421"/>
              <a:gd name="connsiteX3401" fmla="*/ 6378683 w 11701760"/>
              <a:gd name="connsiteY3401" fmla="*/ 1594484 h 6407421"/>
              <a:gd name="connsiteX3402" fmla="*/ 6378683 w 11701760"/>
              <a:gd name="connsiteY3402" fmla="*/ 1624087 h 6407421"/>
              <a:gd name="connsiteX3403" fmla="*/ 6349081 w 11701760"/>
              <a:gd name="connsiteY3403" fmla="*/ 1624087 h 6407421"/>
              <a:gd name="connsiteX3404" fmla="*/ 502236 w 11701760"/>
              <a:gd name="connsiteY3404" fmla="*/ 1594484 h 6407421"/>
              <a:gd name="connsiteX3405" fmla="*/ 531838 w 11701760"/>
              <a:gd name="connsiteY3405" fmla="*/ 1594484 h 6407421"/>
              <a:gd name="connsiteX3406" fmla="*/ 531838 w 11701760"/>
              <a:gd name="connsiteY3406" fmla="*/ 1624087 h 6407421"/>
              <a:gd name="connsiteX3407" fmla="*/ 502236 w 11701760"/>
              <a:gd name="connsiteY3407" fmla="*/ 1624087 h 6407421"/>
              <a:gd name="connsiteX3408" fmla="*/ 6082884 w 11701760"/>
              <a:gd name="connsiteY3408" fmla="*/ 1594482 h 6407421"/>
              <a:gd name="connsiteX3409" fmla="*/ 6112486 w 11701760"/>
              <a:gd name="connsiteY3409" fmla="*/ 1594482 h 6407421"/>
              <a:gd name="connsiteX3410" fmla="*/ 6112486 w 11701760"/>
              <a:gd name="connsiteY3410" fmla="*/ 1624085 h 6407421"/>
              <a:gd name="connsiteX3411" fmla="*/ 6082884 w 11701760"/>
              <a:gd name="connsiteY3411" fmla="*/ 1624085 h 6407421"/>
              <a:gd name="connsiteX3412" fmla="*/ 236037 w 11701760"/>
              <a:gd name="connsiteY3412" fmla="*/ 1594482 h 6407421"/>
              <a:gd name="connsiteX3413" fmla="*/ 265639 w 11701760"/>
              <a:gd name="connsiteY3413" fmla="*/ 1594482 h 6407421"/>
              <a:gd name="connsiteX3414" fmla="*/ 265639 w 11701760"/>
              <a:gd name="connsiteY3414" fmla="*/ 1624085 h 6407421"/>
              <a:gd name="connsiteX3415" fmla="*/ 236037 w 11701760"/>
              <a:gd name="connsiteY3415" fmla="*/ 1624085 h 6407421"/>
              <a:gd name="connsiteX3416" fmla="*/ 1 w 11701760"/>
              <a:gd name="connsiteY3416" fmla="*/ 1594482 h 6407421"/>
              <a:gd name="connsiteX3417" fmla="*/ 29603 w 11701760"/>
              <a:gd name="connsiteY3417" fmla="*/ 1594482 h 6407421"/>
              <a:gd name="connsiteX3418" fmla="*/ 29603 w 11701760"/>
              <a:gd name="connsiteY3418" fmla="*/ 1624085 h 6407421"/>
              <a:gd name="connsiteX3419" fmla="*/ 1 w 11701760"/>
              <a:gd name="connsiteY3419" fmla="*/ 1624085 h 6407421"/>
              <a:gd name="connsiteX3420" fmla="*/ 11672158 w 11701760"/>
              <a:gd name="connsiteY3420" fmla="*/ 1328772 h 6407421"/>
              <a:gd name="connsiteX3421" fmla="*/ 11701760 w 11701760"/>
              <a:gd name="connsiteY3421" fmla="*/ 1328772 h 6407421"/>
              <a:gd name="connsiteX3422" fmla="*/ 11701760 w 11701760"/>
              <a:gd name="connsiteY3422" fmla="*/ 1358375 h 6407421"/>
              <a:gd name="connsiteX3423" fmla="*/ 11672158 w 11701760"/>
              <a:gd name="connsiteY3423" fmla="*/ 1358375 h 6407421"/>
              <a:gd name="connsiteX3424" fmla="*/ 5825310 w 11701760"/>
              <a:gd name="connsiteY3424" fmla="*/ 1328772 h 6407421"/>
              <a:gd name="connsiteX3425" fmla="*/ 5854913 w 11701760"/>
              <a:gd name="connsiteY3425" fmla="*/ 1328772 h 6407421"/>
              <a:gd name="connsiteX3426" fmla="*/ 5854913 w 11701760"/>
              <a:gd name="connsiteY3426" fmla="*/ 1358375 h 6407421"/>
              <a:gd name="connsiteX3427" fmla="*/ 5825310 w 11701760"/>
              <a:gd name="connsiteY3427" fmla="*/ 1358375 h 6407421"/>
              <a:gd name="connsiteX3428" fmla="*/ 11405961 w 11701760"/>
              <a:gd name="connsiteY3428" fmla="*/ 1328769 h 6407421"/>
              <a:gd name="connsiteX3429" fmla="*/ 11435563 w 11701760"/>
              <a:gd name="connsiteY3429" fmla="*/ 1328769 h 6407421"/>
              <a:gd name="connsiteX3430" fmla="*/ 11435563 w 11701760"/>
              <a:gd name="connsiteY3430" fmla="*/ 1358372 h 6407421"/>
              <a:gd name="connsiteX3431" fmla="*/ 11405961 w 11701760"/>
              <a:gd name="connsiteY3431" fmla="*/ 1358372 h 6407421"/>
              <a:gd name="connsiteX3432" fmla="*/ 5559113 w 11701760"/>
              <a:gd name="connsiteY3432" fmla="*/ 1328769 h 6407421"/>
              <a:gd name="connsiteX3433" fmla="*/ 5588715 w 11701760"/>
              <a:gd name="connsiteY3433" fmla="*/ 1328769 h 6407421"/>
              <a:gd name="connsiteX3434" fmla="*/ 5588715 w 11701760"/>
              <a:gd name="connsiteY3434" fmla="*/ 1358372 h 6407421"/>
              <a:gd name="connsiteX3435" fmla="*/ 5559113 w 11701760"/>
              <a:gd name="connsiteY3435" fmla="*/ 1358372 h 6407421"/>
              <a:gd name="connsiteX3436" fmla="*/ 11139872 w 11701760"/>
              <a:gd name="connsiteY3436" fmla="*/ 1328766 h 6407421"/>
              <a:gd name="connsiteX3437" fmla="*/ 11169474 w 11701760"/>
              <a:gd name="connsiteY3437" fmla="*/ 1328766 h 6407421"/>
              <a:gd name="connsiteX3438" fmla="*/ 11169474 w 11701760"/>
              <a:gd name="connsiteY3438" fmla="*/ 1358370 h 6407421"/>
              <a:gd name="connsiteX3439" fmla="*/ 11139872 w 11701760"/>
              <a:gd name="connsiteY3439" fmla="*/ 1358370 h 6407421"/>
              <a:gd name="connsiteX3440" fmla="*/ 5293024 w 11701760"/>
              <a:gd name="connsiteY3440" fmla="*/ 1328766 h 6407421"/>
              <a:gd name="connsiteX3441" fmla="*/ 5322626 w 11701760"/>
              <a:gd name="connsiteY3441" fmla="*/ 1328766 h 6407421"/>
              <a:gd name="connsiteX3442" fmla="*/ 5322626 w 11701760"/>
              <a:gd name="connsiteY3442" fmla="*/ 1358370 h 6407421"/>
              <a:gd name="connsiteX3443" fmla="*/ 5293024 w 11701760"/>
              <a:gd name="connsiteY3443" fmla="*/ 1358370 h 6407421"/>
              <a:gd name="connsiteX3444" fmla="*/ 10873675 w 11701760"/>
              <a:gd name="connsiteY3444" fmla="*/ 1328764 h 6407421"/>
              <a:gd name="connsiteX3445" fmla="*/ 10903277 w 11701760"/>
              <a:gd name="connsiteY3445" fmla="*/ 1328764 h 6407421"/>
              <a:gd name="connsiteX3446" fmla="*/ 10903277 w 11701760"/>
              <a:gd name="connsiteY3446" fmla="*/ 1358367 h 6407421"/>
              <a:gd name="connsiteX3447" fmla="*/ 10873675 w 11701760"/>
              <a:gd name="connsiteY3447" fmla="*/ 1358367 h 6407421"/>
              <a:gd name="connsiteX3448" fmla="*/ 5026827 w 11701760"/>
              <a:gd name="connsiteY3448" fmla="*/ 1328764 h 6407421"/>
              <a:gd name="connsiteX3449" fmla="*/ 5056429 w 11701760"/>
              <a:gd name="connsiteY3449" fmla="*/ 1328764 h 6407421"/>
              <a:gd name="connsiteX3450" fmla="*/ 5056429 w 11701760"/>
              <a:gd name="connsiteY3450" fmla="*/ 1358367 h 6407421"/>
              <a:gd name="connsiteX3451" fmla="*/ 5026827 w 11701760"/>
              <a:gd name="connsiteY3451" fmla="*/ 1358367 h 6407421"/>
              <a:gd name="connsiteX3452" fmla="*/ 10607478 w 11701760"/>
              <a:gd name="connsiteY3452" fmla="*/ 1328761 h 6407421"/>
              <a:gd name="connsiteX3453" fmla="*/ 10637188 w 11701760"/>
              <a:gd name="connsiteY3453" fmla="*/ 1328761 h 6407421"/>
              <a:gd name="connsiteX3454" fmla="*/ 10637188 w 11701760"/>
              <a:gd name="connsiteY3454" fmla="*/ 1358365 h 6407421"/>
              <a:gd name="connsiteX3455" fmla="*/ 10607478 w 11701760"/>
              <a:gd name="connsiteY3455" fmla="*/ 1358365 h 6407421"/>
              <a:gd name="connsiteX3456" fmla="*/ 4760630 w 11701760"/>
              <a:gd name="connsiteY3456" fmla="*/ 1328761 h 6407421"/>
              <a:gd name="connsiteX3457" fmla="*/ 4790340 w 11701760"/>
              <a:gd name="connsiteY3457" fmla="*/ 1328761 h 6407421"/>
              <a:gd name="connsiteX3458" fmla="*/ 4790340 w 11701760"/>
              <a:gd name="connsiteY3458" fmla="*/ 1358365 h 6407421"/>
              <a:gd name="connsiteX3459" fmla="*/ 4760630 w 11701760"/>
              <a:gd name="connsiteY3459" fmla="*/ 1358365 h 6407421"/>
              <a:gd name="connsiteX3460" fmla="*/ 10341389 w 11701760"/>
              <a:gd name="connsiteY3460" fmla="*/ 1328759 h 6407421"/>
              <a:gd name="connsiteX3461" fmla="*/ 10370992 w 11701760"/>
              <a:gd name="connsiteY3461" fmla="*/ 1328759 h 6407421"/>
              <a:gd name="connsiteX3462" fmla="*/ 10370992 w 11701760"/>
              <a:gd name="connsiteY3462" fmla="*/ 1358362 h 6407421"/>
              <a:gd name="connsiteX3463" fmla="*/ 10341389 w 11701760"/>
              <a:gd name="connsiteY3463" fmla="*/ 1358362 h 6407421"/>
              <a:gd name="connsiteX3464" fmla="*/ 4494541 w 11701760"/>
              <a:gd name="connsiteY3464" fmla="*/ 1328759 h 6407421"/>
              <a:gd name="connsiteX3465" fmla="*/ 4524144 w 11701760"/>
              <a:gd name="connsiteY3465" fmla="*/ 1328759 h 6407421"/>
              <a:gd name="connsiteX3466" fmla="*/ 4524144 w 11701760"/>
              <a:gd name="connsiteY3466" fmla="*/ 1358362 h 6407421"/>
              <a:gd name="connsiteX3467" fmla="*/ 4494541 w 11701760"/>
              <a:gd name="connsiteY3467" fmla="*/ 1358362 h 6407421"/>
              <a:gd name="connsiteX3468" fmla="*/ 10075192 w 11701760"/>
              <a:gd name="connsiteY3468" fmla="*/ 1328756 h 6407421"/>
              <a:gd name="connsiteX3469" fmla="*/ 10104794 w 11701760"/>
              <a:gd name="connsiteY3469" fmla="*/ 1328756 h 6407421"/>
              <a:gd name="connsiteX3470" fmla="*/ 10104794 w 11701760"/>
              <a:gd name="connsiteY3470" fmla="*/ 1358359 h 6407421"/>
              <a:gd name="connsiteX3471" fmla="*/ 10075192 w 11701760"/>
              <a:gd name="connsiteY3471" fmla="*/ 1358359 h 6407421"/>
              <a:gd name="connsiteX3472" fmla="*/ 4228344 w 11701760"/>
              <a:gd name="connsiteY3472" fmla="*/ 1328756 h 6407421"/>
              <a:gd name="connsiteX3473" fmla="*/ 4257946 w 11701760"/>
              <a:gd name="connsiteY3473" fmla="*/ 1328756 h 6407421"/>
              <a:gd name="connsiteX3474" fmla="*/ 4257946 w 11701760"/>
              <a:gd name="connsiteY3474" fmla="*/ 1358359 h 6407421"/>
              <a:gd name="connsiteX3475" fmla="*/ 4228344 w 11701760"/>
              <a:gd name="connsiteY3475" fmla="*/ 1358359 h 6407421"/>
              <a:gd name="connsiteX3476" fmla="*/ 9809103 w 11701760"/>
              <a:gd name="connsiteY3476" fmla="*/ 1328753 h 6407421"/>
              <a:gd name="connsiteX3477" fmla="*/ 9838705 w 11701760"/>
              <a:gd name="connsiteY3477" fmla="*/ 1328753 h 6407421"/>
              <a:gd name="connsiteX3478" fmla="*/ 9838705 w 11701760"/>
              <a:gd name="connsiteY3478" fmla="*/ 1358357 h 6407421"/>
              <a:gd name="connsiteX3479" fmla="*/ 9809103 w 11701760"/>
              <a:gd name="connsiteY3479" fmla="*/ 1358357 h 6407421"/>
              <a:gd name="connsiteX3480" fmla="*/ 3962255 w 11701760"/>
              <a:gd name="connsiteY3480" fmla="*/ 1328753 h 6407421"/>
              <a:gd name="connsiteX3481" fmla="*/ 3991857 w 11701760"/>
              <a:gd name="connsiteY3481" fmla="*/ 1328753 h 6407421"/>
              <a:gd name="connsiteX3482" fmla="*/ 3991857 w 11701760"/>
              <a:gd name="connsiteY3482" fmla="*/ 1358357 h 6407421"/>
              <a:gd name="connsiteX3483" fmla="*/ 3962255 w 11701760"/>
              <a:gd name="connsiteY3483" fmla="*/ 1358357 h 6407421"/>
              <a:gd name="connsiteX3484" fmla="*/ 9542906 w 11701760"/>
              <a:gd name="connsiteY3484" fmla="*/ 1328751 h 6407421"/>
              <a:gd name="connsiteX3485" fmla="*/ 9572509 w 11701760"/>
              <a:gd name="connsiteY3485" fmla="*/ 1328751 h 6407421"/>
              <a:gd name="connsiteX3486" fmla="*/ 9572509 w 11701760"/>
              <a:gd name="connsiteY3486" fmla="*/ 1358354 h 6407421"/>
              <a:gd name="connsiteX3487" fmla="*/ 9542906 w 11701760"/>
              <a:gd name="connsiteY3487" fmla="*/ 1358354 h 6407421"/>
              <a:gd name="connsiteX3488" fmla="*/ 3696058 w 11701760"/>
              <a:gd name="connsiteY3488" fmla="*/ 1328751 h 6407421"/>
              <a:gd name="connsiteX3489" fmla="*/ 3725661 w 11701760"/>
              <a:gd name="connsiteY3489" fmla="*/ 1328751 h 6407421"/>
              <a:gd name="connsiteX3490" fmla="*/ 3725661 w 11701760"/>
              <a:gd name="connsiteY3490" fmla="*/ 1358354 h 6407421"/>
              <a:gd name="connsiteX3491" fmla="*/ 3696058 w 11701760"/>
              <a:gd name="connsiteY3491" fmla="*/ 1358354 h 6407421"/>
              <a:gd name="connsiteX3492" fmla="*/ 9276817 w 11701760"/>
              <a:gd name="connsiteY3492" fmla="*/ 1328748 h 6407421"/>
              <a:gd name="connsiteX3493" fmla="*/ 9306420 w 11701760"/>
              <a:gd name="connsiteY3493" fmla="*/ 1328748 h 6407421"/>
              <a:gd name="connsiteX3494" fmla="*/ 9306420 w 11701760"/>
              <a:gd name="connsiteY3494" fmla="*/ 1358351 h 6407421"/>
              <a:gd name="connsiteX3495" fmla="*/ 9276817 w 11701760"/>
              <a:gd name="connsiteY3495" fmla="*/ 1358351 h 6407421"/>
              <a:gd name="connsiteX3496" fmla="*/ 3429969 w 11701760"/>
              <a:gd name="connsiteY3496" fmla="*/ 1328748 h 6407421"/>
              <a:gd name="connsiteX3497" fmla="*/ 3459572 w 11701760"/>
              <a:gd name="connsiteY3497" fmla="*/ 1328748 h 6407421"/>
              <a:gd name="connsiteX3498" fmla="*/ 3459572 w 11701760"/>
              <a:gd name="connsiteY3498" fmla="*/ 1358351 h 6407421"/>
              <a:gd name="connsiteX3499" fmla="*/ 3429969 w 11701760"/>
              <a:gd name="connsiteY3499" fmla="*/ 1358351 h 6407421"/>
              <a:gd name="connsiteX3500" fmla="*/ 9010620 w 11701760"/>
              <a:gd name="connsiteY3500" fmla="*/ 1328745 h 6407421"/>
              <a:gd name="connsiteX3501" fmla="*/ 9040222 w 11701760"/>
              <a:gd name="connsiteY3501" fmla="*/ 1328745 h 6407421"/>
              <a:gd name="connsiteX3502" fmla="*/ 9040222 w 11701760"/>
              <a:gd name="connsiteY3502" fmla="*/ 1358349 h 6407421"/>
              <a:gd name="connsiteX3503" fmla="*/ 9010620 w 11701760"/>
              <a:gd name="connsiteY3503" fmla="*/ 1358349 h 6407421"/>
              <a:gd name="connsiteX3504" fmla="*/ 3163772 w 11701760"/>
              <a:gd name="connsiteY3504" fmla="*/ 1328745 h 6407421"/>
              <a:gd name="connsiteX3505" fmla="*/ 3193374 w 11701760"/>
              <a:gd name="connsiteY3505" fmla="*/ 1328745 h 6407421"/>
              <a:gd name="connsiteX3506" fmla="*/ 3193374 w 11701760"/>
              <a:gd name="connsiteY3506" fmla="*/ 1358349 h 6407421"/>
              <a:gd name="connsiteX3507" fmla="*/ 3163772 w 11701760"/>
              <a:gd name="connsiteY3507" fmla="*/ 1358349 h 6407421"/>
              <a:gd name="connsiteX3508" fmla="*/ 8744423 w 11701760"/>
              <a:gd name="connsiteY3508" fmla="*/ 1328743 h 6407421"/>
              <a:gd name="connsiteX3509" fmla="*/ 8774026 w 11701760"/>
              <a:gd name="connsiteY3509" fmla="*/ 1328743 h 6407421"/>
              <a:gd name="connsiteX3510" fmla="*/ 8774026 w 11701760"/>
              <a:gd name="connsiteY3510" fmla="*/ 1358346 h 6407421"/>
              <a:gd name="connsiteX3511" fmla="*/ 8744423 w 11701760"/>
              <a:gd name="connsiteY3511" fmla="*/ 1358346 h 6407421"/>
              <a:gd name="connsiteX3512" fmla="*/ 2897575 w 11701760"/>
              <a:gd name="connsiteY3512" fmla="*/ 1328743 h 6407421"/>
              <a:gd name="connsiteX3513" fmla="*/ 2927178 w 11701760"/>
              <a:gd name="connsiteY3513" fmla="*/ 1328743 h 6407421"/>
              <a:gd name="connsiteX3514" fmla="*/ 2927178 w 11701760"/>
              <a:gd name="connsiteY3514" fmla="*/ 1358346 h 6407421"/>
              <a:gd name="connsiteX3515" fmla="*/ 2897575 w 11701760"/>
              <a:gd name="connsiteY3515" fmla="*/ 1358346 h 6407421"/>
              <a:gd name="connsiteX3516" fmla="*/ 8478226 w 11701760"/>
              <a:gd name="connsiteY3516" fmla="*/ 1328740 h 6407421"/>
              <a:gd name="connsiteX3517" fmla="*/ 8507828 w 11701760"/>
              <a:gd name="connsiteY3517" fmla="*/ 1328740 h 6407421"/>
              <a:gd name="connsiteX3518" fmla="*/ 8507828 w 11701760"/>
              <a:gd name="connsiteY3518" fmla="*/ 1358344 h 6407421"/>
              <a:gd name="connsiteX3519" fmla="*/ 8478226 w 11701760"/>
              <a:gd name="connsiteY3519" fmla="*/ 1358344 h 6407421"/>
              <a:gd name="connsiteX3520" fmla="*/ 2631378 w 11701760"/>
              <a:gd name="connsiteY3520" fmla="*/ 1328740 h 6407421"/>
              <a:gd name="connsiteX3521" fmla="*/ 2660980 w 11701760"/>
              <a:gd name="connsiteY3521" fmla="*/ 1328740 h 6407421"/>
              <a:gd name="connsiteX3522" fmla="*/ 2660980 w 11701760"/>
              <a:gd name="connsiteY3522" fmla="*/ 1358344 h 6407421"/>
              <a:gd name="connsiteX3523" fmla="*/ 2631378 w 11701760"/>
              <a:gd name="connsiteY3523" fmla="*/ 1358344 h 6407421"/>
              <a:gd name="connsiteX3524" fmla="*/ 8212137 w 11701760"/>
              <a:gd name="connsiteY3524" fmla="*/ 1328738 h 6407421"/>
              <a:gd name="connsiteX3525" fmla="*/ 8241740 w 11701760"/>
              <a:gd name="connsiteY3525" fmla="*/ 1328738 h 6407421"/>
              <a:gd name="connsiteX3526" fmla="*/ 8241740 w 11701760"/>
              <a:gd name="connsiteY3526" fmla="*/ 1358341 h 6407421"/>
              <a:gd name="connsiteX3527" fmla="*/ 8212137 w 11701760"/>
              <a:gd name="connsiteY3527" fmla="*/ 1358341 h 6407421"/>
              <a:gd name="connsiteX3528" fmla="*/ 2365289 w 11701760"/>
              <a:gd name="connsiteY3528" fmla="*/ 1328738 h 6407421"/>
              <a:gd name="connsiteX3529" fmla="*/ 2394892 w 11701760"/>
              <a:gd name="connsiteY3529" fmla="*/ 1328738 h 6407421"/>
              <a:gd name="connsiteX3530" fmla="*/ 2394892 w 11701760"/>
              <a:gd name="connsiteY3530" fmla="*/ 1358341 h 6407421"/>
              <a:gd name="connsiteX3531" fmla="*/ 2365289 w 11701760"/>
              <a:gd name="connsiteY3531" fmla="*/ 1358341 h 6407421"/>
              <a:gd name="connsiteX3532" fmla="*/ 7945940 w 11701760"/>
              <a:gd name="connsiteY3532" fmla="*/ 1328735 h 6407421"/>
              <a:gd name="connsiteX3533" fmla="*/ 7975543 w 11701760"/>
              <a:gd name="connsiteY3533" fmla="*/ 1328735 h 6407421"/>
              <a:gd name="connsiteX3534" fmla="*/ 7975543 w 11701760"/>
              <a:gd name="connsiteY3534" fmla="*/ 1358338 h 6407421"/>
              <a:gd name="connsiteX3535" fmla="*/ 7945940 w 11701760"/>
              <a:gd name="connsiteY3535" fmla="*/ 1358338 h 6407421"/>
              <a:gd name="connsiteX3536" fmla="*/ 2099092 w 11701760"/>
              <a:gd name="connsiteY3536" fmla="*/ 1328735 h 6407421"/>
              <a:gd name="connsiteX3537" fmla="*/ 2128695 w 11701760"/>
              <a:gd name="connsiteY3537" fmla="*/ 1328735 h 6407421"/>
              <a:gd name="connsiteX3538" fmla="*/ 2128695 w 11701760"/>
              <a:gd name="connsiteY3538" fmla="*/ 1358338 h 6407421"/>
              <a:gd name="connsiteX3539" fmla="*/ 2099092 w 11701760"/>
              <a:gd name="connsiteY3539" fmla="*/ 1358338 h 6407421"/>
              <a:gd name="connsiteX3540" fmla="*/ 7679743 w 11701760"/>
              <a:gd name="connsiteY3540" fmla="*/ 1328732 h 6407421"/>
              <a:gd name="connsiteX3541" fmla="*/ 7709346 w 11701760"/>
              <a:gd name="connsiteY3541" fmla="*/ 1328732 h 6407421"/>
              <a:gd name="connsiteX3542" fmla="*/ 7709346 w 11701760"/>
              <a:gd name="connsiteY3542" fmla="*/ 1358336 h 6407421"/>
              <a:gd name="connsiteX3543" fmla="*/ 7679743 w 11701760"/>
              <a:gd name="connsiteY3543" fmla="*/ 1358336 h 6407421"/>
              <a:gd name="connsiteX3544" fmla="*/ 1832898 w 11701760"/>
              <a:gd name="connsiteY3544" fmla="*/ 1328732 h 6407421"/>
              <a:gd name="connsiteX3545" fmla="*/ 1862498 w 11701760"/>
              <a:gd name="connsiteY3545" fmla="*/ 1328732 h 6407421"/>
              <a:gd name="connsiteX3546" fmla="*/ 1862498 w 11701760"/>
              <a:gd name="connsiteY3546" fmla="*/ 1358336 h 6407421"/>
              <a:gd name="connsiteX3547" fmla="*/ 1832898 w 11701760"/>
              <a:gd name="connsiteY3547" fmla="*/ 1358336 h 6407421"/>
              <a:gd name="connsiteX3548" fmla="*/ 7413653 w 11701760"/>
              <a:gd name="connsiteY3548" fmla="*/ 1328730 h 6407421"/>
              <a:gd name="connsiteX3549" fmla="*/ 7443256 w 11701760"/>
              <a:gd name="connsiteY3549" fmla="*/ 1328730 h 6407421"/>
              <a:gd name="connsiteX3550" fmla="*/ 7443256 w 11701760"/>
              <a:gd name="connsiteY3550" fmla="*/ 1358333 h 6407421"/>
              <a:gd name="connsiteX3551" fmla="*/ 7413653 w 11701760"/>
              <a:gd name="connsiteY3551" fmla="*/ 1358333 h 6407421"/>
              <a:gd name="connsiteX3552" fmla="*/ 1566808 w 11701760"/>
              <a:gd name="connsiteY3552" fmla="*/ 1328730 h 6407421"/>
              <a:gd name="connsiteX3553" fmla="*/ 1596409 w 11701760"/>
              <a:gd name="connsiteY3553" fmla="*/ 1328730 h 6407421"/>
              <a:gd name="connsiteX3554" fmla="*/ 1596409 w 11701760"/>
              <a:gd name="connsiteY3554" fmla="*/ 1358333 h 6407421"/>
              <a:gd name="connsiteX3555" fmla="*/ 1566808 w 11701760"/>
              <a:gd name="connsiteY3555" fmla="*/ 1358333 h 6407421"/>
              <a:gd name="connsiteX3556" fmla="*/ 7147456 w 11701760"/>
              <a:gd name="connsiteY3556" fmla="*/ 1328727 h 6407421"/>
              <a:gd name="connsiteX3557" fmla="*/ 7177058 w 11701760"/>
              <a:gd name="connsiteY3557" fmla="*/ 1328727 h 6407421"/>
              <a:gd name="connsiteX3558" fmla="*/ 7177058 w 11701760"/>
              <a:gd name="connsiteY3558" fmla="*/ 1358330 h 6407421"/>
              <a:gd name="connsiteX3559" fmla="*/ 7147456 w 11701760"/>
              <a:gd name="connsiteY3559" fmla="*/ 1358330 h 6407421"/>
              <a:gd name="connsiteX3560" fmla="*/ 1300611 w 11701760"/>
              <a:gd name="connsiteY3560" fmla="*/ 1328727 h 6407421"/>
              <a:gd name="connsiteX3561" fmla="*/ 1330213 w 11701760"/>
              <a:gd name="connsiteY3561" fmla="*/ 1328727 h 6407421"/>
              <a:gd name="connsiteX3562" fmla="*/ 1330213 w 11701760"/>
              <a:gd name="connsiteY3562" fmla="*/ 1358330 h 6407421"/>
              <a:gd name="connsiteX3563" fmla="*/ 1300611 w 11701760"/>
              <a:gd name="connsiteY3563" fmla="*/ 1358330 h 6407421"/>
              <a:gd name="connsiteX3564" fmla="*/ 6881367 w 11701760"/>
              <a:gd name="connsiteY3564" fmla="*/ 1328724 h 6407421"/>
              <a:gd name="connsiteX3565" fmla="*/ 6910970 w 11701760"/>
              <a:gd name="connsiteY3565" fmla="*/ 1328724 h 6407421"/>
              <a:gd name="connsiteX3566" fmla="*/ 6910970 w 11701760"/>
              <a:gd name="connsiteY3566" fmla="*/ 1358328 h 6407421"/>
              <a:gd name="connsiteX3567" fmla="*/ 6881367 w 11701760"/>
              <a:gd name="connsiteY3567" fmla="*/ 1358328 h 6407421"/>
              <a:gd name="connsiteX3568" fmla="*/ 1034520 w 11701760"/>
              <a:gd name="connsiteY3568" fmla="*/ 1328724 h 6407421"/>
              <a:gd name="connsiteX3569" fmla="*/ 1064123 w 11701760"/>
              <a:gd name="connsiteY3569" fmla="*/ 1328724 h 6407421"/>
              <a:gd name="connsiteX3570" fmla="*/ 1064123 w 11701760"/>
              <a:gd name="connsiteY3570" fmla="*/ 1358328 h 6407421"/>
              <a:gd name="connsiteX3571" fmla="*/ 1034520 w 11701760"/>
              <a:gd name="connsiteY3571" fmla="*/ 1358328 h 6407421"/>
              <a:gd name="connsiteX3572" fmla="*/ 6615170 w 11701760"/>
              <a:gd name="connsiteY3572" fmla="*/ 1328722 h 6407421"/>
              <a:gd name="connsiteX3573" fmla="*/ 6644773 w 11701760"/>
              <a:gd name="connsiteY3573" fmla="*/ 1328722 h 6407421"/>
              <a:gd name="connsiteX3574" fmla="*/ 6644773 w 11701760"/>
              <a:gd name="connsiteY3574" fmla="*/ 1358325 h 6407421"/>
              <a:gd name="connsiteX3575" fmla="*/ 6615170 w 11701760"/>
              <a:gd name="connsiteY3575" fmla="*/ 1358325 h 6407421"/>
              <a:gd name="connsiteX3576" fmla="*/ 768327 w 11701760"/>
              <a:gd name="connsiteY3576" fmla="*/ 1328722 h 6407421"/>
              <a:gd name="connsiteX3577" fmla="*/ 797926 w 11701760"/>
              <a:gd name="connsiteY3577" fmla="*/ 1328722 h 6407421"/>
              <a:gd name="connsiteX3578" fmla="*/ 797926 w 11701760"/>
              <a:gd name="connsiteY3578" fmla="*/ 1358325 h 6407421"/>
              <a:gd name="connsiteX3579" fmla="*/ 768327 w 11701760"/>
              <a:gd name="connsiteY3579" fmla="*/ 1358325 h 6407421"/>
              <a:gd name="connsiteX3580" fmla="*/ 6349081 w 11701760"/>
              <a:gd name="connsiteY3580" fmla="*/ 1328719 h 6407421"/>
              <a:gd name="connsiteX3581" fmla="*/ 6378683 w 11701760"/>
              <a:gd name="connsiteY3581" fmla="*/ 1328719 h 6407421"/>
              <a:gd name="connsiteX3582" fmla="*/ 6378683 w 11701760"/>
              <a:gd name="connsiteY3582" fmla="*/ 1358323 h 6407421"/>
              <a:gd name="connsiteX3583" fmla="*/ 6349081 w 11701760"/>
              <a:gd name="connsiteY3583" fmla="*/ 1358323 h 6407421"/>
              <a:gd name="connsiteX3584" fmla="*/ 502236 w 11701760"/>
              <a:gd name="connsiteY3584" fmla="*/ 1328719 h 6407421"/>
              <a:gd name="connsiteX3585" fmla="*/ 531838 w 11701760"/>
              <a:gd name="connsiteY3585" fmla="*/ 1328719 h 6407421"/>
              <a:gd name="connsiteX3586" fmla="*/ 531838 w 11701760"/>
              <a:gd name="connsiteY3586" fmla="*/ 1358323 h 6407421"/>
              <a:gd name="connsiteX3587" fmla="*/ 502236 w 11701760"/>
              <a:gd name="connsiteY3587" fmla="*/ 1358323 h 6407421"/>
              <a:gd name="connsiteX3588" fmla="*/ 6082884 w 11701760"/>
              <a:gd name="connsiteY3588" fmla="*/ 1328717 h 6407421"/>
              <a:gd name="connsiteX3589" fmla="*/ 6112486 w 11701760"/>
              <a:gd name="connsiteY3589" fmla="*/ 1328717 h 6407421"/>
              <a:gd name="connsiteX3590" fmla="*/ 6112486 w 11701760"/>
              <a:gd name="connsiteY3590" fmla="*/ 1358320 h 6407421"/>
              <a:gd name="connsiteX3591" fmla="*/ 6082884 w 11701760"/>
              <a:gd name="connsiteY3591" fmla="*/ 1358320 h 6407421"/>
              <a:gd name="connsiteX3592" fmla="*/ 236036 w 11701760"/>
              <a:gd name="connsiteY3592" fmla="*/ 1328717 h 6407421"/>
              <a:gd name="connsiteX3593" fmla="*/ 265639 w 11701760"/>
              <a:gd name="connsiteY3593" fmla="*/ 1328717 h 6407421"/>
              <a:gd name="connsiteX3594" fmla="*/ 265639 w 11701760"/>
              <a:gd name="connsiteY3594" fmla="*/ 1358320 h 6407421"/>
              <a:gd name="connsiteX3595" fmla="*/ 236036 w 11701760"/>
              <a:gd name="connsiteY3595" fmla="*/ 1358320 h 6407421"/>
              <a:gd name="connsiteX3596" fmla="*/ 1 w 11701760"/>
              <a:gd name="connsiteY3596" fmla="*/ 1328717 h 6407421"/>
              <a:gd name="connsiteX3597" fmla="*/ 29602 w 11701760"/>
              <a:gd name="connsiteY3597" fmla="*/ 1328717 h 6407421"/>
              <a:gd name="connsiteX3598" fmla="*/ 29602 w 11701760"/>
              <a:gd name="connsiteY3598" fmla="*/ 1358320 h 6407421"/>
              <a:gd name="connsiteX3599" fmla="*/ 1 w 11701760"/>
              <a:gd name="connsiteY3599" fmla="*/ 1358320 h 6407421"/>
              <a:gd name="connsiteX3600" fmla="*/ 11672158 w 11701760"/>
              <a:gd name="connsiteY3600" fmla="*/ 1063123 h 6407421"/>
              <a:gd name="connsiteX3601" fmla="*/ 11701760 w 11701760"/>
              <a:gd name="connsiteY3601" fmla="*/ 1063123 h 6407421"/>
              <a:gd name="connsiteX3602" fmla="*/ 11701760 w 11701760"/>
              <a:gd name="connsiteY3602" fmla="*/ 1092617 h 6407421"/>
              <a:gd name="connsiteX3603" fmla="*/ 11672158 w 11701760"/>
              <a:gd name="connsiteY3603" fmla="*/ 1092617 h 6407421"/>
              <a:gd name="connsiteX3604" fmla="*/ 5825310 w 11701760"/>
              <a:gd name="connsiteY3604" fmla="*/ 1063123 h 6407421"/>
              <a:gd name="connsiteX3605" fmla="*/ 5854913 w 11701760"/>
              <a:gd name="connsiteY3605" fmla="*/ 1063123 h 6407421"/>
              <a:gd name="connsiteX3606" fmla="*/ 5854913 w 11701760"/>
              <a:gd name="connsiteY3606" fmla="*/ 1092617 h 6407421"/>
              <a:gd name="connsiteX3607" fmla="*/ 5825310 w 11701760"/>
              <a:gd name="connsiteY3607" fmla="*/ 1092617 h 6407421"/>
              <a:gd name="connsiteX3608" fmla="*/ 11405961 w 11701760"/>
              <a:gd name="connsiteY3608" fmla="*/ 1063120 h 6407421"/>
              <a:gd name="connsiteX3609" fmla="*/ 11435563 w 11701760"/>
              <a:gd name="connsiteY3609" fmla="*/ 1063120 h 6407421"/>
              <a:gd name="connsiteX3610" fmla="*/ 11435563 w 11701760"/>
              <a:gd name="connsiteY3610" fmla="*/ 1092615 h 6407421"/>
              <a:gd name="connsiteX3611" fmla="*/ 11405961 w 11701760"/>
              <a:gd name="connsiteY3611" fmla="*/ 1092615 h 6407421"/>
              <a:gd name="connsiteX3612" fmla="*/ 5559113 w 11701760"/>
              <a:gd name="connsiteY3612" fmla="*/ 1063120 h 6407421"/>
              <a:gd name="connsiteX3613" fmla="*/ 5588715 w 11701760"/>
              <a:gd name="connsiteY3613" fmla="*/ 1063120 h 6407421"/>
              <a:gd name="connsiteX3614" fmla="*/ 5588715 w 11701760"/>
              <a:gd name="connsiteY3614" fmla="*/ 1092615 h 6407421"/>
              <a:gd name="connsiteX3615" fmla="*/ 5559113 w 11701760"/>
              <a:gd name="connsiteY3615" fmla="*/ 1092615 h 6407421"/>
              <a:gd name="connsiteX3616" fmla="*/ 11139872 w 11701760"/>
              <a:gd name="connsiteY3616" fmla="*/ 1063117 h 6407421"/>
              <a:gd name="connsiteX3617" fmla="*/ 11169474 w 11701760"/>
              <a:gd name="connsiteY3617" fmla="*/ 1063117 h 6407421"/>
              <a:gd name="connsiteX3618" fmla="*/ 11169474 w 11701760"/>
              <a:gd name="connsiteY3618" fmla="*/ 1092612 h 6407421"/>
              <a:gd name="connsiteX3619" fmla="*/ 11139872 w 11701760"/>
              <a:gd name="connsiteY3619" fmla="*/ 1092612 h 6407421"/>
              <a:gd name="connsiteX3620" fmla="*/ 5293024 w 11701760"/>
              <a:gd name="connsiteY3620" fmla="*/ 1063117 h 6407421"/>
              <a:gd name="connsiteX3621" fmla="*/ 5322626 w 11701760"/>
              <a:gd name="connsiteY3621" fmla="*/ 1063117 h 6407421"/>
              <a:gd name="connsiteX3622" fmla="*/ 5322626 w 11701760"/>
              <a:gd name="connsiteY3622" fmla="*/ 1092612 h 6407421"/>
              <a:gd name="connsiteX3623" fmla="*/ 5293024 w 11701760"/>
              <a:gd name="connsiteY3623" fmla="*/ 1092612 h 6407421"/>
              <a:gd name="connsiteX3624" fmla="*/ 10873675 w 11701760"/>
              <a:gd name="connsiteY3624" fmla="*/ 1063114 h 6407421"/>
              <a:gd name="connsiteX3625" fmla="*/ 10903277 w 11701760"/>
              <a:gd name="connsiteY3625" fmla="*/ 1063114 h 6407421"/>
              <a:gd name="connsiteX3626" fmla="*/ 10903277 w 11701760"/>
              <a:gd name="connsiteY3626" fmla="*/ 1092608 h 6407421"/>
              <a:gd name="connsiteX3627" fmla="*/ 10873675 w 11701760"/>
              <a:gd name="connsiteY3627" fmla="*/ 1092608 h 6407421"/>
              <a:gd name="connsiteX3628" fmla="*/ 5026827 w 11701760"/>
              <a:gd name="connsiteY3628" fmla="*/ 1063114 h 6407421"/>
              <a:gd name="connsiteX3629" fmla="*/ 5056429 w 11701760"/>
              <a:gd name="connsiteY3629" fmla="*/ 1063114 h 6407421"/>
              <a:gd name="connsiteX3630" fmla="*/ 5056429 w 11701760"/>
              <a:gd name="connsiteY3630" fmla="*/ 1092608 h 6407421"/>
              <a:gd name="connsiteX3631" fmla="*/ 5026827 w 11701760"/>
              <a:gd name="connsiteY3631" fmla="*/ 1092608 h 6407421"/>
              <a:gd name="connsiteX3632" fmla="*/ 10607478 w 11701760"/>
              <a:gd name="connsiteY3632" fmla="*/ 1063111 h 6407421"/>
              <a:gd name="connsiteX3633" fmla="*/ 10637188 w 11701760"/>
              <a:gd name="connsiteY3633" fmla="*/ 1063111 h 6407421"/>
              <a:gd name="connsiteX3634" fmla="*/ 10637188 w 11701760"/>
              <a:gd name="connsiteY3634" fmla="*/ 1092605 h 6407421"/>
              <a:gd name="connsiteX3635" fmla="*/ 10607478 w 11701760"/>
              <a:gd name="connsiteY3635" fmla="*/ 1092605 h 6407421"/>
              <a:gd name="connsiteX3636" fmla="*/ 4760630 w 11701760"/>
              <a:gd name="connsiteY3636" fmla="*/ 1063111 h 6407421"/>
              <a:gd name="connsiteX3637" fmla="*/ 4790340 w 11701760"/>
              <a:gd name="connsiteY3637" fmla="*/ 1063111 h 6407421"/>
              <a:gd name="connsiteX3638" fmla="*/ 4790340 w 11701760"/>
              <a:gd name="connsiteY3638" fmla="*/ 1092605 h 6407421"/>
              <a:gd name="connsiteX3639" fmla="*/ 4760630 w 11701760"/>
              <a:gd name="connsiteY3639" fmla="*/ 1092605 h 6407421"/>
              <a:gd name="connsiteX3640" fmla="*/ 10341389 w 11701760"/>
              <a:gd name="connsiteY3640" fmla="*/ 1063108 h 6407421"/>
              <a:gd name="connsiteX3641" fmla="*/ 10370992 w 11701760"/>
              <a:gd name="connsiteY3641" fmla="*/ 1063108 h 6407421"/>
              <a:gd name="connsiteX3642" fmla="*/ 10370992 w 11701760"/>
              <a:gd name="connsiteY3642" fmla="*/ 1092602 h 6407421"/>
              <a:gd name="connsiteX3643" fmla="*/ 10341389 w 11701760"/>
              <a:gd name="connsiteY3643" fmla="*/ 1092602 h 6407421"/>
              <a:gd name="connsiteX3644" fmla="*/ 4494541 w 11701760"/>
              <a:gd name="connsiteY3644" fmla="*/ 1063108 h 6407421"/>
              <a:gd name="connsiteX3645" fmla="*/ 4524144 w 11701760"/>
              <a:gd name="connsiteY3645" fmla="*/ 1063108 h 6407421"/>
              <a:gd name="connsiteX3646" fmla="*/ 4524144 w 11701760"/>
              <a:gd name="connsiteY3646" fmla="*/ 1092602 h 6407421"/>
              <a:gd name="connsiteX3647" fmla="*/ 4494541 w 11701760"/>
              <a:gd name="connsiteY3647" fmla="*/ 1092602 h 6407421"/>
              <a:gd name="connsiteX3648" fmla="*/ 10075192 w 11701760"/>
              <a:gd name="connsiteY3648" fmla="*/ 1063105 h 6407421"/>
              <a:gd name="connsiteX3649" fmla="*/ 10104794 w 11701760"/>
              <a:gd name="connsiteY3649" fmla="*/ 1063105 h 6407421"/>
              <a:gd name="connsiteX3650" fmla="*/ 10104794 w 11701760"/>
              <a:gd name="connsiteY3650" fmla="*/ 1092599 h 6407421"/>
              <a:gd name="connsiteX3651" fmla="*/ 10075192 w 11701760"/>
              <a:gd name="connsiteY3651" fmla="*/ 1092599 h 6407421"/>
              <a:gd name="connsiteX3652" fmla="*/ 4228344 w 11701760"/>
              <a:gd name="connsiteY3652" fmla="*/ 1063105 h 6407421"/>
              <a:gd name="connsiteX3653" fmla="*/ 4257946 w 11701760"/>
              <a:gd name="connsiteY3653" fmla="*/ 1063105 h 6407421"/>
              <a:gd name="connsiteX3654" fmla="*/ 4257946 w 11701760"/>
              <a:gd name="connsiteY3654" fmla="*/ 1092599 h 6407421"/>
              <a:gd name="connsiteX3655" fmla="*/ 4228344 w 11701760"/>
              <a:gd name="connsiteY3655" fmla="*/ 1092599 h 6407421"/>
              <a:gd name="connsiteX3656" fmla="*/ 9809103 w 11701760"/>
              <a:gd name="connsiteY3656" fmla="*/ 1063102 h 6407421"/>
              <a:gd name="connsiteX3657" fmla="*/ 9838705 w 11701760"/>
              <a:gd name="connsiteY3657" fmla="*/ 1063102 h 6407421"/>
              <a:gd name="connsiteX3658" fmla="*/ 9838705 w 11701760"/>
              <a:gd name="connsiteY3658" fmla="*/ 1092596 h 6407421"/>
              <a:gd name="connsiteX3659" fmla="*/ 9809103 w 11701760"/>
              <a:gd name="connsiteY3659" fmla="*/ 1092596 h 6407421"/>
              <a:gd name="connsiteX3660" fmla="*/ 3962255 w 11701760"/>
              <a:gd name="connsiteY3660" fmla="*/ 1063102 h 6407421"/>
              <a:gd name="connsiteX3661" fmla="*/ 3991857 w 11701760"/>
              <a:gd name="connsiteY3661" fmla="*/ 1063102 h 6407421"/>
              <a:gd name="connsiteX3662" fmla="*/ 3991857 w 11701760"/>
              <a:gd name="connsiteY3662" fmla="*/ 1092596 h 6407421"/>
              <a:gd name="connsiteX3663" fmla="*/ 3962255 w 11701760"/>
              <a:gd name="connsiteY3663" fmla="*/ 1092596 h 6407421"/>
              <a:gd name="connsiteX3664" fmla="*/ 9542906 w 11701760"/>
              <a:gd name="connsiteY3664" fmla="*/ 1063099 h 6407421"/>
              <a:gd name="connsiteX3665" fmla="*/ 9572509 w 11701760"/>
              <a:gd name="connsiteY3665" fmla="*/ 1063099 h 6407421"/>
              <a:gd name="connsiteX3666" fmla="*/ 9572509 w 11701760"/>
              <a:gd name="connsiteY3666" fmla="*/ 1092593 h 6407421"/>
              <a:gd name="connsiteX3667" fmla="*/ 9542906 w 11701760"/>
              <a:gd name="connsiteY3667" fmla="*/ 1092593 h 6407421"/>
              <a:gd name="connsiteX3668" fmla="*/ 3696058 w 11701760"/>
              <a:gd name="connsiteY3668" fmla="*/ 1063099 h 6407421"/>
              <a:gd name="connsiteX3669" fmla="*/ 3725661 w 11701760"/>
              <a:gd name="connsiteY3669" fmla="*/ 1063099 h 6407421"/>
              <a:gd name="connsiteX3670" fmla="*/ 3725661 w 11701760"/>
              <a:gd name="connsiteY3670" fmla="*/ 1092593 h 6407421"/>
              <a:gd name="connsiteX3671" fmla="*/ 3696058 w 11701760"/>
              <a:gd name="connsiteY3671" fmla="*/ 1092593 h 6407421"/>
              <a:gd name="connsiteX3672" fmla="*/ 9276817 w 11701760"/>
              <a:gd name="connsiteY3672" fmla="*/ 1063096 h 6407421"/>
              <a:gd name="connsiteX3673" fmla="*/ 9306420 w 11701760"/>
              <a:gd name="connsiteY3673" fmla="*/ 1063096 h 6407421"/>
              <a:gd name="connsiteX3674" fmla="*/ 9306420 w 11701760"/>
              <a:gd name="connsiteY3674" fmla="*/ 1092590 h 6407421"/>
              <a:gd name="connsiteX3675" fmla="*/ 9276817 w 11701760"/>
              <a:gd name="connsiteY3675" fmla="*/ 1092590 h 6407421"/>
              <a:gd name="connsiteX3676" fmla="*/ 3429969 w 11701760"/>
              <a:gd name="connsiteY3676" fmla="*/ 1063096 h 6407421"/>
              <a:gd name="connsiteX3677" fmla="*/ 3459572 w 11701760"/>
              <a:gd name="connsiteY3677" fmla="*/ 1063096 h 6407421"/>
              <a:gd name="connsiteX3678" fmla="*/ 3459572 w 11701760"/>
              <a:gd name="connsiteY3678" fmla="*/ 1092590 h 6407421"/>
              <a:gd name="connsiteX3679" fmla="*/ 3429969 w 11701760"/>
              <a:gd name="connsiteY3679" fmla="*/ 1092590 h 6407421"/>
              <a:gd name="connsiteX3680" fmla="*/ 9010620 w 11701760"/>
              <a:gd name="connsiteY3680" fmla="*/ 1063093 h 6407421"/>
              <a:gd name="connsiteX3681" fmla="*/ 9040222 w 11701760"/>
              <a:gd name="connsiteY3681" fmla="*/ 1063093 h 6407421"/>
              <a:gd name="connsiteX3682" fmla="*/ 9040222 w 11701760"/>
              <a:gd name="connsiteY3682" fmla="*/ 1092587 h 6407421"/>
              <a:gd name="connsiteX3683" fmla="*/ 9010620 w 11701760"/>
              <a:gd name="connsiteY3683" fmla="*/ 1092587 h 6407421"/>
              <a:gd name="connsiteX3684" fmla="*/ 3163772 w 11701760"/>
              <a:gd name="connsiteY3684" fmla="*/ 1063093 h 6407421"/>
              <a:gd name="connsiteX3685" fmla="*/ 3193374 w 11701760"/>
              <a:gd name="connsiteY3685" fmla="*/ 1063093 h 6407421"/>
              <a:gd name="connsiteX3686" fmla="*/ 3193374 w 11701760"/>
              <a:gd name="connsiteY3686" fmla="*/ 1092587 h 6407421"/>
              <a:gd name="connsiteX3687" fmla="*/ 3163772 w 11701760"/>
              <a:gd name="connsiteY3687" fmla="*/ 1092587 h 6407421"/>
              <a:gd name="connsiteX3688" fmla="*/ 8744423 w 11701760"/>
              <a:gd name="connsiteY3688" fmla="*/ 1063090 h 6407421"/>
              <a:gd name="connsiteX3689" fmla="*/ 8774026 w 11701760"/>
              <a:gd name="connsiteY3689" fmla="*/ 1063090 h 6407421"/>
              <a:gd name="connsiteX3690" fmla="*/ 8774026 w 11701760"/>
              <a:gd name="connsiteY3690" fmla="*/ 1092584 h 6407421"/>
              <a:gd name="connsiteX3691" fmla="*/ 8744423 w 11701760"/>
              <a:gd name="connsiteY3691" fmla="*/ 1092584 h 6407421"/>
              <a:gd name="connsiteX3692" fmla="*/ 2897575 w 11701760"/>
              <a:gd name="connsiteY3692" fmla="*/ 1063090 h 6407421"/>
              <a:gd name="connsiteX3693" fmla="*/ 2927178 w 11701760"/>
              <a:gd name="connsiteY3693" fmla="*/ 1063090 h 6407421"/>
              <a:gd name="connsiteX3694" fmla="*/ 2927178 w 11701760"/>
              <a:gd name="connsiteY3694" fmla="*/ 1092584 h 6407421"/>
              <a:gd name="connsiteX3695" fmla="*/ 2897575 w 11701760"/>
              <a:gd name="connsiteY3695" fmla="*/ 1092584 h 6407421"/>
              <a:gd name="connsiteX3696" fmla="*/ 8478226 w 11701760"/>
              <a:gd name="connsiteY3696" fmla="*/ 1063087 h 6407421"/>
              <a:gd name="connsiteX3697" fmla="*/ 8507828 w 11701760"/>
              <a:gd name="connsiteY3697" fmla="*/ 1063087 h 6407421"/>
              <a:gd name="connsiteX3698" fmla="*/ 8507828 w 11701760"/>
              <a:gd name="connsiteY3698" fmla="*/ 1092581 h 6407421"/>
              <a:gd name="connsiteX3699" fmla="*/ 8478226 w 11701760"/>
              <a:gd name="connsiteY3699" fmla="*/ 1092581 h 6407421"/>
              <a:gd name="connsiteX3700" fmla="*/ 2631378 w 11701760"/>
              <a:gd name="connsiteY3700" fmla="*/ 1063087 h 6407421"/>
              <a:gd name="connsiteX3701" fmla="*/ 2660980 w 11701760"/>
              <a:gd name="connsiteY3701" fmla="*/ 1063087 h 6407421"/>
              <a:gd name="connsiteX3702" fmla="*/ 2660980 w 11701760"/>
              <a:gd name="connsiteY3702" fmla="*/ 1092581 h 6407421"/>
              <a:gd name="connsiteX3703" fmla="*/ 2631378 w 11701760"/>
              <a:gd name="connsiteY3703" fmla="*/ 1092581 h 6407421"/>
              <a:gd name="connsiteX3704" fmla="*/ 8212137 w 11701760"/>
              <a:gd name="connsiteY3704" fmla="*/ 1063084 h 6407421"/>
              <a:gd name="connsiteX3705" fmla="*/ 8241740 w 11701760"/>
              <a:gd name="connsiteY3705" fmla="*/ 1063084 h 6407421"/>
              <a:gd name="connsiteX3706" fmla="*/ 8241740 w 11701760"/>
              <a:gd name="connsiteY3706" fmla="*/ 1092578 h 6407421"/>
              <a:gd name="connsiteX3707" fmla="*/ 8212137 w 11701760"/>
              <a:gd name="connsiteY3707" fmla="*/ 1092578 h 6407421"/>
              <a:gd name="connsiteX3708" fmla="*/ 2365289 w 11701760"/>
              <a:gd name="connsiteY3708" fmla="*/ 1063084 h 6407421"/>
              <a:gd name="connsiteX3709" fmla="*/ 2394892 w 11701760"/>
              <a:gd name="connsiteY3709" fmla="*/ 1063084 h 6407421"/>
              <a:gd name="connsiteX3710" fmla="*/ 2394892 w 11701760"/>
              <a:gd name="connsiteY3710" fmla="*/ 1092578 h 6407421"/>
              <a:gd name="connsiteX3711" fmla="*/ 2365289 w 11701760"/>
              <a:gd name="connsiteY3711" fmla="*/ 1092578 h 6407421"/>
              <a:gd name="connsiteX3712" fmla="*/ 7945940 w 11701760"/>
              <a:gd name="connsiteY3712" fmla="*/ 1063081 h 6407421"/>
              <a:gd name="connsiteX3713" fmla="*/ 7975543 w 11701760"/>
              <a:gd name="connsiteY3713" fmla="*/ 1063081 h 6407421"/>
              <a:gd name="connsiteX3714" fmla="*/ 7975543 w 11701760"/>
              <a:gd name="connsiteY3714" fmla="*/ 1092575 h 6407421"/>
              <a:gd name="connsiteX3715" fmla="*/ 7945940 w 11701760"/>
              <a:gd name="connsiteY3715" fmla="*/ 1092575 h 6407421"/>
              <a:gd name="connsiteX3716" fmla="*/ 2099092 w 11701760"/>
              <a:gd name="connsiteY3716" fmla="*/ 1063081 h 6407421"/>
              <a:gd name="connsiteX3717" fmla="*/ 2128695 w 11701760"/>
              <a:gd name="connsiteY3717" fmla="*/ 1063081 h 6407421"/>
              <a:gd name="connsiteX3718" fmla="*/ 2128695 w 11701760"/>
              <a:gd name="connsiteY3718" fmla="*/ 1092575 h 6407421"/>
              <a:gd name="connsiteX3719" fmla="*/ 2099092 w 11701760"/>
              <a:gd name="connsiteY3719" fmla="*/ 1092575 h 6407421"/>
              <a:gd name="connsiteX3720" fmla="*/ 7679743 w 11701760"/>
              <a:gd name="connsiteY3720" fmla="*/ 1063078 h 6407421"/>
              <a:gd name="connsiteX3721" fmla="*/ 7709346 w 11701760"/>
              <a:gd name="connsiteY3721" fmla="*/ 1063078 h 6407421"/>
              <a:gd name="connsiteX3722" fmla="*/ 7709346 w 11701760"/>
              <a:gd name="connsiteY3722" fmla="*/ 1092572 h 6407421"/>
              <a:gd name="connsiteX3723" fmla="*/ 7679743 w 11701760"/>
              <a:gd name="connsiteY3723" fmla="*/ 1092572 h 6407421"/>
              <a:gd name="connsiteX3724" fmla="*/ 1832898 w 11701760"/>
              <a:gd name="connsiteY3724" fmla="*/ 1063078 h 6407421"/>
              <a:gd name="connsiteX3725" fmla="*/ 1862498 w 11701760"/>
              <a:gd name="connsiteY3725" fmla="*/ 1063078 h 6407421"/>
              <a:gd name="connsiteX3726" fmla="*/ 1862498 w 11701760"/>
              <a:gd name="connsiteY3726" fmla="*/ 1092572 h 6407421"/>
              <a:gd name="connsiteX3727" fmla="*/ 1832898 w 11701760"/>
              <a:gd name="connsiteY3727" fmla="*/ 1092572 h 6407421"/>
              <a:gd name="connsiteX3728" fmla="*/ 7413653 w 11701760"/>
              <a:gd name="connsiteY3728" fmla="*/ 1063075 h 6407421"/>
              <a:gd name="connsiteX3729" fmla="*/ 7443256 w 11701760"/>
              <a:gd name="connsiteY3729" fmla="*/ 1063075 h 6407421"/>
              <a:gd name="connsiteX3730" fmla="*/ 7443256 w 11701760"/>
              <a:gd name="connsiteY3730" fmla="*/ 1092569 h 6407421"/>
              <a:gd name="connsiteX3731" fmla="*/ 7413653 w 11701760"/>
              <a:gd name="connsiteY3731" fmla="*/ 1092569 h 6407421"/>
              <a:gd name="connsiteX3732" fmla="*/ 1566808 w 11701760"/>
              <a:gd name="connsiteY3732" fmla="*/ 1063075 h 6407421"/>
              <a:gd name="connsiteX3733" fmla="*/ 1596409 w 11701760"/>
              <a:gd name="connsiteY3733" fmla="*/ 1063075 h 6407421"/>
              <a:gd name="connsiteX3734" fmla="*/ 1596409 w 11701760"/>
              <a:gd name="connsiteY3734" fmla="*/ 1092569 h 6407421"/>
              <a:gd name="connsiteX3735" fmla="*/ 1566808 w 11701760"/>
              <a:gd name="connsiteY3735" fmla="*/ 1092569 h 6407421"/>
              <a:gd name="connsiteX3736" fmla="*/ 7147456 w 11701760"/>
              <a:gd name="connsiteY3736" fmla="*/ 1063072 h 6407421"/>
              <a:gd name="connsiteX3737" fmla="*/ 7177058 w 11701760"/>
              <a:gd name="connsiteY3737" fmla="*/ 1063072 h 6407421"/>
              <a:gd name="connsiteX3738" fmla="*/ 7177058 w 11701760"/>
              <a:gd name="connsiteY3738" fmla="*/ 1092566 h 6407421"/>
              <a:gd name="connsiteX3739" fmla="*/ 7147456 w 11701760"/>
              <a:gd name="connsiteY3739" fmla="*/ 1092566 h 6407421"/>
              <a:gd name="connsiteX3740" fmla="*/ 1300611 w 11701760"/>
              <a:gd name="connsiteY3740" fmla="*/ 1063072 h 6407421"/>
              <a:gd name="connsiteX3741" fmla="*/ 1330213 w 11701760"/>
              <a:gd name="connsiteY3741" fmla="*/ 1063072 h 6407421"/>
              <a:gd name="connsiteX3742" fmla="*/ 1330213 w 11701760"/>
              <a:gd name="connsiteY3742" fmla="*/ 1092566 h 6407421"/>
              <a:gd name="connsiteX3743" fmla="*/ 1300611 w 11701760"/>
              <a:gd name="connsiteY3743" fmla="*/ 1092566 h 6407421"/>
              <a:gd name="connsiteX3744" fmla="*/ 6881367 w 11701760"/>
              <a:gd name="connsiteY3744" fmla="*/ 1063069 h 6407421"/>
              <a:gd name="connsiteX3745" fmla="*/ 6910970 w 11701760"/>
              <a:gd name="connsiteY3745" fmla="*/ 1063069 h 6407421"/>
              <a:gd name="connsiteX3746" fmla="*/ 6910970 w 11701760"/>
              <a:gd name="connsiteY3746" fmla="*/ 1092563 h 6407421"/>
              <a:gd name="connsiteX3747" fmla="*/ 6881367 w 11701760"/>
              <a:gd name="connsiteY3747" fmla="*/ 1092563 h 6407421"/>
              <a:gd name="connsiteX3748" fmla="*/ 1034520 w 11701760"/>
              <a:gd name="connsiteY3748" fmla="*/ 1063069 h 6407421"/>
              <a:gd name="connsiteX3749" fmla="*/ 1064123 w 11701760"/>
              <a:gd name="connsiteY3749" fmla="*/ 1063069 h 6407421"/>
              <a:gd name="connsiteX3750" fmla="*/ 1064123 w 11701760"/>
              <a:gd name="connsiteY3750" fmla="*/ 1092563 h 6407421"/>
              <a:gd name="connsiteX3751" fmla="*/ 1034520 w 11701760"/>
              <a:gd name="connsiteY3751" fmla="*/ 1092563 h 6407421"/>
              <a:gd name="connsiteX3752" fmla="*/ 6615170 w 11701760"/>
              <a:gd name="connsiteY3752" fmla="*/ 1063066 h 6407421"/>
              <a:gd name="connsiteX3753" fmla="*/ 6644773 w 11701760"/>
              <a:gd name="connsiteY3753" fmla="*/ 1063066 h 6407421"/>
              <a:gd name="connsiteX3754" fmla="*/ 6644773 w 11701760"/>
              <a:gd name="connsiteY3754" fmla="*/ 1092560 h 6407421"/>
              <a:gd name="connsiteX3755" fmla="*/ 6615170 w 11701760"/>
              <a:gd name="connsiteY3755" fmla="*/ 1092560 h 6407421"/>
              <a:gd name="connsiteX3756" fmla="*/ 768326 w 11701760"/>
              <a:gd name="connsiteY3756" fmla="*/ 1063066 h 6407421"/>
              <a:gd name="connsiteX3757" fmla="*/ 797926 w 11701760"/>
              <a:gd name="connsiteY3757" fmla="*/ 1063066 h 6407421"/>
              <a:gd name="connsiteX3758" fmla="*/ 797926 w 11701760"/>
              <a:gd name="connsiteY3758" fmla="*/ 1092560 h 6407421"/>
              <a:gd name="connsiteX3759" fmla="*/ 768326 w 11701760"/>
              <a:gd name="connsiteY3759" fmla="*/ 1092560 h 6407421"/>
              <a:gd name="connsiteX3760" fmla="*/ 6349081 w 11701760"/>
              <a:gd name="connsiteY3760" fmla="*/ 1063063 h 6407421"/>
              <a:gd name="connsiteX3761" fmla="*/ 6378683 w 11701760"/>
              <a:gd name="connsiteY3761" fmla="*/ 1063063 h 6407421"/>
              <a:gd name="connsiteX3762" fmla="*/ 6378683 w 11701760"/>
              <a:gd name="connsiteY3762" fmla="*/ 1092557 h 6407421"/>
              <a:gd name="connsiteX3763" fmla="*/ 6349081 w 11701760"/>
              <a:gd name="connsiteY3763" fmla="*/ 1092557 h 6407421"/>
              <a:gd name="connsiteX3764" fmla="*/ 502235 w 11701760"/>
              <a:gd name="connsiteY3764" fmla="*/ 1063063 h 6407421"/>
              <a:gd name="connsiteX3765" fmla="*/ 531838 w 11701760"/>
              <a:gd name="connsiteY3765" fmla="*/ 1063063 h 6407421"/>
              <a:gd name="connsiteX3766" fmla="*/ 531838 w 11701760"/>
              <a:gd name="connsiteY3766" fmla="*/ 1092557 h 6407421"/>
              <a:gd name="connsiteX3767" fmla="*/ 502235 w 11701760"/>
              <a:gd name="connsiteY3767" fmla="*/ 1092557 h 6407421"/>
              <a:gd name="connsiteX3768" fmla="*/ 6082884 w 11701760"/>
              <a:gd name="connsiteY3768" fmla="*/ 1063059 h 6407421"/>
              <a:gd name="connsiteX3769" fmla="*/ 6112486 w 11701760"/>
              <a:gd name="connsiteY3769" fmla="*/ 1063059 h 6407421"/>
              <a:gd name="connsiteX3770" fmla="*/ 6112486 w 11701760"/>
              <a:gd name="connsiteY3770" fmla="*/ 1092554 h 6407421"/>
              <a:gd name="connsiteX3771" fmla="*/ 6082884 w 11701760"/>
              <a:gd name="connsiteY3771" fmla="*/ 1092554 h 6407421"/>
              <a:gd name="connsiteX3772" fmla="*/ 236036 w 11701760"/>
              <a:gd name="connsiteY3772" fmla="*/ 1063059 h 6407421"/>
              <a:gd name="connsiteX3773" fmla="*/ 265639 w 11701760"/>
              <a:gd name="connsiteY3773" fmla="*/ 1063059 h 6407421"/>
              <a:gd name="connsiteX3774" fmla="*/ 265639 w 11701760"/>
              <a:gd name="connsiteY3774" fmla="*/ 1092554 h 6407421"/>
              <a:gd name="connsiteX3775" fmla="*/ 236036 w 11701760"/>
              <a:gd name="connsiteY3775" fmla="*/ 1092554 h 6407421"/>
              <a:gd name="connsiteX3776" fmla="*/ 0 w 11701760"/>
              <a:gd name="connsiteY3776" fmla="*/ 1063059 h 6407421"/>
              <a:gd name="connsiteX3777" fmla="*/ 29602 w 11701760"/>
              <a:gd name="connsiteY3777" fmla="*/ 1063059 h 6407421"/>
              <a:gd name="connsiteX3778" fmla="*/ 29602 w 11701760"/>
              <a:gd name="connsiteY3778" fmla="*/ 1092554 h 6407421"/>
              <a:gd name="connsiteX3779" fmla="*/ 0 w 11701760"/>
              <a:gd name="connsiteY3779" fmla="*/ 1092554 h 6407421"/>
              <a:gd name="connsiteX3780" fmla="*/ 11672158 w 11701760"/>
              <a:gd name="connsiteY3780" fmla="*/ 797337 h 6407421"/>
              <a:gd name="connsiteX3781" fmla="*/ 11701760 w 11701760"/>
              <a:gd name="connsiteY3781" fmla="*/ 797337 h 6407421"/>
              <a:gd name="connsiteX3782" fmla="*/ 11701760 w 11701760"/>
              <a:gd name="connsiteY3782" fmla="*/ 826844 h 6407421"/>
              <a:gd name="connsiteX3783" fmla="*/ 11672158 w 11701760"/>
              <a:gd name="connsiteY3783" fmla="*/ 826844 h 6407421"/>
              <a:gd name="connsiteX3784" fmla="*/ 5825310 w 11701760"/>
              <a:gd name="connsiteY3784" fmla="*/ 797337 h 6407421"/>
              <a:gd name="connsiteX3785" fmla="*/ 5854913 w 11701760"/>
              <a:gd name="connsiteY3785" fmla="*/ 797337 h 6407421"/>
              <a:gd name="connsiteX3786" fmla="*/ 5854913 w 11701760"/>
              <a:gd name="connsiteY3786" fmla="*/ 826844 h 6407421"/>
              <a:gd name="connsiteX3787" fmla="*/ 5825310 w 11701760"/>
              <a:gd name="connsiteY3787" fmla="*/ 826844 h 6407421"/>
              <a:gd name="connsiteX3788" fmla="*/ 11405961 w 11701760"/>
              <a:gd name="connsiteY3788" fmla="*/ 797335 h 6407421"/>
              <a:gd name="connsiteX3789" fmla="*/ 11435563 w 11701760"/>
              <a:gd name="connsiteY3789" fmla="*/ 797335 h 6407421"/>
              <a:gd name="connsiteX3790" fmla="*/ 11435563 w 11701760"/>
              <a:gd name="connsiteY3790" fmla="*/ 826841 h 6407421"/>
              <a:gd name="connsiteX3791" fmla="*/ 11405961 w 11701760"/>
              <a:gd name="connsiteY3791" fmla="*/ 826841 h 6407421"/>
              <a:gd name="connsiteX3792" fmla="*/ 5559113 w 11701760"/>
              <a:gd name="connsiteY3792" fmla="*/ 797335 h 6407421"/>
              <a:gd name="connsiteX3793" fmla="*/ 5588715 w 11701760"/>
              <a:gd name="connsiteY3793" fmla="*/ 797335 h 6407421"/>
              <a:gd name="connsiteX3794" fmla="*/ 5588715 w 11701760"/>
              <a:gd name="connsiteY3794" fmla="*/ 826841 h 6407421"/>
              <a:gd name="connsiteX3795" fmla="*/ 5559113 w 11701760"/>
              <a:gd name="connsiteY3795" fmla="*/ 826841 h 6407421"/>
              <a:gd name="connsiteX3796" fmla="*/ 11139872 w 11701760"/>
              <a:gd name="connsiteY3796" fmla="*/ 797333 h 6407421"/>
              <a:gd name="connsiteX3797" fmla="*/ 11169474 w 11701760"/>
              <a:gd name="connsiteY3797" fmla="*/ 797333 h 6407421"/>
              <a:gd name="connsiteX3798" fmla="*/ 11169474 w 11701760"/>
              <a:gd name="connsiteY3798" fmla="*/ 826839 h 6407421"/>
              <a:gd name="connsiteX3799" fmla="*/ 11139872 w 11701760"/>
              <a:gd name="connsiteY3799" fmla="*/ 826839 h 6407421"/>
              <a:gd name="connsiteX3800" fmla="*/ 5293024 w 11701760"/>
              <a:gd name="connsiteY3800" fmla="*/ 797333 h 6407421"/>
              <a:gd name="connsiteX3801" fmla="*/ 5322626 w 11701760"/>
              <a:gd name="connsiteY3801" fmla="*/ 797333 h 6407421"/>
              <a:gd name="connsiteX3802" fmla="*/ 5322626 w 11701760"/>
              <a:gd name="connsiteY3802" fmla="*/ 826839 h 6407421"/>
              <a:gd name="connsiteX3803" fmla="*/ 5293024 w 11701760"/>
              <a:gd name="connsiteY3803" fmla="*/ 826839 h 6407421"/>
              <a:gd name="connsiteX3804" fmla="*/ 10873675 w 11701760"/>
              <a:gd name="connsiteY3804" fmla="*/ 797331 h 6407421"/>
              <a:gd name="connsiteX3805" fmla="*/ 10903277 w 11701760"/>
              <a:gd name="connsiteY3805" fmla="*/ 797331 h 6407421"/>
              <a:gd name="connsiteX3806" fmla="*/ 10903277 w 11701760"/>
              <a:gd name="connsiteY3806" fmla="*/ 826836 h 6407421"/>
              <a:gd name="connsiteX3807" fmla="*/ 10873675 w 11701760"/>
              <a:gd name="connsiteY3807" fmla="*/ 826836 h 6407421"/>
              <a:gd name="connsiteX3808" fmla="*/ 5026827 w 11701760"/>
              <a:gd name="connsiteY3808" fmla="*/ 797331 h 6407421"/>
              <a:gd name="connsiteX3809" fmla="*/ 5056429 w 11701760"/>
              <a:gd name="connsiteY3809" fmla="*/ 797331 h 6407421"/>
              <a:gd name="connsiteX3810" fmla="*/ 5056429 w 11701760"/>
              <a:gd name="connsiteY3810" fmla="*/ 826836 h 6407421"/>
              <a:gd name="connsiteX3811" fmla="*/ 5026827 w 11701760"/>
              <a:gd name="connsiteY3811" fmla="*/ 826836 h 6407421"/>
              <a:gd name="connsiteX3812" fmla="*/ 10607478 w 11701760"/>
              <a:gd name="connsiteY3812" fmla="*/ 797329 h 6407421"/>
              <a:gd name="connsiteX3813" fmla="*/ 10637188 w 11701760"/>
              <a:gd name="connsiteY3813" fmla="*/ 797329 h 6407421"/>
              <a:gd name="connsiteX3814" fmla="*/ 10637188 w 11701760"/>
              <a:gd name="connsiteY3814" fmla="*/ 826833 h 6407421"/>
              <a:gd name="connsiteX3815" fmla="*/ 10607478 w 11701760"/>
              <a:gd name="connsiteY3815" fmla="*/ 826833 h 6407421"/>
              <a:gd name="connsiteX3816" fmla="*/ 4760630 w 11701760"/>
              <a:gd name="connsiteY3816" fmla="*/ 797329 h 6407421"/>
              <a:gd name="connsiteX3817" fmla="*/ 4790340 w 11701760"/>
              <a:gd name="connsiteY3817" fmla="*/ 797329 h 6407421"/>
              <a:gd name="connsiteX3818" fmla="*/ 4790340 w 11701760"/>
              <a:gd name="connsiteY3818" fmla="*/ 826833 h 6407421"/>
              <a:gd name="connsiteX3819" fmla="*/ 4760630 w 11701760"/>
              <a:gd name="connsiteY3819" fmla="*/ 826833 h 6407421"/>
              <a:gd name="connsiteX3820" fmla="*/ 10341389 w 11701760"/>
              <a:gd name="connsiteY3820" fmla="*/ 797327 h 6407421"/>
              <a:gd name="connsiteX3821" fmla="*/ 10370992 w 11701760"/>
              <a:gd name="connsiteY3821" fmla="*/ 797327 h 6407421"/>
              <a:gd name="connsiteX3822" fmla="*/ 10370992 w 11701760"/>
              <a:gd name="connsiteY3822" fmla="*/ 826831 h 6407421"/>
              <a:gd name="connsiteX3823" fmla="*/ 10341389 w 11701760"/>
              <a:gd name="connsiteY3823" fmla="*/ 826831 h 6407421"/>
              <a:gd name="connsiteX3824" fmla="*/ 4494541 w 11701760"/>
              <a:gd name="connsiteY3824" fmla="*/ 797327 h 6407421"/>
              <a:gd name="connsiteX3825" fmla="*/ 4524144 w 11701760"/>
              <a:gd name="connsiteY3825" fmla="*/ 797327 h 6407421"/>
              <a:gd name="connsiteX3826" fmla="*/ 4524144 w 11701760"/>
              <a:gd name="connsiteY3826" fmla="*/ 826831 h 6407421"/>
              <a:gd name="connsiteX3827" fmla="*/ 4494541 w 11701760"/>
              <a:gd name="connsiteY3827" fmla="*/ 826831 h 6407421"/>
              <a:gd name="connsiteX3828" fmla="*/ 10075192 w 11701760"/>
              <a:gd name="connsiteY3828" fmla="*/ 797325 h 6407421"/>
              <a:gd name="connsiteX3829" fmla="*/ 10104794 w 11701760"/>
              <a:gd name="connsiteY3829" fmla="*/ 797325 h 6407421"/>
              <a:gd name="connsiteX3830" fmla="*/ 10104794 w 11701760"/>
              <a:gd name="connsiteY3830" fmla="*/ 826828 h 6407421"/>
              <a:gd name="connsiteX3831" fmla="*/ 10075192 w 11701760"/>
              <a:gd name="connsiteY3831" fmla="*/ 826828 h 6407421"/>
              <a:gd name="connsiteX3832" fmla="*/ 4228344 w 11701760"/>
              <a:gd name="connsiteY3832" fmla="*/ 797325 h 6407421"/>
              <a:gd name="connsiteX3833" fmla="*/ 4257946 w 11701760"/>
              <a:gd name="connsiteY3833" fmla="*/ 797325 h 6407421"/>
              <a:gd name="connsiteX3834" fmla="*/ 4257946 w 11701760"/>
              <a:gd name="connsiteY3834" fmla="*/ 826828 h 6407421"/>
              <a:gd name="connsiteX3835" fmla="*/ 4228344 w 11701760"/>
              <a:gd name="connsiteY3835" fmla="*/ 826828 h 6407421"/>
              <a:gd name="connsiteX3836" fmla="*/ 9809103 w 11701760"/>
              <a:gd name="connsiteY3836" fmla="*/ 797323 h 6407421"/>
              <a:gd name="connsiteX3837" fmla="*/ 9838705 w 11701760"/>
              <a:gd name="connsiteY3837" fmla="*/ 797323 h 6407421"/>
              <a:gd name="connsiteX3838" fmla="*/ 9838705 w 11701760"/>
              <a:gd name="connsiteY3838" fmla="*/ 826826 h 6407421"/>
              <a:gd name="connsiteX3839" fmla="*/ 9809103 w 11701760"/>
              <a:gd name="connsiteY3839" fmla="*/ 826826 h 6407421"/>
              <a:gd name="connsiteX3840" fmla="*/ 3962255 w 11701760"/>
              <a:gd name="connsiteY3840" fmla="*/ 797323 h 6407421"/>
              <a:gd name="connsiteX3841" fmla="*/ 3991857 w 11701760"/>
              <a:gd name="connsiteY3841" fmla="*/ 797323 h 6407421"/>
              <a:gd name="connsiteX3842" fmla="*/ 3991857 w 11701760"/>
              <a:gd name="connsiteY3842" fmla="*/ 826826 h 6407421"/>
              <a:gd name="connsiteX3843" fmla="*/ 3962255 w 11701760"/>
              <a:gd name="connsiteY3843" fmla="*/ 826826 h 6407421"/>
              <a:gd name="connsiteX3844" fmla="*/ 9542906 w 11701760"/>
              <a:gd name="connsiteY3844" fmla="*/ 797321 h 6407421"/>
              <a:gd name="connsiteX3845" fmla="*/ 9572509 w 11701760"/>
              <a:gd name="connsiteY3845" fmla="*/ 797321 h 6407421"/>
              <a:gd name="connsiteX3846" fmla="*/ 9572509 w 11701760"/>
              <a:gd name="connsiteY3846" fmla="*/ 826823 h 6407421"/>
              <a:gd name="connsiteX3847" fmla="*/ 9542906 w 11701760"/>
              <a:gd name="connsiteY3847" fmla="*/ 826823 h 6407421"/>
              <a:gd name="connsiteX3848" fmla="*/ 3696058 w 11701760"/>
              <a:gd name="connsiteY3848" fmla="*/ 797321 h 6407421"/>
              <a:gd name="connsiteX3849" fmla="*/ 3725661 w 11701760"/>
              <a:gd name="connsiteY3849" fmla="*/ 797321 h 6407421"/>
              <a:gd name="connsiteX3850" fmla="*/ 3725661 w 11701760"/>
              <a:gd name="connsiteY3850" fmla="*/ 826823 h 6407421"/>
              <a:gd name="connsiteX3851" fmla="*/ 3696058 w 11701760"/>
              <a:gd name="connsiteY3851" fmla="*/ 826823 h 6407421"/>
              <a:gd name="connsiteX3852" fmla="*/ 9276817 w 11701760"/>
              <a:gd name="connsiteY3852" fmla="*/ 797319 h 6407421"/>
              <a:gd name="connsiteX3853" fmla="*/ 9306420 w 11701760"/>
              <a:gd name="connsiteY3853" fmla="*/ 797319 h 6407421"/>
              <a:gd name="connsiteX3854" fmla="*/ 9306420 w 11701760"/>
              <a:gd name="connsiteY3854" fmla="*/ 826820 h 6407421"/>
              <a:gd name="connsiteX3855" fmla="*/ 9276817 w 11701760"/>
              <a:gd name="connsiteY3855" fmla="*/ 826820 h 6407421"/>
              <a:gd name="connsiteX3856" fmla="*/ 3429969 w 11701760"/>
              <a:gd name="connsiteY3856" fmla="*/ 797319 h 6407421"/>
              <a:gd name="connsiteX3857" fmla="*/ 3459572 w 11701760"/>
              <a:gd name="connsiteY3857" fmla="*/ 797319 h 6407421"/>
              <a:gd name="connsiteX3858" fmla="*/ 3459572 w 11701760"/>
              <a:gd name="connsiteY3858" fmla="*/ 826820 h 6407421"/>
              <a:gd name="connsiteX3859" fmla="*/ 3429969 w 11701760"/>
              <a:gd name="connsiteY3859" fmla="*/ 826820 h 6407421"/>
              <a:gd name="connsiteX3860" fmla="*/ 9010620 w 11701760"/>
              <a:gd name="connsiteY3860" fmla="*/ 797317 h 6407421"/>
              <a:gd name="connsiteX3861" fmla="*/ 9040222 w 11701760"/>
              <a:gd name="connsiteY3861" fmla="*/ 797317 h 6407421"/>
              <a:gd name="connsiteX3862" fmla="*/ 9040222 w 11701760"/>
              <a:gd name="connsiteY3862" fmla="*/ 826818 h 6407421"/>
              <a:gd name="connsiteX3863" fmla="*/ 9010620 w 11701760"/>
              <a:gd name="connsiteY3863" fmla="*/ 826818 h 6407421"/>
              <a:gd name="connsiteX3864" fmla="*/ 3163772 w 11701760"/>
              <a:gd name="connsiteY3864" fmla="*/ 797317 h 6407421"/>
              <a:gd name="connsiteX3865" fmla="*/ 3193374 w 11701760"/>
              <a:gd name="connsiteY3865" fmla="*/ 797317 h 6407421"/>
              <a:gd name="connsiteX3866" fmla="*/ 3193374 w 11701760"/>
              <a:gd name="connsiteY3866" fmla="*/ 826818 h 6407421"/>
              <a:gd name="connsiteX3867" fmla="*/ 3163772 w 11701760"/>
              <a:gd name="connsiteY3867" fmla="*/ 826818 h 6407421"/>
              <a:gd name="connsiteX3868" fmla="*/ 8744423 w 11701760"/>
              <a:gd name="connsiteY3868" fmla="*/ 797315 h 6407421"/>
              <a:gd name="connsiteX3869" fmla="*/ 8774026 w 11701760"/>
              <a:gd name="connsiteY3869" fmla="*/ 797315 h 6407421"/>
              <a:gd name="connsiteX3870" fmla="*/ 8774026 w 11701760"/>
              <a:gd name="connsiteY3870" fmla="*/ 826815 h 6407421"/>
              <a:gd name="connsiteX3871" fmla="*/ 8744423 w 11701760"/>
              <a:gd name="connsiteY3871" fmla="*/ 826815 h 6407421"/>
              <a:gd name="connsiteX3872" fmla="*/ 2897575 w 11701760"/>
              <a:gd name="connsiteY3872" fmla="*/ 797315 h 6407421"/>
              <a:gd name="connsiteX3873" fmla="*/ 2927178 w 11701760"/>
              <a:gd name="connsiteY3873" fmla="*/ 797315 h 6407421"/>
              <a:gd name="connsiteX3874" fmla="*/ 2927178 w 11701760"/>
              <a:gd name="connsiteY3874" fmla="*/ 826815 h 6407421"/>
              <a:gd name="connsiteX3875" fmla="*/ 2897575 w 11701760"/>
              <a:gd name="connsiteY3875" fmla="*/ 826815 h 6407421"/>
              <a:gd name="connsiteX3876" fmla="*/ 8478226 w 11701760"/>
              <a:gd name="connsiteY3876" fmla="*/ 797312 h 6407421"/>
              <a:gd name="connsiteX3877" fmla="*/ 8507828 w 11701760"/>
              <a:gd name="connsiteY3877" fmla="*/ 797312 h 6407421"/>
              <a:gd name="connsiteX3878" fmla="*/ 8507828 w 11701760"/>
              <a:gd name="connsiteY3878" fmla="*/ 826812 h 6407421"/>
              <a:gd name="connsiteX3879" fmla="*/ 8478226 w 11701760"/>
              <a:gd name="connsiteY3879" fmla="*/ 826812 h 6407421"/>
              <a:gd name="connsiteX3880" fmla="*/ 2631378 w 11701760"/>
              <a:gd name="connsiteY3880" fmla="*/ 797312 h 6407421"/>
              <a:gd name="connsiteX3881" fmla="*/ 2660980 w 11701760"/>
              <a:gd name="connsiteY3881" fmla="*/ 797312 h 6407421"/>
              <a:gd name="connsiteX3882" fmla="*/ 2660980 w 11701760"/>
              <a:gd name="connsiteY3882" fmla="*/ 826812 h 6407421"/>
              <a:gd name="connsiteX3883" fmla="*/ 2631378 w 11701760"/>
              <a:gd name="connsiteY3883" fmla="*/ 826812 h 6407421"/>
              <a:gd name="connsiteX3884" fmla="*/ 8212137 w 11701760"/>
              <a:gd name="connsiteY3884" fmla="*/ 797310 h 6407421"/>
              <a:gd name="connsiteX3885" fmla="*/ 8241740 w 11701760"/>
              <a:gd name="connsiteY3885" fmla="*/ 797310 h 6407421"/>
              <a:gd name="connsiteX3886" fmla="*/ 8241740 w 11701760"/>
              <a:gd name="connsiteY3886" fmla="*/ 826810 h 6407421"/>
              <a:gd name="connsiteX3887" fmla="*/ 8212137 w 11701760"/>
              <a:gd name="connsiteY3887" fmla="*/ 826810 h 6407421"/>
              <a:gd name="connsiteX3888" fmla="*/ 2365289 w 11701760"/>
              <a:gd name="connsiteY3888" fmla="*/ 797310 h 6407421"/>
              <a:gd name="connsiteX3889" fmla="*/ 2394892 w 11701760"/>
              <a:gd name="connsiteY3889" fmla="*/ 797310 h 6407421"/>
              <a:gd name="connsiteX3890" fmla="*/ 2394892 w 11701760"/>
              <a:gd name="connsiteY3890" fmla="*/ 826810 h 6407421"/>
              <a:gd name="connsiteX3891" fmla="*/ 2365289 w 11701760"/>
              <a:gd name="connsiteY3891" fmla="*/ 826810 h 6407421"/>
              <a:gd name="connsiteX3892" fmla="*/ 7945940 w 11701760"/>
              <a:gd name="connsiteY3892" fmla="*/ 797308 h 6407421"/>
              <a:gd name="connsiteX3893" fmla="*/ 7975543 w 11701760"/>
              <a:gd name="connsiteY3893" fmla="*/ 797308 h 6407421"/>
              <a:gd name="connsiteX3894" fmla="*/ 7975543 w 11701760"/>
              <a:gd name="connsiteY3894" fmla="*/ 826807 h 6407421"/>
              <a:gd name="connsiteX3895" fmla="*/ 7945940 w 11701760"/>
              <a:gd name="connsiteY3895" fmla="*/ 826807 h 6407421"/>
              <a:gd name="connsiteX3896" fmla="*/ 2099092 w 11701760"/>
              <a:gd name="connsiteY3896" fmla="*/ 797308 h 6407421"/>
              <a:gd name="connsiteX3897" fmla="*/ 2128695 w 11701760"/>
              <a:gd name="connsiteY3897" fmla="*/ 797308 h 6407421"/>
              <a:gd name="connsiteX3898" fmla="*/ 2128695 w 11701760"/>
              <a:gd name="connsiteY3898" fmla="*/ 826807 h 6407421"/>
              <a:gd name="connsiteX3899" fmla="*/ 2099092 w 11701760"/>
              <a:gd name="connsiteY3899" fmla="*/ 826807 h 6407421"/>
              <a:gd name="connsiteX3900" fmla="*/ 7679743 w 11701760"/>
              <a:gd name="connsiteY3900" fmla="*/ 797306 h 6407421"/>
              <a:gd name="connsiteX3901" fmla="*/ 7709346 w 11701760"/>
              <a:gd name="connsiteY3901" fmla="*/ 797306 h 6407421"/>
              <a:gd name="connsiteX3902" fmla="*/ 7709346 w 11701760"/>
              <a:gd name="connsiteY3902" fmla="*/ 826805 h 6407421"/>
              <a:gd name="connsiteX3903" fmla="*/ 7679743 w 11701760"/>
              <a:gd name="connsiteY3903" fmla="*/ 826805 h 6407421"/>
              <a:gd name="connsiteX3904" fmla="*/ 1832898 w 11701760"/>
              <a:gd name="connsiteY3904" fmla="*/ 797306 h 6407421"/>
              <a:gd name="connsiteX3905" fmla="*/ 1862498 w 11701760"/>
              <a:gd name="connsiteY3905" fmla="*/ 797306 h 6407421"/>
              <a:gd name="connsiteX3906" fmla="*/ 1862498 w 11701760"/>
              <a:gd name="connsiteY3906" fmla="*/ 826805 h 6407421"/>
              <a:gd name="connsiteX3907" fmla="*/ 1832898 w 11701760"/>
              <a:gd name="connsiteY3907" fmla="*/ 826805 h 6407421"/>
              <a:gd name="connsiteX3908" fmla="*/ 7413653 w 11701760"/>
              <a:gd name="connsiteY3908" fmla="*/ 797304 h 6407421"/>
              <a:gd name="connsiteX3909" fmla="*/ 7443256 w 11701760"/>
              <a:gd name="connsiteY3909" fmla="*/ 797304 h 6407421"/>
              <a:gd name="connsiteX3910" fmla="*/ 7443256 w 11701760"/>
              <a:gd name="connsiteY3910" fmla="*/ 826802 h 6407421"/>
              <a:gd name="connsiteX3911" fmla="*/ 7413653 w 11701760"/>
              <a:gd name="connsiteY3911" fmla="*/ 826802 h 6407421"/>
              <a:gd name="connsiteX3912" fmla="*/ 1566808 w 11701760"/>
              <a:gd name="connsiteY3912" fmla="*/ 797304 h 6407421"/>
              <a:gd name="connsiteX3913" fmla="*/ 1596409 w 11701760"/>
              <a:gd name="connsiteY3913" fmla="*/ 797304 h 6407421"/>
              <a:gd name="connsiteX3914" fmla="*/ 1596409 w 11701760"/>
              <a:gd name="connsiteY3914" fmla="*/ 826802 h 6407421"/>
              <a:gd name="connsiteX3915" fmla="*/ 1566808 w 11701760"/>
              <a:gd name="connsiteY3915" fmla="*/ 826802 h 6407421"/>
              <a:gd name="connsiteX3916" fmla="*/ 7147456 w 11701760"/>
              <a:gd name="connsiteY3916" fmla="*/ 797302 h 6407421"/>
              <a:gd name="connsiteX3917" fmla="*/ 7177058 w 11701760"/>
              <a:gd name="connsiteY3917" fmla="*/ 797302 h 6407421"/>
              <a:gd name="connsiteX3918" fmla="*/ 7177058 w 11701760"/>
              <a:gd name="connsiteY3918" fmla="*/ 826799 h 6407421"/>
              <a:gd name="connsiteX3919" fmla="*/ 7147456 w 11701760"/>
              <a:gd name="connsiteY3919" fmla="*/ 826799 h 6407421"/>
              <a:gd name="connsiteX3920" fmla="*/ 1300611 w 11701760"/>
              <a:gd name="connsiteY3920" fmla="*/ 797302 h 6407421"/>
              <a:gd name="connsiteX3921" fmla="*/ 1330213 w 11701760"/>
              <a:gd name="connsiteY3921" fmla="*/ 797302 h 6407421"/>
              <a:gd name="connsiteX3922" fmla="*/ 1330213 w 11701760"/>
              <a:gd name="connsiteY3922" fmla="*/ 826799 h 6407421"/>
              <a:gd name="connsiteX3923" fmla="*/ 1300611 w 11701760"/>
              <a:gd name="connsiteY3923" fmla="*/ 826799 h 6407421"/>
              <a:gd name="connsiteX3924" fmla="*/ 6881367 w 11701760"/>
              <a:gd name="connsiteY3924" fmla="*/ 797300 h 6407421"/>
              <a:gd name="connsiteX3925" fmla="*/ 6910970 w 11701760"/>
              <a:gd name="connsiteY3925" fmla="*/ 797300 h 6407421"/>
              <a:gd name="connsiteX3926" fmla="*/ 6910970 w 11701760"/>
              <a:gd name="connsiteY3926" fmla="*/ 826797 h 6407421"/>
              <a:gd name="connsiteX3927" fmla="*/ 6881367 w 11701760"/>
              <a:gd name="connsiteY3927" fmla="*/ 826797 h 6407421"/>
              <a:gd name="connsiteX3928" fmla="*/ 1034520 w 11701760"/>
              <a:gd name="connsiteY3928" fmla="*/ 797300 h 6407421"/>
              <a:gd name="connsiteX3929" fmla="*/ 1064123 w 11701760"/>
              <a:gd name="connsiteY3929" fmla="*/ 797300 h 6407421"/>
              <a:gd name="connsiteX3930" fmla="*/ 1064123 w 11701760"/>
              <a:gd name="connsiteY3930" fmla="*/ 826797 h 6407421"/>
              <a:gd name="connsiteX3931" fmla="*/ 1034520 w 11701760"/>
              <a:gd name="connsiteY3931" fmla="*/ 826797 h 6407421"/>
              <a:gd name="connsiteX3932" fmla="*/ 6615170 w 11701760"/>
              <a:gd name="connsiteY3932" fmla="*/ 797298 h 6407421"/>
              <a:gd name="connsiteX3933" fmla="*/ 6644773 w 11701760"/>
              <a:gd name="connsiteY3933" fmla="*/ 797298 h 6407421"/>
              <a:gd name="connsiteX3934" fmla="*/ 6644773 w 11701760"/>
              <a:gd name="connsiteY3934" fmla="*/ 826794 h 6407421"/>
              <a:gd name="connsiteX3935" fmla="*/ 6615170 w 11701760"/>
              <a:gd name="connsiteY3935" fmla="*/ 826794 h 6407421"/>
              <a:gd name="connsiteX3936" fmla="*/ 768326 w 11701760"/>
              <a:gd name="connsiteY3936" fmla="*/ 797298 h 6407421"/>
              <a:gd name="connsiteX3937" fmla="*/ 797926 w 11701760"/>
              <a:gd name="connsiteY3937" fmla="*/ 797298 h 6407421"/>
              <a:gd name="connsiteX3938" fmla="*/ 797926 w 11701760"/>
              <a:gd name="connsiteY3938" fmla="*/ 826794 h 6407421"/>
              <a:gd name="connsiteX3939" fmla="*/ 768326 w 11701760"/>
              <a:gd name="connsiteY3939" fmla="*/ 826794 h 6407421"/>
              <a:gd name="connsiteX3940" fmla="*/ 6349081 w 11701760"/>
              <a:gd name="connsiteY3940" fmla="*/ 797296 h 6407421"/>
              <a:gd name="connsiteX3941" fmla="*/ 6378683 w 11701760"/>
              <a:gd name="connsiteY3941" fmla="*/ 797296 h 6407421"/>
              <a:gd name="connsiteX3942" fmla="*/ 6378683 w 11701760"/>
              <a:gd name="connsiteY3942" fmla="*/ 826792 h 6407421"/>
              <a:gd name="connsiteX3943" fmla="*/ 6349081 w 11701760"/>
              <a:gd name="connsiteY3943" fmla="*/ 826792 h 6407421"/>
              <a:gd name="connsiteX3944" fmla="*/ 502235 w 11701760"/>
              <a:gd name="connsiteY3944" fmla="*/ 797296 h 6407421"/>
              <a:gd name="connsiteX3945" fmla="*/ 531838 w 11701760"/>
              <a:gd name="connsiteY3945" fmla="*/ 797296 h 6407421"/>
              <a:gd name="connsiteX3946" fmla="*/ 531838 w 11701760"/>
              <a:gd name="connsiteY3946" fmla="*/ 826792 h 6407421"/>
              <a:gd name="connsiteX3947" fmla="*/ 502235 w 11701760"/>
              <a:gd name="connsiteY3947" fmla="*/ 826792 h 6407421"/>
              <a:gd name="connsiteX3948" fmla="*/ 6082884 w 11701760"/>
              <a:gd name="connsiteY3948" fmla="*/ 797294 h 6407421"/>
              <a:gd name="connsiteX3949" fmla="*/ 6112486 w 11701760"/>
              <a:gd name="connsiteY3949" fmla="*/ 797294 h 6407421"/>
              <a:gd name="connsiteX3950" fmla="*/ 6112486 w 11701760"/>
              <a:gd name="connsiteY3950" fmla="*/ 826789 h 6407421"/>
              <a:gd name="connsiteX3951" fmla="*/ 6082884 w 11701760"/>
              <a:gd name="connsiteY3951" fmla="*/ 826789 h 6407421"/>
              <a:gd name="connsiteX3952" fmla="*/ 236036 w 11701760"/>
              <a:gd name="connsiteY3952" fmla="*/ 797294 h 6407421"/>
              <a:gd name="connsiteX3953" fmla="*/ 265639 w 11701760"/>
              <a:gd name="connsiteY3953" fmla="*/ 797294 h 6407421"/>
              <a:gd name="connsiteX3954" fmla="*/ 265639 w 11701760"/>
              <a:gd name="connsiteY3954" fmla="*/ 826789 h 6407421"/>
              <a:gd name="connsiteX3955" fmla="*/ 236036 w 11701760"/>
              <a:gd name="connsiteY3955" fmla="*/ 826789 h 6407421"/>
              <a:gd name="connsiteX3956" fmla="*/ 0 w 11701760"/>
              <a:gd name="connsiteY3956" fmla="*/ 797294 h 6407421"/>
              <a:gd name="connsiteX3957" fmla="*/ 29602 w 11701760"/>
              <a:gd name="connsiteY3957" fmla="*/ 797294 h 6407421"/>
              <a:gd name="connsiteX3958" fmla="*/ 29602 w 11701760"/>
              <a:gd name="connsiteY3958" fmla="*/ 826789 h 6407421"/>
              <a:gd name="connsiteX3959" fmla="*/ 0 w 11701760"/>
              <a:gd name="connsiteY3959" fmla="*/ 826789 h 6407421"/>
              <a:gd name="connsiteX3960" fmla="*/ 11672158 w 11701760"/>
              <a:gd name="connsiteY3960" fmla="*/ 531575 h 6407421"/>
              <a:gd name="connsiteX3961" fmla="*/ 11701760 w 11701760"/>
              <a:gd name="connsiteY3961" fmla="*/ 531575 h 6407421"/>
              <a:gd name="connsiteX3962" fmla="*/ 11701760 w 11701760"/>
              <a:gd name="connsiteY3962" fmla="*/ 561177 h 6407421"/>
              <a:gd name="connsiteX3963" fmla="*/ 11672158 w 11701760"/>
              <a:gd name="connsiteY3963" fmla="*/ 561177 h 6407421"/>
              <a:gd name="connsiteX3964" fmla="*/ 5825310 w 11701760"/>
              <a:gd name="connsiteY3964" fmla="*/ 531575 h 6407421"/>
              <a:gd name="connsiteX3965" fmla="*/ 5854913 w 11701760"/>
              <a:gd name="connsiteY3965" fmla="*/ 531575 h 6407421"/>
              <a:gd name="connsiteX3966" fmla="*/ 5854913 w 11701760"/>
              <a:gd name="connsiteY3966" fmla="*/ 561177 h 6407421"/>
              <a:gd name="connsiteX3967" fmla="*/ 5825310 w 11701760"/>
              <a:gd name="connsiteY3967" fmla="*/ 561177 h 6407421"/>
              <a:gd name="connsiteX3968" fmla="*/ 11405961 w 11701760"/>
              <a:gd name="connsiteY3968" fmla="*/ 531573 h 6407421"/>
              <a:gd name="connsiteX3969" fmla="*/ 11435563 w 11701760"/>
              <a:gd name="connsiteY3969" fmla="*/ 531573 h 6407421"/>
              <a:gd name="connsiteX3970" fmla="*/ 11435563 w 11701760"/>
              <a:gd name="connsiteY3970" fmla="*/ 561175 h 6407421"/>
              <a:gd name="connsiteX3971" fmla="*/ 11405961 w 11701760"/>
              <a:gd name="connsiteY3971" fmla="*/ 561175 h 6407421"/>
              <a:gd name="connsiteX3972" fmla="*/ 5559113 w 11701760"/>
              <a:gd name="connsiteY3972" fmla="*/ 531573 h 6407421"/>
              <a:gd name="connsiteX3973" fmla="*/ 5588715 w 11701760"/>
              <a:gd name="connsiteY3973" fmla="*/ 531573 h 6407421"/>
              <a:gd name="connsiteX3974" fmla="*/ 5588715 w 11701760"/>
              <a:gd name="connsiteY3974" fmla="*/ 561175 h 6407421"/>
              <a:gd name="connsiteX3975" fmla="*/ 5559113 w 11701760"/>
              <a:gd name="connsiteY3975" fmla="*/ 561175 h 6407421"/>
              <a:gd name="connsiteX3976" fmla="*/ 11139872 w 11701760"/>
              <a:gd name="connsiteY3976" fmla="*/ 531571 h 6407421"/>
              <a:gd name="connsiteX3977" fmla="*/ 11169474 w 11701760"/>
              <a:gd name="connsiteY3977" fmla="*/ 531571 h 6407421"/>
              <a:gd name="connsiteX3978" fmla="*/ 11169474 w 11701760"/>
              <a:gd name="connsiteY3978" fmla="*/ 561173 h 6407421"/>
              <a:gd name="connsiteX3979" fmla="*/ 11139872 w 11701760"/>
              <a:gd name="connsiteY3979" fmla="*/ 561173 h 6407421"/>
              <a:gd name="connsiteX3980" fmla="*/ 5293024 w 11701760"/>
              <a:gd name="connsiteY3980" fmla="*/ 531571 h 6407421"/>
              <a:gd name="connsiteX3981" fmla="*/ 5322626 w 11701760"/>
              <a:gd name="connsiteY3981" fmla="*/ 531571 h 6407421"/>
              <a:gd name="connsiteX3982" fmla="*/ 5322626 w 11701760"/>
              <a:gd name="connsiteY3982" fmla="*/ 561173 h 6407421"/>
              <a:gd name="connsiteX3983" fmla="*/ 5293024 w 11701760"/>
              <a:gd name="connsiteY3983" fmla="*/ 561173 h 6407421"/>
              <a:gd name="connsiteX3984" fmla="*/ 10873675 w 11701760"/>
              <a:gd name="connsiteY3984" fmla="*/ 531568 h 6407421"/>
              <a:gd name="connsiteX3985" fmla="*/ 10903277 w 11701760"/>
              <a:gd name="connsiteY3985" fmla="*/ 531568 h 6407421"/>
              <a:gd name="connsiteX3986" fmla="*/ 10903277 w 11701760"/>
              <a:gd name="connsiteY3986" fmla="*/ 561170 h 6407421"/>
              <a:gd name="connsiteX3987" fmla="*/ 10873675 w 11701760"/>
              <a:gd name="connsiteY3987" fmla="*/ 561170 h 6407421"/>
              <a:gd name="connsiteX3988" fmla="*/ 5026827 w 11701760"/>
              <a:gd name="connsiteY3988" fmla="*/ 531568 h 6407421"/>
              <a:gd name="connsiteX3989" fmla="*/ 5056429 w 11701760"/>
              <a:gd name="connsiteY3989" fmla="*/ 531568 h 6407421"/>
              <a:gd name="connsiteX3990" fmla="*/ 5056429 w 11701760"/>
              <a:gd name="connsiteY3990" fmla="*/ 561170 h 6407421"/>
              <a:gd name="connsiteX3991" fmla="*/ 5026827 w 11701760"/>
              <a:gd name="connsiteY3991" fmla="*/ 561170 h 6407421"/>
              <a:gd name="connsiteX3992" fmla="*/ 10607478 w 11701760"/>
              <a:gd name="connsiteY3992" fmla="*/ 531566 h 6407421"/>
              <a:gd name="connsiteX3993" fmla="*/ 10637188 w 11701760"/>
              <a:gd name="connsiteY3993" fmla="*/ 531566 h 6407421"/>
              <a:gd name="connsiteX3994" fmla="*/ 10637188 w 11701760"/>
              <a:gd name="connsiteY3994" fmla="*/ 561168 h 6407421"/>
              <a:gd name="connsiteX3995" fmla="*/ 10607478 w 11701760"/>
              <a:gd name="connsiteY3995" fmla="*/ 561168 h 6407421"/>
              <a:gd name="connsiteX3996" fmla="*/ 4760630 w 11701760"/>
              <a:gd name="connsiteY3996" fmla="*/ 531566 h 6407421"/>
              <a:gd name="connsiteX3997" fmla="*/ 4790340 w 11701760"/>
              <a:gd name="connsiteY3997" fmla="*/ 531566 h 6407421"/>
              <a:gd name="connsiteX3998" fmla="*/ 4790340 w 11701760"/>
              <a:gd name="connsiteY3998" fmla="*/ 561168 h 6407421"/>
              <a:gd name="connsiteX3999" fmla="*/ 4760630 w 11701760"/>
              <a:gd name="connsiteY3999" fmla="*/ 561168 h 6407421"/>
              <a:gd name="connsiteX4000" fmla="*/ 10341389 w 11701760"/>
              <a:gd name="connsiteY4000" fmla="*/ 531564 h 6407421"/>
              <a:gd name="connsiteX4001" fmla="*/ 10370992 w 11701760"/>
              <a:gd name="connsiteY4001" fmla="*/ 531564 h 6407421"/>
              <a:gd name="connsiteX4002" fmla="*/ 10370992 w 11701760"/>
              <a:gd name="connsiteY4002" fmla="*/ 561166 h 6407421"/>
              <a:gd name="connsiteX4003" fmla="*/ 10341389 w 11701760"/>
              <a:gd name="connsiteY4003" fmla="*/ 561166 h 6407421"/>
              <a:gd name="connsiteX4004" fmla="*/ 4494541 w 11701760"/>
              <a:gd name="connsiteY4004" fmla="*/ 531564 h 6407421"/>
              <a:gd name="connsiteX4005" fmla="*/ 4524144 w 11701760"/>
              <a:gd name="connsiteY4005" fmla="*/ 531564 h 6407421"/>
              <a:gd name="connsiteX4006" fmla="*/ 4524144 w 11701760"/>
              <a:gd name="connsiteY4006" fmla="*/ 561166 h 6407421"/>
              <a:gd name="connsiteX4007" fmla="*/ 4494541 w 11701760"/>
              <a:gd name="connsiteY4007" fmla="*/ 561166 h 6407421"/>
              <a:gd name="connsiteX4008" fmla="*/ 10075192 w 11701760"/>
              <a:gd name="connsiteY4008" fmla="*/ 531562 h 6407421"/>
              <a:gd name="connsiteX4009" fmla="*/ 10104794 w 11701760"/>
              <a:gd name="connsiteY4009" fmla="*/ 531562 h 6407421"/>
              <a:gd name="connsiteX4010" fmla="*/ 10104794 w 11701760"/>
              <a:gd name="connsiteY4010" fmla="*/ 561164 h 6407421"/>
              <a:gd name="connsiteX4011" fmla="*/ 10075192 w 11701760"/>
              <a:gd name="connsiteY4011" fmla="*/ 561164 h 6407421"/>
              <a:gd name="connsiteX4012" fmla="*/ 4228344 w 11701760"/>
              <a:gd name="connsiteY4012" fmla="*/ 531562 h 6407421"/>
              <a:gd name="connsiteX4013" fmla="*/ 4257946 w 11701760"/>
              <a:gd name="connsiteY4013" fmla="*/ 531562 h 6407421"/>
              <a:gd name="connsiteX4014" fmla="*/ 4257946 w 11701760"/>
              <a:gd name="connsiteY4014" fmla="*/ 561164 h 6407421"/>
              <a:gd name="connsiteX4015" fmla="*/ 4228344 w 11701760"/>
              <a:gd name="connsiteY4015" fmla="*/ 561164 h 6407421"/>
              <a:gd name="connsiteX4016" fmla="*/ 9809103 w 11701760"/>
              <a:gd name="connsiteY4016" fmla="*/ 531560 h 6407421"/>
              <a:gd name="connsiteX4017" fmla="*/ 9838705 w 11701760"/>
              <a:gd name="connsiteY4017" fmla="*/ 531560 h 6407421"/>
              <a:gd name="connsiteX4018" fmla="*/ 9838705 w 11701760"/>
              <a:gd name="connsiteY4018" fmla="*/ 561162 h 6407421"/>
              <a:gd name="connsiteX4019" fmla="*/ 9809103 w 11701760"/>
              <a:gd name="connsiteY4019" fmla="*/ 561162 h 6407421"/>
              <a:gd name="connsiteX4020" fmla="*/ 3962255 w 11701760"/>
              <a:gd name="connsiteY4020" fmla="*/ 531560 h 6407421"/>
              <a:gd name="connsiteX4021" fmla="*/ 3991857 w 11701760"/>
              <a:gd name="connsiteY4021" fmla="*/ 531560 h 6407421"/>
              <a:gd name="connsiteX4022" fmla="*/ 3991857 w 11701760"/>
              <a:gd name="connsiteY4022" fmla="*/ 561162 h 6407421"/>
              <a:gd name="connsiteX4023" fmla="*/ 3962255 w 11701760"/>
              <a:gd name="connsiteY4023" fmla="*/ 561162 h 6407421"/>
              <a:gd name="connsiteX4024" fmla="*/ 9542906 w 11701760"/>
              <a:gd name="connsiteY4024" fmla="*/ 531558 h 6407421"/>
              <a:gd name="connsiteX4025" fmla="*/ 9572509 w 11701760"/>
              <a:gd name="connsiteY4025" fmla="*/ 531558 h 6407421"/>
              <a:gd name="connsiteX4026" fmla="*/ 9572509 w 11701760"/>
              <a:gd name="connsiteY4026" fmla="*/ 561160 h 6407421"/>
              <a:gd name="connsiteX4027" fmla="*/ 9542906 w 11701760"/>
              <a:gd name="connsiteY4027" fmla="*/ 561160 h 6407421"/>
              <a:gd name="connsiteX4028" fmla="*/ 3696058 w 11701760"/>
              <a:gd name="connsiteY4028" fmla="*/ 531558 h 6407421"/>
              <a:gd name="connsiteX4029" fmla="*/ 3725661 w 11701760"/>
              <a:gd name="connsiteY4029" fmla="*/ 531558 h 6407421"/>
              <a:gd name="connsiteX4030" fmla="*/ 3725661 w 11701760"/>
              <a:gd name="connsiteY4030" fmla="*/ 561160 h 6407421"/>
              <a:gd name="connsiteX4031" fmla="*/ 3696058 w 11701760"/>
              <a:gd name="connsiteY4031" fmla="*/ 561160 h 6407421"/>
              <a:gd name="connsiteX4032" fmla="*/ 9276817 w 11701760"/>
              <a:gd name="connsiteY4032" fmla="*/ 531556 h 6407421"/>
              <a:gd name="connsiteX4033" fmla="*/ 9306420 w 11701760"/>
              <a:gd name="connsiteY4033" fmla="*/ 531556 h 6407421"/>
              <a:gd name="connsiteX4034" fmla="*/ 9306420 w 11701760"/>
              <a:gd name="connsiteY4034" fmla="*/ 561158 h 6407421"/>
              <a:gd name="connsiteX4035" fmla="*/ 9276817 w 11701760"/>
              <a:gd name="connsiteY4035" fmla="*/ 561158 h 6407421"/>
              <a:gd name="connsiteX4036" fmla="*/ 3429969 w 11701760"/>
              <a:gd name="connsiteY4036" fmla="*/ 531556 h 6407421"/>
              <a:gd name="connsiteX4037" fmla="*/ 3459572 w 11701760"/>
              <a:gd name="connsiteY4037" fmla="*/ 531556 h 6407421"/>
              <a:gd name="connsiteX4038" fmla="*/ 3459572 w 11701760"/>
              <a:gd name="connsiteY4038" fmla="*/ 561158 h 6407421"/>
              <a:gd name="connsiteX4039" fmla="*/ 3429969 w 11701760"/>
              <a:gd name="connsiteY4039" fmla="*/ 561158 h 6407421"/>
              <a:gd name="connsiteX4040" fmla="*/ 9010620 w 11701760"/>
              <a:gd name="connsiteY4040" fmla="*/ 531554 h 6407421"/>
              <a:gd name="connsiteX4041" fmla="*/ 9040222 w 11701760"/>
              <a:gd name="connsiteY4041" fmla="*/ 531554 h 6407421"/>
              <a:gd name="connsiteX4042" fmla="*/ 9040222 w 11701760"/>
              <a:gd name="connsiteY4042" fmla="*/ 561156 h 6407421"/>
              <a:gd name="connsiteX4043" fmla="*/ 9010620 w 11701760"/>
              <a:gd name="connsiteY4043" fmla="*/ 561156 h 6407421"/>
              <a:gd name="connsiteX4044" fmla="*/ 3163772 w 11701760"/>
              <a:gd name="connsiteY4044" fmla="*/ 531554 h 6407421"/>
              <a:gd name="connsiteX4045" fmla="*/ 3193374 w 11701760"/>
              <a:gd name="connsiteY4045" fmla="*/ 531554 h 6407421"/>
              <a:gd name="connsiteX4046" fmla="*/ 3193374 w 11701760"/>
              <a:gd name="connsiteY4046" fmla="*/ 561156 h 6407421"/>
              <a:gd name="connsiteX4047" fmla="*/ 3163772 w 11701760"/>
              <a:gd name="connsiteY4047" fmla="*/ 561156 h 6407421"/>
              <a:gd name="connsiteX4048" fmla="*/ 8744423 w 11701760"/>
              <a:gd name="connsiteY4048" fmla="*/ 531551 h 6407421"/>
              <a:gd name="connsiteX4049" fmla="*/ 8774026 w 11701760"/>
              <a:gd name="connsiteY4049" fmla="*/ 531551 h 6407421"/>
              <a:gd name="connsiteX4050" fmla="*/ 8774026 w 11701760"/>
              <a:gd name="connsiteY4050" fmla="*/ 561154 h 6407421"/>
              <a:gd name="connsiteX4051" fmla="*/ 8744423 w 11701760"/>
              <a:gd name="connsiteY4051" fmla="*/ 561154 h 6407421"/>
              <a:gd name="connsiteX4052" fmla="*/ 2897575 w 11701760"/>
              <a:gd name="connsiteY4052" fmla="*/ 531551 h 6407421"/>
              <a:gd name="connsiteX4053" fmla="*/ 2927178 w 11701760"/>
              <a:gd name="connsiteY4053" fmla="*/ 531551 h 6407421"/>
              <a:gd name="connsiteX4054" fmla="*/ 2927178 w 11701760"/>
              <a:gd name="connsiteY4054" fmla="*/ 561154 h 6407421"/>
              <a:gd name="connsiteX4055" fmla="*/ 2897575 w 11701760"/>
              <a:gd name="connsiteY4055" fmla="*/ 561154 h 6407421"/>
              <a:gd name="connsiteX4056" fmla="*/ 8478226 w 11701760"/>
              <a:gd name="connsiteY4056" fmla="*/ 531549 h 6407421"/>
              <a:gd name="connsiteX4057" fmla="*/ 8507828 w 11701760"/>
              <a:gd name="connsiteY4057" fmla="*/ 531549 h 6407421"/>
              <a:gd name="connsiteX4058" fmla="*/ 8507828 w 11701760"/>
              <a:gd name="connsiteY4058" fmla="*/ 561152 h 6407421"/>
              <a:gd name="connsiteX4059" fmla="*/ 8478226 w 11701760"/>
              <a:gd name="connsiteY4059" fmla="*/ 561152 h 6407421"/>
              <a:gd name="connsiteX4060" fmla="*/ 2631378 w 11701760"/>
              <a:gd name="connsiteY4060" fmla="*/ 531549 h 6407421"/>
              <a:gd name="connsiteX4061" fmla="*/ 2660980 w 11701760"/>
              <a:gd name="connsiteY4061" fmla="*/ 531549 h 6407421"/>
              <a:gd name="connsiteX4062" fmla="*/ 2660980 w 11701760"/>
              <a:gd name="connsiteY4062" fmla="*/ 561152 h 6407421"/>
              <a:gd name="connsiteX4063" fmla="*/ 2631378 w 11701760"/>
              <a:gd name="connsiteY4063" fmla="*/ 561152 h 6407421"/>
              <a:gd name="connsiteX4064" fmla="*/ 8212137 w 11701760"/>
              <a:gd name="connsiteY4064" fmla="*/ 531547 h 6407421"/>
              <a:gd name="connsiteX4065" fmla="*/ 8241740 w 11701760"/>
              <a:gd name="connsiteY4065" fmla="*/ 531547 h 6407421"/>
              <a:gd name="connsiteX4066" fmla="*/ 8241740 w 11701760"/>
              <a:gd name="connsiteY4066" fmla="*/ 561149 h 6407421"/>
              <a:gd name="connsiteX4067" fmla="*/ 8212137 w 11701760"/>
              <a:gd name="connsiteY4067" fmla="*/ 561149 h 6407421"/>
              <a:gd name="connsiteX4068" fmla="*/ 2365289 w 11701760"/>
              <a:gd name="connsiteY4068" fmla="*/ 531547 h 6407421"/>
              <a:gd name="connsiteX4069" fmla="*/ 2394892 w 11701760"/>
              <a:gd name="connsiteY4069" fmla="*/ 531547 h 6407421"/>
              <a:gd name="connsiteX4070" fmla="*/ 2394892 w 11701760"/>
              <a:gd name="connsiteY4070" fmla="*/ 561149 h 6407421"/>
              <a:gd name="connsiteX4071" fmla="*/ 2365289 w 11701760"/>
              <a:gd name="connsiteY4071" fmla="*/ 561149 h 6407421"/>
              <a:gd name="connsiteX4072" fmla="*/ 7945940 w 11701760"/>
              <a:gd name="connsiteY4072" fmla="*/ 531545 h 6407421"/>
              <a:gd name="connsiteX4073" fmla="*/ 7975543 w 11701760"/>
              <a:gd name="connsiteY4073" fmla="*/ 531545 h 6407421"/>
              <a:gd name="connsiteX4074" fmla="*/ 7975543 w 11701760"/>
              <a:gd name="connsiteY4074" fmla="*/ 561147 h 6407421"/>
              <a:gd name="connsiteX4075" fmla="*/ 7945940 w 11701760"/>
              <a:gd name="connsiteY4075" fmla="*/ 561147 h 6407421"/>
              <a:gd name="connsiteX4076" fmla="*/ 2099092 w 11701760"/>
              <a:gd name="connsiteY4076" fmla="*/ 531545 h 6407421"/>
              <a:gd name="connsiteX4077" fmla="*/ 2128695 w 11701760"/>
              <a:gd name="connsiteY4077" fmla="*/ 531545 h 6407421"/>
              <a:gd name="connsiteX4078" fmla="*/ 2128695 w 11701760"/>
              <a:gd name="connsiteY4078" fmla="*/ 561147 h 6407421"/>
              <a:gd name="connsiteX4079" fmla="*/ 2099092 w 11701760"/>
              <a:gd name="connsiteY4079" fmla="*/ 561147 h 6407421"/>
              <a:gd name="connsiteX4080" fmla="*/ 7679743 w 11701760"/>
              <a:gd name="connsiteY4080" fmla="*/ 531543 h 6407421"/>
              <a:gd name="connsiteX4081" fmla="*/ 7709346 w 11701760"/>
              <a:gd name="connsiteY4081" fmla="*/ 531543 h 6407421"/>
              <a:gd name="connsiteX4082" fmla="*/ 7709346 w 11701760"/>
              <a:gd name="connsiteY4082" fmla="*/ 561145 h 6407421"/>
              <a:gd name="connsiteX4083" fmla="*/ 7679743 w 11701760"/>
              <a:gd name="connsiteY4083" fmla="*/ 561145 h 6407421"/>
              <a:gd name="connsiteX4084" fmla="*/ 1832898 w 11701760"/>
              <a:gd name="connsiteY4084" fmla="*/ 531543 h 6407421"/>
              <a:gd name="connsiteX4085" fmla="*/ 1862498 w 11701760"/>
              <a:gd name="connsiteY4085" fmla="*/ 531543 h 6407421"/>
              <a:gd name="connsiteX4086" fmla="*/ 1862498 w 11701760"/>
              <a:gd name="connsiteY4086" fmla="*/ 561145 h 6407421"/>
              <a:gd name="connsiteX4087" fmla="*/ 1832898 w 11701760"/>
              <a:gd name="connsiteY4087" fmla="*/ 561145 h 6407421"/>
              <a:gd name="connsiteX4088" fmla="*/ 7413653 w 11701760"/>
              <a:gd name="connsiteY4088" fmla="*/ 531541 h 6407421"/>
              <a:gd name="connsiteX4089" fmla="*/ 7443256 w 11701760"/>
              <a:gd name="connsiteY4089" fmla="*/ 531541 h 6407421"/>
              <a:gd name="connsiteX4090" fmla="*/ 7443256 w 11701760"/>
              <a:gd name="connsiteY4090" fmla="*/ 561143 h 6407421"/>
              <a:gd name="connsiteX4091" fmla="*/ 7413653 w 11701760"/>
              <a:gd name="connsiteY4091" fmla="*/ 561143 h 6407421"/>
              <a:gd name="connsiteX4092" fmla="*/ 1566808 w 11701760"/>
              <a:gd name="connsiteY4092" fmla="*/ 531541 h 6407421"/>
              <a:gd name="connsiteX4093" fmla="*/ 1596409 w 11701760"/>
              <a:gd name="connsiteY4093" fmla="*/ 531541 h 6407421"/>
              <a:gd name="connsiteX4094" fmla="*/ 1596409 w 11701760"/>
              <a:gd name="connsiteY4094" fmla="*/ 561143 h 6407421"/>
              <a:gd name="connsiteX4095" fmla="*/ 1566808 w 11701760"/>
              <a:gd name="connsiteY4095" fmla="*/ 561143 h 6407421"/>
              <a:gd name="connsiteX4096" fmla="*/ 7147456 w 11701760"/>
              <a:gd name="connsiteY4096" fmla="*/ 531539 h 6407421"/>
              <a:gd name="connsiteX4097" fmla="*/ 7177058 w 11701760"/>
              <a:gd name="connsiteY4097" fmla="*/ 531539 h 6407421"/>
              <a:gd name="connsiteX4098" fmla="*/ 7177058 w 11701760"/>
              <a:gd name="connsiteY4098" fmla="*/ 561141 h 6407421"/>
              <a:gd name="connsiteX4099" fmla="*/ 7147456 w 11701760"/>
              <a:gd name="connsiteY4099" fmla="*/ 561141 h 6407421"/>
              <a:gd name="connsiteX4100" fmla="*/ 1300611 w 11701760"/>
              <a:gd name="connsiteY4100" fmla="*/ 531539 h 6407421"/>
              <a:gd name="connsiteX4101" fmla="*/ 1330213 w 11701760"/>
              <a:gd name="connsiteY4101" fmla="*/ 531539 h 6407421"/>
              <a:gd name="connsiteX4102" fmla="*/ 1330213 w 11701760"/>
              <a:gd name="connsiteY4102" fmla="*/ 561141 h 6407421"/>
              <a:gd name="connsiteX4103" fmla="*/ 1300611 w 11701760"/>
              <a:gd name="connsiteY4103" fmla="*/ 561141 h 6407421"/>
              <a:gd name="connsiteX4104" fmla="*/ 6881367 w 11701760"/>
              <a:gd name="connsiteY4104" fmla="*/ 531537 h 6407421"/>
              <a:gd name="connsiteX4105" fmla="*/ 6910970 w 11701760"/>
              <a:gd name="connsiteY4105" fmla="*/ 531537 h 6407421"/>
              <a:gd name="connsiteX4106" fmla="*/ 6910970 w 11701760"/>
              <a:gd name="connsiteY4106" fmla="*/ 561139 h 6407421"/>
              <a:gd name="connsiteX4107" fmla="*/ 6881367 w 11701760"/>
              <a:gd name="connsiteY4107" fmla="*/ 561139 h 6407421"/>
              <a:gd name="connsiteX4108" fmla="*/ 1034520 w 11701760"/>
              <a:gd name="connsiteY4108" fmla="*/ 531537 h 6407421"/>
              <a:gd name="connsiteX4109" fmla="*/ 1064123 w 11701760"/>
              <a:gd name="connsiteY4109" fmla="*/ 531537 h 6407421"/>
              <a:gd name="connsiteX4110" fmla="*/ 1064123 w 11701760"/>
              <a:gd name="connsiteY4110" fmla="*/ 561139 h 6407421"/>
              <a:gd name="connsiteX4111" fmla="*/ 1034520 w 11701760"/>
              <a:gd name="connsiteY4111" fmla="*/ 561139 h 6407421"/>
              <a:gd name="connsiteX4112" fmla="*/ 6615170 w 11701760"/>
              <a:gd name="connsiteY4112" fmla="*/ 531534 h 6407421"/>
              <a:gd name="connsiteX4113" fmla="*/ 6644773 w 11701760"/>
              <a:gd name="connsiteY4113" fmla="*/ 531534 h 6407421"/>
              <a:gd name="connsiteX4114" fmla="*/ 6644773 w 11701760"/>
              <a:gd name="connsiteY4114" fmla="*/ 561137 h 6407421"/>
              <a:gd name="connsiteX4115" fmla="*/ 6615170 w 11701760"/>
              <a:gd name="connsiteY4115" fmla="*/ 561137 h 6407421"/>
              <a:gd name="connsiteX4116" fmla="*/ 768326 w 11701760"/>
              <a:gd name="connsiteY4116" fmla="*/ 531534 h 6407421"/>
              <a:gd name="connsiteX4117" fmla="*/ 797926 w 11701760"/>
              <a:gd name="connsiteY4117" fmla="*/ 531534 h 6407421"/>
              <a:gd name="connsiteX4118" fmla="*/ 797926 w 11701760"/>
              <a:gd name="connsiteY4118" fmla="*/ 561137 h 6407421"/>
              <a:gd name="connsiteX4119" fmla="*/ 768326 w 11701760"/>
              <a:gd name="connsiteY4119" fmla="*/ 561137 h 6407421"/>
              <a:gd name="connsiteX4120" fmla="*/ 6349081 w 11701760"/>
              <a:gd name="connsiteY4120" fmla="*/ 531532 h 6407421"/>
              <a:gd name="connsiteX4121" fmla="*/ 6378683 w 11701760"/>
              <a:gd name="connsiteY4121" fmla="*/ 531532 h 6407421"/>
              <a:gd name="connsiteX4122" fmla="*/ 6378683 w 11701760"/>
              <a:gd name="connsiteY4122" fmla="*/ 561135 h 6407421"/>
              <a:gd name="connsiteX4123" fmla="*/ 6349081 w 11701760"/>
              <a:gd name="connsiteY4123" fmla="*/ 561135 h 6407421"/>
              <a:gd name="connsiteX4124" fmla="*/ 502235 w 11701760"/>
              <a:gd name="connsiteY4124" fmla="*/ 531532 h 6407421"/>
              <a:gd name="connsiteX4125" fmla="*/ 531838 w 11701760"/>
              <a:gd name="connsiteY4125" fmla="*/ 531532 h 6407421"/>
              <a:gd name="connsiteX4126" fmla="*/ 531838 w 11701760"/>
              <a:gd name="connsiteY4126" fmla="*/ 561135 h 6407421"/>
              <a:gd name="connsiteX4127" fmla="*/ 502235 w 11701760"/>
              <a:gd name="connsiteY4127" fmla="*/ 561135 h 6407421"/>
              <a:gd name="connsiteX4128" fmla="*/ 6082884 w 11701760"/>
              <a:gd name="connsiteY4128" fmla="*/ 531530 h 6407421"/>
              <a:gd name="connsiteX4129" fmla="*/ 6112486 w 11701760"/>
              <a:gd name="connsiteY4129" fmla="*/ 531530 h 6407421"/>
              <a:gd name="connsiteX4130" fmla="*/ 6112486 w 11701760"/>
              <a:gd name="connsiteY4130" fmla="*/ 561133 h 6407421"/>
              <a:gd name="connsiteX4131" fmla="*/ 6082884 w 11701760"/>
              <a:gd name="connsiteY4131" fmla="*/ 561133 h 6407421"/>
              <a:gd name="connsiteX4132" fmla="*/ 236036 w 11701760"/>
              <a:gd name="connsiteY4132" fmla="*/ 531530 h 6407421"/>
              <a:gd name="connsiteX4133" fmla="*/ 265639 w 11701760"/>
              <a:gd name="connsiteY4133" fmla="*/ 531530 h 6407421"/>
              <a:gd name="connsiteX4134" fmla="*/ 265639 w 11701760"/>
              <a:gd name="connsiteY4134" fmla="*/ 561133 h 6407421"/>
              <a:gd name="connsiteX4135" fmla="*/ 236036 w 11701760"/>
              <a:gd name="connsiteY4135" fmla="*/ 561133 h 6407421"/>
              <a:gd name="connsiteX4136" fmla="*/ 0 w 11701760"/>
              <a:gd name="connsiteY4136" fmla="*/ 531530 h 6407421"/>
              <a:gd name="connsiteX4137" fmla="*/ 29602 w 11701760"/>
              <a:gd name="connsiteY4137" fmla="*/ 531530 h 6407421"/>
              <a:gd name="connsiteX4138" fmla="*/ 29602 w 11701760"/>
              <a:gd name="connsiteY4138" fmla="*/ 561133 h 6407421"/>
              <a:gd name="connsiteX4139" fmla="*/ 0 w 11701760"/>
              <a:gd name="connsiteY4139" fmla="*/ 561133 h 6407421"/>
              <a:gd name="connsiteX4140" fmla="*/ 11672158 w 11701760"/>
              <a:gd name="connsiteY4140" fmla="*/ 265811 h 6407421"/>
              <a:gd name="connsiteX4141" fmla="*/ 11701760 w 11701760"/>
              <a:gd name="connsiteY4141" fmla="*/ 265811 h 6407421"/>
              <a:gd name="connsiteX4142" fmla="*/ 11701760 w 11701760"/>
              <a:gd name="connsiteY4142" fmla="*/ 295414 h 6407421"/>
              <a:gd name="connsiteX4143" fmla="*/ 11672158 w 11701760"/>
              <a:gd name="connsiteY4143" fmla="*/ 295414 h 6407421"/>
              <a:gd name="connsiteX4144" fmla="*/ 5825310 w 11701760"/>
              <a:gd name="connsiteY4144" fmla="*/ 265811 h 6407421"/>
              <a:gd name="connsiteX4145" fmla="*/ 5854913 w 11701760"/>
              <a:gd name="connsiteY4145" fmla="*/ 265811 h 6407421"/>
              <a:gd name="connsiteX4146" fmla="*/ 5854913 w 11701760"/>
              <a:gd name="connsiteY4146" fmla="*/ 295414 h 6407421"/>
              <a:gd name="connsiteX4147" fmla="*/ 5825310 w 11701760"/>
              <a:gd name="connsiteY4147" fmla="*/ 295414 h 6407421"/>
              <a:gd name="connsiteX4148" fmla="*/ 11405961 w 11701760"/>
              <a:gd name="connsiteY4148" fmla="*/ 265809 h 6407421"/>
              <a:gd name="connsiteX4149" fmla="*/ 11435563 w 11701760"/>
              <a:gd name="connsiteY4149" fmla="*/ 265809 h 6407421"/>
              <a:gd name="connsiteX4150" fmla="*/ 11435563 w 11701760"/>
              <a:gd name="connsiteY4150" fmla="*/ 295412 h 6407421"/>
              <a:gd name="connsiteX4151" fmla="*/ 11405961 w 11701760"/>
              <a:gd name="connsiteY4151" fmla="*/ 295412 h 6407421"/>
              <a:gd name="connsiteX4152" fmla="*/ 5559113 w 11701760"/>
              <a:gd name="connsiteY4152" fmla="*/ 265809 h 6407421"/>
              <a:gd name="connsiteX4153" fmla="*/ 5588715 w 11701760"/>
              <a:gd name="connsiteY4153" fmla="*/ 265809 h 6407421"/>
              <a:gd name="connsiteX4154" fmla="*/ 5588715 w 11701760"/>
              <a:gd name="connsiteY4154" fmla="*/ 295412 h 6407421"/>
              <a:gd name="connsiteX4155" fmla="*/ 5559113 w 11701760"/>
              <a:gd name="connsiteY4155" fmla="*/ 295412 h 6407421"/>
              <a:gd name="connsiteX4156" fmla="*/ 11139872 w 11701760"/>
              <a:gd name="connsiteY4156" fmla="*/ 265807 h 6407421"/>
              <a:gd name="connsiteX4157" fmla="*/ 11169474 w 11701760"/>
              <a:gd name="connsiteY4157" fmla="*/ 265807 h 6407421"/>
              <a:gd name="connsiteX4158" fmla="*/ 11169474 w 11701760"/>
              <a:gd name="connsiteY4158" fmla="*/ 295409 h 6407421"/>
              <a:gd name="connsiteX4159" fmla="*/ 11139872 w 11701760"/>
              <a:gd name="connsiteY4159" fmla="*/ 295409 h 6407421"/>
              <a:gd name="connsiteX4160" fmla="*/ 5293024 w 11701760"/>
              <a:gd name="connsiteY4160" fmla="*/ 265807 h 6407421"/>
              <a:gd name="connsiteX4161" fmla="*/ 5322626 w 11701760"/>
              <a:gd name="connsiteY4161" fmla="*/ 265807 h 6407421"/>
              <a:gd name="connsiteX4162" fmla="*/ 5322626 w 11701760"/>
              <a:gd name="connsiteY4162" fmla="*/ 295409 h 6407421"/>
              <a:gd name="connsiteX4163" fmla="*/ 5293024 w 11701760"/>
              <a:gd name="connsiteY4163" fmla="*/ 295409 h 6407421"/>
              <a:gd name="connsiteX4164" fmla="*/ 10873675 w 11701760"/>
              <a:gd name="connsiteY4164" fmla="*/ 265805 h 6407421"/>
              <a:gd name="connsiteX4165" fmla="*/ 10903277 w 11701760"/>
              <a:gd name="connsiteY4165" fmla="*/ 265805 h 6407421"/>
              <a:gd name="connsiteX4166" fmla="*/ 10903277 w 11701760"/>
              <a:gd name="connsiteY4166" fmla="*/ 295407 h 6407421"/>
              <a:gd name="connsiteX4167" fmla="*/ 10873675 w 11701760"/>
              <a:gd name="connsiteY4167" fmla="*/ 295407 h 6407421"/>
              <a:gd name="connsiteX4168" fmla="*/ 5026827 w 11701760"/>
              <a:gd name="connsiteY4168" fmla="*/ 265805 h 6407421"/>
              <a:gd name="connsiteX4169" fmla="*/ 5056429 w 11701760"/>
              <a:gd name="connsiteY4169" fmla="*/ 265805 h 6407421"/>
              <a:gd name="connsiteX4170" fmla="*/ 5056429 w 11701760"/>
              <a:gd name="connsiteY4170" fmla="*/ 295407 h 6407421"/>
              <a:gd name="connsiteX4171" fmla="*/ 5026827 w 11701760"/>
              <a:gd name="connsiteY4171" fmla="*/ 295407 h 6407421"/>
              <a:gd name="connsiteX4172" fmla="*/ 10607478 w 11701760"/>
              <a:gd name="connsiteY4172" fmla="*/ 265803 h 6407421"/>
              <a:gd name="connsiteX4173" fmla="*/ 10637188 w 11701760"/>
              <a:gd name="connsiteY4173" fmla="*/ 265803 h 6407421"/>
              <a:gd name="connsiteX4174" fmla="*/ 10637188 w 11701760"/>
              <a:gd name="connsiteY4174" fmla="*/ 295405 h 6407421"/>
              <a:gd name="connsiteX4175" fmla="*/ 10607478 w 11701760"/>
              <a:gd name="connsiteY4175" fmla="*/ 295405 h 6407421"/>
              <a:gd name="connsiteX4176" fmla="*/ 4760630 w 11701760"/>
              <a:gd name="connsiteY4176" fmla="*/ 265803 h 6407421"/>
              <a:gd name="connsiteX4177" fmla="*/ 4790340 w 11701760"/>
              <a:gd name="connsiteY4177" fmla="*/ 265803 h 6407421"/>
              <a:gd name="connsiteX4178" fmla="*/ 4790340 w 11701760"/>
              <a:gd name="connsiteY4178" fmla="*/ 295405 h 6407421"/>
              <a:gd name="connsiteX4179" fmla="*/ 4760630 w 11701760"/>
              <a:gd name="connsiteY4179" fmla="*/ 295405 h 6407421"/>
              <a:gd name="connsiteX4180" fmla="*/ 10341389 w 11701760"/>
              <a:gd name="connsiteY4180" fmla="*/ 265800 h 6407421"/>
              <a:gd name="connsiteX4181" fmla="*/ 10370992 w 11701760"/>
              <a:gd name="connsiteY4181" fmla="*/ 265800 h 6407421"/>
              <a:gd name="connsiteX4182" fmla="*/ 10370992 w 11701760"/>
              <a:gd name="connsiteY4182" fmla="*/ 295403 h 6407421"/>
              <a:gd name="connsiteX4183" fmla="*/ 10341389 w 11701760"/>
              <a:gd name="connsiteY4183" fmla="*/ 295403 h 6407421"/>
              <a:gd name="connsiteX4184" fmla="*/ 4494541 w 11701760"/>
              <a:gd name="connsiteY4184" fmla="*/ 265800 h 6407421"/>
              <a:gd name="connsiteX4185" fmla="*/ 4524144 w 11701760"/>
              <a:gd name="connsiteY4185" fmla="*/ 265800 h 6407421"/>
              <a:gd name="connsiteX4186" fmla="*/ 4524144 w 11701760"/>
              <a:gd name="connsiteY4186" fmla="*/ 295403 h 6407421"/>
              <a:gd name="connsiteX4187" fmla="*/ 4494541 w 11701760"/>
              <a:gd name="connsiteY4187" fmla="*/ 295403 h 6407421"/>
              <a:gd name="connsiteX4188" fmla="*/ 10075192 w 11701760"/>
              <a:gd name="connsiteY4188" fmla="*/ 265798 h 6407421"/>
              <a:gd name="connsiteX4189" fmla="*/ 10104794 w 11701760"/>
              <a:gd name="connsiteY4189" fmla="*/ 265798 h 6407421"/>
              <a:gd name="connsiteX4190" fmla="*/ 10104794 w 11701760"/>
              <a:gd name="connsiteY4190" fmla="*/ 295401 h 6407421"/>
              <a:gd name="connsiteX4191" fmla="*/ 10075192 w 11701760"/>
              <a:gd name="connsiteY4191" fmla="*/ 295401 h 6407421"/>
              <a:gd name="connsiteX4192" fmla="*/ 4228344 w 11701760"/>
              <a:gd name="connsiteY4192" fmla="*/ 265798 h 6407421"/>
              <a:gd name="connsiteX4193" fmla="*/ 4257946 w 11701760"/>
              <a:gd name="connsiteY4193" fmla="*/ 265798 h 6407421"/>
              <a:gd name="connsiteX4194" fmla="*/ 4257946 w 11701760"/>
              <a:gd name="connsiteY4194" fmla="*/ 295401 h 6407421"/>
              <a:gd name="connsiteX4195" fmla="*/ 4228344 w 11701760"/>
              <a:gd name="connsiteY4195" fmla="*/ 295401 h 6407421"/>
              <a:gd name="connsiteX4196" fmla="*/ 9809103 w 11701760"/>
              <a:gd name="connsiteY4196" fmla="*/ 265796 h 6407421"/>
              <a:gd name="connsiteX4197" fmla="*/ 9838705 w 11701760"/>
              <a:gd name="connsiteY4197" fmla="*/ 265796 h 6407421"/>
              <a:gd name="connsiteX4198" fmla="*/ 9838705 w 11701760"/>
              <a:gd name="connsiteY4198" fmla="*/ 295398 h 6407421"/>
              <a:gd name="connsiteX4199" fmla="*/ 9809103 w 11701760"/>
              <a:gd name="connsiteY4199" fmla="*/ 295398 h 6407421"/>
              <a:gd name="connsiteX4200" fmla="*/ 3962255 w 11701760"/>
              <a:gd name="connsiteY4200" fmla="*/ 265796 h 6407421"/>
              <a:gd name="connsiteX4201" fmla="*/ 3991857 w 11701760"/>
              <a:gd name="connsiteY4201" fmla="*/ 265796 h 6407421"/>
              <a:gd name="connsiteX4202" fmla="*/ 3991857 w 11701760"/>
              <a:gd name="connsiteY4202" fmla="*/ 295398 h 6407421"/>
              <a:gd name="connsiteX4203" fmla="*/ 3962255 w 11701760"/>
              <a:gd name="connsiteY4203" fmla="*/ 295398 h 6407421"/>
              <a:gd name="connsiteX4204" fmla="*/ 9542906 w 11701760"/>
              <a:gd name="connsiteY4204" fmla="*/ 265794 h 6407421"/>
              <a:gd name="connsiteX4205" fmla="*/ 9572509 w 11701760"/>
              <a:gd name="connsiteY4205" fmla="*/ 265794 h 6407421"/>
              <a:gd name="connsiteX4206" fmla="*/ 9572509 w 11701760"/>
              <a:gd name="connsiteY4206" fmla="*/ 295396 h 6407421"/>
              <a:gd name="connsiteX4207" fmla="*/ 9542906 w 11701760"/>
              <a:gd name="connsiteY4207" fmla="*/ 295396 h 6407421"/>
              <a:gd name="connsiteX4208" fmla="*/ 3696058 w 11701760"/>
              <a:gd name="connsiteY4208" fmla="*/ 265794 h 6407421"/>
              <a:gd name="connsiteX4209" fmla="*/ 3725661 w 11701760"/>
              <a:gd name="connsiteY4209" fmla="*/ 265794 h 6407421"/>
              <a:gd name="connsiteX4210" fmla="*/ 3725661 w 11701760"/>
              <a:gd name="connsiteY4210" fmla="*/ 295396 h 6407421"/>
              <a:gd name="connsiteX4211" fmla="*/ 3696058 w 11701760"/>
              <a:gd name="connsiteY4211" fmla="*/ 295396 h 6407421"/>
              <a:gd name="connsiteX4212" fmla="*/ 9276817 w 11701760"/>
              <a:gd name="connsiteY4212" fmla="*/ 265792 h 6407421"/>
              <a:gd name="connsiteX4213" fmla="*/ 9306420 w 11701760"/>
              <a:gd name="connsiteY4213" fmla="*/ 265792 h 6407421"/>
              <a:gd name="connsiteX4214" fmla="*/ 9306420 w 11701760"/>
              <a:gd name="connsiteY4214" fmla="*/ 295394 h 6407421"/>
              <a:gd name="connsiteX4215" fmla="*/ 9276817 w 11701760"/>
              <a:gd name="connsiteY4215" fmla="*/ 295394 h 6407421"/>
              <a:gd name="connsiteX4216" fmla="*/ 3429969 w 11701760"/>
              <a:gd name="connsiteY4216" fmla="*/ 265792 h 6407421"/>
              <a:gd name="connsiteX4217" fmla="*/ 3459572 w 11701760"/>
              <a:gd name="connsiteY4217" fmla="*/ 265792 h 6407421"/>
              <a:gd name="connsiteX4218" fmla="*/ 3459572 w 11701760"/>
              <a:gd name="connsiteY4218" fmla="*/ 295394 h 6407421"/>
              <a:gd name="connsiteX4219" fmla="*/ 3429969 w 11701760"/>
              <a:gd name="connsiteY4219" fmla="*/ 295394 h 6407421"/>
              <a:gd name="connsiteX4220" fmla="*/ 9010620 w 11701760"/>
              <a:gd name="connsiteY4220" fmla="*/ 265789 h 6407421"/>
              <a:gd name="connsiteX4221" fmla="*/ 9040222 w 11701760"/>
              <a:gd name="connsiteY4221" fmla="*/ 265789 h 6407421"/>
              <a:gd name="connsiteX4222" fmla="*/ 9040222 w 11701760"/>
              <a:gd name="connsiteY4222" fmla="*/ 295392 h 6407421"/>
              <a:gd name="connsiteX4223" fmla="*/ 9010620 w 11701760"/>
              <a:gd name="connsiteY4223" fmla="*/ 295392 h 6407421"/>
              <a:gd name="connsiteX4224" fmla="*/ 3163772 w 11701760"/>
              <a:gd name="connsiteY4224" fmla="*/ 265789 h 6407421"/>
              <a:gd name="connsiteX4225" fmla="*/ 3193374 w 11701760"/>
              <a:gd name="connsiteY4225" fmla="*/ 265789 h 6407421"/>
              <a:gd name="connsiteX4226" fmla="*/ 3193374 w 11701760"/>
              <a:gd name="connsiteY4226" fmla="*/ 295392 h 6407421"/>
              <a:gd name="connsiteX4227" fmla="*/ 3163772 w 11701760"/>
              <a:gd name="connsiteY4227" fmla="*/ 295392 h 6407421"/>
              <a:gd name="connsiteX4228" fmla="*/ 8744423 w 11701760"/>
              <a:gd name="connsiteY4228" fmla="*/ 265787 h 6407421"/>
              <a:gd name="connsiteX4229" fmla="*/ 8774026 w 11701760"/>
              <a:gd name="connsiteY4229" fmla="*/ 265787 h 6407421"/>
              <a:gd name="connsiteX4230" fmla="*/ 8774026 w 11701760"/>
              <a:gd name="connsiteY4230" fmla="*/ 295390 h 6407421"/>
              <a:gd name="connsiteX4231" fmla="*/ 8744423 w 11701760"/>
              <a:gd name="connsiteY4231" fmla="*/ 295390 h 6407421"/>
              <a:gd name="connsiteX4232" fmla="*/ 2897575 w 11701760"/>
              <a:gd name="connsiteY4232" fmla="*/ 265787 h 6407421"/>
              <a:gd name="connsiteX4233" fmla="*/ 2927178 w 11701760"/>
              <a:gd name="connsiteY4233" fmla="*/ 265787 h 6407421"/>
              <a:gd name="connsiteX4234" fmla="*/ 2927178 w 11701760"/>
              <a:gd name="connsiteY4234" fmla="*/ 295390 h 6407421"/>
              <a:gd name="connsiteX4235" fmla="*/ 2897575 w 11701760"/>
              <a:gd name="connsiteY4235" fmla="*/ 295390 h 6407421"/>
              <a:gd name="connsiteX4236" fmla="*/ 8478226 w 11701760"/>
              <a:gd name="connsiteY4236" fmla="*/ 265785 h 6407421"/>
              <a:gd name="connsiteX4237" fmla="*/ 8507828 w 11701760"/>
              <a:gd name="connsiteY4237" fmla="*/ 265785 h 6407421"/>
              <a:gd name="connsiteX4238" fmla="*/ 8507828 w 11701760"/>
              <a:gd name="connsiteY4238" fmla="*/ 295387 h 6407421"/>
              <a:gd name="connsiteX4239" fmla="*/ 8478226 w 11701760"/>
              <a:gd name="connsiteY4239" fmla="*/ 295387 h 6407421"/>
              <a:gd name="connsiteX4240" fmla="*/ 2631378 w 11701760"/>
              <a:gd name="connsiteY4240" fmla="*/ 265785 h 6407421"/>
              <a:gd name="connsiteX4241" fmla="*/ 2660980 w 11701760"/>
              <a:gd name="connsiteY4241" fmla="*/ 265785 h 6407421"/>
              <a:gd name="connsiteX4242" fmla="*/ 2660980 w 11701760"/>
              <a:gd name="connsiteY4242" fmla="*/ 295387 h 6407421"/>
              <a:gd name="connsiteX4243" fmla="*/ 2631378 w 11701760"/>
              <a:gd name="connsiteY4243" fmla="*/ 295387 h 6407421"/>
              <a:gd name="connsiteX4244" fmla="*/ 8212137 w 11701760"/>
              <a:gd name="connsiteY4244" fmla="*/ 265783 h 6407421"/>
              <a:gd name="connsiteX4245" fmla="*/ 8241740 w 11701760"/>
              <a:gd name="connsiteY4245" fmla="*/ 265783 h 6407421"/>
              <a:gd name="connsiteX4246" fmla="*/ 8241740 w 11701760"/>
              <a:gd name="connsiteY4246" fmla="*/ 295385 h 6407421"/>
              <a:gd name="connsiteX4247" fmla="*/ 8212137 w 11701760"/>
              <a:gd name="connsiteY4247" fmla="*/ 295385 h 6407421"/>
              <a:gd name="connsiteX4248" fmla="*/ 2365289 w 11701760"/>
              <a:gd name="connsiteY4248" fmla="*/ 265783 h 6407421"/>
              <a:gd name="connsiteX4249" fmla="*/ 2394892 w 11701760"/>
              <a:gd name="connsiteY4249" fmla="*/ 265783 h 6407421"/>
              <a:gd name="connsiteX4250" fmla="*/ 2394892 w 11701760"/>
              <a:gd name="connsiteY4250" fmla="*/ 295385 h 6407421"/>
              <a:gd name="connsiteX4251" fmla="*/ 2365289 w 11701760"/>
              <a:gd name="connsiteY4251" fmla="*/ 295385 h 6407421"/>
              <a:gd name="connsiteX4252" fmla="*/ 7945940 w 11701760"/>
              <a:gd name="connsiteY4252" fmla="*/ 265781 h 6407421"/>
              <a:gd name="connsiteX4253" fmla="*/ 7975543 w 11701760"/>
              <a:gd name="connsiteY4253" fmla="*/ 265781 h 6407421"/>
              <a:gd name="connsiteX4254" fmla="*/ 7975543 w 11701760"/>
              <a:gd name="connsiteY4254" fmla="*/ 295383 h 6407421"/>
              <a:gd name="connsiteX4255" fmla="*/ 7945940 w 11701760"/>
              <a:gd name="connsiteY4255" fmla="*/ 295383 h 6407421"/>
              <a:gd name="connsiteX4256" fmla="*/ 2099092 w 11701760"/>
              <a:gd name="connsiteY4256" fmla="*/ 265781 h 6407421"/>
              <a:gd name="connsiteX4257" fmla="*/ 2128695 w 11701760"/>
              <a:gd name="connsiteY4257" fmla="*/ 265781 h 6407421"/>
              <a:gd name="connsiteX4258" fmla="*/ 2128695 w 11701760"/>
              <a:gd name="connsiteY4258" fmla="*/ 295383 h 6407421"/>
              <a:gd name="connsiteX4259" fmla="*/ 2099092 w 11701760"/>
              <a:gd name="connsiteY4259" fmla="*/ 295383 h 6407421"/>
              <a:gd name="connsiteX4260" fmla="*/ 7679743 w 11701760"/>
              <a:gd name="connsiteY4260" fmla="*/ 265778 h 6407421"/>
              <a:gd name="connsiteX4261" fmla="*/ 7709346 w 11701760"/>
              <a:gd name="connsiteY4261" fmla="*/ 265778 h 6407421"/>
              <a:gd name="connsiteX4262" fmla="*/ 7709346 w 11701760"/>
              <a:gd name="connsiteY4262" fmla="*/ 295381 h 6407421"/>
              <a:gd name="connsiteX4263" fmla="*/ 7679743 w 11701760"/>
              <a:gd name="connsiteY4263" fmla="*/ 295381 h 6407421"/>
              <a:gd name="connsiteX4264" fmla="*/ 1832898 w 11701760"/>
              <a:gd name="connsiteY4264" fmla="*/ 265778 h 6407421"/>
              <a:gd name="connsiteX4265" fmla="*/ 1862498 w 11701760"/>
              <a:gd name="connsiteY4265" fmla="*/ 265778 h 6407421"/>
              <a:gd name="connsiteX4266" fmla="*/ 1862498 w 11701760"/>
              <a:gd name="connsiteY4266" fmla="*/ 295381 h 6407421"/>
              <a:gd name="connsiteX4267" fmla="*/ 1832898 w 11701760"/>
              <a:gd name="connsiteY4267" fmla="*/ 295381 h 6407421"/>
              <a:gd name="connsiteX4268" fmla="*/ 7413653 w 11701760"/>
              <a:gd name="connsiteY4268" fmla="*/ 265776 h 6407421"/>
              <a:gd name="connsiteX4269" fmla="*/ 7443256 w 11701760"/>
              <a:gd name="connsiteY4269" fmla="*/ 265776 h 6407421"/>
              <a:gd name="connsiteX4270" fmla="*/ 7443256 w 11701760"/>
              <a:gd name="connsiteY4270" fmla="*/ 295379 h 6407421"/>
              <a:gd name="connsiteX4271" fmla="*/ 7413653 w 11701760"/>
              <a:gd name="connsiteY4271" fmla="*/ 295379 h 6407421"/>
              <a:gd name="connsiteX4272" fmla="*/ 1566808 w 11701760"/>
              <a:gd name="connsiteY4272" fmla="*/ 265776 h 6407421"/>
              <a:gd name="connsiteX4273" fmla="*/ 1596409 w 11701760"/>
              <a:gd name="connsiteY4273" fmla="*/ 265776 h 6407421"/>
              <a:gd name="connsiteX4274" fmla="*/ 1596409 w 11701760"/>
              <a:gd name="connsiteY4274" fmla="*/ 295379 h 6407421"/>
              <a:gd name="connsiteX4275" fmla="*/ 1566808 w 11701760"/>
              <a:gd name="connsiteY4275" fmla="*/ 295379 h 6407421"/>
              <a:gd name="connsiteX4276" fmla="*/ 7147456 w 11701760"/>
              <a:gd name="connsiteY4276" fmla="*/ 265774 h 6407421"/>
              <a:gd name="connsiteX4277" fmla="*/ 7177058 w 11701760"/>
              <a:gd name="connsiteY4277" fmla="*/ 265774 h 6407421"/>
              <a:gd name="connsiteX4278" fmla="*/ 7177058 w 11701760"/>
              <a:gd name="connsiteY4278" fmla="*/ 295376 h 6407421"/>
              <a:gd name="connsiteX4279" fmla="*/ 7147456 w 11701760"/>
              <a:gd name="connsiteY4279" fmla="*/ 295376 h 6407421"/>
              <a:gd name="connsiteX4280" fmla="*/ 1300611 w 11701760"/>
              <a:gd name="connsiteY4280" fmla="*/ 265774 h 6407421"/>
              <a:gd name="connsiteX4281" fmla="*/ 1330213 w 11701760"/>
              <a:gd name="connsiteY4281" fmla="*/ 265774 h 6407421"/>
              <a:gd name="connsiteX4282" fmla="*/ 1330213 w 11701760"/>
              <a:gd name="connsiteY4282" fmla="*/ 295376 h 6407421"/>
              <a:gd name="connsiteX4283" fmla="*/ 1300611 w 11701760"/>
              <a:gd name="connsiteY4283" fmla="*/ 295376 h 6407421"/>
              <a:gd name="connsiteX4284" fmla="*/ 6881367 w 11701760"/>
              <a:gd name="connsiteY4284" fmla="*/ 265772 h 6407421"/>
              <a:gd name="connsiteX4285" fmla="*/ 6910970 w 11701760"/>
              <a:gd name="connsiteY4285" fmla="*/ 265772 h 6407421"/>
              <a:gd name="connsiteX4286" fmla="*/ 6910970 w 11701760"/>
              <a:gd name="connsiteY4286" fmla="*/ 295374 h 6407421"/>
              <a:gd name="connsiteX4287" fmla="*/ 6881367 w 11701760"/>
              <a:gd name="connsiteY4287" fmla="*/ 295374 h 6407421"/>
              <a:gd name="connsiteX4288" fmla="*/ 1034520 w 11701760"/>
              <a:gd name="connsiteY4288" fmla="*/ 265772 h 6407421"/>
              <a:gd name="connsiteX4289" fmla="*/ 1064123 w 11701760"/>
              <a:gd name="connsiteY4289" fmla="*/ 265772 h 6407421"/>
              <a:gd name="connsiteX4290" fmla="*/ 1064123 w 11701760"/>
              <a:gd name="connsiteY4290" fmla="*/ 295374 h 6407421"/>
              <a:gd name="connsiteX4291" fmla="*/ 1034520 w 11701760"/>
              <a:gd name="connsiteY4291" fmla="*/ 295374 h 6407421"/>
              <a:gd name="connsiteX4292" fmla="*/ 6615170 w 11701760"/>
              <a:gd name="connsiteY4292" fmla="*/ 265770 h 6407421"/>
              <a:gd name="connsiteX4293" fmla="*/ 6644773 w 11701760"/>
              <a:gd name="connsiteY4293" fmla="*/ 265770 h 6407421"/>
              <a:gd name="connsiteX4294" fmla="*/ 6644773 w 11701760"/>
              <a:gd name="connsiteY4294" fmla="*/ 295372 h 6407421"/>
              <a:gd name="connsiteX4295" fmla="*/ 6615170 w 11701760"/>
              <a:gd name="connsiteY4295" fmla="*/ 295372 h 6407421"/>
              <a:gd name="connsiteX4296" fmla="*/ 768326 w 11701760"/>
              <a:gd name="connsiteY4296" fmla="*/ 265770 h 6407421"/>
              <a:gd name="connsiteX4297" fmla="*/ 797926 w 11701760"/>
              <a:gd name="connsiteY4297" fmla="*/ 265770 h 6407421"/>
              <a:gd name="connsiteX4298" fmla="*/ 797926 w 11701760"/>
              <a:gd name="connsiteY4298" fmla="*/ 295372 h 6407421"/>
              <a:gd name="connsiteX4299" fmla="*/ 768326 w 11701760"/>
              <a:gd name="connsiteY4299" fmla="*/ 295372 h 6407421"/>
              <a:gd name="connsiteX4300" fmla="*/ 6349081 w 11701760"/>
              <a:gd name="connsiteY4300" fmla="*/ 265767 h 6407421"/>
              <a:gd name="connsiteX4301" fmla="*/ 6378683 w 11701760"/>
              <a:gd name="connsiteY4301" fmla="*/ 265767 h 6407421"/>
              <a:gd name="connsiteX4302" fmla="*/ 6378683 w 11701760"/>
              <a:gd name="connsiteY4302" fmla="*/ 295370 h 6407421"/>
              <a:gd name="connsiteX4303" fmla="*/ 6349081 w 11701760"/>
              <a:gd name="connsiteY4303" fmla="*/ 295370 h 6407421"/>
              <a:gd name="connsiteX4304" fmla="*/ 502235 w 11701760"/>
              <a:gd name="connsiteY4304" fmla="*/ 265767 h 6407421"/>
              <a:gd name="connsiteX4305" fmla="*/ 531838 w 11701760"/>
              <a:gd name="connsiteY4305" fmla="*/ 265767 h 6407421"/>
              <a:gd name="connsiteX4306" fmla="*/ 531838 w 11701760"/>
              <a:gd name="connsiteY4306" fmla="*/ 295370 h 6407421"/>
              <a:gd name="connsiteX4307" fmla="*/ 502235 w 11701760"/>
              <a:gd name="connsiteY4307" fmla="*/ 295370 h 6407421"/>
              <a:gd name="connsiteX4308" fmla="*/ 6082884 w 11701760"/>
              <a:gd name="connsiteY4308" fmla="*/ 265765 h 6407421"/>
              <a:gd name="connsiteX4309" fmla="*/ 6112486 w 11701760"/>
              <a:gd name="connsiteY4309" fmla="*/ 265765 h 6407421"/>
              <a:gd name="connsiteX4310" fmla="*/ 6112486 w 11701760"/>
              <a:gd name="connsiteY4310" fmla="*/ 295368 h 6407421"/>
              <a:gd name="connsiteX4311" fmla="*/ 6082884 w 11701760"/>
              <a:gd name="connsiteY4311" fmla="*/ 295368 h 6407421"/>
              <a:gd name="connsiteX4312" fmla="*/ 236036 w 11701760"/>
              <a:gd name="connsiteY4312" fmla="*/ 265765 h 6407421"/>
              <a:gd name="connsiteX4313" fmla="*/ 265639 w 11701760"/>
              <a:gd name="connsiteY4313" fmla="*/ 265765 h 6407421"/>
              <a:gd name="connsiteX4314" fmla="*/ 265639 w 11701760"/>
              <a:gd name="connsiteY4314" fmla="*/ 295368 h 6407421"/>
              <a:gd name="connsiteX4315" fmla="*/ 236036 w 11701760"/>
              <a:gd name="connsiteY4315" fmla="*/ 295368 h 6407421"/>
              <a:gd name="connsiteX4316" fmla="*/ 0 w 11701760"/>
              <a:gd name="connsiteY4316" fmla="*/ 265765 h 6407421"/>
              <a:gd name="connsiteX4317" fmla="*/ 29602 w 11701760"/>
              <a:gd name="connsiteY4317" fmla="*/ 265765 h 6407421"/>
              <a:gd name="connsiteX4318" fmla="*/ 29602 w 11701760"/>
              <a:gd name="connsiteY4318" fmla="*/ 295368 h 6407421"/>
              <a:gd name="connsiteX4319" fmla="*/ 0 w 11701760"/>
              <a:gd name="connsiteY4319" fmla="*/ 295368 h 6407421"/>
              <a:gd name="connsiteX4320" fmla="*/ 11672158 w 11701760"/>
              <a:gd name="connsiteY4320" fmla="*/ 48 h 6407421"/>
              <a:gd name="connsiteX4321" fmla="*/ 11701760 w 11701760"/>
              <a:gd name="connsiteY4321" fmla="*/ 48 h 6407421"/>
              <a:gd name="connsiteX4322" fmla="*/ 11701760 w 11701760"/>
              <a:gd name="connsiteY4322" fmla="*/ 29651 h 6407421"/>
              <a:gd name="connsiteX4323" fmla="*/ 11672158 w 11701760"/>
              <a:gd name="connsiteY4323" fmla="*/ 29651 h 6407421"/>
              <a:gd name="connsiteX4324" fmla="*/ 5825310 w 11701760"/>
              <a:gd name="connsiteY4324" fmla="*/ 48 h 6407421"/>
              <a:gd name="connsiteX4325" fmla="*/ 5854913 w 11701760"/>
              <a:gd name="connsiteY4325" fmla="*/ 48 h 6407421"/>
              <a:gd name="connsiteX4326" fmla="*/ 5854913 w 11701760"/>
              <a:gd name="connsiteY4326" fmla="*/ 29651 h 6407421"/>
              <a:gd name="connsiteX4327" fmla="*/ 5825310 w 11701760"/>
              <a:gd name="connsiteY4327" fmla="*/ 29651 h 6407421"/>
              <a:gd name="connsiteX4328" fmla="*/ 11405961 w 11701760"/>
              <a:gd name="connsiteY4328" fmla="*/ 46 h 6407421"/>
              <a:gd name="connsiteX4329" fmla="*/ 11435563 w 11701760"/>
              <a:gd name="connsiteY4329" fmla="*/ 46 h 6407421"/>
              <a:gd name="connsiteX4330" fmla="*/ 11435563 w 11701760"/>
              <a:gd name="connsiteY4330" fmla="*/ 29648 h 6407421"/>
              <a:gd name="connsiteX4331" fmla="*/ 11405961 w 11701760"/>
              <a:gd name="connsiteY4331" fmla="*/ 29648 h 6407421"/>
              <a:gd name="connsiteX4332" fmla="*/ 5559113 w 11701760"/>
              <a:gd name="connsiteY4332" fmla="*/ 46 h 6407421"/>
              <a:gd name="connsiteX4333" fmla="*/ 5588715 w 11701760"/>
              <a:gd name="connsiteY4333" fmla="*/ 46 h 6407421"/>
              <a:gd name="connsiteX4334" fmla="*/ 5588715 w 11701760"/>
              <a:gd name="connsiteY4334" fmla="*/ 29648 h 6407421"/>
              <a:gd name="connsiteX4335" fmla="*/ 5559113 w 11701760"/>
              <a:gd name="connsiteY4335" fmla="*/ 29648 h 6407421"/>
              <a:gd name="connsiteX4336" fmla="*/ 11139872 w 11701760"/>
              <a:gd name="connsiteY4336" fmla="*/ 44 h 6407421"/>
              <a:gd name="connsiteX4337" fmla="*/ 11169474 w 11701760"/>
              <a:gd name="connsiteY4337" fmla="*/ 44 h 6407421"/>
              <a:gd name="connsiteX4338" fmla="*/ 11169474 w 11701760"/>
              <a:gd name="connsiteY4338" fmla="*/ 29646 h 6407421"/>
              <a:gd name="connsiteX4339" fmla="*/ 11139872 w 11701760"/>
              <a:gd name="connsiteY4339" fmla="*/ 29646 h 6407421"/>
              <a:gd name="connsiteX4340" fmla="*/ 5293024 w 11701760"/>
              <a:gd name="connsiteY4340" fmla="*/ 44 h 6407421"/>
              <a:gd name="connsiteX4341" fmla="*/ 5322626 w 11701760"/>
              <a:gd name="connsiteY4341" fmla="*/ 44 h 6407421"/>
              <a:gd name="connsiteX4342" fmla="*/ 5322626 w 11701760"/>
              <a:gd name="connsiteY4342" fmla="*/ 29646 h 6407421"/>
              <a:gd name="connsiteX4343" fmla="*/ 5293024 w 11701760"/>
              <a:gd name="connsiteY4343" fmla="*/ 29646 h 6407421"/>
              <a:gd name="connsiteX4344" fmla="*/ 10873675 w 11701760"/>
              <a:gd name="connsiteY4344" fmla="*/ 41 h 6407421"/>
              <a:gd name="connsiteX4345" fmla="*/ 10903277 w 11701760"/>
              <a:gd name="connsiteY4345" fmla="*/ 41 h 6407421"/>
              <a:gd name="connsiteX4346" fmla="*/ 10903277 w 11701760"/>
              <a:gd name="connsiteY4346" fmla="*/ 29644 h 6407421"/>
              <a:gd name="connsiteX4347" fmla="*/ 10873675 w 11701760"/>
              <a:gd name="connsiteY4347" fmla="*/ 29644 h 6407421"/>
              <a:gd name="connsiteX4348" fmla="*/ 5026827 w 11701760"/>
              <a:gd name="connsiteY4348" fmla="*/ 41 h 6407421"/>
              <a:gd name="connsiteX4349" fmla="*/ 5056429 w 11701760"/>
              <a:gd name="connsiteY4349" fmla="*/ 41 h 6407421"/>
              <a:gd name="connsiteX4350" fmla="*/ 5056429 w 11701760"/>
              <a:gd name="connsiteY4350" fmla="*/ 29644 h 6407421"/>
              <a:gd name="connsiteX4351" fmla="*/ 5026827 w 11701760"/>
              <a:gd name="connsiteY4351" fmla="*/ 29644 h 6407421"/>
              <a:gd name="connsiteX4352" fmla="*/ 10607478 w 11701760"/>
              <a:gd name="connsiteY4352" fmla="*/ 39 h 6407421"/>
              <a:gd name="connsiteX4353" fmla="*/ 10637188 w 11701760"/>
              <a:gd name="connsiteY4353" fmla="*/ 39 h 6407421"/>
              <a:gd name="connsiteX4354" fmla="*/ 10637188 w 11701760"/>
              <a:gd name="connsiteY4354" fmla="*/ 29641 h 6407421"/>
              <a:gd name="connsiteX4355" fmla="*/ 10607478 w 11701760"/>
              <a:gd name="connsiteY4355" fmla="*/ 29641 h 6407421"/>
              <a:gd name="connsiteX4356" fmla="*/ 4760630 w 11701760"/>
              <a:gd name="connsiteY4356" fmla="*/ 39 h 6407421"/>
              <a:gd name="connsiteX4357" fmla="*/ 4790340 w 11701760"/>
              <a:gd name="connsiteY4357" fmla="*/ 39 h 6407421"/>
              <a:gd name="connsiteX4358" fmla="*/ 4790340 w 11701760"/>
              <a:gd name="connsiteY4358" fmla="*/ 29641 h 6407421"/>
              <a:gd name="connsiteX4359" fmla="*/ 4760630 w 11701760"/>
              <a:gd name="connsiteY4359" fmla="*/ 29641 h 6407421"/>
              <a:gd name="connsiteX4360" fmla="*/ 10341389 w 11701760"/>
              <a:gd name="connsiteY4360" fmla="*/ 37 h 6407421"/>
              <a:gd name="connsiteX4361" fmla="*/ 10370992 w 11701760"/>
              <a:gd name="connsiteY4361" fmla="*/ 37 h 6407421"/>
              <a:gd name="connsiteX4362" fmla="*/ 10370992 w 11701760"/>
              <a:gd name="connsiteY4362" fmla="*/ 29639 h 6407421"/>
              <a:gd name="connsiteX4363" fmla="*/ 10341389 w 11701760"/>
              <a:gd name="connsiteY4363" fmla="*/ 29639 h 6407421"/>
              <a:gd name="connsiteX4364" fmla="*/ 4494541 w 11701760"/>
              <a:gd name="connsiteY4364" fmla="*/ 37 h 6407421"/>
              <a:gd name="connsiteX4365" fmla="*/ 4524144 w 11701760"/>
              <a:gd name="connsiteY4365" fmla="*/ 37 h 6407421"/>
              <a:gd name="connsiteX4366" fmla="*/ 4524144 w 11701760"/>
              <a:gd name="connsiteY4366" fmla="*/ 29639 h 6407421"/>
              <a:gd name="connsiteX4367" fmla="*/ 4494541 w 11701760"/>
              <a:gd name="connsiteY4367" fmla="*/ 29639 h 6407421"/>
              <a:gd name="connsiteX4368" fmla="*/ 10075192 w 11701760"/>
              <a:gd name="connsiteY4368" fmla="*/ 34 h 6407421"/>
              <a:gd name="connsiteX4369" fmla="*/ 10104794 w 11701760"/>
              <a:gd name="connsiteY4369" fmla="*/ 34 h 6407421"/>
              <a:gd name="connsiteX4370" fmla="*/ 10104794 w 11701760"/>
              <a:gd name="connsiteY4370" fmla="*/ 29637 h 6407421"/>
              <a:gd name="connsiteX4371" fmla="*/ 10075192 w 11701760"/>
              <a:gd name="connsiteY4371" fmla="*/ 29637 h 6407421"/>
              <a:gd name="connsiteX4372" fmla="*/ 4228344 w 11701760"/>
              <a:gd name="connsiteY4372" fmla="*/ 34 h 6407421"/>
              <a:gd name="connsiteX4373" fmla="*/ 4257946 w 11701760"/>
              <a:gd name="connsiteY4373" fmla="*/ 34 h 6407421"/>
              <a:gd name="connsiteX4374" fmla="*/ 4257946 w 11701760"/>
              <a:gd name="connsiteY4374" fmla="*/ 29637 h 6407421"/>
              <a:gd name="connsiteX4375" fmla="*/ 4228344 w 11701760"/>
              <a:gd name="connsiteY4375" fmla="*/ 29637 h 6407421"/>
              <a:gd name="connsiteX4376" fmla="*/ 9809103 w 11701760"/>
              <a:gd name="connsiteY4376" fmla="*/ 32 h 6407421"/>
              <a:gd name="connsiteX4377" fmla="*/ 9838705 w 11701760"/>
              <a:gd name="connsiteY4377" fmla="*/ 32 h 6407421"/>
              <a:gd name="connsiteX4378" fmla="*/ 9838705 w 11701760"/>
              <a:gd name="connsiteY4378" fmla="*/ 29635 h 6407421"/>
              <a:gd name="connsiteX4379" fmla="*/ 9809103 w 11701760"/>
              <a:gd name="connsiteY4379" fmla="*/ 29635 h 6407421"/>
              <a:gd name="connsiteX4380" fmla="*/ 3962255 w 11701760"/>
              <a:gd name="connsiteY4380" fmla="*/ 32 h 6407421"/>
              <a:gd name="connsiteX4381" fmla="*/ 3991857 w 11701760"/>
              <a:gd name="connsiteY4381" fmla="*/ 32 h 6407421"/>
              <a:gd name="connsiteX4382" fmla="*/ 3991857 w 11701760"/>
              <a:gd name="connsiteY4382" fmla="*/ 29635 h 6407421"/>
              <a:gd name="connsiteX4383" fmla="*/ 3962255 w 11701760"/>
              <a:gd name="connsiteY4383" fmla="*/ 29635 h 6407421"/>
              <a:gd name="connsiteX4384" fmla="*/ 9542906 w 11701760"/>
              <a:gd name="connsiteY4384" fmla="*/ 30 h 6407421"/>
              <a:gd name="connsiteX4385" fmla="*/ 9572509 w 11701760"/>
              <a:gd name="connsiteY4385" fmla="*/ 30 h 6407421"/>
              <a:gd name="connsiteX4386" fmla="*/ 9572509 w 11701760"/>
              <a:gd name="connsiteY4386" fmla="*/ 29632 h 6407421"/>
              <a:gd name="connsiteX4387" fmla="*/ 9542906 w 11701760"/>
              <a:gd name="connsiteY4387" fmla="*/ 29632 h 6407421"/>
              <a:gd name="connsiteX4388" fmla="*/ 3696058 w 11701760"/>
              <a:gd name="connsiteY4388" fmla="*/ 30 h 6407421"/>
              <a:gd name="connsiteX4389" fmla="*/ 3725661 w 11701760"/>
              <a:gd name="connsiteY4389" fmla="*/ 30 h 6407421"/>
              <a:gd name="connsiteX4390" fmla="*/ 3725661 w 11701760"/>
              <a:gd name="connsiteY4390" fmla="*/ 29632 h 6407421"/>
              <a:gd name="connsiteX4391" fmla="*/ 3696058 w 11701760"/>
              <a:gd name="connsiteY4391" fmla="*/ 29632 h 6407421"/>
              <a:gd name="connsiteX4392" fmla="*/ 9276817 w 11701760"/>
              <a:gd name="connsiteY4392" fmla="*/ 28 h 6407421"/>
              <a:gd name="connsiteX4393" fmla="*/ 9306420 w 11701760"/>
              <a:gd name="connsiteY4393" fmla="*/ 28 h 6407421"/>
              <a:gd name="connsiteX4394" fmla="*/ 9306420 w 11701760"/>
              <a:gd name="connsiteY4394" fmla="*/ 29630 h 6407421"/>
              <a:gd name="connsiteX4395" fmla="*/ 9276817 w 11701760"/>
              <a:gd name="connsiteY4395" fmla="*/ 29630 h 6407421"/>
              <a:gd name="connsiteX4396" fmla="*/ 3429969 w 11701760"/>
              <a:gd name="connsiteY4396" fmla="*/ 28 h 6407421"/>
              <a:gd name="connsiteX4397" fmla="*/ 3459572 w 11701760"/>
              <a:gd name="connsiteY4397" fmla="*/ 28 h 6407421"/>
              <a:gd name="connsiteX4398" fmla="*/ 3459572 w 11701760"/>
              <a:gd name="connsiteY4398" fmla="*/ 29630 h 6407421"/>
              <a:gd name="connsiteX4399" fmla="*/ 3429969 w 11701760"/>
              <a:gd name="connsiteY4399" fmla="*/ 29630 h 6407421"/>
              <a:gd name="connsiteX4400" fmla="*/ 9010620 w 11701760"/>
              <a:gd name="connsiteY4400" fmla="*/ 25 h 6407421"/>
              <a:gd name="connsiteX4401" fmla="*/ 9040222 w 11701760"/>
              <a:gd name="connsiteY4401" fmla="*/ 25 h 6407421"/>
              <a:gd name="connsiteX4402" fmla="*/ 9040222 w 11701760"/>
              <a:gd name="connsiteY4402" fmla="*/ 29628 h 6407421"/>
              <a:gd name="connsiteX4403" fmla="*/ 9010620 w 11701760"/>
              <a:gd name="connsiteY4403" fmla="*/ 29628 h 6407421"/>
              <a:gd name="connsiteX4404" fmla="*/ 3163772 w 11701760"/>
              <a:gd name="connsiteY4404" fmla="*/ 25 h 6407421"/>
              <a:gd name="connsiteX4405" fmla="*/ 3193374 w 11701760"/>
              <a:gd name="connsiteY4405" fmla="*/ 25 h 6407421"/>
              <a:gd name="connsiteX4406" fmla="*/ 3193374 w 11701760"/>
              <a:gd name="connsiteY4406" fmla="*/ 29628 h 6407421"/>
              <a:gd name="connsiteX4407" fmla="*/ 3163772 w 11701760"/>
              <a:gd name="connsiteY4407" fmla="*/ 29628 h 6407421"/>
              <a:gd name="connsiteX4408" fmla="*/ 8744423 w 11701760"/>
              <a:gd name="connsiteY4408" fmla="*/ 23 h 6407421"/>
              <a:gd name="connsiteX4409" fmla="*/ 8774026 w 11701760"/>
              <a:gd name="connsiteY4409" fmla="*/ 23 h 6407421"/>
              <a:gd name="connsiteX4410" fmla="*/ 8774026 w 11701760"/>
              <a:gd name="connsiteY4410" fmla="*/ 29625 h 6407421"/>
              <a:gd name="connsiteX4411" fmla="*/ 8744423 w 11701760"/>
              <a:gd name="connsiteY4411" fmla="*/ 29625 h 6407421"/>
              <a:gd name="connsiteX4412" fmla="*/ 2897575 w 11701760"/>
              <a:gd name="connsiteY4412" fmla="*/ 23 h 6407421"/>
              <a:gd name="connsiteX4413" fmla="*/ 2927178 w 11701760"/>
              <a:gd name="connsiteY4413" fmla="*/ 23 h 6407421"/>
              <a:gd name="connsiteX4414" fmla="*/ 2927178 w 11701760"/>
              <a:gd name="connsiteY4414" fmla="*/ 29625 h 6407421"/>
              <a:gd name="connsiteX4415" fmla="*/ 2897575 w 11701760"/>
              <a:gd name="connsiteY4415" fmla="*/ 29625 h 6407421"/>
              <a:gd name="connsiteX4416" fmla="*/ 8478226 w 11701760"/>
              <a:gd name="connsiteY4416" fmla="*/ 21 h 6407421"/>
              <a:gd name="connsiteX4417" fmla="*/ 8507828 w 11701760"/>
              <a:gd name="connsiteY4417" fmla="*/ 21 h 6407421"/>
              <a:gd name="connsiteX4418" fmla="*/ 8507828 w 11701760"/>
              <a:gd name="connsiteY4418" fmla="*/ 29623 h 6407421"/>
              <a:gd name="connsiteX4419" fmla="*/ 8478226 w 11701760"/>
              <a:gd name="connsiteY4419" fmla="*/ 29623 h 6407421"/>
              <a:gd name="connsiteX4420" fmla="*/ 2631378 w 11701760"/>
              <a:gd name="connsiteY4420" fmla="*/ 21 h 6407421"/>
              <a:gd name="connsiteX4421" fmla="*/ 2660980 w 11701760"/>
              <a:gd name="connsiteY4421" fmla="*/ 21 h 6407421"/>
              <a:gd name="connsiteX4422" fmla="*/ 2660980 w 11701760"/>
              <a:gd name="connsiteY4422" fmla="*/ 29623 h 6407421"/>
              <a:gd name="connsiteX4423" fmla="*/ 2631378 w 11701760"/>
              <a:gd name="connsiteY4423" fmla="*/ 29623 h 6407421"/>
              <a:gd name="connsiteX4424" fmla="*/ 8212137 w 11701760"/>
              <a:gd name="connsiteY4424" fmla="*/ 18 h 6407421"/>
              <a:gd name="connsiteX4425" fmla="*/ 8241740 w 11701760"/>
              <a:gd name="connsiteY4425" fmla="*/ 18 h 6407421"/>
              <a:gd name="connsiteX4426" fmla="*/ 8241740 w 11701760"/>
              <a:gd name="connsiteY4426" fmla="*/ 29621 h 6407421"/>
              <a:gd name="connsiteX4427" fmla="*/ 8212137 w 11701760"/>
              <a:gd name="connsiteY4427" fmla="*/ 29621 h 6407421"/>
              <a:gd name="connsiteX4428" fmla="*/ 2365289 w 11701760"/>
              <a:gd name="connsiteY4428" fmla="*/ 18 h 6407421"/>
              <a:gd name="connsiteX4429" fmla="*/ 2394892 w 11701760"/>
              <a:gd name="connsiteY4429" fmla="*/ 18 h 6407421"/>
              <a:gd name="connsiteX4430" fmla="*/ 2394892 w 11701760"/>
              <a:gd name="connsiteY4430" fmla="*/ 29621 h 6407421"/>
              <a:gd name="connsiteX4431" fmla="*/ 2365289 w 11701760"/>
              <a:gd name="connsiteY4431" fmla="*/ 29621 h 6407421"/>
              <a:gd name="connsiteX4432" fmla="*/ 7945940 w 11701760"/>
              <a:gd name="connsiteY4432" fmla="*/ 16 h 6407421"/>
              <a:gd name="connsiteX4433" fmla="*/ 7975543 w 11701760"/>
              <a:gd name="connsiteY4433" fmla="*/ 16 h 6407421"/>
              <a:gd name="connsiteX4434" fmla="*/ 7975543 w 11701760"/>
              <a:gd name="connsiteY4434" fmla="*/ 29618 h 6407421"/>
              <a:gd name="connsiteX4435" fmla="*/ 7945940 w 11701760"/>
              <a:gd name="connsiteY4435" fmla="*/ 29618 h 6407421"/>
              <a:gd name="connsiteX4436" fmla="*/ 2099092 w 11701760"/>
              <a:gd name="connsiteY4436" fmla="*/ 16 h 6407421"/>
              <a:gd name="connsiteX4437" fmla="*/ 2128695 w 11701760"/>
              <a:gd name="connsiteY4437" fmla="*/ 16 h 6407421"/>
              <a:gd name="connsiteX4438" fmla="*/ 2128695 w 11701760"/>
              <a:gd name="connsiteY4438" fmla="*/ 29618 h 6407421"/>
              <a:gd name="connsiteX4439" fmla="*/ 2099092 w 11701760"/>
              <a:gd name="connsiteY4439" fmla="*/ 29618 h 6407421"/>
              <a:gd name="connsiteX4440" fmla="*/ 7679743 w 11701760"/>
              <a:gd name="connsiteY4440" fmla="*/ 14 h 6407421"/>
              <a:gd name="connsiteX4441" fmla="*/ 7709346 w 11701760"/>
              <a:gd name="connsiteY4441" fmla="*/ 14 h 6407421"/>
              <a:gd name="connsiteX4442" fmla="*/ 7709346 w 11701760"/>
              <a:gd name="connsiteY4442" fmla="*/ 29616 h 6407421"/>
              <a:gd name="connsiteX4443" fmla="*/ 7679743 w 11701760"/>
              <a:gd name="connsiteY4443" fmla="*/ 29616 h 6407421"/>
              <a:gd name="connsiteX4444" fmla="*/ 1832898 w 11701760"/>
              <a:gd name="connsiteY4444" fmla="*/ 14 h 6407421"/>
              <a:gd name="connsiteX4445" fmla="*/ 1862498 w 11701760"/>
              <a:gd name="connsiteY4445" fmla="*/ 14 h 6407421"/>
              <a:gd name="connsiteX4446" fmla="*/ 1862498 w 11701760"/>
              <a:gd name="connsiteY4446" fmla="*/ 29616 h 6407421"/>
              <a:gd name="connsiteX4447" fmla="*/ 1832898 w 11701760"/>
              <a:gd name="connsiteY4447" fmla="*/ 29616 h 6407421"/>
              <a:gd name="connsiteX4448" fmla="*/ 7413653 w 11701760"/>
              <a:gd name="connsiteY4448" fmla="*/ 12 h 6407421"/>
              <a:gd name="connsiteX4449" fmla="*/ 7443256 w 11701760"/>
              <a:gd name="connsiteY4449" fmla="*/ 12 h 6407421"/>
              <a:gd name="connsiteX4450" fmla="*/ 7443256 w 11701760"/>
              <a:gd name="connsiteY4450" fmla="*/ 29614 h 6407421"/>
              <a:gd name="connsiteX4451" fmla="*/ 7413653 w 11701760"/>
              <a:gd name="connsiteY4451" fmla="*/ 29614 h 6407421"/>
              <a:gd name="connsiteX4452" fmla="*/ 1566808 w 11701760"/>
              <a:gd name="connsiteY4452" fmla="*/ 12 h 6407421"/>
              <a:gd name="connsiteX4453" fmla="*/ 1596409 w 11701760"/>
              <a:gd name="connsiteY4453" fmla="*/ 12 h 6407421"/>
              <a:gd name="connsiteX4454" fmla="*/ 1596409 w 11701760"/>
              <a:gd name="connsiteY4454" fmla="*/ 29614 h 6407421"/>
              <a:gd name="connsiteX4455" fmla="*/ 1566808 w 11701760"/>
              <a:gd name="connsiteY4455" fmla="*/ 29614 h 6407421"/>
              <a:gd name="connsiteX4456" fmla="*/ 7147456 w 11701760"/>
              <a:gd name="connsiteY4456" fmla="*/ 9 h 6407421"/>
              <a:gd name="connsiteX4457" fmla="*/ 7177058 w 11701760"/>
              <a:gd name="connsiteY4457" fmla="*/ 9 h 6407421"/>
              <a:gd name="connsiteX4458" fmla="*/ 7177058 w 11701760"/>
              <a:gd name="connsiteY4458" fmla="*/ 29612 h 6407421"/>
              <a:gd name="connsiteX4459" fmla="*/ 7147456 w 11701760"/>
              <a:gd name="connsiteY4459" fmla="*/ 29612 h 6407421"/>
              <a:gd name="connsiteX4460" fmla="*/ 1300611 w 11701760"/>
              <a:gd name="connsiteY4460" fmla="*/ 9 h 6407421"/>
              <a:gd name="connsiteX4461" fmla="*/ 1330213 w 11701760"/>
              <a:gd name="connsiteY4461" fmla="*/ 9 h 6407421"/>
              <a:gd name="connsiteX4462" fmla="*/ 1330213 w 11701760"/>
              <a:gd name="connsiteY4462" fmla="*/ 29612 h 6407421"/>
              <a:gd name="connsiteX4463" fmla="*/ 1300611 w 11701760"/>
              <a:gd name="connsiteY4463" fmla="*/ 29612 h 6407421"/>
              <a:gd name="connsiteX4464" fmla="*/ 6881367 w 11701760"/>
              <a:gd name="connsiteY4464" fmla="*/ 7 h 6407421"/>
              <a:gd name="connsiteX4465" fmla="*/ 6910970 w 11701760"/>
              <a:gd name="connsiteY4465" fmla="*/ 7 h 6407421"/>
              <a:gd name="connsiteX4466" fmla="*/ 6910970 w 11701760"/>
              <a:gd name="connsiteY4466" fmla="*/ 29609 h 6407421"/>
              <a:gd name="connsiteX4467" fmla="*/ 6881367 w 11701760"/>
              <a:gd name="connsiteY4467" fmla="*/ 29609 h 6407421"/>
              <a:gd name="connsiteX4468" fmla="*/ 1034520 w 11701760"/>
              <a:gd name="connsiteY4468" fmla="*/ 7 h 6407421"/>
              <a:gd name="connsiteX4469" fmla="*/ 1064123 w 11701760"/>
              <a:gd name="connsiteY4469" fmla="*/ 7 h 6407421"/>
              <a:gd name="connsiteX4470" fmla="*/ 1064123 w 11701760"/>
              <a:gd name="connsiteY4470" fmla="*/ 29609 h 6407421"/>
              <a:gd name="connsiteX4471" fmla="*/ 1034520 w 11701760"/>
              <a:gd name="connsiteY4471" fmla="*/ 29609 h 6407421"/>
              <a:gd name="connsiteX4472" fmla="*/ 6615170 w 11701760"/>
              <a:gd name="connsiteY4472" fmla="*/ 5 h 6407421"/>
              <a:gd name="connsiteX4473" fmla="*/ 6644773 w 11701760"/>
              <a:gd name="connsiteY4473" fmla="*/ 5 h 6407421"/>
              <a:gd name="connsiteX4474" fmla="*/ 6644773 w 11701760"/>
              <a:gd name="connsiteY4474" fmla="*/ 29607 h 6407421"/>
              <a:gd name="connsiteX4475" fmla="*/ 6615170 w 11701760"/>
              <a:gd name="connsiteY4475" fmla="*/ 29607 h 6407421"/>
              <a:gd name="connsiteX4476" fmla="*/ 768326 w 11701760"/>
              <a:gd name="connsiteY4476" fmla="*/ 5 h 6407421"/>
              <a:gd name="connsiteX4477" fmla="*/ 797926 w 11701760"/>
              <a:gd name="connsiteY4477" fmla="*/ 5 h 6407421"/>
              <a:gd name="connsiteX4478" fmla="*/ 797926 w 11701760"/>
              <a:gd name="connsiteY4478" fmla="*/ 29607 h 6407421"/>
              <a:gd name="connsiteX4479" fmla="*/ 768326 w 11701760"/>
              <a:gd name="connsiteY4479" fmla="*/ 29607 h 6407421"/>
              <a:gd name="connsiteX4480" fmla="*/ 6349081 w 11701760"/>
              <a:gd name="connsiteY4480" fmla="*/ 2 h 6407421"/>
              <a:gd name="connsiteX4481" fmla="*/ 6378683 w 11701760"/>
              <a:gd name="connsiteY4481" fmla="*/ 2 h 6407421"/>
              <a:gd name="connsiteX4482" fmla="*/ 6378683 w 11701760"/>
              <a:gd name="connsiteY4482" fmla="*/ 29605 h 6407421"/>
              <a:gd name="connsiteX4483" fmla="*/ 6349081 w 11701760"/>
              <a:gd name="connsiteY4483" fmla="*/ 29605 h 6407421"/>
              <a:gd name="connsiteX4484" fmla="*/ 502235 w 11701760"/>
              <a:gd name="connsiteY4484" fmla="*/ 2 h 6407421"/>
              <a:gd name="connsiteX4485" fmla="*/ 531838 w 11701760"/>
              <a:gd name="connsiteY4485" fmla="*/ 2 h 6407421"/>
              <a:gd name="connsiteX4486" fmla="*/ 531838 w 11701760"/>
              <a:gd name="connsiteY4486" fmla="*/ 29605 h 6407421"/>
              <a:gd name="connsiteX4487" fmla="*/ 502235 w 11701760"/>
              <a:gd name="connsiteY4487" fmla="*/ 29605 h 6407421"/>
              <a:gd name="connsiteX4488" fmla="*/ 6082884 w 11701760"/>
              <a:gd name="connsiteY4488" fmla="*/ 0 h 6407421"/>
              <a:gd name="connsiteX4489" fmla="*/ 6112486 w 11701760"/>
              <a:gd name="connsiteY4489" fmla="*/ 0 h 6407421"/>
              <a:gd name="connsiteX4490" fmla="*/ 6112486 w 11701760"/>
              <a:gd name="connsiteY4490" fmla="*/ 29602 h 6407421"/>
              <a:gd name="connsiteX4491" fmla="*/ 6082884 w 11701760"/>
              <a:gd name="connsiteY4491" fmla="*/ 29602 h 6407421"/>
              <a:gd name="connsiteX4492" fmla="*/ 236036 w 11701760"/>
              <a:gd name="connsiteY4492" fmla="*/ 0 h 6407421"/>
              <a:gd name="connsiteX4493" fmla="*/ 265638 w 11701760"/>
              <a:gd name="connsiteY4493" fmla="*/ 0 h 6407421"/>
              <a:gd name="connsiteX4494" fmla="*/ 265638 w 11701760"/>
              <a:gd name="connsiteY4494" fmla="*/ 29602 h 6407421"/>
              <a:gd name="connsiteX4495" fmla="*/ 236036 w 11701760"/>
              <a:gd name="connsiteY4495" fmla="*/ 29602 h 6407421"/>
              <a:gd name="connsiteX4496" fmla="*/ 0 w 11701760"/>
              <a:gd name="connsiteY4496" fmla="*/ 0 h 6407421"/>
              <a:gd name="connsiteX4497" fmla="*/ 29602 w 11701760"/>
              <a:gd name="connsiteY4497" fmla="*/ 0 h 6407421"/>
              <a:gd name="connsiteX4498" fmla="*/ 29602 w 11701760"/>
              <a:gd name="connsiteY4498" fmla="*/ 29602 h 6407421"/>
              <a:gd name="connsiteX4499" fmla="*/ 0 w 11701760"/>
              <a:gd name="connsiteY449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Lst>
            <a:rect l="l" t="t" r="r" b="b"/>
            <a:pathLst>
              <a:path w="11701760" h="6407421">
                <a:moveTo>
                  <a:pt x="11672158" y="6377925"/>
                </a:moveTo>
                <a:lnTo>
                  <a:pt x="11701760" y="6377925"/>
                </a:lnTo>
                <a:lnTo>
                  <a:pt x="11701760" y="6407421"/>
                </a:lnTo>
                <a:lnTo>
                  <a:pt x="11672158" y="6407421"/>
                </a:lnTo>
                <a:close/>
                <a:moveTo>
                  <a:pt x="11405961" y="6377925"/>
                </a:moveTo>
                <a:lnTo>
                  <a:pt x="11435563" y="6377925"/>
                </a:lnTo>
                <a:lnTo>
                  <a:pt x="11435563" y="6407421"/>
                </a:lnTo>
                <a:lnTo>
                  <a:pt x="11405961" y="6407421"/>
                </a:lnTo>
                <a:close/>
                <a:moveTo>
                  <a:pt x="11139872" y="6377925"/>
                </a:moveTo>
                <a:lnTo>
                  <a:pt x="11169474" y="6377925"/>
                </a:lnTo>
                <a:lnTo>
                  <a:pt x="11169474" y="6407421"/>
                </a:lnTo>
                <a:lnTo>
                  <a:pt x="11139872" y="6407421"/>
                </a:lnTo>
                <a:close/>
                <a:moveTo>
                  <a:pt x="10873675" y="6377925"/>
                </a:moveTo>
                <a:lnTo>
                  <a:pt x="10903277" y="6377925"/>
                </a:lnTo>
                <a:lnTo>
                  <a:pt x="10903277" y="6407421"/>
                </a:lnTo>
                <a:lnTo>
                  <a:pt x="10873675" y="6407421"/>
                </a:lnTo>
                <a:close/>
                <a:moveTo>
                  <a:pt x="10607478" y="6377925"/>
                </a:moveTo>
                <a:lnTo>
                  <a:pt x="10637188" y="6377925"/>
                </a:lnTo>
                <a:lnTo>
                  <a:pt x="10637188" y="6407421"/>
                </a:lnTo>
                <a:lnTo>
                  <a:pt x="10607478" y="6407421"/>
                </a:lnTo>
                <a:close/>
                <a:moveTo>
                  <a:pt x="10341389" y="6377925"/>
                </a:moveTo>
                <a:lnTo>
                  <a:pt x="10370992" y="6377925"/>
                </a:lnTo>
                <a:lnTo>
                  <a:pt x="10370992" y="6407421"/>
                </a:lnTo>
                <a:lnTo>
                  <a:pt x="10341389" y="6407421"/>
                </a:lnTo>
                <a:close/>
                <a:moveTo>
                  <a:pt x="10075192" y="6377925"/>
                </a:moveTo>
                <a:lnTo>
                  <a:pt x="10104794" y="6377925"/>
                </a:lnTo>
                <a:lnTo>
                  <a:pt x="10104794" y="6407421"/>
                </a:lnTo>
                <a:lnTo>
                  <a:pt x="10075192" y="6407421"/>
                </a:lnTo>
                <a:close/>
                <a:moveTo>
                  <a:pt x="9809103" y="6377925"/>
                </a:moveTo>
                <a:lnTo>
                  <a:pt x="9838705" y="6377925"/>
                </a:lnTo>
                <a:lnTo>
                  <a:pt x="9838705" y="6407421"/>
                </a:lnTo>
                <a:lnTo>
                  <a:pt x="9809103" y="6407421"/>
                </a:lnTo>
                <a:close/>
                <a:moveTo>
                  <a:pt x="9542906" y="6377925"/>
                </a:moveTo>
                <a:lnTo>
                  <a:pt x="9572509" y="6377925"/>
                </a:lnTo>
                <a:lnTo>
                  <a:pt x="9572509" y="6407421"/>
                </a:lnTo>
                <a:lnTo>
                  <a:pt x="9542906" y="6407421"/>
                </a:lnTo>
                <a:close/>
                <a:moveTo>
                  <a:pt x="9276817" y="6377925"/>
                </a:moveTo>
                <a:lnTo>
                  <a:pt x="9306420" y="6377925"/>
                </a:lnTo>
                <a:lnTo>
                  <a:pt x="9306420" y="6407421"/>
                </a:lnTo>
                <a:lnTo>
                  <a:pt x="9276817" y="6407421"/>
                </a:lnTo>
                <a:close/>
                <a:moveTo>
                  <a:pt x="9010620" y="6377925"/>
                </a:moveTo>
                <a:lnTo>
                  <a:pt x="9040222" y="6377925"/>
                </a:lnTo>
                <a:lnTo>
                  <a:pt x="9040222" y="6407421"/>
                </a:lnTo>
                <a:lnTo>
                  <a:pt x="9010620" y="6407421"/>
                </a:lnTo>
                <a:close/>
                <a:moveTo>
                  <a:pt x="8744423" y="6377925"/>
                </a:moveTo>
                <a:lnTo>
                  <a:pt x="8774026" y="6377925"/>
                </a:lnTo>
                <a:lnTo>
                  <a:pt x="8774026" y="6407421"/>
                </a:lnTo>
                <a:lnTo>
                  <a:pt x="8744423" y="6407421"/>
                </a:lnTo>
                <a:close/>
                <a:moveTo>
                  <a:pt x="8478226" y="6377925"/>
                </a:moveTo>
                <a:lnTo>
                  <a:pt x="8507828" y="6377925"/>
                </a:lnTo>
                <a:lnTo>
                  <a:pt x="8507828" y="6407421"/>
                </a:lnTo>
                <a:lnTo>
                  <a:pt x="8478226" y="6407421"/>
                </a:lnTo>
                <a:close/>
                <a:moveTo>
                  <a:pt x="8212137" y="6377925"/>
                </a:moveTo>
                <a:lnTo>
                  <a:pt x="8241740" y="6377925"/>
                </a:lnTo>
                <a:lnTo>
                  <a:pt x="8241740" y="6407421"/>
                </a:lnTo>
                <a:lnTo>
                  <a:pt x="8212137" y="6407421"/>
                </a:lnTo>
                <a:close/>
                <a:moveTo>
                  <a:pt x="7945940" y="6377925"/>
                </a:moveTo>
                <a:lnTo>
                  <a:pt x="7975543" y="6377925"/>
                </a:lnTo>
                <a:lnTo>
                  <a:pt x="7975543" y="6407421"/>
                </a:lnTo>
                <a:lnTo>
                  <a:pt x="7945940" y="6407421"/>
                </a:lnTo>
                <a:close/>
                <a:moveTo>
                  <a:pt x="7679743" y="6377925"/>
                </a:moveTo>
                <a:lnTo>
                  <a:pt x="7709346" y="6377925"/>
                </a:lnTo>
                <a:lnTo>
                  <a:pt x="7709346" y="6407421"/>
                </a:lnTo>
                <a:lnTo>
                  <a:pt x="7679743" y="6407421"/>
                </a:lnTo>
                <a:close/>
                <a:moveTo>
                  <a:pt x="7413653" y="6377925"/>
                </a:moveTo>
                <a:lnTo>
                  <a:pt x="7443256" y="6377925"/>
                </a:lnTo>
                <a:lnTo>
                  <a:pt x="7443256" y="6407421"/>
                </a:lnTo>
                <a:lnTo>
                  <a:pt x="7413653" y="6407421"/>
                </a:lnTo>
                <a:close/>
                <a:moveTo>
                  <a:pt x="7147456" y="6377925"/>
                </a:moveTo>
                <a:lnTo>
                  <a:pt x="7177058" y="6377925"/>
                </a:lnTo>
                <a:lnTo>
                  <a:pt x="7177058" y="6407421"/>
                </a:lnTo>
                <a:lnTo>
                  <a:pt x="7147456" y="6407421"/>
                </a:lnTo>
                <a:close/>
                <a:moveTo>
                  <a:pt x="6881367" y="6377925"/>
                </a:moveTo>
                <a:lnTo>
                  <a:pt x="6910970" y="6377925"/>
                </a:lnTo>
                <a:lnTo>
                  <a:pt x="6910970" y="6407421"/>
                </a:lnTo>
                <a:lnTo>
                  <a:pt x="6881367" y="6407421"/>
                </a:lnTo>
                <a:close/>
                <a:moveTo>
                  <a:pt x="6615170" y="6377925"/>
                </a:moveTo>
                <a:lnTo>
                  <a:pt x="6644773" y="6377925"/>
                </a:lnTo>
                <a:lnTo>
                  <a:pt x="6644773" y="6407421"/>
                </a:lnTo>
                <a:lnTo>
                  <a:pt x="6615170" y="6407421"/>
                </a:lnTo>
                <a:close/>
                <a:moveTo>
                  <a:pt x="6349081" y="6377925"/>
                </a:moveTo>
                <a:lnTo>
                  <a:pt x="6378683" y="6377925"/>
                </a:lnTo>
                <a:lnTo>
                  <a:pt x="6378683" y="6407421"/>
                </a:lnTo>
                <a:lnTo>
                  <a:pt x="6349081" y="6407421"/>
                </a:lnTo>
                <a:close/>
                <a:moveTo>
                  <a:pt x="6082884" y="6377925"/>
                </a:moveTo>
                <a:lnTo>
                  <a:pt x="6112486" y="6377925"/>
                </a:lnTo>
                <a:lnTo>
                  <a:pt x="6112486" y="6407421"/>
                </a:lnTo>
                <a:lnTo>
                  <a:pt x="6082884" y="6407421"/>
                </a:lnTo>
                <a:close/>
                <a:moveTo>
                  <a:pt x="5825310" y="6377925"/>
                </a:moveTo>
                <a:lnTo>
                  <a:pt x="5854913" y="6377925"/>
                </a:lnTo>
                <a:lnTo>
                  <a:pt x="5854913" y="6407421"/>
                </a:lnTo>
                <a:lnTo>
                  <a:pt x="5825310" y="6407421"/>
                </a:lnTo>
                <a:close/>
                <a:moveTo>
                  <a:pt x="5559113" y="6377925"/>
                </a:moveTo>
                <a:lnTo>
                  <a:pt x="5588715" y="6377925"/>
                </a:lnTo>
                <a:lnTo>
                  <a:pt x="5588715" y="6407421"/>
                </a:lnTo>
                <a:lnTo>
                  <a:pt x="5559113" y="6407421"/>
                </a:lnTo>
                <a:close/>
                <a:moveTo>
                  <a:pt x="5293024" y="6377925"/>
                </a:moveTo>
                <a:lnTo>
                  <a:pt x="5322626" y="6377925"/>
                </a:lnTo>
                <a:lnTo>
                  <a:pt x="5322626" y="6407421"/>
                </a:lnTo>
                <a:lnTo>
                  <a:pt x="5293024" y="6407421"/>
                </a:lnTo>
                <a:close/>
                <a:moveTo>
                  <a:pt x="5026827" y="6377925"/>
                </a:moveTo>
                <a:lnTo>
                  <a:pt x="5056429" y="6377925"/>
                </a:lnTo>
                <a:lnTo>
                  <a:pt x="5056429" y="6407421"/>
                </a:lnTo>
                <a:lnTo>
                  <a:pt x="5026827" y="6407421"/>
                </a:lnTo>
                <a:close/>
                <a:moveTo>
                  <a:pt x="4760630" y="6377925"/>
                </a:moveTo>
                <a:lnTo>
                  <a:pt x="4790340" y="6377925"/>
                </a:lnTo>
                <a:lnTo>
                  <a:pt x="4790340" y="6407421"/>
                </a:lnTo>
                <a:lnTo>
                  <a:pt x="4760630" y="6407421"/>
                </a:lnTo>
                <a:close/>
                <a:moveTo>
                  <a:pt x="4494541" y="6377925"/>
                </a:moveTo>
                <a:lnTo>
                  <a:pt x="4524144" y="6377925"/>
                </a:lnTo>
                <a:lnTo>
                  <a:pt x="4524144" y="6407421"/>
                </a:lnTo>
                <a:lnTo>
                  <a:pt x="4494541" y="6407421"/>
                </a:lnTo>
                <a:close/>
                <a:moveTo>
                  <a:pt x="4228344" y="6377925"/>
                </a:moveTo>
                <a:lnTo>
                  <a:pt x="4257946" y="6377925"/>
                </a:lnTo>
                <a:lnTo>
                  <a:pt x="4257946" y="6407421"/>
                </a:lnTo>
                <a:lnTo>
                  <a:pt x="4228344" y="6407421"/>
                </a:lnTo>
                <a:close/>
                <a:moveTo>
                  <a:pt x="3962255" y="6377925"/>
                </a:moveTo>
                <a:lnTo>
                  <a:pt x="3991857" y="6377925"/>
                </a:lnTo>
                <a:lnTo>
                  <a:pt x="3991857" y="6407421"/>
                </a:lnTo>
                <a:lnTo>
                  <a:pt x="3962255" y="6407421"/>
                </a:lnTo>
                <a:close/>
                <a:moveTo>
                  <a:pt x="3696058" y="6377925"/>
                </a:moveTo>
                <a:lnTo>
                  <a:pt x="3725661" y="6377925"/>
                </a:lnTo>
                <a:lnTo>
                  <a:pt x="3725661" y="6407421"/>
                </a:lnTo>
                <a:lnTo>
                  <a:pt x="3696058" y="6407421"/>
                </a:lnTo>
                <a:close/>
                <a:moveTo>
                  <a:pt x="3429969" y="6377925"/>
                </a:moveTo>
                <a:lnTo>
                  <a:pt x="3459572" y="6377925"/>
                </a:lnTo>
                <a:lnTo>
                  <a:pt x="3459572" y="6407421"/>
                </a:lnTo>
                <a:lnTo>
                  <a:pt x="3429969" y="6407421"/>
                </a:lnTo>
                <a:close/>
                <a:moveTo>
                  <a:pt x="3163772" y="6377925"/>
                </a:moveTo>
                <a:lnTo>
                  <a:pt x="3193374" y="6377925"/>
                </a:lnTo>
                <a:lnTo>
                  <a:pt x="3193374" y="6407421"/>
                </a:lnTo>
                <a:lnTo>
                  <a:pt x="3163772" y="6407421"/>
                </a:lnTo>
                <a:close/>
                <a:moveTo>
                  <a:pt x="2897575" y="6377925"/>
                </a:moveTo>
                <a:lnTo>
                  <a:pt x="2927178" y="6377925"/>
                </a:lnTo>
                <a:lnTo>
                  <a:pt x="2927178" y="6407421"/>
                </a:lnTo>
                <a:lnTo>
                  <a:pt x="2897575" y="6407421"/>
                </a:lnTo>
                <a:close/>
                <a:moveTo>
                  <a:pt x="2631378" y="6377925"/>
                </a:moveTo>
                <a:lnTo>
                  <a:pt x="2660980" y="6377925"/>
                </a:lnTo>
                <a:lnTo>
                  <a:pt x="2660980" y="6407421"/>
                </a:lnTo>
                <a:lnTo>
                  <a:pt x="2631378" y="6407421"/>
                </a:lnTo>
                <a:close/>
                <a:moveTo>
                  <a:pt x="2365289" y="6377925"/>
                </a:moveTo>
                <a:lnTo>
                  <a:pt x="2394892" y="6377925"/>
                </a:lnTo>
                <a:lnTo>
                  <a:pt x="2394892" y="6407421"/>
                </a:lnTo>
                <a:lnTo>
                  <a:pt x="2365289" y="6407421"/>
                </a:lnTo>
                <a:close/>
                <a:moveTo>
                  <a:pt x="2099092" y="6377925"/>
                </a:moveTo>
                <a:lnTo>
                  <a:pt x="2128695" y="6377925"/>
                </a:lnTo>
                <a:lnTo>
                  <a:pt x="2128695" y="6407421"/>
                </a:lnTo>
                <a:lnTo>
                  <a:pt x="2099092" y="6407421"/>
                </a:lnTo>
                <a:close/>
                <a:moveTo>
                  <a:pt x="1832898" y="6377925"/>
                </a:moveTo>
                <a:lnTo>
                  <a:pt x="1862498" y="6377925"/>
                </a:lnTo>
                <a:lnTo>
                  <a:pt x="1862498" y="6407421"/>
                </a:lnTo>
                <a:lnTo>
                  <a:pt x="1832898" y="6407421"/>
                </a:lnTo>
                <a:close/>
                <a:moveTo>
                  <a:pt x="1566808" y="6377925"/>
                </a:moveTo>
                <a:lnTo>
                  <a:pt x="1596409" y="6377925"/>
                </a:lnTo>
                <a:lnTo>
                  <a:pt x="1596409" y="6407421"/>
                </a:lnTo>
                <a:lnTo>
                  <a:pt x="1566808" y="6407421"/>
                </a:lnTo>
                <a:close/>
                <a:moveTo>
                  <a:pt x="1300611" y="6377925"/>
                </a:moveTo>
                <a:lnTo>
                  <a:pt x="1330213" y="6377925"/>
                </a:lnTo>
                <a:lnTo>
                  <a:pt x="1330213" y="6407421"/>
                </a:lnTo>
                <a:lnTo>
                  <a:pt x="1300611" y="6407421"/>
                </a:lnTo>
                <a:close/>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1672158" y="6112161"/>
                </a:moveTo>
                <a:lnTo>
                  <a:pt x="11701760" y="6112161"/>
                </a:lnTo>
                <a:lnTo>
                  <a:pt x="11701760" y="6141763"/>
                </a:lnTo>
                <a:lnTo>
                  <a:pt x="11672158" y="6141763"/>
                </a:lnTo>
                <a:close/>
                <a:moveTo>
                  <a:pt x="11405961" y="6112161"/>
                </a:moveTo>
                <a:lnTo>
                  <a:pt x="11435563" y="6112161"/>
                </a:lnTo>
                <a:lnTo>
                  <a:pt x="11435563" y="6141763"/>
                </a:lnTo>
                <a:lnTo>
                  <a:pt x="11405961" y="6141763"/>
                </a:lnTo>
                <a:close/>
                <a:moveTo>
                  <a:pt x="11139872" y="6112161"/>
                </a:moveTo>
                <a:lnTo>
                  <a:pt x="11169474" y="6112161"/>
                </a:lnTo>
                <a:lnTo>
                  <a:pt x="11169474" y="6141763"/>
                </a:lnTo>
                <a:lnTo>
                  <a:pt x="11139872" y="6141763"/>
                </a:lnTo>
                <a:close/>
                <a:moveTo>
                  <a:pt x="10873675" y="6112161"/>
                </a:moveTo>
                <a:lnTo>
                  <a:pt x="10903277" y="6112161"/>
                </a:lnTo>
                <a:lnTo>
                  <a:pt x="10903277" y="6141763"/>
                </a:lnTo>
                <a:lnTo>
                  <a:pt x="10873675" y="6141763"/>
                </a:lnTo>
                <a:close/>
                <a:moveTo>
                  <a:pt x="10607478" y="6112161"/>
                </a:moveTo>
                <a:lnTo>
                  <a:pt x="10637188" y="6112161"/>
                </a:lnTo>
                <a:lnTo>
                  <a:pt x="10637188" y="6141763"/>
                </a:lnTo>
                <a:lnTo>
                  <a:pt x="10607478" y="6141763"/>
                </a:lnTo>
                <a:close/>
                <a:moveTo>
                  <a:pt x="10341389" y="6112161"/>
                </a:moveTo>
                <a:lnTo>
                  <a:pt x="10370992" y="6112161"/>
                </a:lnTo>
                <a:lnTo>
                  <a:pt x="10370992" y="6141763"/>
                </a:lnTo>
                <a:lnTo>
                  <a:pt x="10341389" y="6141763"/>
                </a:lnTo>
                <a:close/>
                <a:moveTo>
                  <a:pt x="10075192" y="6112161"/>
                </a:moveTo>
                <a:lnTo>
                  <a:pt x="10104794" y="6112161"/>
                </a:lnTo>
                <a:lnTo>
                  <a:pt x="10104794" y="6141763"/>
                </a:lnTo>
                <a:lnTo>
                  <a:pt x="10075192" y="6141763"/>
                </a:lnTo>
                <a:close/>
                <a:moveTo>
                  <a:pt x="9809103" y="6112161"/>
                </a:moveTo>
                <a:lnTo>
                  <a:pt x="9838705" y="6112161"/>
                </a:lnTo>
                <a:lnTo>
                  <a:pt x="9838705" y="6141763"/>
                </a:lnTo>
                <a:lnTo>
                  <a:pt x="9809103" y="6141763"/>
                </a:lnTo>
                <a:close/>
                <a:moveTo>
                  <a:pt x="9542906" y="6112161"/>
                </a:moveTo>
                <a:lnTo>
                  <a:pt x="9572509" y="6112161"/>
                </a:lnTo>
                <a:lnTo>
                  <a:pt x="9572509" y="6141763"/>
                </a:lnTo>
                <a:lnTo>
                  <a:pt x="9542906" y="6141763"/>
                </a:lnTo>
                <a:close/>
                <a:moveTo>
                  <a:pt x="9276817" y="6112161"/>
                </a:moveTo>
                <a:lnTo>
                  <a:pt x="9306420" y="6112161"/>
                </a:lnTo>
                <a:lnTo>
                  <a:pt x="9306420" y="6141763"/>
                </a:lnTo>
                <a:lnTo>
                  <a:pt x="9276817" y="6141763"/>
                </a:lnTo>
                <a:close/>
                <a:moveTo>
                  <a:pt x="9010620" y="6112161"/>
                </a:moveTo>
                <a:lnTo>
                  <a:pt x="9040222" y="6112161"/>
                </a:lnTo>
                <a:lnTo>
                  <a:pt x="9040222" y="6141763"/>
                </a:lnTo>
                <a:lnTo>
                  <a:pt x="9010620" y="6141763"/>
                </a:lnTo>
                <a:close/>
                <a:moveTo>
                  <a:pt x="8744423" y="6112161"/>
                </a:moveTo>
                <a:lnTo>
                  <a:pt x="8774026" y="6112161"/>
                </a:lnTo>
                <a:lnTo>
                  <a:pt x="8774026" y="6141763"/>
                </a:lnTo>
                <a:lnTo>
                  <a:pt x="8744423" y="6141763"/>
                </a:lnTo>
                <a:close/>
                <a:moveTo>
                  <a:pt x="8478226" y="6112161"/>
                </a:moveTo>
                <a:lnTo>
                  <a:pt x="8507828" y="6112161"/>
                </a:lnTo>
                <a:lnTo>
                  <a:pt x="8507828" y="6141763"/>
                </a:lnTo>
                <a:lnTo>
                  <a:pt x="8478226" y="6141763"/>
                </a:lnTo>
                <a:close/>
                <a:moveTo>
                  <a:pt x="8212137" y="6112161"/>
                </a:moveTo>
                <a:lnTo>
                  <a:pt x="8241740" y="6112161"/>
                </a:lnTo>
                <a:lnTo>
                  <a:pt x="8241740" y="6141763"/>
                </a:lnTo>
                <a:lnTo>
                  <a:pt x="8212137" y="6141763"/>
                </a:lnTo>
                <a:close/>
                <a:moveTo>
                  <a:pt x="7945940" y="6112161"/>
                </a:moveTo>
                <a:lnTo>
                  <a:pt x="7975543" y="6112161"/>
                </a:lnTo>
                <a:lnTo>
                  <a:pt x="7975543" y="6141763"/>
                </a:lnTo>
                <a:lnTo>
                  <a:pt x="7945940" y="6141763"/>
                </a:lnTo>
                <a:close/>
                <a:moveTo>
                  <a:pt x="7679743" y="6112161"/>
                </a:moveTo>
                <a:lnTo>
                  <a:pt x="7709346" y="6112161"/>
                </a:lnTo>
                <a:lnTo>
                  <a:pt x="7709346" y="6141763"/>
                </a:lnTo>
                <a:lnTo>
                  <a:pt x="7679743" y="6141763"/>
                </a:lnTo>
                <a:close/>
                <a:moveTo>
                  <a:pt x="7413653" y="6112161"/>
                </a:moveTo>
                <a:lnTo>
                  <a:pt x="7443256" y="6112161"/>
                </a:lnTo>
                <a:lnTo>
                  <a:pt x="7443256" y="6141763"/>
                </a:lnTo>
                <a:lnTo>
                  <a:pt x="7413653" y="6141763"/>
                </a:lnTo>
                <a:close/>
                <a:moveTo>
                  <a:pt x="7147456" y="6112161"/>
                </a:moveTo>
                <a:lnTo>
                  <a:pt x="7177058" y="6112161"/>
                </a:lnTo>
                <a:lnTo>
                  <a:pt x="7177058" y="6141763"/>
                </a:lnTo>
                <a:lnTo>
                  <a:pt x="7147456" y="6141763"/>
                </a:lnTo>
                <a:close/>
                <a:moveTo>
                  <a:pt x="6881367" y="6112161"/>
                </a:moveTo>
                <a:lnTo>
                  <a:pt x="6910970" y="6112161"/>
                </a:lnTo>
                <a:lnTo>
                  <a:pt x="6910970" y="6141763"/>
                </a:lnTo>
                <a:lnTo>
                  <a:pt x="6881367" y="6141763"/>
                </a:lnTo>
                <a:close/>
                <a:moveTo>
                  <a:pt x="6615170" y="6112161"/>
                </a:moveTo>
                <a:lnTo>
                  <a:pt x="6644773" y="6112161"/>
                </a:lnTo>
                <a:lnTo>
                  <a:pt x="6644773" y="6141763"/>
                </a:lnTo>
                <a:lnTo>
                  <a:pt x="6615170" y="6141763"/>
                </a:lnTo>
                <a:close/>
                <a:moveTo>
                  <a:pt x="6349081" y="6112161"/>
                </a:moveTo>
                <a:lnTo>
                  <a:pt x="6378683" y="6112161"/>
                </a:lnTo>
                <a:lnTo>
                  <a:pt x="6378683" y="6141763"/>
                </a:lnTo>
                <a:lnTo>
                  <a:pt x="6349081" y="6141763"/>
                </a:lnTo>
                <a:close/>
                <a:moveTo>
                  <a:pt x="6082884" y="6112161"/>
                </a:moveTo>
                <a:lnTo>
                  <a:pt x="6112486" y="6112161"/>
                </a:lnTo>
                <a:lnTo>
                  <a:pt x="6112486" y="6141763"/>
                </a:lnTo>
                <a:lnTo>
                  <a:pt x="6082884" y="6141763"/>
                </a:lnTo>
                <a:close/>
                <a:moveTo>
                  <a:pt x="5825310" y="6112161"/>
                </a:moveTo>
                <a:lnTo>
                  <a:pt x="5854913" y="6112161"/>
                </a:lnTo>
                <a:lnTo>
                  <a:pt x="5854913" y="6141763"/>
                </a:lnTo>
                <a:lnTo>
                  <a:pt x="5825310" y="6141763"/>
                </a:lnTo>
                <a:close/>
                <a:moveTo>
                  <a:pt x="5559113" y="6112161"/>
                </a:moveTo>
                <a:lnTo>
                  <a:pt x="5588715" y="6112161"/>
                </a:lnTo>
                <a:lnTo>
                  <a:pt x="5588715" y="6141763"/>
                </a:lnTo>
                <a:lnTo>
                  <a:pt x="5559113" y="6141763"/>
                </a:lnTo>
                <a:close/>
                <a:moveTo>
                  <a:pt x="5293024" y="6112161"/>
                </a:moveTo>
                <a:lnTo>
                  <a:pt x="5322626" y="6112161"/>
                </a:lnTo>
                <a:lnTo>
                  <a:pt x="5322626" y="6141763"/>
                </a:lnTo>
                <a:lnTo>
                  <a:pt x="5293024" y="6141763"/>
                </a:lnTo>
                <a:close/>
                <a:moveTo>
                  <a:pt x="5026827" y="6112161"/>
                </a:moveTo>
                <a:lnTo>
                  <a:pt x="5056429" y="6112161"/>
                </a:lnTo>
                <a:lnTo>
                  <a:pt x="5056429" y="6141763"/>
                </a:lnTo>
                <a:lnTo>
                  <a:pt x="5026827" y="6141763"/>
                </a:lnTo>
                <a:close/>
                <a:moveTo>
                  <a:pt x="4760630" y="6112161"/>
                </a:moveTo>
                <a:lnTo>
                  <a:pt x="4790340" y="6112161"/>
                </a:lnTo>
                <a:lnTo>
                  <a:pt x="4790340" y="6141763"/>
                </a:lnTo>
                <a:lnTo>
                  <a:pt x="4760630" y="6141763"/>
                </a:lnTo>
                <a:close/>
                <a:moveTo>
                  <a:pt x="4494541" y="6112161"/>
                </a:moveTo>
                <a:lnTo>
                  <a:pt x="4524144" y="6112161"/>
                </a:lnTo>
                <a:lnTo>
                  <a:pt x="4524144" y="6141763"/>
                </a:lnTo>
                <a:lnTo>
                  <a:pt x="4494541" y="6141763"/>
                </a:lnTo>
                <a:close/>
                <a:moveTo>
                  <a:pt x="4228344" y="6112161"/>
                </a:moveTo>
                <a:lnTo>
                  <a:pt x="4257946" y="6112161"/>
                </a:lnTo>
                <a:lnTo>
                  <a:pt x="4257946" y="6141763"/>
                </a:lnTo>
                <a:lnTo>
                  <a:pt x="4228344" y="6141763"/>
                </a:lnTo>
                <a:close/>
                <a:moveTo>
                  <a:pt x="3962255" y="6112161"/>
                </a:moveTo>
                <a:lnTo>
                  <a:pt x="3991857" y="6112161"/>
                </a:lnTo>
                <a:lnTo>
                  <a:pt x="3991857" y="6141763"/>
                </a:lnTo>
                <a:lnTo>
                  <a:pt x="3962255" y="6141763"/>
                </a:lnTo>
                <a:close/>
                <a:moveTo>
                  <a:pt x="3696058" y="6112161"/>
                </a:moveTo>
                <a:lnTo>
                  <a:pt x="3725661" y="6112161"/>
                </a:lnTo>
                <a:lnTo>
                  <a:pt x="3725661" y="6141763"/>
                </a:lnTo>
                <a:lnTo>
                  <a:pt x="3696058" y="6141763"/>
                </a:lnTo>
                <a:close/>
                <a:moveTo>
                  <a:pt x="3429969" y="6112161"/>
                </a:moveTo>
                <a:lnTo>
                  <a:pt x="3459572" y="6112161"/>
                </a:lnTo>
                <a:lnTo>
                  <a:pt x="3459572" y="6141763"/>
                </a:lnTo>
                <a:lnTo>
                  <a:pt x="3429969" y="6141763"/>
                </a:lnTo>
                <a:close/>
                <a:moveTo>
                  <a:pt x="3163772" y="6112161"/>
                </a:moveTo>
                <a:lnTo>
                  <a:pt x="3193374" y="6112161"/>
                </a:lnTo>
                <a:lnTo>
                  <a:pt x="3193374" y="6141763"/>
                </a:lnTo>
                <a:lnTo>
                  <a:pt x="3163772" y="6141763"/>
                </a:lnTo>
                <a:close/>
                <a:moveTo>
                  <a:pt x="2897575" y="6112161"/>
                </a:moveTo>
                <a:lnTo>
                  <a:pt x="2927178" y="6112161"/>
                </a:lnTo>
                <a:lnTo>
                  <a:pt x="2927178" y="6141763"/>
                </a:lnTo>
                <a:lnTo>
                  <a:pt x="2897575" y="6141763"/>
                </a:lnTo>
                <a:close/>
                <a:moveTo>
                  <a:pt x="2631378" y="6112161"/>
                </a:moveTo>
                <a:lnTo>
                  <a:pt x="2660980" y="6112161"/>
                </a:lnTo>
                <a:lnTo>
                  <a:pt x="2660980" y="6141763"/>
                </a:lnTo>
                <a:lnTo>
                  <a:pt x="2631378" y="6141763"/>
                </a:lnTo>
                <a:close/>
                <a:moveTo>
                  <a:pt x="2365289" y="6112161"/>
                </a:moveTo>
                <a:lnTo>
                  <a:pt x="2394892" y="6112161"/>
                </a:lnTo>
                <a:lnTo>
                  <a:pt x="2394892" y="6141763"/>
                </a:lnTo>
                <a:lnTo>
                  <a:pt x="2365289" y="6141763"/>
                </a:lnTo>
                <a:close/>
                <a:moveTo>
                  <a:pt x="2099092" y="6112161"/>
                </a:moveTo>
                <a:lnTo>
                  <a:pt x="2128695" y="6112161"/>
                </a:lnTo>
                <a:lnTo>
                  <a:pt x="2128695" y="6141763"/>
                </a:lnTo>
                <a:lnTo>
                  <a:pt x="2099092" y="6141763"/>
                </a:lnTo>
                <a:close/>
                <a:moveTo>
                  <a:pt x="1832898" y="6112161"/>
                </a:moveTo>
                <a:lnTo>
                  <a:pt x="1862498" y="6112161"/>
                </a:lnTo>
                <a:lnTo>
                  <a:pt x="1862498" y="6141763"/>
                </a:lnTo>
                <a:lnTo>
                  <a:pt x="1832898" y="6141763"/>
                </a:lnTo>
                <a:close/>
                <a:moveTo>
                  <a:pt x="1566808" y="6112161"/>
                </a:moveTo>
                <a:lnTo>
                  <a:pt x="1596409" y="6112161"/>
                </a:lnTo>
                <a:lnTo>
                  <a:pt x="1596409" y="6141763"/>
                </a:lnTo>
                <a:lnTo>
                  <a:pt x="1566808" y="6141763"/>
                </a:lnTo>
                <a:close/>
                <a:moveTo>
                  <a:pt x="1300611" y="6112161"/>
                </a:moveTo>
                <a:lnTo>
                  <a:pt x="1330213" y="6112161"/>
                </a:lnTo>
                <a:lnTo>
                  <a:pt x="1330213" y="6141763"/>
                </a:lnTo>
                <a:lnTo>
                  <a:pt x="1300611" y="6141763"/>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1672158" y="5846396"/>
                </a:moveTo>
                <a:lnTo>
                  <a:pt x="11701760" y="5846396"/>
                </a:lnTo>
                <a:lnTo>
                  <a:pt x="11701760" y="5875998"/>
                </a:lnTo>
                <a:lnTo>
                  <a:pt x="11672158" y="5875998"/>
                </a:lnTo>
                <a:close/>
                <a:moveTo>
                  <a:pt x="11405961" y="5846396"/>
                </a:moveTo>
                <a:lnTo>
                  <a:pt x="11435563" y="5846396"/>
                </a:lnTo>
                <a:lnTo>
                  <a:pt x="11435563" y="5875998"/>
                </a:lnTo>
                <a:lnTo>
                  <a:pt x="11405961" y="5875998"/>
                </a:lnTo>
                <a:close/>
                <a:moveTo>
                  <a:pt x="11139872" y="5846396"/>
                </a:moveTo>
                <a:lnTo>
                  <a:pt x="11169474" y="5846396"/>
                </a:lnTo>
                <a:lnTo>
                  <a:pt x="11169474" y="5875998"/>
                </a:lnTo>
                <a:lnTo>
                  <a:pt x="11139872" y="5875998"/>
                </a:lnTo>
                <a:close/>
                <a:moveTo>
                  <a:pt x="10873675" y="5846396"/>
                </a:moveTo>
                <a:lnTo>
                  <a:pt x="10903277" y="5846396"/>
                </a:lnTo>
                <a:lnTo>
                  <a:pt x="10903277" y="5875998"/>
                </a:lnTo>
                <a:lnTo>
                  <a:pt x="10873675" y="5875998"/>
                </a:lnTo>
                <a:close/>
                <a:moveTo>
                  <a:pt x="10607478" y="5846396"/>
                </a:moveTo>
                <a:lnTo>
                  <a:pt x="10637188" y="5846396"/>
                </a:lnTo>
                <a:lnTo>
                  <a:pt x="10637188" y="5875998"/>
                </a:lnTo>
                <a:lnTo>
                  <a:pt x="10607478" y="5875998"/>
                </a:lnTo>
                <a:close/>
                <a:moveTo>
                  <a:pt x="10341389" y="5846396"/>
                </a:moveTo>
                <a:lnTo>
                  <a:pt x="10370992" y="5846396"/>
                </a:lnTo>
                <a:lnTo>
                  <a:pt x="10370992" y="5875998"/>
                </a:lnTo>
                <a:lnTo>
                  <a:pt x="10341389" y="5875998"/>
                </a:lnTo>
                <a:close/>
                <a:moveTo>
                  <a:pt x="10075192" y="5846396"/>
                </a:moveTo>
                <a:lnTo>
                  <a:pt x="10104794" y="5846396"/>
                </a:lnTo>
                <a:lnTo>
                  <a:pt x="10104794" y="5875998"/>
                </a:lnTo>
                <a:lnTo>
                  <a:pt x="10075192" y="5875998"/>
                </a:lnTo>
                <a:close/>
                <a:moveTo>
                  <a:pt x="9809103" y="5846396"/>
                </a:moveTo>
                <a:lnTo>
                  <a:pt x="9838705" y="5846396"/>
                </a:lnTo>
                <a:lnTo>
                  <a:pt x="9838705" y="5875998"/>
                </a:lnTo>
                <a:lnTo>
                  <a:pt x="9809103" y="5875998"/>
                </a:lnTo>
                <a:close/>
                <a:moveTo>
                  <a:pt x="9542906" y="5846396"/>
                </a:moveTo>
                <a:lnTo>
                  <a:pt x="9572509" y="5846396"/>
                </a:lnTo>
                <a:lnTo>
                  <a:pt x="9572509" y="5875998"/>
                </a:lnTo>
                <a:lnTo>
                  <a:pt x="9542906" y="5875998"/>
                </a:lnTo>
                <a:close/>
                <a:moveTo>
                  <a:pt x="9276817" y="5846396"/>
                </a:moveTo>
                <a:lnTo>
                  <a:pt x="9306420" y="5846396"/>
                </a:lnTo>
                <a:lnTo>
                  <a:pt x="9306420" y="5875998"/>
                </a:lnTo>
                <a:lnTo>
                  <a:pt x="9276817" y="5875998"/>
                </a:lnTo>
                <a:close/>
                <a:moveTo>
                  <a:pt x="9010620" y="5846396"/>
                </a:moveTo>
                <a:lnTo>
                  <a:pt x="9040222" y="5846396"/>
                </a:lnTo>
                <a:lnTo>
                  <a:pt x="9040222" y="5875998"/>
                </a:lnTo>
                <a:lnTo>
                  <a:pt x="9010620" y="5875998"/>
                </a:lnTo>
                <a:close/>
                <a:moveTo>
                  <a:pt x="8744423" y="5846396"/>
                </a:moveTo>
                <a:lnTo>
                  <a:pt x="8774026" y="5846396"/>
                </a:lnTo>
                <a:lnTo>
                  <a:pt x="8774026" y="5875998"/>
                </a:lnTo>
                <a:lnTo>
                  <a:pt x="8744423" y="5875998"/>
                </a:lnTo>
                <a:close/>
                <a:moveTo>
                  <a:pt x="8478226" y="5846396"/>
                </a:moveTo>
                <a:lnTo>
                  <a:pt x="8507828" y="5846396"/>
                </a:lnTo>
                <a:lnTo>
                  <a:pt x="8507828" y="5875998"/>
                </a:lnTo>
                <a:lnTo>
                  <a:pt x="8478226" y="5875998"/>
                </a:lnTo>
                <a:close/>
                <a:moveTo>
                  <a:pt x="8212137" y="5846396"/>
                </a:moveTo>
                <a:lnTo>
                  <a:pt x="8241740" y="5846396"/>
                </a:lnTo>
                <a:lnTo>
                  <a:pt x="8241740" y="5875998"/>
                </a:lnTo>
                <a:lnTo>
                  <a:pt x="8212137" y="5875998"/>
                </a:lnTo>
                <a:close/>
                <a:moveTo>
                  <a:pt x="7945940" y="5846396"/>
                </a:moveTo>
                <a:lnTo>
                  <a:pt x="7975543" y="5846396"/>
                </a:lnTo>
                <a:lnTo>
                  <a:pt x="7975543" y="5875998"/>
                </a:lnTo>
                <a:lnTo>
                  <a:pt x="7945940" y="5875998"/>
                </a:lnTo>
                <a:close/>
                <a:moveTo>
                  <a:pt x="7679743" y="5846396"/>
                </a:moveTo>
                <a:lnTo>
                  <a:pt x="7709346" y="5846396"/>
                </a:lnTo>
                <a:lnTo>
                  <a:pt x="7709346" y="5875998"/>
                </a:lnTo>
                <a:lnTo>
                  <a:pt x="7679743" y="5875998"/>
                </a:lnTo>
                <a:close/>
                <a:moveTo>
                  <a:pt x="7413653" y="5846396"/>
                </a:moveTo>
                <a:lnTo>
                  <a:pt x="7443256" y="5846396"/>
                </a:lnTo>
                <a:lnTo>
                  <a:pt x="7443256" y="5875998"/>
                </a:lnTo>
                <a:lnTo>
                  <a:pt x="7413653" y="5875998"/>
                </a:lnTo>
                <a:close/>
                <a:moveTo>
                  <a:pt x="7147456" y="5846396"/>
                </a:moveTo>
                <a:lnTo>
                  <a:pt x="7177058" y="5846396"/>
                </a:lnTo>
                <a:lnTo>
                  <a:pt x="7177058" y="5875998"/>
                </a:lnTo>
                <a:lnTo>
                  <a:pt x="7147456" y="5875998"/>
                </a:lnTo>
                <a:close/>
                <a:moveTo>
                  <a:pt x="6881367" y="5846396"/>
                </a:moveTo>
                <a:lnTo>
                  <a:pt x="6910970" y="5846396"/>
                </a:lnTo>
                <a:lnTo>
                  <a:pt x="6910970" y="5875998"/>
                </a:lnTo>
                <a:lnTo>
                  <a:pt x="6881367" y="5875998"/>
                </a:lnTo>
                <a:close/>
                <a:moveTo>
                  <a:pt x="6615170" y="5846396"/>
                </a:moveTo>
                <a:lnTo>
                  <a:pt x="6644773" y="5846396"/>
                </a:lnTo>
                <a:lnTo>
                  <a:pt x="6644773" y="5875998"/>
                </a:lnTo>
                <a:lnTo>
                  <a:pt x="6615170" y="5875998"/>
                </a:lnTo>
                <a:close/>
                <a:moveTo>
                  <a:pt x="6349081" y="5846396"/>
                </a:moveTo>
                <a:lnTo>
                  <a:pt x="6378683" y="5846396"/>
                </a:lnTo>
                <a:lnTo>
                  <a:pt x="6378683" y="5875998"/>
                </a:lnTo>
                <a:lnTo>
                  <a:pt x="6349081" y="5875998"/>
                </a:lnTo>
                <a:close/>
                <a:moveTo>
                  <a:pt x="6082884" y="5846396"/>
                </a:moveTo>
                <a:lnTo>
                  <a:pt x="6112486" y="5846396"/>
                </a:lnTo>
                <a:lnTo>
                  <a:pt x="6112486" y="5875998"/>
                </a:lnTo>
                <a:lnTo>
                  <a:pt x="6082884" y="5875998"/>
                </a:lnTo>
                <a:close/>
                <a:moveTo>
                  <a:pt x="5825310" y="5846396"/>
                </a:moveTo>
                <a:lnTo>
                  <a:pt x="5854913" y="5846396"/>
                </a:lnTo>
                <a:lnTo>
                  <a:pt x="5854913" y="5875998"/>
                </a:lnTo>
                <a:lnTo>
                  <a:pt x="5825310" y="5875998"/>
                </a:lnTo>
                <a:close/>
                <a:moveTo>
                  <a:pt x="5559113" y="5846396"/>
                </a:moveTo>
                <a:lnTo>
                  <a:pt x="5588715" y="5846396"/>
                </a:lnTo>
                <a:lnTo>
                  <a:pt x="5588715" y="5875998"/>
                </a:lnTo>
                <a:lnTo>
                  <a:pt x="5559113" y="5875998"/>
                </a:lnTo>
                <a:close/>
                <a:moveTo>
                  <a:pt x="5293024" y="5846396"/>
                </a:moveTo>
                <a:lnTo>
                  <a:pt x="5322626" y="5846396"/>
                </a:lnTo>
                <a:lnTo>
                  <a:pt x="5322626" y="5875998"/>
                </a:lnTo>
                <a:lnTo>
                  <a:pt x="5293024" y="5875998"/>
                </a:lnTo>
                <a:close/>
                <a:moveTo>
                  <a:pt x="5026827" y="5846396"/>
                </a:moveTo>
                <a:lnTo>
                  <a:pt x="5056429" y="5846396"/>
                </a:lnTo>
                <a:lnTo>
                  <a:pt x="5056429" y="5875998"/>
                </a:lnTo>
                <a:lnTo>
                  <a:pt x="5026827" y="5875998"/>
                </a:lnTo>
                <a:close/>
                <a:moveTo>
                  <a:pt x="4760630" y="5846396"/>
                </a:moveTo>
                <a:lnTo>
                  <a:pt x="4790340" y="5846396"/>
                </a:lnTo>
                <a:lnTo>
                  <a:pt x="4790340" y="5875998"/>
                </a:lnTo>
                <a:lnTo>
                  <a:pt x="4760630" y="5875998"/>
                </a:lnTo>
                <a:close/>
                <a:moveTo>
                  <a:pt x="4494541" y="5846396"/>
                </a:moveTo>
                <a:lnTo>
                  <a:pt x="4524144" y="5846396"/>
                </a:lnTo>
                <a:lnTo>
                  <a:pt x="4524144" y="5875998"/>
                </a:lnTo>
                <a:lnTo>
                  <a:pt x="4494541" y="5875998"/>
                </a:lnTo>
                <a:close/>
                <a:moveTo>
                  <a:pt x="4228344" y="5846396"/>
                </a:moveTo>
                <a:lnTo>
                  <a:pt x="4257946" y="5846396"/>
                </a:lnTo>
                <a:lnTo>
                  <a:pt x="4257946" y="5875998"/>
                </a:lnTo>
                <a:lnTo>
                  <a:pt x="4228344" y="5875998"/>
                </a:lnTo>
                <a:close/>
                <a:moveTo>
                  <a:pt x="3962255" y="5846396"/>
                </a:moveTo>
                <a:lnTo>
                  <a:pt x="3991857" y="5846396"/>
                </a:lnTo>
                <a:lnTo>
                  <a:pt x="3991857" y="5875998"/>
                </a:lnTo>
                <a:lnTo>
                  <a:pt x="3962255" y="5875998"/>
                </a:lnTo>
                <a:close/>
                <a:moveTo>
                  <a:pt x="3696058" y="5846396"/>
                </a:moveTo>
                <a:lnTo>
                  <a:pt x="3725661" y="5846396"/>
                </a:lnTo>
                <a:lnTo>
                  <a:pt x="3725661" y="5875998"/>
                </a:lnTo>
                <a:lnTo>
                  <a:pt x="3696058" y="5875998"/>
                </a:lnTo>
                <a:close/>
                <a:moveTo>
                  <a:pt x="3429969" y="5846396"/>
                </a:moveTo>
                <a:lnTo>
                  <a:pt x="3459572" y="5846396"/>
                </a:lnTo>
                <a:lnTo>
                  <a:pt x="3459572" y="5875998"/>
                </a:lnTo>
                <a:lnTo>
                  <a:pt x="3429969" y="5875998"/>
                </a:lnTo>
                <a:close/>
                <a:moveTo>
                  <a:pt x="3163772" y="5846396"/>
                </a:moveTo>
                <a:lnTo>
                  <a:pt x="3193374" y="5846396"/>
                </a:lnTo>
                <a:lnTo>
                  <a:pt x="3193374" y="5875998"/>
                </a:lnTo>
                <a:lnTo>
                  <a:pt x="3163772" y="5875998"/>
                </a:lnTo>
                <a:close/>
                <a:moveTo>
                  <a:pt x="2897575" y="5846396"/>
                </a:moveTo>
                <a:lnTo>
                  <a:pt x="2927178" y="5846396"/>
                </a:lnTo>
                <a:lnTo>
                  <a:pt x="2927178" y="5875998"/>
                </a:lnTo>
                <a:lnTo>
                  <a:pt x="2897575" y="5875998"/>
                </a:lnTo>
                <a:close/>
                <a:moveTo>
                  <a:pt x="2631378" y="5846396"/>
                </a:moveTo>
                <a:lnTo>
                  <a:pt x="2660980" y="5846396"/>
                </a:lnTo>
                <a:lnTo>
                  <a:pt x="2660980" y="5875998"/>
                </a:lnTo>
                <a:lnTo>
                  <a:pt x="2631378" y="5875998"/>
                </a:lnTo>
                <a:close/>
                <a:moveTo>
                  <a:pt x="2365289" y="5846396"/>
                </a:moveTo>
                <a:lnTo>
                  <a:pt x="2394892" y="5846396"/>
                </a:lnTo>
                <a:lnTo>
                  <a:pt x="2394892" y="5875998"/>
                </a:lnTo>
                <a:lnTo>
                  <a:pt x="2365289" y="5875998"/>
                </a:lnTo>
                <a:close/>
                <a:moveTo>
                  <a:pt x="2099092" y="5846396"/>
                </a:moveTo>
                <a:lnTo>
                  <a:pt x="2128695" y="5846396"/>
                </a:lnTo>
                <a:lnTo>
                  <a:pt x="2128695" y="5875998"/>
                </a:lnTo>
                <a:lnTo>
                  <a:pt x="2099092" y="5875998"/>
                </a:lnTo>
                <a:close/>
                <a:moveTo>
                  <a:pt x="1832898" y="5846396"/>
                </a:moveTo>
                <a:lnTo>
                  <a:pt x="1862498" y="5846396"/>
                </a:lnTo>
                <a:lnTo>
                  <a:pt x="1862498" y="5875998"/>
                </a:lnTo>
                <a:lnTo>
                  <a:pt x="1832898" y="5875998"/>
                </a:lnTo>
                <a:close/>
                <a:moveTo>
                  <a:pt x="1566808" y="5846396"/>
                </a:moveTo>
                <a:lnTo>
                  <a:pt x="1596409" y="5846396"/>
                </a:lnTo>
                <a:lnTo>
                  <a:pt x="1596409" y="5875998"/>
                </a:lnTo>
                <a:lnTo>
                  <a:pt x="1566808" y="5875998"/>
                </a:lnTo>
                <a:close/>
                <a:moveTo>
                  <a:pt x="1300611" y="5846396"/>
                </a:moveTo>
                <a:lnTo>
                  <a:pt x="1330213" y="5846396"/>
                </a:lnTo>
                <a:lnTo>
                  <a:pt x="1330213" y="5875998"/>
                </a:lnTo>
                <a:lnTo>
                  <a:pt x="1300611" y="5875998"/>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1672158" y="5580631"/>
                </a:moveTo>
                <a:lnTo>
                  <a:pt x="11701760" y="5580631"/>
                </a:lnTo>
                <a:lnTo>
                  <a:pt x="11701760" y="5610233"/>
                </a:lnTo>
                <a:lnTo>
                  <a:pt x="11672158" y="5610233"/>
                </a:lnTo>
                <a:close/>
                <a:moveTo>
                  <a:pt x="11405961" y="5580631"/>
                </a:moveTo>
                <a:lnTo>
                  <a:pt x="11435563" y="5580631"/>
                </a:lnTo>
                <a:lnTo>
                  <a:pt x="11435563" y="5610233"/>
                </a:lnTo>
                <a:lnTo>
                  <a:pt x="11405961" y="5610233"/>
                </a:lnTo>
                <a:close/>
                <a:moveTo>
                  <a:pt x="11139872" y="5580631"/>
                </a:moveTo>
                <a:lnTo>
                  <a:pt x="11169474" y="5580631"/>
                </a:lnTo>
                <a:lnTo>
                  <a:pt x="11169474" y="5610233"/>
                </a:lnTo>
                <a:lnTo>
                  <a:pt x="11139872" y="5610233"/>
                </a:lnTo>
                <a:close/>
                <a:moveTo>
                  <a:pt x="10873675" y="5580631"/>
                </a:moveTo>
                <a:lnTo>
                  <a:pt x="10903277" y="5580631"/>
                </a:lnTo>
                <a:lnTo>
                  <a:pt x="10903277" y="5610233"/>
                </a:lnTo>
                <a:lnTo>
                  <a:pt x="10873675" y="5610233"/>
                </a:lnTo>
                <a:close/>
                <a:moveTo>
                  <a:pt x="10607478" y="5580631"/>
                </a:moveTo>
                <a:lnTo>
                  <a:pt x="10637188" y="5580631"/>
                </a:lnTo>
                <a:lnTo>
                  <a:pt x="10637188" y="5610233"/>
                </a:lnTo>
                <a:lnTo>
                  <a:pt x="10607478" y="5610233"/>
                </a:lnTo>
                <a:close/>
                <a:moveTo>
                  <a:pt x="10341389" y="5580631"/>
                </a:moveTo>
                <a:lnTo>
                  <a:pt x="10370992" y="5580631"/>
                </a:lnTo>
                <a:lnTo>
                  <a:pt x="10370992" y="5610233"/>
                </a:lnTo>
                <a:lnTo>
                  <a:pt x="10341389" y="5610233"/>
                </a:lnTo>
                <a:close/>
                <a:moveTo>
                  <a:pt x="10075192" y="5580631"/>
                </a:moveTo>
                <a:lnTo>
                  <a:pt x="10104794" y="5580631"/>
                </a:lnTo>
                <a:lnTo>
                  <a:pt x="10104794" y="5610233"/>
                </a:lnTo>
                <a:lnTo>
                  <a:pt x="10075192" y="5610233"/>
                </a:lnTo>
                <a:close/>
                <a:moveTo>
                  <a:pt x="9809103" y="5580631"/>
                </a:moveTo>
                <a:lnTo>
                  <a:pt x="9838705" y="5580631"/>
                </a:lnTo>
                <a:lnTo>
                  <a:pt x="9838705" y="5610233"/>
                </a:lnTo>
                <a:lnTo>
                  <a:pt x="9809103" y="5610233"/>
                </a:lnTo>
                <a:close/>
                <a:moveTo>
                  <a:pt x="9542906" y="5580631"/>
                </a:moveTo>
                <a:lnTo>
                  <a:pt x="9572509" y="5580631"/>
                </a:lnTo>
                <a:lnTo>
                  <a:pt x="9572509" y="5610233"/>
                </a:lnTo>
                <a:lnTo>
                  <a:pt x="9542906" y="5610233"/>
                </a:lnTo>
                <a:close/>
                <a:moveTo>
                  <a:pt x="9276817" y="5580631"/>
                </a:moveTo>
                <a:lnTo>
                  <a:pt x="9306420" y="5580631"/>
                </a:lnTo>
                <a:lnTo>
                  <a:pt x="9306420" y="5610233"/>
                </a:lnTo>
                <a:lnTo>
                  <a:pt x="9276817" y="5610233"/>
                </a:lnTo>
                <a:close/>
                <a:moveTo>
                  <a:pt x="9010620" y="5580631"/>
                </a:moveTo>
                <a:lnTo>
                  <a:pt x="9040222" y="5580631"/>
                </a:lnTo>
                <a:lnTo>
                  <a:pt x="9040222" y="5610233"/>
                </a:lnTo>
                <a:lnTo>
                  <a:pt x="9010620" y="5610233"/>
                </a:lnTo>
                <a:close/>
                <a:moveTo>
                  <a:pt x="8744423" y="5580631"/>
                </a:moveTo>
                <a:lnTo>
                  <a:pt x="8774026" y="5580631"/>
                </a:lnTo>
                <a:lnTo>
                  <a:pt x="8774026" y="5610233"/>
                </a:lnTo>
                <a:lnTo>
                  <a:pt x="8744423" y="5610233"/>
                </a:lnTo>
                <a:close/>
                <a:moveTo>
                  <a:pt x="8478226" y="5580631"/>
                </a:moveTo>
                <a:lnTo>
                  <a:pt x="8507828" y="5580631"/>
                </a:lnTo>
                <a:lnTo>
                  <a:pt x="8507828" y="5610233"/>
                </a:lnTo>
                <a:lnTo>
                  <a:pt x="8478226" y="5610233"/>
                </a:lnTo>
                <a:close/>
                <a:moveTo>
                  <a:pt x="8212137" y="5580631"/>
                </a:moveTo>
                <a:lnTo>
                  <a:pt x="8241740" y="5580631"/>
                </a:lnTo>
                <a:lnTo>
                  <a:pt x="8241740" y="5610233"/>
                </a:lnTo>
                <a:lnTo>
                  <a:pt x="8212137" y="5610233"/>
                </a:lnTo>
                <a:close/>
                <a:moveTo>
                  <a:pt x="7945940" y="5580631"/>
                </a:moveTo>
                <a:lnTo>
                  <a:pt x="7975543" y="5580631"/>
                </a:lnTo>
                <a:lnTo>
                  <a:pt x="7975543" y="5610233"/>
                </a:lnTo>
                <a:lnTo>
                  <a:pt x="7945940" y="5610233"/>
                </a:lnTo>
                <a:close/>
                <a:moveTo>
                  <a:pt x="7679743" y="5580631"/>
                </a:moveTo>
                <a:lnTo>
                  <a:pt x="7709346" y="5580631"/>
                </a:lnTo>
                <a:lnTo>
                  <a:pt x="7709346" y="5610233"/>
                </a:lnTo>
                <a:lnTo>
                  <a:pt x="7679743" y="5610233"/>
                </a:lnTo>
                <a:close/>
                <a:moveTo>
                  <a:pt x="7413653" y="5580631"/>
                </a:moveTo>
                <a:lnTo>
                  <a:pt x="7443256" y="5580631"/>
                </a:lnTo>
                <a:lnTo>
                  <a:pt x="7443256" y="5610233"/>
                </a:lnTo>
                <a:lnTo>
                  <a:pt x="7413653" y="5610233"/>
                </a:lnTo>
                <a:close/>
                <a:moveTo>
                  <a:pt x="7147456" y="5580631"/>
                </a:moveTo>
                <a:lnTo>
                  <a:pt x="7177058" y="5580631"/>
                </a:lnTo>
                <a:lnTo>
                  <a:pt x="7177058" y="5610233"/>
                </a:lnTo>
                <a:lnTo>
                  <a:pt x="7147456" y="5610233"/>
                </a:lnTo>
                <a:close/>
                <a:moveTo>
                  <a:pt x="6881367" y="5580631"/>
                </a:moveTo>
                <a:lnTo>
                  <a:pt x="6910970" y="5580631"/>
                </a:lnTo>
                <a:lnTo>
                  <a:pt x="6910970" y="5610233"/>
                </a:lnTo>
                <a:lnTo>
                  <a:pt x="6881367" y="5610233"/>
                </a:lnTo>
                <a:close/>
                <a:moveTo>
                  <a:pt x="6615170" y="5580631"/>
                </a:moveTo>
                <a:lnTo>
                  <a:pt x="6644773" y="5580631"/>
                </a:lnTo>
                <a:lnTo>
                  <a:pt x="6644773" y="5610233"/>
                </a:lnTo>
                <a:lnTo>
                  <a:pt x="6615170" y="5610233"/>
                </a:lnTo>
                <a:close/>
                <a:moveTo>
                  <a:pt x="6349081" y="5580631"/>
                </a:moveTo>
                <a:lnTo>
                  <a:pt x="6378683" y="5580631"/>
                </a:lnTo>
                <a:lnTo>
                  <a:pt x="6378683" y="5610233"/>
                </a:lnTo>
                <a:lnTo>
                  <a:pt x="6349081" y="5610233"/>
                </a:lnTo>
                <a:close/>
                <a:moveTo>
                  <a:pt x="6082884" y="5580631"/>
                </a:moveTo>
                <a:lnTo>
                  <a:pt x="6112486" y="5580631"/>
                </a:lnTo>
                <a:lnTo>
                  <a:pt x="6112486" y="5610233"/>
                </a:lnTo>
                <a:lnTo>
                  <a:pt x="6082884" y="5610233"/>
                </a:lnTo>
                <a:close/>
                <a:moveTo>
                  <a:pt x="5825310" y="5580631"/>
                </a:moveTo>
                <a:lnTo>
                  <a:pt x="5854913" y="5580631"/>
                </a:lnTo>
                <a:lnTo>
                  <a:pt x="5854913" y="5610233"/>
                </a:lnTo>
                <a:lnTo>
                  <a:pt x="5825310" y="5610233"/>
                </a:lnTo>
                <a:close/>
                <a:moveTo>
                  <a:pt x="5559113" y="5580631"/>
                </a:moveTo>
                <a:lnTo>
                  <a:pt x="5588715" y="5580631"/>
                </a:lnTo>
                <a:lnTo>
                  <a:pt x="5588715" y="5610233"/>
                </a:lnTo>
                <a:lnTo>
                  <a:pt x="5559113" y="5610233"/>
                </a:lnTo>
                <a:close/>
                <a:moveTo>
                  <a:pt x="5293024" y="5580631"/>
                </a:moveTo>
                <a:lnTo>
                  <a:pt x="5322626" y="5580631"/>
                </a:lnTo>
                <a:lnTo>
                  <a:pt x="5322626" y="5610233"/>
                </a:lnTo>
                <a:lnTo>
                  <a:pt x="5293024" y="5610233"/>
                </a:lnTo>
                <a:close/>
                <a:moveTo>
                  <a:pt x="5026827" y="5580631"/>
                </a:moveTo>
                <a:lnTo>
                  <a:pt x="5056429" y="5580631"/>
                </a:lnTo>
                <a:lnTo>
                  <a:pt x="5056429" y="5610233"/>
                </a:lnTo>
                <a:lnTo>
                  <a:pt x="5026827" y="5610233"/>
                </a:lnTo>
                <a:close/>
                <a:moveTo>
                  <a:pt x="4760630" y="5580631"/>
                </a:moveTo>
                <a:lnTo>
                  <a:pt x="4790340" y="5580631"/>
                </a:lnTo>
                <a:lnTo>
                  <a:pt x="4790340" y="5610233"/>
                </a:lnTo>
                <a:lnTo>
                  <a:pt x="4760630" y="5610233"/>
                </a:lnTo>
                <a:close/>
                <a:moveTo>
                  <a:pt x="4494541" y="5580631"/>
                </a:moveTo>
                <a:lnTo>
                  <a:pt x="4524144" y="5580631"/>
                </a:lnTo>
                <a:lnTo>
                  <a:pt x="4524144" y="5610233"/>
                </a:lnTo>
                <a:lnTo>
                  <a:pt x="4494541" y="5610233"/>
                </a:lnTo>
                <a:close/>
                <a:moveTo>
                  <a:pt x="4228344" y="5580631"/>
                </a:moveTo>
                <a:lnTo>
                  <a:pt x="4257946" y="5580631"/>
                </a:lnTo>
                <a:lnTo>
                  <a:pt x="4257946" y="5610233"/>
                </a:lnTo>
                <a:lnTo>
                  <a:pt x="4228344" y="5610233"/>
                </a:lnTo>
                <a:close/>
                <a:moveTo>
                  <a:pt x="3962255" y="5580631"/>
                </a:moveTo>
                <a:lnTo>
                  <a:pt x="3991857" y="5580631"/>
                </a:lnTo>
                <a:lnTo>
                  <a:pt x="3991857" y="5610233"/>
                </a:lnTo>
                <a:lnTo>
                  <a:pt x="3962255" y="5610233"/>
                </a:lnTo>
                <a:close/>
                <a:moveTo>
                  <a:pt x="3696058" y="5580631"/>
                </a:moveTo>
                <a:lnTo>
                  <a:pt x="3725661" y="5580631"/>
                </a:lnTo>
                <a:lnTo>
                  <a:pt x="3725661" y="5610233"/>
                </a:lnTo>
                <a:lnTo>
                  <a:pt x="3696058" y="5610233"/>
                </a:lnTo>
                <a:close/>
                <a:moveTo>
                  <a:pt x="3429969" y="5580631"/>
                </a:moveTo>
                <a:lnTo>
                  <a:pt x="3459572" y="5580631"/>
                </a:lnTo>
                <a:lnTo>
                  <a:pt x="3459572" y="5610233"/>
                </a:lnTo>
                <a:lnTo>
                  <a:pt x="3429969" y="5610233"/>
                </a:lnTo>
                <a:close/>
                <a:moveTo>
                  <a:pt x="3163772" y="5580631"/>
                </a:moveTo>
                <a:lnTo>
                  <a:pt x="3193374" y="5580631"/>
                </a:lnTo>
                <a:lnTo>
                  <a:pt x="3193374" y="5610233"/>
                </a:lnTo>
                <a:lnTo>
                  <a:pt x="3163772" y="5610233"/>
                </a:lnTo>
                <a:close/>
                <a:moveTo>
                  <a:pt x="2897575" y="5580631"/>
                </a:moveTo>
                <a:lnTo>
                  <a:pt x="2927178" y="5580631"/>
                </a:lnTo>
                <a:lnTo>
                  <a:pt x="2927178" y="5610233"/>
                </a:lnTo>
                <a:lnTo>
                  <a:pt x="2897575" y="5610233"/>
                </a:lnTo>
                <a:close/>
                <a:moveTo>
                  <a:pt x="2631378" y="5580631"/>
                </a:moveTo>
                <a:lnTo>
                  <a:pt x="2660980" y="5580631"/>
                </a:lnTo>
                <a:lnTo>
                  <a:pt x="2660980" y="5610233"/>
                </a:lnTo>
                <a:lnTo>
                  <a:pt x="2631378" y="5610233"/>
                </a:lnTo>
                <a:close/>
                <a:moveTo>
                  <a:pt x="2365289" y="5580631"/>
                </a:moveTo>
                <a:lnTo>
                  <a:pt x="2394892" y="5580631"/>
                </a:lnTo>
                <a:lnTo>
                  <a:pt x="2394892" y="5610233"/>
                </a:lnTo>
                <a:lnTo>
                  <a:pt x="2365289" y="5610233"/>
                </a:lnTo>
                <a:close/>
                <a:moveTo>
                  <a:pt x="2099092" y="5580631"/>
                </a:moveTo>
                <a:lnTo>
                  <a:pt x="2128695" y="5580631"/>
                </a:lnTo>
                <a:lnTo>
                  <a:pt x="2128695" y="5610233"/>
                </a:lnTo>
                <a:lnTo>
                  <a:pt x="2099092" y="5610233"/>
                </a:lnTo>
                <a:close/>
                <a:moveTo>
                  <a:pt x="1832898" y="5580631"/>
                </a:moveTo>
                <a:lnTo>
                  <a:pt x="1862498" y="5580631"/>
                </a:lnTo>
                <a:lnTo>
                  <a:pt x="1862498" y="5610233"/>
                </a:lnTo>
                <a:lnTo>
                  <a:pt x="1832898" y="5610233"/>
                </a:lnTo>
                <a:close/>
                <a:moveTo>
                  <a:pt x="1566808" y="5580631"/>
                </a:moveTo>
                <a:lnTo>
                  <a:pt x="1596409" y="5580631"/>
                </a:lnTo>
                <a:lnTo>
                  <a:pt x="1596409" y="5610233"/>
                </a:lnTo>
                <a:lnTo>
                  <a:pt x="1566808" y="5610233"/>
                </a:lnTo>
                <a:close/>
                <a:moveTo>
                  <a:pt x="1300611" y="5580631"/>
                </a:moveTo>
                <a:lnTo>
                  <a:pt x="1330213" y="5580631"/>
                </a:lnTo>
                <a:lnTo>
                  <a:pt x="1330213" y="5610233"/>
                </a:lnTo>
                <a:lnTo>
                  <a:pt x="1300611" y="5610233"/>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1672158" y="5314974"/>
                </a:moveTo>
                <a:lnTo>
                  <a:pt x="11701760" y="5314974"/>
                </a:lnTo>
                <a:lnTo>
                  <a:pt x="11701760" y="5344468"/>
                </a:lnTo>
                <a:lnTo>
                  <a:pt x="11672158" y="5344468"/>
                </a:lnTo>
                <a:close/>
                <a:moveTo>
                  <a:pt x="11405961" y="5314974"/>
                </a:moveTo>
                <a:lnTo>
                  <a:pt x="11435563" y="5314974"/>
                </a:lnTo>
                <a:lnTo>
                  <a:pt x="11435563" y="5344468"/>
                </a:lnTo>
                <a:lnTo>
                  <a:pt x="11405961" y="5344468"/>
                </a:lnTo>
                <a:close/>
                <a:moveTo>
                  <a:pt x="11139872" y="5314974"/>
                </a:moveTo>
                <a:lnTo>
                  <a:pt x="11169474" y="5314974"/>
                </a:lnTo>
                <a:lnTo>
                  <a:pt x="11169474" y="5344468"/>
                </a:lnTo>
                <a:lnTo>
                  <a:pt x="11139872" y="5344468"/>
                </a:lnTo>
                <a:close/>
                <a:moveTo>
                  <a:pt x="10873675" y="5314974"/>
                </a:moveTo>
                <a:lnTo>
                  <a:pt x="10903277" y="5314974"/>
                </a:lnTo>
                <a:lnTo>
                  <a:pt x="10903277" y="5344468"/>
                </a:lnTo>
                <a:lnTo>
                  <a:pt x="10873675" y="5344468"/>
                </a:lnTo>
                <a:close/>
                <a:moveTo>
                  <a:pt x="10607478" y="5314974"/>
                </a:moveTo>
                <a:lnTo>
                  <a:pt x="10637188" y="5314974"/>
                </a:lnTo>
                <a:lnTo>
                  <a:pt x="10637188" y="5344468"/>
                </a:lnTo>
                <a:lnTo>
                  <a:pt x="10607478" y="5344468"/>
                </a:lnTo>
                <a:close/>
                <a:moveTo>
                  <a:pt x="10341389" y="5314974"/>
                </a:moveTo>
                <a:lnTo>
                  <a:pt x="10370992" y="5314974"/>
                </a:lnTo>
                <a:lnTo>
                  <a:pt x="10370992" y="5344468"/>
                </a:lnTo>
                <a:lnTo>
                  <a:pt x="10341389" y="5344468"/>
                </a:lnTo>
                <a:close/>
                <a:moveTo>
                  <a:pt x="10075192" y="5314974"/>
                </a:moveTo>
                <a:lnTo>
                  <a:pt x="10104794" y="5314974"/>
                </a:lnTo>
                <a:lnTo>
                  <a:pt x="10104794" y="5344468"/>
                </a:lnTo>
                <a:lnTo>
                  <a:pt x="10075192" y="5344468"/>
                </a:lnTo>
                <a:close/>
                <a:moveTo>
                  <a:pt x="9809103" y="5314974"/>
                </a:moveTo>
                <a:lnTo>
                  <a:pt x="9838705" y="5314974"/>
                </a:lnTo>
                <a:lnTo>
                  <a:pt x="9838705" y="5344468"/>
                </a:lnTo>
                <a:lnTo>
                  <a:pt x="9809103" y="5344468"/>
                </a:lnTo>
                <a:close/>
                <a:moveTo>
                  <a:pt x="9542906" y="5314974"/>
                </a:moveTo>
                <a:lnTo>
                  <a:pt x="9572509" y="5314974"/>
                </a:lnTo>
                <a:lnTo>
                  <a:pt x="9572509" y="5344468"/>
                </a:lnTo>
                <a:lnTo>
                  <a:pt x="9542906" y="5344468"/>
                </a:lnTo>
                <a:close/>
                <a:moveTo>
                  <a:pt x="9276817" y="5314974"/>
                </a:moveTo>
                <a:lnTo>
                  <a:pt x="9306420" y="5314974"/>
                </a:lnTo>
                <a:lnTo>
                  <a:pt x="9306420" y="5344468"/>
                </a:lnTo>
                <a:lnTo>
                  <a:pt x="9276817" y="5344468"/>
                </a:lnTo>
                <a:close/>
                <a:moveTo>
                  <a:pt x="9010620" y="5314974"/>
                </a:moveTo>
                <a:lnTo>
                  <a:pt x="9040222" y="5314974"/>
                </a:lnTo>
                <a:lnTo>
                  <a:pt x="9040222" y="5344468"/>
                </a:lnTo>
                <a:lnTo>
                  <a:pt x="9010620" y="5344468"/>
                </a:lnTo>
                <a:close/>
                <a:moveTo>
                  <a:pt x="8744423" y="5314974"/>
                </a:moveTo>
                <a:lnTo>
                  <a:pt x="8774026" y="5314974"/>
                </a:lnTo>
                <a:lnTo>
                  <a:pt x="8774026" y="5344468"/>
                </a:lnTo>
                <a:lnTo>
                  <a:pt x="8744423" y="5344468"/>
                </a:lnTo>
                <a:close/>
                <a:moveTo>
                  <a:pt x="8478226" y="5314974"/>
                </a:moveTo>
                <a:lnTo>
                  <a:pt x="8507828" y="5314974"/>
                </a:lnTo>
                <a:lnTo>
                  <a:pt x="8507828" y="5344468"/>
                </a:lnTo>
                <a:lnTo>
                  <a:pt x="8478226" y="5344468"/>
                </a:lnTo>
                <a:close/>
                <a:moveTo>
                  <a:pt x="8212137" y="5314974"/>
                </a:moveTo>
                <a:lnTo>
                  <a:pt x="8241740" y="5314974"/>
                </a:lnTo>
                <a:lnTo>
                  <a:pt x="8241740" y="5344468"/>
                </a:lnTo>
                <a:lnTo>
                  <a:pt x="8212137" y="5344468"/>
                </a:lnTo>
                <a:close/>
                <a:moveTo>
                  <a:pt x="7945940" y="5314974"/>
                </a:moveTo>
                <a:lnTo>
                  <a:pt x="7975543" y="5314974"/>
                </a:lnTo>
                <a:lnTo>
                  <a:pt x="7975543" y="5344468"/>
                </a:lnTo>
                <a:lnTo>
                  <a:pt x="7945940" y="5344468"/>
                </a:lnTo>
                <a:close/>
                <a:moveTo>
                  <a:pt x="7679743" y="5314974"/>
                </a:moveTo>
                <a:lnTo>
                  <a:pt x="7709346" y="5314974"/>
                </a:lnTo>
                <a:lnTo>
                  <a:pt x="7709346" y="5344468"/>
                </a:lnTo>
                <a:lnTo>
                  <a:pt x="7679743" y="5344468"/>
                </a:lnTo>
                <a:close/>
                <a:moveTo>
                  <a:pt x="7413653" y="5314974"/>
                </a:moveTo>
                <a:lnTo>
                  <a:pt x="7443256" y="5314974"/>
                </a:lnTo>
                <a:lnTo>
                  <a:pt x="7443256" y="5344468"/>
                </a:lnTo>
                <a:lnTo>
                  <a:pt x="7413653" y="5344468"/>
                </a:lnTo>
                <a:close/>
                <a:moveTo>
                  <a:pt x="7147456" y="5314974"/>
                </a:moveTo>
                <a:lnTo>
                  <a:pt x="7177058" y="5314974"/>
                </a:lnTo>
                <a:lnTo>
                  <a:pt x="7177058" y="5344468"/>
                </a:lnTo>
                <a:lnTo>
                  <a:pt x="7147456" y="5344468"/>
                </a:lnTo>
                <a:close/>
                <a:moveTo>
                  <a:pt x="6881367" y="5314974"/>
                </a:moveTo>
                <a:lnTo>
                  <a:pt x="6910970" y="5314974"/>
                </a:lnTo>
                <a:lnTo>
                  <a:pt x="6910970" y="5344468"/>
                </a:lnTo>
                <a:lnTo>
                  <a:pt x="6881367" y="5344468"/>
                </a:lnTo>
                <a:close/>
                <a:moveTo>
                  <a:pt x="6615170" y="5314974"/>
                </a:moveTo>
                <a:lnTo>
                  <a:pt x="6644773" y="5314974"/>
                </a:lnTo>
                <a:lnTo>
                  <a:pt x="6644773" y="5344468"/>
                </a:lnTo>
                <a:lnTo>
                  <a:pt x="6615170" y="5344468"/>
                </a:lnTo>
                <a:close/>
                <a:moveTo>
                  <a:pt x="6349081" y="5314974"/>
                </a:moveTo>
                <a:lnTo>
                  <a:pt x="6378683" y="5314974"/>
                </a:lnTo>
                <a:lnTo>
                  <a:pt x="6378683" y="5344468"/>
                </a:lnTo>
                <a:lnTo>
                  <a:pt x="6349081" y="5344468"/>
                </a:lnTo>
                <a:close/>
                <a:moveTo>
                  <a:pt x="6082884" y="5314974"/>
                </a:moveTo>
                <a:lnTo>
                  <a:pt x="6112486" y="5314974"/>
                </a:lnTo>
                <a:lnTo>
                  <a:pt x="6112486" y="5344468"/>
                </a:lnTo>
                <a:lnTo>
                  <a:pt x="6082884" y="5344468"/>
                </a:lnTo>
                <a:close/>
                <a:moveTo>
                  <a:pt x="5825310" y="5314974"/>
                </a:moveTo>
                <a:lnTo>
                  <a:pt x="5854913" y="5314974"/>
                </a:lnTo>
                <a:lnTo>
                  <a:pt x="5854913" y="5344468"/>
                </a:lnTo>
                <a:lnTo>
                  <a:pt x="5825310" y="5344468"/>
                </a:lnTo>
                <a:close/>
                <a:moveTo>
                  <a:pt x="5559113" y="5314974"/>
                </a:moveTo>
                <a:lnTo>
                  <a:pt x="5588715" y="5314974"/>
                </a:lnTo>
                <a:lnTo>
                  <a:pt x="5588715" y="5344468"/>
                </a:lnTo>
                <a:lnTo>
                  <a:pt x="5559113" y="5344468"/>
                </a:lnTo>
                <a:close/>
                <a:moveTo>
                  <a:pt x="5293024" y="5314974"/>
                </a:moveTo>
                <a:lnTo>
                  <a:pt x="5322626" y="5314974"/>
                </a:lnTo>
                <a:lnTo>
                  <a:pt x="5322626" y="5344468"/>
                </a:lnTo>
                <a:lnTo>
                  <a:pt x="5293024" y="5344468"/>
                </a:lnTo>
                <a:close/>
                <a:moveTo>
                  <a:pt x="5026827" y="5314974"/>
                </a:moveTo>
                <a:lnTo>
                  <a:pt x="5056429" y="5314974"/>
                </a:lnTo>
                <a:lnTo>
                  <a:pt x="5056429" y="5344468"/>
                </a:lnTo>
                <a:lnTo>
                  <a:pt x="5026827" y="5344468"/>
                </a:lnTo>
                <a:close/>
                <a:moveTo>
                  <a:pt x="4760630" y="5314974"/>
                </a:moveTo>
                <a:lnTo>
                  <a:pt x="4790340" y="5314974"/>
                </a:lnTo>
                <a:lnTo>
                  <a:pt x="4790340" y="5344468"/>
                </a:lnTo>
                <a:lnTo>
                  <a:pt x="4760630" y="5344468"/>
                </a:lnTo>
                <a:close/>
                <a:moveTo>
                  <a:pt x="4494541" y="5314974"/>
                </a:moveTo>
                <a:lnTo>
                  <a:pt x="4524144" y="5314974"/>
                </a:lnTo>
                <a:lnTo>
                  <a:pt x="4524144" y="5344468"/>
                </a:lnTo>
                <a:lnTo>
                  <a:pt x="4494541" y="5344468"/>
                </a:lnTo>
                <a:close/>
                <a:moveTo>
                  <a:pt x="4228344" y="5314974"/>
                </a:moveTo>
                <a:lnTo>
                  <a:pt x="4257946" y="5314974"/>
                </a:lnTo>
                <a:lnTo>
                  <a:pt x="4257946" y="5344468"/>
                </a:lnTo>
                <a:lnTo>
                  <a:pt x="4228344" y="5344468"/>
                </a:lnTo>
                <a:close/>
                <a:moveTo>
                  <a:pt x="3962255" y="5314974"/>
                </a:moveTo>
                <a:lnTo>
                  <a:pt x="3991857" y="5314974"/>
                </a:lnTo>
                <a:lnTo>
                  <a:pt x="3991857" y="5344468"/>
                </a:lnTo>
                <a:lnTo>
                  <a:pt x="3962255" y="5344468"/>
                </a:lnTo>
                <a:close/>
                <a:moveTo>
                  <a:pt x="3696058" y="5314974"/>
                </a:moveTo>
                <a:lnTo>
                  <a:pt x="3725661" y="5314974"/>
                </a:lnTo>
                <a:lnTo>
                  <a:pt x="3725661" y="5344468"/>
                </a:lnTo>
                <a:lnTo>
                  <a:pt x="3696058" y="5344468"/>
                </a:lnTo>
                <a:close/>
                <a:moveTo>
                  <a:pt x="3429969" y="5314974"/>
                </a:moveTo>
                <a:lnTo>
                  <a:pt x="3459572" y="5314974"/>
                </a:lnTo>
                <a:lnTo>
                  <a:pt x="3459572" y="5344468"/>
                </a:lnTo>
                <a:lnTo>
                  <a:pt x="3429969" y="5344468"/>
                </a:lnTo>
                <a:close/>
                <a:moveTo>
                  <a:pt x="3163772" y="5314974"/>
                </a:moveTo>
                <a:lnTo>
                  <a:pt x="3193374" y="5314974"/>
                </a:lnTo>
                <a:lnTo>
                  <a:pt x="3193374" y="5344468"/>
                </a:lnTo>
                <a:lnTo>
                  <a:pt x="3163772" y="5344468"/>
                </a:lnTo>
                <a:close/>
                <a:moveTo>
                  <a:pt x="2897575" y="5314974"/>
                </a:moveTo>
                <a:lnTo>
                  <a:pt x="2927178" y="5314974"/>
                </a:lnTo>
                <a:lnTo>
                  <a:pt x="2927178" y="5344468"/>
                </a:lnTo>
                <a:lnTo>
                  <a:pt x="2897575" y="5344468"/>
                </a:lnTo>
                <a:close/>
                <a:moveTo>
                  <a:pt x="2631378" y="5314974"/>
                </a:moveTo>
                <a:lnTo>
                  <a:pt x="2660980" y="5314974"/>
                </a:lnTo>
                <a:lnTo>
                  <a:pt x="2660980" y="5344468"/>
                </a:lnTo>
                <a:lnTo>
                  <a:pt x="2631378" y="5344468"/>
                </a:lnTo>
                <a:close/>
                <a:moveTo>
                  <a:pt x="2365289" y="5314974"/>
                </a:moveTo>
                <a:lnTo>
                  <a:pt x="2394892" y="5314974"/>
                </a:lnTo>
                <a:lnTo>
                  <a:pt x="2394892" y="5344468"/>
                </a:lnTo>
                <a:lnTo>
                  <a:pt x="2365289" y="5344468"/>
                </a:lnTo>
                <a:close/>
                <a:moveTo>
                  <a:pt x="2099092" y="5314974"/>
                </a:moveTo>
                <a:lnTo>
                  <a:pt x="2128695" y="5314974"/>
                </a:lnTo>
                <a:lnTo>
                  <a:pt x="2128695" y="5344468"/>
                </a:lnTo>
                <a:lnTo>
                  <a:pt x="2099092" y="5344468"/>
                </a:lnTo>
                <a:close/>
                <a:moveTo>
                  <a:pt x="1832898" y="5314974"/>
                </a:moveTo>
                <a:lnTo>
                  <a:pt x="1862498" y="5314974"/>
                </a:lnTo>
                <a:lnTo>
                  <a:pt x="1862498" y="5344468"/>
                </a:lnTo>
                <a:lnTo>
                  <a:pt x="1832898" y="5344468"/>
                </a:lnTo>
                <a:close/>
                <a:moveTo>
                  <a:pt x="1566808" y="5314974"/>
                </a:moveTo>
                <a:lnTo>
                  <a:pt x="1596409" y="5314974"/>
                </a:lnTo>
                <a:lnTo>
                  <a:pt x="1596409" y="5344468"/>
                </a:lnTo>
                <a:lnTo>
                  <a:pt x="1566808" y="5344468"/>
                </a:lnTo>
                <a:close/>
                <a:moveTo>
                  <a:pt x="1300611" y="5314974"/>
                </a:moveTo>
                <a:lnTo>
                  <a:pt x="1330213" y="5314974"/>
                </a:lnTo>
                <a:lnTo>
                  <a:pt x="1330213" y="5344468"/>
                </a:lnTo>
                <a:lnTo>
                  <a:pt x="1300611" y="5344468"/>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1672158" y="5049209"/>
                </a:moveTo>
                <a:lnTo>
                  <a:pt x="11701760" y="5049209"/>
                </a:lnTo>
                <a:lnTo>
                  <a:pt x="11701760" y="5078812"/>
                </a:lnTo>
                <a:lnTo>
                  <a:pt x="11672158" y="5078812"/>
                </a:lnTo>
                <a:close/>
                <a:moveTo>
                  <a:pt x="11405961" y="5049209"/>
                </a:moveTo>
                <a:lnTo>
                  <a:pt x="11435563" y="5049209"/>
                </a:lnTo>
                <a:lnTo>
                  <a:pt x="11435563" y="5078812"/>
                </a:lnTo>
                <a:lnTo>
                  <a:pt x="11405961" y="5078812"/>
                </a:lnTo>
                <a:close/>
                <a:moveTo>
                  <a:pt x="11139872" y="5049209"/>
                </a:moveTo>
                <a:lnTo>
                  <a:pt x="11169474" y="5049209"/>
                </a:lnTo>
                <a:lnTo>
                  <a:pt x="11169474" y="5078812"/>
                </a:lnTo>
                <a:lnTo>
                  <a:pt x="11139872" y="5078812"/>
                </a:lnTo>
                <a:close/>
                <a:moveTo>
                  <a:pt x="10873675" y="5049209"/>
                </a:moveTo>
                <a:lnTo>
                  <a:pt x="10903277" y="5049209"/>
                </a:lnTo>
                <a:lnTo>
                  <a:pt x="10903277" y="5078812"/>
                </a:lnTo>
                <a:lnTo>
                  <a:pt x="10873675" y="5078812"/>
                </a:lnTo>
                <a:close/>
                <a:moveTo>
                  <a:pt x="10607478" y="5049209"/>
                </a:moveTo>
                <a:lnTo>
                  <a:pt x="10637188" y="5049209"/>
                </a:lnTo>
                <a:lnTo>
                  <a:pt x="10637188" y="5078812"/>
                </a:lnTo>
                <a:lnTo>
                  <a:pt x="10607478" y="5078812"/>
                </a:lnTo>
                <a:close/>
                <a:moveTo>
                  <a:pt x="10341389" y="5049209"/>
                </a:moveTo>
                <a:lnTo>
                  <a:pt x="10370992" y="5049209"/>
                </a:lnTo>
                <a:lnTo>
                  <a:pt x="10370992" y="5078812"/>
                </a:lnTo>
                <a:lnTo>
                  <a:pt x="10341389" y="5078812"/>
                </a:lnTo>
                <a:close/>
                <a:moveTo>
                  <a:pt x="10075192" y="5049209"/>
                </a:moveTo>
                <a:lnTo>
                  <a:pt x="10104794" y="5049209"/>
                </a:lnTo>
                <a:lnTo>
                  <a:pt x="10104794" y="5078812"/>
                </a:lnTo>
                <a:lnTo>
                  <a:pt x="10075192" y="5078812"/>
                </a:lnTo>
                <a:close/>
                <a:moveTo>
                  <a:pt x="9809103" y="5049209"/>
                </a:moveTo>
                <a:lnTo>
                  <a:pt x="9838705" y="5049209"/>
                </a:lnTo>
                <a:lnTo>
                  <a:pt x="9838705" y="5078812"/>
                </a:lnTo>
                <a:lnTo>
                  <a:pt x="9809103" y="5078812"/>
                </a:lnTo>
                <a:close/>
                <a:moveTo>
                  <a:pt x="9542906" y="5049209"/>
                </a:moveTo>
                <a:lnTo>
                  <a:pt x="9572509" y="5049209"/>
                </a:lnTo>
                <a:lnTo>
                  <a:pt x="9572509" y="5078812"/>
                </a:lnTo>
                <a:lnTo>
                  <a:pt x="9542906" y="5078812"/>
                </a:lnTo>
                <a:close/>
                <a:moveTo>
                  <a:pt x="9276817" y="5049209"/>
                </a:moveTo>
                <a:lnTo>
                  <a:pt x="9306420" y="5049209"/>
                </a:lnTo>
                <a:lnTo>
                  <a:pt x="9306420" y="5078812"/>
                </a:lnTo>
                <a:lnTo>
                  <a:pt x="9276817" y="5078812"/>
                </a:lnTo>
                <a:close/>
                <a:moveTo>
                  <a:pt x="9010620" y="5049209"/>
                </a:moveTo>
                <a:lnTo>
                  <a:pt x="9040222" y="5049209"/>
                </a:lnTo>
                <a:lnTo>
                  <a:pt x="9040222" y="5078812"/>
                </a:lnTo>
                <a:lnTo>
                  <a:pt x="9010620" y="5078812"/>
                </a:lnTo>
                <a:close/>
                <a:moveTo>
                  <a:pt x="8744423" y="5049209"/>
                </a:moveTo>
                <a:lnTo>
                  <a:pt x="8774026" y="5049209"/>
                </a:lnTo>
                <a:lnTo>
                  <a:pt x="8774026" y="5078812"/>
                </a:lnTo>
                <a:lnTo>
                  <a:pt x="8744423" y="5078812"/>
                </a:lnTo>
                <a:close/>
                <a:moveTo>
                  <a:pt x="8478226" y="5049209"/>
                </a:moveTo>
                <a:lnTo>
                  <a:pt x="8507828" y="5049209"/>
                </a:lnTo>
                <a:lnTo>
                  <a:pt x="8507828" y="5078812"/>
                </a:lnTo>
                <a:lnTo>
                  <a:pt x="8478226" y="5078812"/>
                </a:lnTo>
                <a:close/>
                <a:moveTo>
                  <a:pt x="8212137" y="5049209"/>
                </a:moveTo>
                <a:lnTo>
                  <a:pt x="8241740" y="5049209"/>
                </a:lnTo>
                <a:lnTo>
                  <a:pt x="8241740" y="5078812"/>
                </a:lnTo>
                <a:lnTo>
                  <a:pt x="8212137" y="5078812"/>
                </a:lnTo>
                <a:close/>
                <a:moveTo>
                  <a:pt x="7945940" y="5049209"/>
                </a:moveTo>
                <a:lnTo>
                  <a:pt x="7975543" y="5049209"/>
                </a:lnTo>
                <a:lnTo>
                  <a:pt x="7975543" y="5078812"/>
                </a:lnTo>
                <a:lnTo>
                  <a:pt x="7945940" y="5078812"/>
                </a:lnTo>
                <a:close/>
                <a:moveTo>
                  <a:pt x="7679743" y="5049209"/>
                </a:moveTo>
                <a:lnTo>
                  <a:pt x="7709346" y="5049209"/>
                </a:lnTo>
                <a:lnTo>
                  <a:pt x="7709346" y="5078812"/>
                </a:lnTo>
                <a:lnTo>
                  <a:pt x="7679743" y="5078812"/>
                </a:lnTo>
                <a:close/>
                <a:moveTo>
                  <a:pt x="7413653" y="5049209"/>
                </a:moveTo>
                <a:lnTo>
                  <a:pt x="7443256" y="5049209"/>
                </a:lnTo>
                <a:lnTo>
                  <a:pt x="7443256" y="5078812"/>
                </a:lnTo>
                <a:lnTo>
                  <a:pt x="7413653" y="5078812"/>
                </a:lnTo>
                <a:close/>
                <a:moveTo>
                  <a:pt x="7147456" y="5049209"/>
                </a:moveTo>
                <a:lnTo>
                  <a:pt x="7177058" y="5049209"/>
                </a:lnTo>
                <a:lnTo>
                  <a:pt x="7177058" y="5078812"/>
                </a:lnTo>
                <a:lnTo>
                  <a:pt x="7147456" y="5078812"/>
                </a:lnTo>
                <a:close/>
                <a:moveTo>
                  <a:pt x="6881367" y="5049209"/>
                </a:moveTo>
                <a:lnTo>
                  <a:pt x="6910970" y="5049209"/>
                </a:lnTo>
                <a:lnTo>
                  <a:pt x="6910970" y="5078812"/>
                </a:lnTo>
                <a:lnTo>
                  <a:pt x="6881367" y="5078812"/>
                </a:lnTo>
                <a:close/>
                <a:moveTo>
                  <a:pt x="6615170" y="5049209"/>
                </a:moveTo>
                <a:lnTo>
                  <a:pt x="6644773" y="5049209"/>
                </a:lnTo>
                <a:lnTo>
                  <a:pt x="6644773" y="5078812"/>
                </a:lnTo>
                <a:lnTo>
                  <a:pt x="6615170" y="5078812"/>
                </a:lnTo>
                <a:close/>
                <a:moveTo>
                  <a:pt x="6349081" y="5049209"/>
                </a:moveTo>
                <a:lnTo>
                  <a:pt x="6378683" y="5049209"/>
                </a:lnTo>
                <a:lnTo>
                  <a:pt x="6378683" y="5078812"/>
                </a:lnTo>
                <a:lnTo>
                  <a:pt x="6349081" y="5078812"/>
                </a:lnTo>
                <a:close/>
                <a:moveTo>
                  <a:pt x="6082884" y="5049209"/>
                </a:moveTo>
                <a:lnTo>
                  <a:pt x="6112486" y="5049209"/>
                </a:lnTo>
                <a:lnTo>
                  <a:pt x="6112486" y="5078812"/>
                </a:lnTo>
                <a:lnTo>
                  <a:pt x="6082884" y="5078812"/>
                </a:lnTo>
                <a:close/>
                <a:moveTo>
                  <a:pt x="5825310" y="5049209"/>
                </a:moveTo>
                <a:lnTo>
                  <a:pt x="5854913" y="5049209"/>
                </a:lnTo>
                <a:lnTo>
                  <a:pt x="5854913" y="5078812"/>
                </a:lnTo>
                <a:lnTo>
                  <a:pt x="5825310" y="5078812"/>
                </a:lnTo>
                <a:close/>
                <a:moveTo>
                  <a:pt x="5559113" y="5049209"/>
                </a:moveTo>
                <a:lnTo>
                  <a:pt x="5588715" y="5049209"/>
                </a:lnTo>
                <a:lnTo>
                  <a:pt x="5588715" y="5078812"/>
                </a:lnTo>
                <a:lnTo>
                  <a:pt x="5559113" y="5078812"/>
                </a:lnTo>
                <a:close/>
                <a:moveTo>
                  <a:pt x="5293024" y="5049209"/>
                </a:moveTo>
                <a:lnTo>
                  <a:pt x="5322626" y="5049209"/>
                </a:lnTo>
                <a:lnTo>
                  <a:pt x="5322626" y="5078812"/>
                </a:lnTo>
                <a:lnTo>
                  <a:pt x="5293024" y="5078812"/>
                </a:lnTo>
                <a:close/>
                <a:moveTo>
                  <a:pt x="5026827" y="5049209"/>
                </a:moveTo>
                <a:lnTo>
                  <a:pt x="5056429" y="5049209"/>
                </a:lnTo>
                <a:lnTo>
                  <a:pt x="5056429" y="5078812"/>
                </a:lnTo>
                <a:lnTo>
                  <a:pt x="5026827" y="5078812"/>
                </a:lnTo>
                <a:close/>
                <a:moveTo>
                  <a:pt x="4760630" y="5049209"/>
                </a:moveTo>
                <a:lnTo>
                  <a:pt x="4790340" y="5049209"/>
                </a:lnTo>
                <a:lnTo>
                  <a:pt x="4790340" y="5078812"/>
                </a:lnTo>
                <a:lnTo>
                  <a:pt x="4760630" y="5078812"/>
                </a:lnTo>
                <a:close/>
                <a:moveTo>
                  <a:pt x="4494541" y="5049209"/>
                </a:moveTo>
                <a:lnTo>
                  <a:pt x="4524144" y="5049209"/>
                </a:lnTo>
                <a:lnTo>
                  <a:pt x="4524144" y="5078812"/>
                </a:lnTo>
                <a:lnTo>
                  <a:pt x="4494541" y="5078812"/>
                </a:lnTo>
                <a:close/>
                <a:moveTo>
                  <a:pt x="4228344" y="5049209"/>
                </a:moveTo>
                <a:lnTo>
                  <a:pt x="4257946" y="5049209"/>
                </a:lnTo>
                <a:lnTo>
                  <a:pt x="4257946" y="5078812"/>
                </a:lnTo>
                <a:lnTo>
                  <a:pt x="4228344" y="5078812"/>
                </a:lnTo>
                <a:close/>
                <a:moveTo>
                  <a:pt x="3962255" y="5049209"/>
                </a:moveTo>
                <a:lnTo>
                  <a:pt x="3991857" y="5049209"/>
                </a:lnTo>
                <a:lnTo>
                  <a:pt x="3991857" y="5078812"/>
                </a:lnTo>
                <a:lnTo>
                  <a:pt x="3962255" y="5078812"/>
                </a:lnTo>
                <a:close/>
                <a:moveTo>
                  <a:pt x="3696058" y="5049209"/>
                </a:moveTo>
                <a:lnTo>
                  <a:pt x="3725661" y="5049209"/>
                </a:lnTo>
                <a:lnTo>
                  <a:pt x="3725661" y="5078812"/>
                </a:lnTo>
                <a:lnTo>
                  <a:pt x="3696058" y="5078812"/>
                </a:lnTo>
                <a:close/>
                <a:moveTo>
                  <a:pt x="3429969" y="5049209"/>
                </a:moveTo>
                <a:lnTo>
                  <a:pt x="3459572" y="5049209"/>
                </a:lnTo>
                <a:lnTo>
                  <a:pt x="3459572" y="5078812"/>
                </a:lnTo>
                <a:lnTo>
                  <a:pt x="3429969" y="5078812"/>
                </a:lnTo>
                <a:close/>
                <a:moveTo>
                  <a:pt x="3163772" y="5049209"/>
                </a:moveTo>
                <a:lnTo>
                  <a:pt x="3193374" y="5049209"/>
                </a:lnTo>
                <a:lnTo>
                  <a:pt x="3193374" y="5078812"/>
                </a:lnTo>
                <a:lnTo>
                  <a:pt x="3163772" y="5078812"/>
                </a:lnTo>
                <a:close/>
                <a:moveTo>
                  <a:pt x="2897575" y="5049209"/>
                </a:moveTo>
                <a:lnTo>
                  <a:pt x="2927178" y="5049209"/>
                </a:lnTo>
                <a:lnTo>
                  <a:pt x="2927178" y="5078812"/>
                </a:lnTo>
                <a:lnTo>
                  <a:pt x="2897575" y="5078812"/>
                </a:lnTo>
                <a:close/>
                <a:moveTo>
                  <a:pt x="2631378" y="5049209"/>
                </a:moveTo>
                <a:lnTo>
                  <a:pt x="2660980" y="5049209"/>
                </a:lnTo>
                <a:lnTo>
                  <a:pt x="2660980" y="5078812"/>
                </a:lnTo>
                <a:lnTo>
                  <a:pt x="2631378" y="5078812"/>
                </a:lnTo>
                <a:close/>
                <a:moveTo>
                  <a:pt x="2365289" y="5049209"/>
                </a:moveTo>
                <a:lnTo>
                  <a:pt x="2394892" y="5049209"/>
                </a:lnTo>
                <a:lnTo>
                  <a:pt x="2394892" y="5078812"/>
                </a:lnTo>
                <a:lnTo>
                  <a:pt x="2365289" y="5078812"/>
                </a:lnTo>
                <a:close/>
                <a:moveTo>
                  <a:pt x="2099092" y="5049209"/>
                </a:moveTo>
                <a:lnTo>
                  <a:pt x="2128695" y="5049209"/>
                </a:lnTo>
                <a:lnTo>
                  <a:pt x="2128695" y="5078812"/>
                </a:lnTo>
                <a:lnTo>
                  <a:pt x="2099092" y="5078812"/>
                </a:lnTo>
                <a:close/>
                <a:moveTo>
                  <a:pt x="1832898" y="5049209"/>
                </a:moveTo>
                <a:lnTo>
                  <a:pt x="1862498" y="5049209"/>
                </a:lnTo>
                <a:lnTo>
                  <a:pt x="1862498" y="5078812"/>
                </a:lnTo>
                <a:lnTo>
                  <a:pt x="1832898" y="5078812"/>
                </a:lnTo>
                <a:close/>
                <a:moveTo>
                  <a:pt x="1566808" y="5049209"/>
                </a:moveTo>
                <a:lnTo>
                  <a:pt x="1596409" y="5049209"/>
                </a:lnTo>
                <a:lnTo>
                  <a:pt x="1596409" y="5078812"/>
                </a:lnTo>
                <a:lnTo>
                  <a:pt x="1566808" y="5078812"/>
                </a:lnTo>
                <a:close/>
                <a:moveTo>
                  <a:pt x="1300611" y="5049209"/>
                </a:moveTo>
                <a:lnTo>
                  <a:pt x="1330213" y="5049209"/>
                </a:lnTo>
                <a:lnTo>
                  <a:pt x="1330213" y="5078812"/>
                </a:lnTo>
                <a:lnTo>
                  <a:pt x="1300611" y="5078812"/>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1672158" y="4783444"/>
                </a:moveTo>
                <a:lnTo>
                  <a:pt x="11701760" y="4783444"/>
                </a:lnTo>
                <a:lnTo>
                  <a:pt x="11701760" y="4813046"/>
                </a:lnTo>
                <a:lnTo>
                  <a:pt x="11672158" y="4813046"/>
                </a:lnTo>
                <a:close/>
                <a:moveTo>
                  <a:pt x="11405961" y="4783444"/>
                </a:moveTo>
                <a:lnTo>
                  <a:pt x="11435563" y="4783444"/>
                </a:lnTo>
                <a:lnTo>
                  <a:pt x="11435563" y="4813046"/>
                </a:lnTo>
                <a:lnTo>
                  <a:pt x="11405961" y="4813046"/>
                </a:lnTo>
                <a:close/>
                <a:moveTo>
                  <a:pt x="11139872" y="4783444"/>
                </a:moveTo>
                <a:lnTo>
                  <a:pt x="11169474" y="4783444"/>
                </a:lnTo>
                <a:lnTo>
                  <a:pt x="11169474" y="4813046"/>
                </a:lnTo>
                <a:lnTo>
                  <a:pt x="11139872" y="4813046"/>
                </a:lnTo>
                <a:close/>
                <a:moveTo>
                  <a:pt x="10873675" y="4783444"/>
                </a:moveTo>
                <a:lnTo>
                  <a:pt x="10903277" y="4783444"/>
                </a:lnTo>
                <a:lnTo>
                  <a:pt x="10903277" y="4813046"/>
                </a:lnTo>
                <a:lnTo>
                  <a:pt x="10873675" y="4813046"/>
                </a:lnTo>
                <a:close/>
                <a:moveTo>
                  <a:pt x="10607478" y="4783444"/>
                </a:moveTo>
                <a:lnTo>
                  <a:pt x="10637188" y="4783444"/>
                </a:lnTo>
                <a:lnTo>
                  <a:pt x="10637188" y="4813046"/>
                </a:lnTo>
                <a:lnTo>
                  <a:pt x="10607478" y="4813046"/>
                </a:lnTo>
                <a:close/>
                <a:moveTo>
                  <a:pt x="10341389" y="4783444"/>
                </a:moveTo>
                <a:lnTo>
                  <a:pt x="10370992" y="4783444"/>
                </a:lnTo>
                <a:lnTo>
                  <a:pt x="10370992" y="4813046"/>
                </a:lnTo>
                <a:lnTo>
                  <a:pt x="10341389" y="4813046"/>
                </a:lnTo>
                <a:close/>
                <a:moveTo>
                  <a:pt x="10075192" y="4783444"/>
                </a:moveTo>
                <a:lnTo>
                  <a:pt x="10104794" y="4783444"/>
                </a:lnTo>
                <a:lnTo>
                  <a:pt x="10104794" y="4813046"/>
                </a:lnTo>
                <a:lnTo>
                  <a:pt x="10075192" y="4813046"/>
                </a:lnTo>
                <a:close/>
                <a:moveTo>
                  <a:pt x="9809103" y="4783444"/>
                </a:moveTo>
                <a:lnTo>
                  <a:pt x="9838705" y="4783444"/>
                </a:lnTo>
                <a:lnTo>
                  <a:pt x="9838705" y="4813046"/>
                </a:lnTo>
                <a:lnTo>
                  <a:pt x="9809103" y="4813046"/>
                </a:lnTo>
                <a:close/>
                <a:moveTo>
                  <a:pt x="9542906" y="4783444"/>
                </a:moveTo>
                <a:lnTo>
                  <a:pt x="9572509" y="4783444"/>
                </a:lnTo>
                <a:lnTo>
                  <a:pt x="9572509" y="4813046"/>
                </a:lnTo>
                <a:lnTo>
                  <a:pt x="9542906" y="4813046"/>
                </a:lnTo>
                <a:close/>
                <a:moveTo>
                  <a:pt x="9276817" y="4783444"/>
                </a:moveTo>
                <a:lnTo>
                  <a:pt x="9306420" y="4783444"/>
                </a:lnTo>
                <a:lnTo>
                  <a:pt x="9306420" y="4813046"/>
                </a:lnTo>
                <a:lnTo>
                  <a:pt x="9276817" y="4813046"/>
                </a:lnTo>
                <a:close/>
                <a:moveTo>
                  <a:pt x="9010620" y="4783444"/>
                </a:moveTo>
                <a:lnTo>
                  <a:pt x="9040222" y="4783444"/>
                </a:lnTo>
                <a:lnTo>
                  <a:pt x="9040222" y="4813046"/>
                </a:lnTo>
                <a:lnTo>
                  <a:pt x="9010620" y="4813046"/>
                </a:lnTo>
                <a:close/>
                <a:moveTo>
                  <a:pt x="8744423" y="4783444"/>
                </a:moveTo>
                <a:lnTo>
                  <a:pt x="8774026" y="4783444"/>
                </a:lnTo>
                <a:lnTo>
                  <a:pt x="8774026" y="4813046"/>
                </a:lnTo>
                <a:lnTo>
                  <a:pt x="8744423" y="4813046"/>
                </a:lnTo>
                <a:close/>
                <a:moveTo>
                  <a:pt x="8478226" y="4783444"/>
                </a:moveTo>
                <a:lnTo>
                  <a:pt x="8507828" y="4783444"/>
                </a:lnTo>
                <a:lnTo>
                  <a:pt x="8507828" y="4813046"/>
                </a:lnTo>
                <a:lnTo>
                  <a:pt x="8478226" y="4813046"/>
                </a:lnTo>
                <a:close/>
                <a:moveTo>
                  <a:pt x="8212137" y="4783444"/>
                </a:moveTo>
                <a:lnTo>
                  <a:pt x="8241740" y="4783444"/>
                </a:lnTo>
                <a:lnTo>
                  <a:pt x="8241740" y="4813046"/>
                </a:lnTo>
                <a:lnTo>
                  <a:pt x="8212137" y="4813046"/>
                </a:lnTo>
                <a:close/>
                <a:moveTo>
                  <a:pt x="7945940" y="4783444"/>
                </a:moveTo>
                <a:lnTo>
                  <a:pt x="7975543" y="4783444"/>
                </a:lnTo>
                <a:lnTo>
                  <a:pt x="7975543" y="4813046"/>
                </a:lnTo>
                <a:lnTo>
                  <a:pt x="7945940" y="4813046"/>
                </a:lnTo>
                <a:close/>
                <a:moveTo>
                  <a:pt x="7679743" y="4783444"/>
                </a:moveTo>
                <a:lnTo>
                  <a:pt x="7709346" y="4783444"/>
                </a:lnTo>
                <a:lnTo>
                  <a:pt x="7709346" y="4813046"/>
                </a:lnTo>
                <a:lnTo>
                  <a:pt x="7679743" y="4813046"/>
                </a:lnTo>
                <a:close/>
                <a:moveTo>
                  <a:pt x="7413653" y="4783444"/>
                </a:moveTo>
                <a:lnTo>
                  <a:pt x="7443256" y="4783444"/>
                </a:lnTo>
                <a:lnTo>
                  <a:pt x="7443256" y="4813046"/>
                </a:lnTo>
                <a:lnTo>
                  <a:pt x="7413653" y="4813046"/>
                </a:lnTo>
                <a:close/>
                <a:moveTo>
                  <a:pt x="7147456" y="4783444"/>
                </a:moveTo>
                <a:lnTo>
                  <a:pt x="7177058" y="4783444"/>
                </a:lnTo>
                <a:lnTo>
                  <a:pt x="7177058" y="4813046"/>
                </a:lnTo>
                <a:lnTo>
                  <a:pt x="7147456" y="4813046"/>
                </a:lnTo>
                <a:close/>
                <a:moveTo>
                  <a:pt x="6881367" y="4783444"/>
                </a:moveTo>
                <a:lnTo>
                  <a:pt x="6910970" y="4783444"/>
                </a:lnTo>
                <a:lnTo>
                  <a:pt x="6910970" y="4813046"/>
                </a:lnTo>
                <a:lnTo>
                  <a:pt x="6881367" y="4813046"/>
                </a:lnTo>
                <a:close/>
                <a:moveTo>
                  <a:pt x="6615170" y="4783444"/>
                </a:moveTo>
                <a:lnTo>
                  <a:pt x="6644773" y="4783444"/>
                </a:lnTo>
                <a:lnTo>
                  <a:pt x="6644773" y="4813046"/>
                </a:lnTo>
                <a:lnTo>
                  <a:pt x="6615170" y="4813046"/>
                </a:lnTo>
                <a:close/>
                <a:moveTo>
                  <a:pt x="6349081" y="4783444"/>
                </a:moveTo>
                <a:lnTo>
                  <a:pt x="6378683" y="4783444"/>
                </a:lnTo>
                <a:lnTo>
                  <a:pt x="6378683" y="4813046"/>
                </a:lnTo>
                <a:lnTo>
                  <a:pt x="6349081" y="4813046"/>
                </a:lnTo>
                <a:close/>
                <a:moveTo>
                  <a:pt x="6082884" y="4783444"/>
                </a:moveTo>
                <a:lnTo>
                  <a:pt x="6112486" y="4783444"/>
                </a:lnTo>
                <a:lnTo>
                  <a:pt x="6112486" y="4813046"/>
                </a:lnTo>
                <a:lnTo>
                  <a:pt x="6082884" y="4813046"/>
                </a:lnTo>
                <a:close/>
                <a:moveTo>
                  <a:pt x="5825310" y="4783444"/>
                </a:moveTo>
                <a:lnTo>
                  <a:pt x="5854913" y="4783444"/>
                </a:lnTo>
                <a:lnTo>
                  <a:pt x="5854913" y="4813046"/>
                </a:lnTo>
                <a:lnTo>
                  <a:pt x="5825310" y="4813046"/>
                </a:lnTo>
                <a:close/>
                <a:moveTo>
                  <a:pt x="5559113" y="4783444"/>
                </a:moveTo>
                <a:lnTo>
                  <a:pt x="5588715" y="4783444"/>
                </a:lnTo>
                <a:lnTo>
                  <a:pt x="5588715" y="4813046"/>
                </a:lnTo>
                <a:lnTo>
                  <a:pt x="5559113" y="4813046"/>
                </a:lnTo>
                <a:close/>
                <a:moveTo>
                  <a:pt x="5293024" y="4783444"/>
                </a:moveTo>
                <a:lnTo>
                  <a:pt x="5322626" y="4783444"/>
                </a:lnTo>
                <a:lnTo>
                  <a:pt x="5322626" y="4813046"/>
                </a:lnTo>
                <a:lnTo>
                  <a:pt x="5293024" y="4813046"/>
                </a:lnTo>
                <a:close/>
                <a:moveTo>
                  <a:pt x="5026827" y="4783444"/>
                </a:moveTo>
                <a:lnTo>
                  <a:pt x="5056429" y="4783444"/>
                </a:lnTo>
                <a:lnTo>
                  <a:pt x="5056429" y="4813046"/>
                </a:lnTo>
                <a:lnTo>
                  <a:pt x="5026827" y="4813046"/>
                </a:lnTo>
                <a:close/>
                <a:moveTo>
                  <a:pt x="4760630" y="4783444"/>
                </a:moveTo>
                <a:lnTo>
                  <a:pt x="4790340" y="4783444"/>
                </a:lnTo>
                <a:lnTo>
                  <a:pt x="4790340" y="4813046"/>
                </a:lnTo>
                <a:lnTo>
                  <a:pt x="4760630" y="4813046"/>
                </a:lnTo>
                <a:close/>
                <a:moveTo>
                  <a:pt x="4494541" y="4783444"/>
                </a:moveTo>
                <a:lnTo>
                  <a:pt x="4524144" y="4783444"/>
                </a:lnTo>
                <a:lnTo>
                  <a:pt x="4524144" y="4813046"/>
                </a:lnTo>
                <a:lnTo>
                  <a:pt x="4494541" y="4813046"/>
                </a:lnTo>
                <a:close/>
                <a:moveTo>
                  <a:pt x="4228344" y="4783444"/>
                </a:moveTo>
                <a:lnTo>
                  <a:pt x="4257946" y="4783444"/>
                </a:lnTo>
                <a:lnTo>
                  <a:pt x="4257946" y="4813046"/>
                </a:lnTo>
                <a:lnTo>
                  <a:pt x="4228344" y="4813046"/>
                </a:lnTo>
                <a:close/>
                <a:moveTo>
                  <a:pt x="3962255" y="4783444"/>
                </a:moveTo>
                <a:lnTo>
                  <a:pt x="3991857" y="4783444"/>
                </a:lnTo>
                <a:lnTo>
                  <a:pt x="3991857" y="4813046"/>
                </a:lnTo>
                <a:lnTo>
                  <a:pt x="3962255" y="4813046"/>
                </a:lnTo>
                <a:close/>
                <a:moveTo>
                  <a:pt x="3696058" y="4783444"/>
                </a:moveTo>
                <a:lnTo>
                  <a:pt x="3725661" y="4783444"/>
                </a:lnTo>
                <a:lnTo>
                  <a:pt x="3725661" y="4813046"/>
                </a:lnTo>
                <a:lnTo>
                  <a:pt x="3696058" y="4813046"/>
                </a:lnTo>
                <a:close/>
                <a:moveTo>
                  <a:pt x="3429969" y="4783444"/>
                </a:moveTo>
                <a:lnTo>
                  <a:pt x="3459572" y="4783444"/>
                </a:lnTo>
                <a:lnTo>
                  <a:pt x="3459572" y="4813046"/>
                </a:lnTo>
                <a:lnTo>
                  <a:pt x="3429969" y="4813046"/>
                </a:lnTo>
                <a:close/>
                <a:moveTo>
                  <a:pt x="3163772" y="4783444"/>
                </a:moveTo>
                <a:lnTo>
                  <a:pt x="3193374" y="4783444"/>
                </a:lnTo>
                <a:lnTo>
                  <a:pt x="3193374" y="4813046"/>
                </a:lnTo>
                <a:lnTo>
                  <a:pt x="3163772" y="4813046"/>
                </a:lnTo>
                <a:close/>
                <a:moveTo>
                  <a:pt x="2897575" y="4783444"/>
                </a:moveTo>
                <a:lnTo>
                  <a:pt x="2927178" y="4783444"/>
                </a:lnTo>
                <a:lnTo>
                  <a:pt x="2927178" y="4813046"/>
                </a:lnTo>
                <a:lnTo>
                  <a:pt x="2897575" y="4813046"/>
                </a:lnTo>
                <a:close/>
                <a:moveTo>
                  <a:pt x="2631378" y="4783444"/>
                </a:moveTo>
                <a:lnTo>
                  <a:pt x="2660980" y="4783444"/>
                </a:lnTo>
                <a:lnTo>
                  <a:pt x="2660980" y="4813046"/>
                </a:lnTo>
                <a:lnTo>
                  <a:pt x="2631378" y="4813046"/>
                </a:lnTo>
                <a:close/>
                <a:moveTo>
                  <a:pt x="2365289" y="4783444"/>
                </a:moveTo>
                <a:lnTo>
                  <a:pt x="2394892" y="4783444"/>
                </a:lnTo>
                <a:lnTo>
                  <a:pt x="2394892" y="4813046"/>
                </a:lnTo>
                <a:lnTo>
                  <a:pt x="2365289" y="4813046"/>
                </a:lnTo>
                <a:close/>
                <a:moveTo>
                  <a:pt x="2099092" y="4783444"/>
                </a:moveTo>
                <a:lnTo>
                  <a:pt x="2128695" y="4783444"/>
                </a:lnTo>
                <a:lnTo>
                  <a:pt x="2128695" y="4813046"/>
                </a:lnTo>
                <a:lnTo>
                  <a:pt x="2099092" y="4813046"/>
                </a:lnTo>
                <a:close/>
                <a:moveTo>
                  <a:pt x="1832898" y="4783444"/>
                </a:moveTo>
                <a:lnTo>
                  <a:pt x="1862498" y="4783444"/>
                </a:lnTo>
                <a:lnTo>
                  <a:pt x="1862498" y="4813046"/>
                </a:lnTo>
                <a:lnTo>
                  <a:pt x="1832898" y="4813046"/>
                </a:lnTo>
                <a:close/>
                <a:moveTo>
                  <a:pt x="1566808" y="4783444"/>
                </a:moveTo>
                <a:lnTo>
                  <a:pt x="1596409" y="4783444"/>
                </a:lnTo>
                <a:lnTo>
                  <a:pt x="1596409" y="4813046"/>
                </a:lnTo>
                <a:lnTo>
                  <a:pt x="1566808" y="4813046"/>
                </a:lnTo>
                <a:close/>
                <a:moveTo>
                  <a:pt x="1300611" y="4783444"/>
                </a:moveTo>
                <a:lnTo>
                  <a:pt x="1330213" y="4783444"/>
                </a:lnTo>
                <a:lnTo>
                  <a:pt x="1330213" y="4813046"/>
                </a:lnTo>
                <a:lnTo>
                  <a:pt x="1300611" y="4813046"/>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1672158" y="4517679"/>
                </a:moveTo>
                <a:lnTo>
                  <a:pt x="11701760" y="4517679"/>
                </a:lnTo>
                <a:lnTo>
                  <a:pt x="11701760" y="4547281"/>
                </a:lnTo>
                <a:lnTo>
                  <a:pt x="11672158" y="4547281"/>
                </a:lnTo>
                <a:close/>
                <a:moveTo>
                  <a:pt x="11405961" y="4517679"/>
                </a:moveTo>
                <a:lnTo>
                  <a:pt x="11435563" y="4517679"/>
                </a:lnTo>
                <a:lnTo>
                  <a:pt x="11435563" y="4547281"/>
                </a:lnTo>
                <a:lnTo>
                  <a:pt x="11405961" y="4547281"/>
                </a:lnTo>
                <a:close/>
                <a:moveTo>
                  <a:pt x="11139872" y="4517679"/>
                </a:moveTo>
                <a:lnTo>
                  <a:pt x="11169474" y="4517679"/>
                </a:lnTo>
                <a:lnTo>
                  <a:pt x="11169474" y="4547281"/>
                </a:lnTo>
                <a:lnTo>
                  <a:pt x="11139872" y="4547281"/>
                </a:lnTo>
                <a:close/>
                <a:moveTo>
                  <a:pt x="10873675" y="4517679"/>
                </a:moveTo>
                <a:lnTo>
                  <a:pt x="10903277" y="4517679"/>
                </a:lnTo>
                <a:lnTo>
                  <a:pt x="10903277" y="4547281"/>
                </a:lnTo>
                <a:lnTo>
                  <a:pt x="10873675" y="4547281"/>
                </a:lnTo>
                <a:close/>
                <a:moveTo>
                  <a:pt x="10607478" y="4517679"/>
                </a:moveTo>
                <a:lnTo>
                  <a:pt x="10637188" y="4517679"/>
                </a:lnTo>
                <a:lnTo>
                  <a:pt x="10637188" y="4547281"/>
                </a:lnTo>
                <a:lnTo>
                  <a:pt x="10607478" y="4547281"/>
                </a:lnTo>
                <a:close/>
                <a:moveTo>
                  <a:pt x="10341389" y="4517679"/>
                </a:moveTo>
                <a:lnTo>
                  <a:pt x="10370992" y="4517679"/>
                </a:lnTo>
                <a:lnTo>
                  <a:pt x="10370992" y="4547281"/>
                </a:lnTo>
                <a:lnTo>
                  <a:pt x="10341389" y="4547281"/>
                </a:lnTo>
                <a:close/>
                <a:moveTo>
                  <a:pt x="10075192" y="4517679"/>
                </a:moveTo>
                <a:lnTo>
                  <a:pt x="10104794" y="4517679"/>
                </a:lnTo>
                <a:lnTo>
                  <a:pt x="10104794" y="4547281"/>
                </a:lnTo>
                <a:lnTo>
                  <a:pt x="10075192" y="4547281"/>
                </a:lnTo>
                <a:close/>
                <a:moveTo>
                  <a:pt x="9809103" y="4517679"/>
                </a:moveTo>
                <a:lnTo>
                  <a:pt x="9838705" y="4517679"/>
                </a:lnTo>
                <a:lnTo>
                  <a:pt x="9838705" y="4547281"/>
                </a:lnTo>
                <a:lnTo>
                  <a:pt x="9809103" y="4547281"/>
                </a:lnTo>
                <a:close/>
                <a:moveTo>
                  <a:pt x="9542906" y="4517679"/>
                </a:moveTo>
                <a:lnTo>
                  <a:pt x="9572509" y="4517679"/>
                </a:lnTo>
                <a:lnTo>
                  <a:pt x="9572509" y="4547281"/>
                </a:lnTo>
                <a:lnTo>
                  <a:pt x="9542906" y="4547281"/>
                </a:lnTo>
                <a:close/>
                <a:moveTo>
                  <a:pt x="9276817" y="4517679"/>
                </a:moveTo>
                <a:lnTo>
                  <a:pt x="9306420" y="4517679"/>
                </a:lnTo>
                <a:lnTo>
                  <a:pt x="9306420" y="4547281"/>
                </a:lnTo>
                <a:lnTo>
                  <a:pt x="9276817" y="4547281"/>
                </a:lnTo>
                <a:close/>
                <a:moveTo>
                  <a:pt x="9010620" y="4517679"/>
                </a:moveTo>
                <a:lnTo>
                  <a:pt x="9040222" y="4517679"/>
                </a:lnTo>
                <a:lnTo>
                  <a:pt x="9040222" y="4547281"/>
                </a:lnTo>
                <a:lnTo>
                  <a:pt x="9010620" y="4547281"/>
                </a:lnTo>
                <a:close/>
                <a:moveTo>
                  <a:pt x="8744423" y="4517679"/>
                </a:moveTo>
                <a:lnTo>
                  <a:pt x="8774026" y="4517679"/>
                </a:lnTo>
                <a:lnTo>
                  <a:pt x="8774026" y="4547281"/>
                </a:lnTo>
                <a:lnTo>
                  <a:pt x="8744423" y="4547281"/>
                </a:lnTo>
                <a:close/>
                <a:moveTo>
                  <a:pt x="8478226" y="4517679"/>
                </a:moveTo>
                <a:lnTo>
                  <a:pt x="8507828" y="4517679"/>
                </a:lnTo>
                <a:lnTo>
                  <a:pt x="8507828" y="4547281"/>
                </a:lnTo>
                <a:lnTo>
                  <a:pt x="8478226" y="4547281"/>
                </a:lnTo>
                <a:close/>
                <a:moveTo>
                  <a:pt x="8212137" y="4517679"/>
                </a:moveTo>
                <a:lnTo>
                  <a:pt x="8241740" y="4517679"/>
                </a:lnTo>
                <a:lnTo>
                  <a:pt x="8241740" y="4547281"/>
                </a:lnTo>
                <a:lnTo>
                  <a:pt x="8212137" y="4547281"/>
                </a:lnTo>
                <a:close/>
                <a:moveTo>
                  <a:pt x="7945940" y="4517679"/>
                </a:moveTo>
                <a:lnTo>
                  <a:pt x="7975543" y="4517679"/>
                </a:lnTo>
                <a:lnTo>
                  <a:pt x="7975543" y="4547281"/>
                </a:lnTo>
                <a:lnTo>
                  <a:pt x="7945940" y="4547281"/>
                </a:lnTo>
                <a:close/>
                <a:moveTo>
                  <a:pt x="7679743" y="4517679"/>
                </a:moveTo>
                <a:lnTo>
                  <a:pt x="7709346" y="4517679"/>
                </a:lnTo>
                <a:lnTo>
                  <a:pt x="7709346" y="4547281"/>
                </a:lnTo>
                <a:lnTo>
                  <a:pt x="7679743" y="4547281"/>
                </a:lnTo>
                <a:close/>
                <a:moveTo>
                  <a:pt x="7413653" y="4517679"/>
                </a:moveTo>
                <a:lnTo>
                  <a:pt x="7443256" y="4517679"/>
                </a:lnTo>
                <a:lnTo>
                  <a:pt x="7443256" y="4547281"/>
                </a:lnTo>
                <a:lnTo>
                  <a:pt x="7413653" y="4547281"/>
                </a:lnTo>
                <a:close/>
                <a:moveTo>
                  <a:pt x="7147456" y="4517679"/>
                </a:moveTo>
                <a:lnTo>
                  <a:pt x="7177058" y="4517679"/>
                </a:lnTo>
                <a:lnTo>
                  <a:pt x="7177058" y="4547281"/>
                </a:lnTo>
                <a:lnTo>
                  <a:pt x="7147456" y="4547281"/>
                </a:lnTo>
                <a:close/>
                <a:moveTo>
                  <a:pt x="6881367" y="4517679"/>
                </a:moveTo>
                <a:lnTo>
                  <a:pt x="6910970" y="4517679"/>
                </a:lnTo>
                <a:lnTo>
                  <a:pt x="6910970" y="4547281"/>
                </a:lnTo>
                <a:lnTo>
                  <a:pt x="6881367" y="4547281"/>
                </a:lnTo>
                <a:close/>
                <a:moveTo>
                  <a:pt x="6615170" y="4517679"/>
                </a:moveTo>
                <a:lnTo>
                  <a:pt x="6644773" y="4517679"/>
                </a:lnTo>
                <a:lnTo>
                  <a:pt x="6644773" y="4547281"/>
                </a:lnTo>
                <a:lnTo>
                  <a:pt x="6615170" y="4547281"/>
                </a:lnTo>
                <a:close/>
                <a:moveTo>
                  <a:pt x="6349081" y="4517679"/>
                </a:moveTo>
                <a:lnTo>
                  <a:pt x="6378683" y="4517679"/>
                </a:lnTo>
                <a:lnTo>
                  <a:pt x="6378683" y="4547281"/>
                </a:lnTo>
                <a:lnTo>
                  <a:pt x="6349081" y="4547281"/>
                </a:lnTo>
                <a:close/>
                <a:moveTo>
                  <a:pt x="6082884" y="4517679"/>
                </a:moveTo>
                <a:lnTo>
                  <a:pt x="6112486" y="4517679"/>
                </a:lnTo>
                <a:lnTo>
                  <a:pt x="6112486" y="4547281"/>
                </a:lnTo>
                <a:lnTo>
                  <a:pt x="6082884" y="4547281"/>
                </a:lnTo>
                <a:close/>
                <a:moveTo>
                  <a:pt x="5825310" y="4517679"/>
                </a:moveTo>
                <a:lnTo>
                  <a:pt x="5854913" y="4517679"/>
                </a:lnTo>
                <a:lnTo>
                  <a:pt x="5854913" y="4547281"/>
                </a:lnTo>
                <a:lnTo>
                  <a:pt x="5825310" y="4547281"/>
                </a:lnTo>
                <a:close/>
                <a:moveTo>
                  <a:pt x="5559113" y="4517679"/>
                </a:moveTo>
                <a:lnTo>
                  <a:pt x="5588715" y="4517679"/>
                </a:lnTo>
                <a:lnTo>
                  <a:pt x="5588715" y="4547281"/>
                </a:lnTo>
                <a:lnTo>
                  <a:pt x="5559113" y="4547281"/>
                </a:lnTo>
                <a:close/>
                <a:moveTo>
                  <a:pt x="5293024" y="4517679"/>
                </a:moveTo>
                <a:lnTo>
                  <a:pt x="5322626" y="4517679"/>
                </a:lnTo>
                <a:lnTo>
                  <a:pt x="5322626" y="4547281"/>
                </a:lnTo>
                <a:lnTo>
                  <a:pt x="5293024" y="4547281"/>
                </a:lnTo>
                <a:close/>
                <a:moveTo>
                  <a:pt x="5026827" y="4517679"/>
                </a:moveTo>
                <a:lnTo>
                  <a:pt x="5056429" y="4517679"/>
                </a:lnTo>
                <a:lnTo>
                  <a:pt x="5056429" y="4547281"/>
                </a:lnTo>
                <a:lnTo>
                  <a:pt x="5026827" y="4547281"/>
                </a:lnTo>
                <a:close/>
                <a:moveTo>
                  <a:pt x="4760630" y="4517679"/>
                </a:moveTo>
                <a:lnTo>
                  <a:pt x="4790340" y="4517679"/>
                </a:lnTo>
                <a:lnTo>
                  <a:pt x="4790340" y="4547281"/>
                </a:lnTo>
                <a:lnTo>
                  <a:pt x="4760630" y="4547281"/>
                </a:lnTo>
                <a:close/>
                <a:moveTo>
                  <a:pt x="4494541" y="4517679"/>
                </a:moveTo>
                <a:lnTo>
                  <a:pt x="4524144" y="4517679"/>
                </a:lnTo>
                <a:lnTo>
                  <a:pt x="4524144" y="4547281"/>
                </a:lnTo>
                <a:lnTo>
                  <a:pt x="4494541" y="4547281"/>
                </a:lnTo>
                <a:close/>
                <a:moveTo>
                  <a:pt x="4228344" y="4517679"/>
                </a:moveTo>
                <a:lnTo>
                  <a:pt x="4257946" y="4517679"/>
                </a:lnTo>
                <a:lnTo>
                  <a:pt x="4257946" y="4547281"/>
                </a:lnTo>
                <a:lnTo>
                  <a:pt x="4228344" y="4547281"/>
                </a:lnTo>
                <a:close/>
                <a:moveTo>
                  <a:pt x="3962255" y="4517679"/>
                </a:moveTo>
                <a:lnTo>
                  <a:pt x="3991857" y="4517679"/>
                </a:lnTo>
                <a:lnTo>
                  <a:pt x="3991857" y="4547281"/>
                </a:lnTo>
                <a:lnTo>
                  <a:pt x="3962255" y="4547281"/>
                </a:lnTo>
                <a:close/>
                <a:moveTo>
                  <a:pt x="3696058" y="4517679"/>
                </a:moveTo>
                <a:lnTo>
                  <a:pt x="3725661" y="4517679"/>
                </a:lnTo>
                <a:lnTo>
                  <a:pt x="3725661" y="4547281"/>
                </a:lnTo>
                <a:lnTo>
                  <a:pt x="3696058" y="4547281"/>
                </a:lnTo>
                <a:close/>
                <a:moveTo>
                  <a:pt x="3429969" y="4517679"/>
                </a:moveTo>
                <a:lnTo>
                  <a:pt x="3459572" y="4517679"/>
                </a:lnTo>
                <a:lnTo>
                  <a:pt x="3459572" y="4547281"/>
                </a:lnTo>
                <a:lnTo>
                  <a:pt x="3429969" y="4547281"/>
                </a:lnTo>
                <a:close/>
                <a:moveTo>
                  <a:pt x="3163772" y="4517679"/>
                </a:moveTo>
                <a:lnTo>
                  <a:pt x="3193374" y="4517679"/>
                </a:lnTo>
                <a:lnTo>
                  <a:pt x="3193374" y="4547281"/>
                </a:lnTo>
                <a:lnTo>
                  <a:pt x="3163772" y="4547281"/>
                </a:lnTo>
                <a:close/>
                <a:moveTo>
                  <a:pt x="2897575" y="4517679"/>
                </a:moveTo>
                <a:lnTo>
                  <a:pt x="2927178" y="4517679"/>
                </a:lnTo>
                <a:lnTo>
                  <a:pt x="2927178" y="4547281"/>
                </a:lnTo>
                <a:lnTo>
                  <a:pt x="2897575" y="4547281"/>
                </a:lnTo>
                <a:close/>
                <a:moveTo>
                  <a:pt x="2631378" y="4517679"/>
                </a:moveTo>
                <a:lnTo>
                  <a:pt x="2660980" y="4517679"/>
                </a:lnTo>
                <a:lnTo>
                  <a:pt x="2660980" y="4547281"/>
                </a:lnTo>
                <a:lnTo>
                  <a:pt x="2631378" y="4547281"/>
                </a:lnTo>
                <a:close/>
                <a:moveTo>
                  <a:pt x="2365289" y="4517679"/>
                </a:moveTo>
                <a:lnTo>
                  <a:pt x="2394892" y="4517679"/>
                </a:lnTo>
                <a:lnTo>
                  <a:pt x="2394892" y="4547281"/>
                </a:lnTo>
                <a:lnTo>
                  <a:pt x="2365289" y="4547281"/>
                </a:lnTo>
                <a:close/>
                <a:moveTo>
                  <a:pt x="2099092" y="4517679"/>
                </a:moveTo>
                <a:lnTo>
                  <a:pt x="2128695" y="4517679"/>
                </a:lnTo>
                <a:lnTo>
                  <a:pt x="2128695" y="4547281"/>
                </a:lnTo>
                <a:lnTo>
                  <a:pt x="2099092" y="4547281"/>
                </a:lnTo>
                <a:close/>
                <a:moveTo>
                  <a:pt x="1832898" y="4517679"/>
                </a:moveTo>
                <a:lnTo>
                  <a:pt x="1862498" y="4517679"/>
                </a:lnTo>
                <a:lnTo>
                  <a:pt x="1862498" y="4547281"/>
                </a:lnTo>
                <a:lnTo>
                  <a:pt x="1832898" y="4547281"/>
                </a:lnTo>
                <a:close/>
                <a:moveTo>
                  <a:pt x="1566808" y="4517679"/>
                </a:moveTo>
                <a:lnTo>
                  <a:pt x="1596409" y="4517679"/>
                </a:lnTo>
                <a:lnTo>
                  <a:pt x="1596409" y="4547281"/>
                </a:lnTo>
                <a:lnTo>
                  <a:pt x="1566808" y="4547281"/>
                </a:lnTo>
                <a:close/>
                <a:moveTo>
                  <a:pt x="1300611" y="4517679"/>
                </a:moveTo>
                <a:lnTo>
                  <a:pt x="1330213" y="4517679"/>
                </a:lnTo>
                <a:lnTo>
                  <a:pt x="1330213" y="4547281"/>
                </a:lnTo>
                <a:lnTo>
                  <a:pt x="1300611" y="4547281"/>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1672158" y="4252022"/>
                </a:moveTo>
                <a:lnTo>
                  <a:pt x="11701760" y="4252022"/>
                </a:lnTo>
                <a:lnTo>
                  <a:pt x="11701760" y="4281516"/>
                </a:lnTo>
                <a:lnTo>
                  <a:pt x="11672158" y="4281516"/>
                </a:lnTo>
                <a:close/>
                <a:moveTo>
                  <a:pt x="11405961" y="4252022"/>
                </a:moveTo>
                <a:lnTo>
                  <a:pt x="11435563" y="4252022"/>
                </a:lnTo>
                <a:lnTo>
                  <a:pt x="11435563" y="4281516"/>
                </a:lnTo>
                <a:lnTo>
                  <a:pt x="11405961" y="4281516"/>
                </a:lnTo>
                <a:close/>
                <a:moveTo>
                  <a:pt x="11139872" y="4252022"/>
                </a:moveTo>
                <a:lnTo>
                  <a:pt x="11169474" y="4252022"/>
                </a:lnTo>
                <a:lnTo>
                  <a:pt x="11169474" y="4281516"/>
                </a:lnTo>
                <a:lnTo>
                  <a:pt x="11139872" y="4281516"/>
                </a:lnTo>
                <a:close/>
                <a:moveTo>
                  <a:pt x="10873675" y="4252022"/>
                </a:moveTo>
                <a:lnTo>
                  <a:pt x="10903277" y="4252022"/>
                </a:lnTo>
                <a:lnTo>
                  <a:pt x="10903277" y="4281516"/>
                </a:lnTo>
                <a:lnTo>
                  <a:pt x="10873675" y="4281516"/>
                </a:lnTo>
                <a:close/>
                <a:moveTo>
                  <a:pt x="10607478" y="4252022"/>
                </a:moveTo>
                <a:lnTo>
                  <a:pt x="10637188" y="4252022"/>
                </a:lnTo>
                <a:lnTo>
                  <a:pt x="10637188" y="4281516"/>
                </a:lnTo>
                <a:lnTo>
                  <a:pt x="10607478" y="4281516"/>
                </a:lnTo>
                <a:close/>
                <a:moveTo>
                  <a:pt x="10341389" y="4252022"/>
                </a:moveTo>
                <a:lnTo>
                  <a:pt x="10370992" y="4252022"/>
                </a:lnTo>
                <a:lnTo>
                  <a:pt x="10370992" y="4281516"/>
                </a:lnTo>
                <a:lnTo>
                  <a:pt x="10341389" y="4281516"/>
                </a:lnTo>
                <a:close/>
                <a:moveTo>
                  <a:pt x="10075192" y="4252022"/>
                </a:moveTo>
                <a:lnTo>
                  <a:pt x="10104794" y="4252022"/>
                </a:lnTo>
                <a:lnTo>
                  <a:pt x="10104794" y="4281516"/>
                </a:lnTo>
                <a:lnTo>
                  <a:pt x="10075192" y="4281516"/>
                </a:lnTo>
                <a:close/>
                <a:moveTo>
                  <a:pt x="9809103" y="4252022"/>
                </a:moveTo>
                <a:lnTo>
                  <a:pt x="9838705" y="4252022"/>
                </a:lnTo>
                <a:lnTo>
                  <a:pt x="9838705" y="4281516"/>
                </a:lnTo>
                <a:lnTo>
                  <a:pt x="9809103" y="4281516"/>
                </a:lnTo>
                <a:close/>
                <a:moveTo>
                  <a:pt x="9542906" y="4252022"/>
                </a:moveTo>
                <a:lnTo>
                  <a:pt x="9572509" y="4252022"/>
                </a:lnTo>
                <a:lnTo>
                  <a:pt x="9572509" y="4281516"/>
                </a:lnTo>
                <a:lnTo>
                  <a:pt x="9542906" y="4281516"/>
                </a:lnTo>
                <a:close/>
                <a:moveTo>
                  <a:pt x="9276817" y="4252022"/>
                </a:moveTo>
                <a:lnTo>
                  <a:pt x="9306420" y="4252022"/>
                </a:lnTo>
                <a:lnTo>
                  <a:pt x="9306420" y="4281516"/>
                </a:lnTo>
                <a:lnTo>
                  <a:pt x="9276817" y="4281516"/>
                </a:lnTo>
                <a:close/>
                <a:moveTo>
                  <a:pt x="9010620" y="4252022"/>
                </a:moveTo>
                <a:lnTo>
                  <a:pt x="9040222" y="4252022"/>
                </a:lnTo>
                <a:lnTo>
                  <a:pt x="9040222" y="4281516"/>
                </a:lnTo>
                <a:lnTo>
                  <a:pt x="9010620" y="4281516"/>
                </a:lnTo>
                <a:close/>
                <a:moveTo>
                  <a:pt x="8744423" y="4252022"/>
                </a:moveTo>
                <a:lnTo>
                  <a:pt x="8774026" y="4252022"/>
                </a:lnTo>
                <a:lnTo>
                  <a:pt x="8774026" y="4281516"/>
                </a:lnTo>
                <a:lnTo>
                  <a:pt x="8744423" y="4281516"/>
                </a:lnTo>
                <a:close/>
                <a:moveTo>
                  <a:pt x="8478226" y="4252022"/>
                </a:moveTo>
                <a:lnTo>
                  <a:pt x="8507828" y="4252022"/>
                </a:lnTo>
                <a:lnTo>
                  <a:pt x="8507828" y="4281516"/>
                </a:lnTo>
                <a:lnTo>
                  <a:pt x="8478226" y="4281516"/>
                </a:lnTo>
                <a:close/>
                <a:moveTo>
                  <a:pt x="8212137" y="4252022"/>
                </a:moveTo>
                <a:lnTo>
                  <a:pt x="8241740" y="4252022"/>
                </a:lnTo>
                <a:lnTo>
                  <a:pt x="8241740" y="4281516"/>
                </a:lnTo>
                <a:lnTo>
                  <a:pt x="8212137" y="4281516"/>
                </a:lnTo>
                <a:close/>
                <a:moveTo>
                  <a:pt x="7945940" y="4252022"/>
                </a:moveTo>
                <a:lnTo>
                  <a:pt x="7975543" y="4252022"/>
                </a:lnTo>
                <a:lnTo>
                  <a:pt x="7975543" y="4281516"/>
                </a:lnTo>
                <a:lnTo>
                  <a:pt x="7945940" y="4281516"/>
                </a:lnTo>
                <a:close/>
                <a:moveTo>
                  <a:pt x="7679743" y="4252022"/>
                </a:moveTo>
                <a:lnTo>
                  <a:pt x="7709346" y="4252022"/>
                </a:lnTo>
                <a:lnTo>
                  <a:pt x="7709346" y="4281516"/>
                </a:lnTo>
                <a:lnTo>
                  <a:pt x="7679743" y="4281516"/>
                </a:lnTo>
                <a:close/>
                <a:moveTo>
                  <a:pt x="7413653" y="4252022"/>
                </a:moveTo>
                <a:lnTo>
                  <a:pt x="7443256" y="4252022"/>
                </a:lnTo>
                <a:lnTo>
                  <a:pt x="7443256" y="4281516"/>
                </a:lnTo>
                <a:lnTo>
                  <a:pt x="7413653" y="4281516"/>
                </a:lnTo>
                <a:close/>
                <a:moveTo>
                  <a:pt x="7147456" y="4252022"/>
                </a:moveTo>
                <a:lnTo>
                  <a:pt x="7177058" y="4252022"/>
                </a:lnTo>
                <a:lnTo>
                  <a:pt x="7177058" y="4281516"/>
                </a:lnTo>
                <a:lnTo>
                  <a:pt x="7147456" y="4281516"/>
                </a:lnTo>
                <a:close/>
                <a:moveTo>
                  <a:pt x="6881367" y="4252022"/>
                </a:moveTo>
                <a:lnTo>
                  <a:pt x="6910970" y="4252022"/>
                </a:lnTo>
                <a:lnTo>
                  <a:pt x="6910970" y="4281516"/>
                </a:lnTo>
                <a:lnTo>
                  <a:pt x="6881367" y="4281516"/>
                </a:lnTo>
                <a:close/>
                <a:moveTo>
                  <a:pt x="6615170" y="4252022"/>
                </a:moveTo>
                <a:lnTo>
                  <a:pt x="6644773" y="4252022"/>
                </a:lnTo>
                <a:lnTo>
                  <a:pt x="6644773" y="4281516"/>
                </a:lnTo>
                <a:lnTo>
                  <a:pt x="6615170" y="4281516"/>
                </a:lnTo>
                <a:close/>
                <a:moveTo>
                  <a:pt x="6349081" y="4252022"/>
                </a:moveTo>
                <a:lnTo>
                  <a:pt x="6378683" y="4252022"/>
                </a:lnTo>
                <a:lnTo>
                  <a:pt x="6378683" y="4281516"/>
                </a:lnTo>
                <a:lnTo>
                  <a:pt x="6349081" y="4281516"/>
                </a:lnTo>
                <a:close/>
                <a:moveTo>
                  <a:pt x="6082884" y="4252022"/>
                </a:moveTo>
                <a:lnTo>
                  <a:pt x="6112486" y="4252022"/>
                </a:lnTo>
                <a:lnTo>
                  <a:pt x="6112486" y="4281516"/>
                </a:lnTo>
                <a:lnTo>
                  <a:pt x="6082884" y="4281516"/>
                </a:lnTo>
                <a:close/>
                <a:moveTo>
                  <a:pt x="5825310" y="4252022"/>
                </a:moveTo>
                <a:lnTo>
                  <a:pt x="5854913" y="4252022"/>
                </a:lnTo>
                <a:lnTo>
                  <a:pt x="5854913" y="4281516"/>
                </a:lnTo>
                <a:lnTo>
                  <a:pt x="5825310" y="4281516"/>
                </a:lnTo>
                <a:close/>
                <a:moveTo>
                  <a:pt x="5559113" y="4252022"/>
                </a:moveTo>
                <a:lnTo>
                  <a:pt x="5588715" y="4252022"/>
                </a:lnTo>
                <a:lnTo>
                  <a:pt x="5588715" y="4281516"/>
                </a:lnTo>
                <a:lnTo>
                  <a:pt x="5559113" y="4281516"/>
                </a:lnTo>
                <a:close/>
                <a:moveTo>
                  <a:pt x="5293024" y="4252022"/>
                </a:moveTo>
                <a:lnTo>
                  <a:pt x="5322626" y="4252022"/>
                </a:lnTo>
                <a:lnTo>
                  <a:pt x="5322626" y="4281516"/>
                </a:lnTo>
                <a:lnTo>
                  <a:pt x="5293024" y="4281516"/>
                </a:lnTo>
                <a:close/>
                <a:moveTo>
                  <a:pt x="5026827" y="4252022"/>
                </a:moveTo>
                <a:lnTo>
                  <a:pt x="5056429" y="4252022"/>
                </a:lnTo>
                <a:lnTo>
                  <a:pt x="5056429" y="4281516"/>
                </a:lnTo>
                <a:lnTo>
                  <a:pt x="5026827" y="4281516"/>
                </a:lnTo>
                <a:close/>
                <a:moveTo>
                  <a:pt x="4760630" y="4252022"/>
                </a:moveTo>
                <a:lnTo>
                  <a:pt x="4790340" y="4252022"/>
                </a:lnTo>
                <a:lnTo>
                  <a:pt x="4790340" y="4281516"/>
                </a:lnTo>
                <a:lnTo>
                  <a:pt x="4760630" y="4281516"/>
                </a:lnTo>
                <a:close/>
                <a:moveTo>
                  <a:pt x="4494541" y="4252022"/>
                </a:moveTo>
                <a:lnTo>
                  <a:pt x="4524144" y="4252022"/>
                </a:lnTo>
                <a:lnTo>
                  <a:pt x="4524144" y="4281516"/>
                </a:lnTo>
                <a:lnTo>
                  <a:pt x="4494541" y="4281516"/>
                </a:lnTo>
                <a:close/>
                <a:moveTo>
                  <a:pt x="4228344" y="4252022"/>
                </a:moveTo>
                <a:lnTo>
                  <a:pt x="4257946" y="4252022"/>
                </a:lnTo>
                <a:lnTo>
                  <a:pt x="4257946" y="4281516"/>
                </a:lnTo>
                <a:lnTo>
                  <a:pt x="4228344" y="4281516"/>
                </a:lnTo>
                <a:close/>
                <a:moveTo>
                  <a:pt x="3962255" y="4252022"/>
                </a:moveTo>
                <a:lnTo>
                  <a:pt x="3991857" y="4252022"/>
                </a:lnTo>
                <a:lnTo>
                  <a:pt x="3991857" y="4281516"/>
                </a:lnTo>
                <a:lnTo>
                  <a:pt x="3962255" y="4281516"/>
                </a:lnTo>
                <a:close/>
                <a:moveTo>
                  <a:pt x="3696058" y="4252022"/>
                </a:moveTo>
                <a:lnTo>
                  <a:pt x="3725661" y="4252022"/>
                </a:lnTo>
                <a:lnTo>
                  <a:pt x="3725661" y="4281516"/>
                </a:lnTo>
                <a:lnTo>
                  <a:pt x="3696058" y="4281516"/>
                </a:lnTo>
                <a:close/>
                <a:moveTo>
                  <a:pt x="3429969" y="4252022"/>
                </a:moveTo>
                <a:lnTo>
                  <a:pt x="3459572" y="4252022"/>
                </a:lnTo>
                <a:lnTo>
                  <a:pt x="3459572" y="4281516"/>
                </a:lnTo>
                <a:lnTo>
                  <a:pt x="3429969" y="4281516"/>
                </a:lnTo>
                <a:close/>
                <a:moveTo>
                  <a:pt x="3163772" y="4252022"/>
                </a:moveTo>
                <a:lnTo>
                  <a:pt x="3193374" y="4252022"/>
                </a:lnTo>
                <a:lnTo>
                  <a:pt x="3193374" y="4281516"/>
                </a:lnTo>
                <a:lnTo>
                  <a:pt x="3163772" y="4281516"/>
                </a:lnTo>
                <a:close/>
                <a:moveTo>
                  <a:pt x="2897575" y="4252022"/>
                </a:moveTo>
                <a:lnTo>
                  <a:pt x="2927178" y="4252022"/>
                </a:lnTo>
                <a:lnTo>
                  <a:pt x="2927178" y="4281516"/>
                </a:lnTo>
                <a:lnTo>
                  <a:pt x="2897575" y="4281516"/>
                </a:lnTo>
                <a:close/>
                <a:moveTo>
                  <a:pt x="2631378" y="4252022"/>
                </a:moveTo>
                <a:lnTo>
                  <a:pt x="2660980" y="4252022"/>
                </a:lnTo>
                <a:lnTo>
                  <a:pt x="2660980" y="4281516"/>
                </a:lnTo>
                <a:lnTo>
                  <a:pt x="2631378" y="4281516"/>
                </a:lnTo>
                <a:close/>
                <a:moveTo>
                  <a:pt x="2365289" y="4252022"/>
                </a:moveTo>
                <a:lnTo>
                  <a:pt x="2394892" y="4252022"/>
                </a:lnTo>
                <a:lnTo>
                  <a:pt x="2394892" y="4281516"/>
                </a:lnTo>
                <a:lnTo>
                  <a:pt x="2365289" y="4281516"/>
                </a:lnTo>
                <a:close/>
                <a:moveTo>
                  <a:pt x="2099092" y="4252022"/>
                </a:moveTo>
                <a:lnTo>
                  <a:pt x="2128695" y="4252022"/>
                </a:lnTo>
                <a:lnTo>
                  <a:pt x="2128695" y="4281516"/>
                </a:lnTo>
                <a:lnTo>
                  <a:pt x="2099092" y="4281516"/>
                </a:lnTo>
                <a:close/>
                <a:moveTo>
                  <a:pt x="1832898" y="4252022"/>
                </a:moveTo>
                <a:lnTo>
                  <a:pt x="1862498" y="4252022"/>
                </a:lnTo>
                <a:lnTo>
                  <a:pt x="1862498" y="4281516"/>
                </a:lnTo>
                <a:lnTo>
                  <a:pt x="1832898" y="4281516"/>
                </a:lnTo>
                <a:close/>
                <a:moveTo>
                  <a:pt x="1566808" y="4252022"/>
                </a:moveTo>
                <a:lnTo>
                  <a:pt x="1596409" y="4252022"/>
                </a:lnTo>
                <a:lnTo>
                  <a:pt x="1596409" y="4281516"/>
                </a:lnTo>
                <a:lnTo>
                  <a:pt x="1566808" y="4281516"/>
                </a:lnTo>
                <a:close/>
                <a:moveTo>
                  <a:pt x="1300611" y="4252022"/>
                </a:moveTo>
                <a:lnTo>
                  <a:pt x="1330213" y="4252022"/>
                </a:lnTo>
                <a:lnTo>
                  <a:pt x="1330213" y="4281516"/>
                </a:lnTo>
                <a:lnTo>
                  <a:pt x="1300611" y="4281516"/>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1672158" y="3986257"/>
                </a:moveTo>
                <a:lnTo>
                  <a:pt x="11701760" y="3986257"/>
                </a:lnTo>
                <a:lnTo>
                  <a:pt x="11701760" y="4015859"/>
                </a:lnTo>
                <a:lnTo>
                  <a:pt x="11672158" y="4015859"/>
                </a:lnTo>
                <a:close/>
                <a:moveTo>
                  <a:pt x="11405961" y="3986257"/>
                </a:moveTo>
                <a:lnTo>
                  <a:pt x="11435563" y="3986257"/>
                </a:lnTo>
                <a:lnTo>
                  <a:pt x="11435563" y="4015859"/>
                </a:lnTo>
                <a:lnTo>
                  <a:pt x="11405961" y="4015859"/>
                </a:lnTo>
                <a:close/>
                <a:moveTo>
                  <a:pt x="11139872" y="3986257"/>
                </a:moveTo>
                <a:lnTo>
                  <a:pt x="11169474" y="3986257"/>
                </a:lnTo>
                <a:lnTo>
                  <a:pt x="11169474" y="4015859"/>
                </a:lnTo>
                <a:lnTo>
                  <a:pt x="11139872" y="4015859"/>
                </a:lnTo>
                <a:close/>
                <a:moveTo>
                  <a:pt x="10873675" y="3986257"/>
                </a:moveTo>
                <a:lnTo>
                  <a:pt x="10903277" y="3986257"/>
                </a:lnTo>
                <a:lnTo>
                  <a:pt x="10903277" y="4015859"/>
                </a:lnTo>
                <a:lnTo>
                  <a:pt x="10873675" y="4015859"/>
                </a:lnTo>
                <a:close/>
                <a:moveTo>
                  <a:pt x="10607478" y="3986257"/>
                </a:moveTo>
                <a:lnTo>
                  <a:pt x="10637188" y="3986257"/>
                </a:lnTo>
                <a:lnTo>
                  <a:pt x="10637188" y="4015859"/>
                </a:lnTo>
                <a:lnTo>
                  <a:pt x="10607478" y="4015859"/>
                </a:lnTo>
                <a:close/>
                <a:moveTo>
                  <a:pt x="10341389" y="3986257"/>
                </a:moveTo>
                <a:lnTo>
                  <a:pt x="10370992" y="3986257"/>
                </a:lnTo>
                <a:lnTo>
                  <a:pt x="10370992" y="4015859"/>
                </a:lnTo>
                <a:lnTo>
                  <a:pt x="10341389" y="4015859"/>
                </a:lnTo>
                <a:close/>
                <a:moveTo>
                  <a:pt x="10075192" y="3986257"/>
                </a:moveTo>
                <a:lnTo>
                  <a:pt x="10104794" y="3986257"/>
                </a:lnTo>
                <a:lnTo>
                  <a:pt x="10104794" y="4015859"/>
                </a:lnTo>
                <a:lnTo>
                  <a:pt x="10075192" y="4015859"/>
                </a:lnTo>
                <a:close/>
                <a:moveTo>
                  <a:pt x="9809103" y="3986257"/>
                </a:moveTo>
                <a:lnTo>
                  <a:pt x="9838705" y="3986257"/>
                </a:lnTo>
                <a:lnTo>
                  <a:pt x="9838705" y="4015859"/>
                </a:lnTo>
                <a:lnTo>
                  <a:pt x="9809103" y="4015859"/>
                </a:lnTo>
                <a:close/>
                <a:moveTo>
                  <a:pt x="9542906" y="3986257"/>
                </a:moveTo>
                <a:lnTo>
                  <a:pt x="9572509" y="3986257"/>
                </a:lnTo>
                <a:lnTo>
                  <a:pt x="9572509" y="4015859"/>
                </a:lnTo>
                <a:lnTo>
                  <a:pt x="9542906" y="4015859"/>
                </a:lnTo>
                <a:close/>
                <a:moveTo>
                  <a:pt x="9276817" y="3986257"/>
                </a:moveTo>
                <a:lnTo>
                  <a:pt x="9306420" y="3986257"/>
                </a:lnTo>
                <a:lnTo>
                  <a:pt x="9306420" y="4015859"/>
                </a:lnTo>
                <a:lnTo>
                  <a:pt x="9276817" y="4015859"/>
                </a:lnTo>
                <a:close/>
                <a:moveTo>
                  <a:pt x="9010620" y="3986257"/>
                </a:moveTo>
                <a:lnTo>
                  <a:pt x="9040222" y="3986257"/>
                </a:lnTo>
                <a:lnTo>
                  <a:pt x="9040222" y="4015859"/>
                </a:lnTo>
                <a:lnTo>
                  <a:pt x="9010620" y="4015859"/>
                </a:lnTo>
                <a:close/>
                <a:moveTo>
                  <a:pt x="8744423" y="3986257"/>
                </a:moveTo>
                <a:lnTo>
                  <a:pt x="8774026" y="3986257"/>
                </a:lnTo>
                <a:lnTo>
                  <a:pt x="8774026" y="4015859"/>
                </a:lnTo>
                <a:lnTo>
                  <a:pt x="8744423" y="4015859"/>
                </a:lnTo>
                <a:close/>
                <a:moveTo>
                  <a:pt x="8478226" y="3986257"/>
                </a:moveTo>
                <a:lnTo>
                  <a:pt x="8507828" y="3986257"/>
                </a:lnTo>
                <a:lnTo>
                  <a:pt x="8507828" y="4015859"/>
                </a:lnTo>
                <a:lnTo>
                  <a:pt x="8478226" y="4015859"/>
                </a:lnTo>
                <a:close/>
                <a:moveTo>
                  <a:pt x="8212137" y="3986257"/>
                </a:moveTo>
                <a:lnTo>
                  <a:pt x="8241740" y="3986257"/>
                </a:lnTo>
                <a:lnTo>
                  <a:pt x="8241740" y="4015859"/>
                </a:lnTo>
                <a:lnTo>
                  <a:pt x="8212137" y="4015859"/>
                </a:lnTo>
                <a:close/>
                <a:moveTo>
                  <a:pt x="7945940" y="3986257"/>
                </a:moveTo>
                <a:lnTo>
                  <a:pt x="7975543" y="3986257"/>
                </a:lnTo>
                <a:lnTo>
                  <a:pt x="7975543" y="4015859"/>
                </a:lnTo>
                <a:lnTo>
                  <a:pt x="7945940" y="4015859"/>
                </a:lnTo>
                <a:close/>
                <a:moveTo>
                  <a:pt x="7679743" y="3986257"/>
                </a:moveTo>
                <a:lnTo>
                  <a:pt x="7709346" y="3986257"/>
                </a:lnTo>
                <a:lnTo>
                  <a:pt x="7709346" y="4015859"/>
                </a:lnTo>
                <a:lnTo>
                  <a:pt x="7679743" y="4015859"/>
                </a:lnTo>
                <a:close/>
                <a:moveTo>
                  <a:pt x="7413653" y="3986257"/>
                </a:moveTo>
                <a:lnTo>
                  <a:pt x="7443256" y="3986257"/>
                </a:lnTo>
                <a:lnTo>
                  <a:pt x="7443256" y="4015859"/>
                </a:lnTo>
                <a:lnTo>
                  <a:pt x="7413653" y="4015859"/>
                </a:lnTo>
                <a:close/>
                <a:moveTo>
                  <a:pt x="7147456" y="3986257"/>
                </a:moveTo>
                <a:lnTo>
                  <a:pt x="7177058" y="3986257"/>
                </a:lnTo>
                <a:lnTo>
                  <a:pt x="7177058" y="4015859"/>
                </a:lnTo>
                <a:lnTo>
                  <a:pt x="7147456" y="4015859"/>
                </a:lnTo>
                <a:close/>
                <a:moveTo>
                  <a:pt x="6881367" y="3986257"/>
                </a:moveTo>
                <a:lnTo>
                  <a:pt x="6910970" y="3986257"/>
                </a:lnTo>
                <a:lnTo>
                  <a:pt x="6910970" y="4015859"/>
                </a:lnTo>
                <a:lnTo>
                  <a:pt x="6881367" y="4015859"/>
                </a:lnTo>
                <a:close/>
                <a:moveTo>
                  <a:pt x="6615170" y="3986257"/>
                </a:moveTo>
                <a:lnTo>
                  <a:pt x="6644773" y="3986257"/>
                </a:lnTo>
                <a:lnTo>
                  <a:pt x="6644773" y="4015859"/>
                </a:lnTo>
                <a:lnTo>
                  <a:pt x="6615170" y="4015859"/>
                </a:lnTo>
                <a:close/>
                <a:moveTo>
                  <a:pt x="6349081" y="3986257"/>
                </a:moveTo>
                <a:lnTo>
                  <a:pt x="6378683" y="3986257"/>
                </a:lnTo>
                <a:lnTo>
                  <a:pt x="6378683" y="4015859"/>
                </a:lnTo>
                <a:lnTo>
                  <a:pt x="6349081" y="4015859"/>
                </a:lnTo>
                <a:close/>
                <a:moveTo>
                  <a:pt x="6082884" y="3986257"/>
                </a:moveTo>
                <a:lnTo>
                  <a:pt x="6112486" y="3986257"/>
                </a:lnTo>
                <a:lnTo>
                  <a:pt x="6112486" y="4015859"/>
                </a:lnTo>
                <a:lnTo>
                  <a:pt x="6082884" y="4015859"/>
                </a:lnTo>
                <a:close/>
                <a:moveTo>
                  <a:pt x="5825310" y="3986257"/>
                </a:moveTo>
                <a:lnTo>
                  <a:pt x="5854913" y="3986257"/>
                </a:lnTo>
                <a:lnTo>
                  <a:pt x="5854913" y="4015859"/>
                </a:lnTo>
                <a:lnTo>
                  <a:pt x="5825310" y="4015859"/>
                </a:lnTo>
                <a:close/>
                <a:moveTo>
                  <a:pt x="5559113" y="3986257"/>
                </a:moveTo>
                <a:lnTo>
                  <a:pt x="5588715" y="3986257"/>
                </a:lnTo>
                <a:lnTo>
                  <a:pt x="5588715" y="4015859"/>
                </a:lnTo>
                <a:lnTo>
                  <a:pt x="5559113" y="4015859"/>
                </a:lnTo>
                <a:close/>
                <a:moveTo>
                  <a:pt x="5293024" y="3986257"/>
                </a:moveTo>
                <a:lnTo>
                  <a:pt x="5322626" y="3986257"/>
                </a:lnTo>
                <a:lnTo>
                  <a:pt x="5322626" y="4015859"/>
                </a:lnTo>
                <a:lnTo>
                  <a:pt x="5293024" y="4015859"/>
                </a:lnTo>
                <a:close/>
                <a:moveTo>
                  <a:pt x="5026827" y="3986257"/>
                </a:moveTo>
                <a:lnTo>
                  <a:pt x="5056429" y="3986257"/>
                </a:lnTo>
                <a:lnTo>
                  <a:pt x="5056429" y="4015859"/>
                </a:lnTo>
                <a:lnTo>
                  <a:pt x="5026827" y="4015859"/>
                </a:lnTo>
                <a:close/>
                <a:moveTo>
                  <a:pt x="4760630" y="3986257"/>
                </a:moveTo>
                <a:lnTo>
                  <a:pt x="4790340" y="3986257"/>
                </a:lnTo>
                <a:lnTo>
                  <a:pt x="4790340" y="4015859"/>
                </a:lnTo>
                <a:lnTo>
                  <a:pt x="4760630" y="4015859"/>
                </a:lnTo>
                <a:close/>
                <a:moveTo>
                  <a:pt x="4494541" y="3986257"/>
                </a:moveTo>
                <a:lnTo>
                  <a:pt x="4524144" y="3986257"/>
                </a:lnTo>
                <a:lnTo>
                  <a:pt x="4524144" y="4015859"/>
                </a:lnTo>
                <a:lnTo>
                  <a:pt x="4494541" y="4015859"/>
                </a:lnTo>
                <a:close/>
                <a:moveTo>
                  <a:pt x="4228344" y="3986257"/>
                </a:moveTo>
                <a:lnTo>
                  <a:pt x="4257946" y="3986257"/>
                </a:lnTo>
                <a:lnTo>
                  <a:pt x="4257946" y="4015859"/>
                </a:lnTo>
                <a:lnTo>
                  <a:pt x="4228344" y="4015859"/>
                </a:lnTo>
                <a:close/>
                <a:moveTo>
                  <a:pt x="3962255" y="3986257"/>
                </a:moveTo>
                <a:lnTo>
                  <a:pt x="3991857" y="3986257"/>
                </a:lnTo>
                <a:lnTo>
                  <a:pt x="3991857" y="4015859"/>
                </a:lnTo>
                <a:lnTo>
                  <a:pt x="3962255" y="4015859"/>
                </a:lnTo>
                <a:close/>
                <a:moveTo>
                  <a:pt x="3696058" y="3986257"/>
                </a:moveTo>
                <a:lnTo>
                  <a:pt x="3725661" y="3986257"/>
                </a:lnTo>
                <a:lnTo>
                  <a:pt x="3725661" y="4015859"/>
                </a:lnTo>
                <a:lnTo>
                  <a:pt x="3696058" y="4015859"/>
                </a:lnTo>
                <a:close/>
                <a:moveTo>
                  <a:pt x="3429969" y="3986257"/>
                </a:moveTo>
                <a:lnTo>
                  <a:pt x="3459572" y="3986257"/>
                </a:lnTo>
                <a:lnTo>
                  <a:pt x="3459572" y="4015859"/>
                </a:lnTo>
                <a:lnTo>
                  <a:pt x="3429969" y="4015859"/>
                </a:lnTo>
                <a:close/>
                <a:moveTo>
                  <a:pt x="3163772" y="3986257"/>
                </a:moveTo>
                <a:lnTo>
                  <a:pt x="3193374" y="3986257"/>
                </a:lnTo>
                <a:lnTo>
                  <a:pt x="3193374" y="4015859"/>
                </a:lnTo>
                <a:lnTo>
                  <a:pt x="3163772" y="4015859"/>
                </a:lnTo>
                <a:close/>
                <a:moveTo>
                  <a:pt x="2897575" y="3986257"/>
                </a:moveTo>
                <a:lnTo>
                  <a:pt x="2927178" y="3986257"/>
                </a:lnTo>
                <a:lnTo>
                  <a:pt x="2927178" y="4015859"/>
                </a:lnTo>
                <a:lnTo>
                  <a:pt x="2897575" y="4015859"/>
                </a:lnTo>
                <a:close/>
                <a:moveTo>
                  <a:pt x="2631378" y="3986257"/>
                </a:moveTo>
                <a:lnTo>
                  <a:pt x="2660980" y="3986257"/>
                </a:lnTo>
                <a:lnTo>
                  <a:pt x="2660980" y="4015859"/>
                </a:lnTo>
                <a:lnTo>
                  <a:pt x="2631378" y="4015859"/>
                </a:lnTo>
                <a:close/>
                <a:moveTo>
                  <a:pt x="2365289" y="3986257"/>
                </a:moveTo>
                <a:lnTo>
                  <a:pt x="2394892" y="3986257"/>
                </a:lnTo>
                <a:lnTo>
                  <a:pt x="2394892" y="4015859"/>
                </a:lnTo>
                <a:lnTo>
                  <a:pt x="2365289" y="4015859"/>
                </a:lnTo>
                <a:close/>
                <a:moveTo>
                  <a:pt x="2099092" y="3986257"/>
                </a:moveTo>
                <a:lnTo>
                  <a:pt x="2128695" y="3986257"/>
                </a:lnTo>
                <a:lnTo>
                  <a:pt x="2128695" y="4015859"/>
                </a:lnTo>
                <a:lnTo>
                  <a:pt x="2099092" y="4015859"/>
                </a:lnTo>
                <a:close/>
                <a:moveTo>
                  <a:pt x="1832898" y="3986257"/>
                </a:moveTo>
                <a:lnTo>
                  <a:pt x="1862498" y="3986257"/>
                </a:lnTo>
                <a:lnTo>
                  <a:pt x="1862498" y="4015859"/>
                </a:lnTo>
                <a:lnTo>
                  <a:pt x="1832898" y="4015859"/>
                </a:lnTo>
                <a:close/>
                <a:moveTo>
                  <a:pt x="1566808" y="3986257"/>
                </a:moveTo>
                <a:lnTo>
                  <a:pt x="1596409" y="3986257"/>
                </a:lnTo>
                <a:lnTo>
                  <a:pt x="1596409" y="4015859"/>
                </a:lnTo>
                <a:lnTo>
                  <a:pt x="1566808" y="4015859"/>
                </a:lnTo>
                <a:close/>
                <a:moveTo>
                  <a:pt x="1300611" y="3986257"/>
                </a:moveTo>
                <a:lnTo>
                  <a:pt x="1330213" y="3986257"/>
                </a:lnTo>
                <a:lnTo>
                  <a:pt x="1330213" y="4015859"/>
                </a:lnTo>
                <a:lnTo>
                  <a:pt x="1300611" y="4015859"/>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1672158" y="3720492"/>
                </a:moveTo>
                <a:lnTo>
                  <a:pt x="11701760" y="3720492"/>
                </a:lnTo>
                <a:lnTo>
                  <a:pt x="11701760" y="3750094"/>
                </a:lnTo>
                <a:lnTo>
                  <a:pt x="11672158" y="3750094"/>
                </a:lnTo>
                <a:close/>
                <a:moveTo>
                  <a:pt x="11405961" y="3720492"/>
                </a:moveTo>
                <a:lnTo>
                  <a:pt x="11435563" y="3720492"/>
                </a:lnTo>
                <a:lnTo>
                  <a:pt x="11435563" y="3750094"/>
                </a:lnTo>
                <a:lnTo>
                  <a:pt x="11405961" y="3750094"/>
                </a:lnTo>
                <a:close/>
                <a:moveTo>
                  <a:pt x="11139872" y="3720492"/>
                </a:moveTo>
                <a:lnTo>
                  <a:pt x="11169474" y="3720492"/>
                </a:lnTo>
                <a:lnTo>
                  <a:pt x="11169474" y="3750094"/>
                </a:lnTo>
                <a:lnTo>
                  <a:pt x="11139872" y="3750094"/>
                </a:lnTo>
                <a:close/>
                <a:moveTo>
                  <a:pt x="10873675" y="3720492"/>
                </a:moveTo>
                <a:lnTo>
                  <a:pt x="10903277" y="3720492"/>
                </a:lnTo>
                <a:lnTo>
                  <a:pt x="10903277" y="3750094"/>
                </a:lnTo>
                <a:lnTo>
                  <a:pt x="10873675" y="3750094"/>
                </a:lnTo>
                <a:close/>
                <a:moveTo>
                  <a:pt x="10607478" y="3720492"/>
                </a:moveTo>
                <a:lnTo>
                  <a:pt x="10637188" y="3720492"/>
                </a:lnTo>
                <a:lnTo>
                  <a:pt x="10637188" y="3750094"/>
                </a:lnTo>
                <a:lnTo>
                  <a:pt x="10607478" y="3750094"/>
                </a:lnTo>
                <a:close/>
                <a:moveTo>
                  <a:pt x="10341389" y="3720492"/>
                </a:moveTo>
                <a:lnTo>
                  <a:pt x="10370992" y="3720492"/>
                </a:lnTo>
                <a:lnTo>
                  <a:pt x="10370992" y="3750094"/>
                </a:lnTo>
                <a:lnTo>
                  <a:pt x="10341389" y="3750094"/>
                </a:lnTo>
                <a:close/>
                <a:moveTo>
                  <a:pt x="10075192" y="3720492"/>
                </a:moveTo>
                <a:lnTo>
                  <a:pt x="10104794" y="3720492"/>
                </a:lnTo>
                <a:lnTo>
                  <a:pt x="10104794" y="3750094"/>
                </a:lnTo>
                <a:lnTo>
                  <a:pt x="10075192" y="3750094"/>
                </a:lnTo>
                <a:close/>
                <a:moveTo>
                  <a:pt x="9809103" y="3720492"/>
                </a:moveTo>
                <a:lnTo>
                  <a:pt x="9838705" y="3720492"/>
                </a:lnTo>
                <a:lnTo>
                  <a:pt x="9838705" y="3750094"/>
                </a:lnTo>
                <a:lnTo>
                  <a:pt x="9809103" y="3750094"/>
                </a:lnTo>
                <a:close/>
                <a:moveTo>
                  <a:pt x="9542906" y="3720492"/>
                </a:moveTo>
                <a:lnTo>
                  <a:pt x="9572509" y="3720492"/>
                </a:lnTo>
                <a:lnTo>
                  <a:pt x="9572509" y="3750094"/>
                </a:lnTo>
                <a:lnTo>
                  <a:pt x="9542906" y="3750094"/>
                </a:lnTo>
                <a:close/>
                <a:moveTo>
                  <a:pt x="9276817" y="3720492"/>
                </a:moveTo>
                <a:lnTo>
                  <a:pt x="9306420" y="3720492"/>
                </a:lnTo>
                <a:lnTo>
                  <a:pt x="9306420" y="3750094"/>
                </a:lnTo>
                <a:lnTo>
                  <a:pt x="9276817" y="3750094"/>
                </a:lnTo>
                <a:close/>
                <a:moveTo>
                  <a:pt x="9010620" y="3720492"/>
                </a:moveTo>
                <a:lnTo>
                  <a:pt x="9040222" y="3720492"/>
                </a:lnTo>
                <a:lnTo>
                  <a:pt x="9040222" y="3750094"/>
                </a:lnTo>
                <a:lnTo>
                  <a:pt x="9010620" y="3750094"/>
                </a:lnTo>
                <a:close/>
                <a:moveTo>
                  <a:pt x="8744423" y="3720492"/>
                </a:moveTo>
                <a:lnTo>
                  <a:pt x="8774026" y="3720492"/>
                </a:lnTo>
                <a:lnTo>
                  <a:pt x="8774026" y="3750094"/>
                </a:lnTo>
                <a:lnTo>
                  <a:pt x="8744423" y="3750094"/>
                </a:lnTo>
                <a:close/>
                <a:moveTo>
                  <a:pt x="8478226" y="3720492"/>
                </a:moveTo>
                <a:lnTo>
                  <a:pt x="8507828" y="3720492"/>
                </a:lnTo>
                <a:lnTo>
                  <a:pt x="8507828" y="3750094"/>
                </a:lnTo>
                <a:lnTo>
                  <a:pt x="8478226" y="3750094"/>
                </a:lnTo>
                <a:close/>
                <a:moveTo>
                  <a:pt x="8212137" y="3720492"/>
                </a:moveTo>
                <a:lnTo>
                  <a:pt x="8241740" y="3720492"/>
                </a:lnTo>
                <a:lnTo>
                  <a:pt x="8241740" y="3750094"/>
                </a:lnTo>
                <a:lnTo>
                  <a:pt x="8212137" y="3750094"/>
                </a:lnTo>
                <a:close/>
                <a:moveTo>
                  <a:pt x="7945940" y="3720492"/>
                </a:moveTo>
                <a:lnTo>
                  <a:pt x="7975543" y="3720492"/>
                </a:lnTo>
                <a:lnTo>
                  <a:pt x="7975543" y="3750094"/>
                </a:lnTo>
                <a:lnTo>
                  <a:pt x="7945940" y="3750094"/>
                </a:lnTo>
                <a:close/>
                <a:moveTo>
                  <a:pt x="7679743" y="3720492"/>
                </a:moveTo>
                <a:lnTo>
                  <a:pt x="7709346" y="3720492"/>
                </a:lnTo>
                <a:lnTo>
                  <a:pt x="7709346" y="3750094"/>
                </a:lnTo>
                <a:lnTo>
                  <a:pt x="7679743" y="3750094"/>
                </a:lnTo>
                <a:close/>
                <a:moveTo>
                  <a:pt x="7413653" y="3720492"/>
                </a:moveTo>
                <a:lnTo>
                  <a:pt x="7443256" y="3720492"/>
                </a:lnTo>
                <a:lnTo>
                  <a:pt x="7443256" y="3750094"/>
                </a:lnTo>
                <a:lnTo>
                  <a:pt x="7413653" y="3750094"/>
                </a:lnTo>
                <a:close/>
                <a:moveTo>
                  <a:pt x="7147456" y="3720492"/>
                </a:moveTo>
                <a:lnTo>
                  <a:pt x="7177058" y="3720492"/>
                </a:lnTo>
                <a:lnTo>
                  <a:pt x="7177058" y="3750094"/>
                </a:lnTo>
                <a:lnTo>
                  <a:pt x="7147456" y="3750094"/>
                </a:lnTo>
                <a:close/>
                <a:moveTo>
                  <a:pt x="6881367" y="3720492"/>
                </a:moveTo>
                <a:lnTo>
                  <a:pt x="6910970" y="3720492"/>
                </a:lnTo>
                <a:lnTo>
                  <a:pt x="6910970" y="3750094"/>
                </a:lnTo>
                <a:lnTo>
                  <a:pt x="6881367" y="3750094"/>
                </a:lnTo>
                <a:close/>
                <a:moveTo>
                  <a:pt x="6615170" y="3720492"/>
                </a:moveTo>
                <a:lnTo>
                  <a:pt x="6644773" y="3720492"/>
                </a:lnTo>
                <a:lnTo>
                  <a:pt x="6644773" y="3750094"/>
                </a:lnTo>
                <a:lnTo>
                  <a:pt x="6615170" y="3750094"/>
                </a:lnTo>
                <a:close/>
                <a:moveTo>
                  <a:pt x="6349081" y="3720492"/>
                </a:moveTo>
                <a:lnTo>
                  <a:pt x="6378683" y="3720492"/>
                </a:lnTo>
                <a:lnTo>
                  <a:pt x="6378683" y="3750094"/>
                </a:lnTo>
                <a:lnTo>
                  <a:pt x="6349081" y="3750094"/>
                </a:lnTo>
                <a:close/>
                <a:moveTo>
                  <a:pt x="6082884" y="3720492"/>
                </a:moveTo>
                <a:lnTo>
                  <a:pt x="6112486" y="3720492"/>
                </a:lnTo>
                <a:lnTo>
                  <a:pt x="6112486" y="3750094"/>
                </a:lnTo>
                <a:lnTo>
                  <a:pt x="6082884" y="3750094"/>
                </a:lnTo>
                <a:close/>
                <a:moveTo>
                  <a:pt x="5825310" y="3720492"/>
                </a:moveTo>
                <a:lnTo>
                  <a:pt x="5854913" y="3720492"/>
                </a:lnTo>
                <a:lnTo>
                  <a:pt x="5854913" y="3750094"/>
                </a:lnTo>
                <a:lnTo>
                  <a:pt x="5825310" y="3750094"/>
                </a:lnTo>
                <a:close/>
                <a:moveTo>
                  <a:pt x="5559113" y="3720492"/>
                </a:moveTo>
                <a:lnTo>
                  <a:pt x="5588715" y="3720492"/>
                </a:lnTo>
                <a:lnTo>
                  <a:pt x="5588715" y="3750094"/>
                </a:lnTo>
                <a:lnTo>
                  <a:pt x="5559113" y="3750094"/>
                </a:lnTo>
                <a:close/>
                <a:moveTo>
                  <a:pt x="5293024" y="3720492"/>
                </a:moveTo>
                <a:lnTo>
                  <a:pt x="5322626" y="3720492"/>
                </a:lnTo>
                <a:lnTo>
                  <a:pt x="5322626" y="3750094"/>
                </a:lnTo>
                <a:lnTo>
                  <a:pt x="5293024" y="3750094"/>
                </a:lnTo>
                <a:close/>
                <a:moveTo>
                  <a:pt x="5026827" y="3720492"/>
                </a:moveTo>
                <a:lnTo>
                  <a:pt x="5056429" y="3720492"/>
                </a:lnTo>
                <a:lnTo>
                  <a:pt x="5056429" y="3750094"/>
                </a:lnTo>
                <a:lnTo>
                  <a:pt x="5026827" y="3750094"/>
                </a:lnTo>
                <a:close/>
                <a:moveTo>
                  <a:pt x="4760630" y="3720492"/>
                </a:moveTo>
                <a:lnTo>
                  <a:pt x="4790340" y="3720492"/>
                </a:lnTo>
                <a:lnTo>
                  <a:pt x="4790340" y="3750094"/>
                </a:lnTo>
                <a:lnTo>
                  <a:pt x="4760630" y="3750094"/>
                </a:lnTo>
                <a:close/>
                <a:moveTo>
                  <a:pt x="4494541" y="3720492"/>
                </a:moveTo>
                <a:lnTo>
                  <a:pt x="4524144" y="3720492"/>
                </a:lnTo>
                <a:lnTo>
                  <a:pt x="4524144" y="3750094"/>
                </a:lnTo>
                <a:lnTo>
                  <a:pt x="4494541" y="3750094"/>
                </a:lnTo>
                <a:close/>
                <a:moveTo>
                  <a:pt x="4228344" y="3720492"/>
                </a:moveTo>
                <a:lnTo>
                  <a:pt x="4257946" y="3720492"/>
                </a:lnTo>
                <a:lnTo>
                  <a:pt x="4257946" y="3750094"/>
                </a:lnTo>
                <a:lnTo>
                  <a:pt x="4228344" y="3750094"/>
                </a:lnTo>
                <a:close/>
                <a:moveTo>
                  <a:pt x="3962255" y="3720492"/>
                </a:moveTo>
                <a:lnTo>
                  <a:pt x="3991857" y="3720492"/>
                </a:lnTo>
                <a:lnTo>
                  <a:pt x="3991857" y="3750094"/>
                </a:lnTo>
                <a:lnTo>
                  <a:pt x="3962255" y="3750094"/>
                </a:lnTo>
                <a:close/>
                <a:moveTo>
                  <a:pt x="3696058" y="3720492"/>
                </a:moveTo>
                <a:lnTo>
                  <a:pt x="3725661" y="3720492"/>
                </a:lnTo>
                <a:lnTo>
                  <a:pt x="3725661" y="3750094"/>
                </a:lnTo>
                <a:lnTo>
                  <a:pt x="3696058" y="3750094"/>
                </a:lnTo>
                <a:close/>
                <a:moveTo>
                  <a:pt x="3429969" y="3720492"/>
                </a:moveTo>
                <a:lnTo>
                  <a:pt x="3459572" y="3720492"/>
                </a:lnTo>
                <a:lnTo>
                  <a:pt x="3459572" y="3750094"/>
                </a:lnTo>
                <a:lnTo>
                  <a:pt x="3429969" y="3750094"/>
                </a:lnTo>
                <a:close/>
                <a:moveTo>
                  <a:pt x="3163772" y="3720492"/>
                </a:moveTo>
                <a:lnTo>
                  <a:pt x="3193374" y="3720492"/>
                </a:lnTo>
                <a:lnTo>
                  <a:pt x="3193374" y="3750094"/>
                </a:lnTo>
                <a:lnTo>
                  <a:pt x="3163772" y="3750094"/>
                </a:lnTo>
                <a:close/>
                <a:moveTo>
                  <a:pt x="2897575" y="3720492"/>
                </a:moveTo>
                <a:lnTo>
                  <a:pt x="2927178" y="3720492"/>
                </a:lnTo>
                <a:lnTo>
                  <a:pt x="2927178" y="3750094"/>
                </a:lnTo>
                <a:lnTo>
                  <a:pt x="2897575" y="3750094"/>
                </a:lnTo>
                <a:close/>
                <a:moveTo>
                  <a:pt x="2631378" y="3720492"/>
                </a:moveTo>
                <a:lnTo>
                  <a:pt x="2660980" y="3720492"/>
                </a:lnTo>
                <a:lnTo>
                  <a:pt x="2660980" y="3750094"/>
                </a:lnTo>
                <a:lnTo>
                  <a:pt x="2631378" y="3750094"/>
                </a:lnTo>
                <a:close/>
                <a:moveTo>
                  <a:pt x="2365289" y="3720492"/>
                </a:moveTo>
                <a:lnTo>
                  <a:pt x="2394892" y="3720492"/>
                </a:lnTo>
                <a:lnTo>
                  <a:pt x="2394892" y="3750094"/>
                </a:lnTo>
                <a:lnTo>
                  <a:pt x="2365289" y="3750094"/>
                </a:lnTo>
                <a:close/>
                <a:moveTo>
                  <a:pt x="2099092" y="3720492"/>
                </a:moveTo>
                <a:lnTo>
                  <a:pt x="2128695" y="3720492"/>
                </a:lnTo>
                <a:lnTo>
                  <a:pt x="2128695" y="3750094"/>
                </a:lnTo>
                <a:lnTo>
                  <a:pt x="2099092" y="3750094"/>
                </a:lnTo>
                <a:close/>
                <a:moveTo>
                  <a:pt x="1832898" y="3720492"/>
                </a:moveTo>
                <a:lnTo>
                  <a:pt x="1862498" y="3720492"/>
                </a:lnTo>
                <a:lnTo>
                  <a:pt x="1862498" y="3750094"/>
                </a:lnTo>
                <a:lnTo>
                  <a:pt x="1832898" y="3750094"/>
                </a:lnTo>
                <a:close/>
                <a:moveTo>
                  <a:pt x="1566808" y="3720492"/>
                </a:moveTo>
                <a:lnTo>
                  <a:pt x="1596409" y="3720492"/>
                </a:lnTo>
                <a:lnTo>
                  <a:pt x="1596409" y="3750094"/>
                </a:lnTo>
                <a:lnTo>
                  <a:pt x="1566808" y="3750094"/>
                </a:lnTo>
                <a:close/>
                <a:moveTo>
                  <a:pt x="1300611" y="3720492"/>
                </a:moveTo>
                <a:lnTo>
                  <a:pt x="1330213" y="3720492"/>
                </a:lnTo>
                <a:lnTo>
                  <a:pt x="1330213" y="3750094"/>
                </a:lnTo>
                <a:lnTo>
                  <a:pt x="1300611" y="3750094"/>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1672158" y="3454727"/>
                </a:moveTo>
                <a:lnTo>
                  <a:pt x="11701760" y="3454727"/>
                </a:lnTo>
                <a:lnTo>
                  <a:pt x="11701760" y="3484330"/>
                </a:lnTo>
                <a:lnTo>
                  <a:pt x="11672158" y="3484330"/>
                </a:lnTo>
                <a:close/>
                <a:moveTo>
                  <a:pt x="11405961" y="3454727"/>
                </a:moveTo>
                <a:lnTo>
                  <a:pt x="11435563" y="3454727"/>
                </a:lnTo>
                <a:lnTo>
                  <a:pt x="11435563" y="3484330"/>
                </a:lnTo>
                <a:lnTo>
                  <a:pt x="11405961" y="3484330"/>
                </a:lnTo>
                <a:close/>
                <a:moveTo>
                  <a:pt x="11139872" y="3454727"/>
                </a:moveTo>
                <a:lnTo>
                  <a:pt x="11169474" y="3454727"/>
                </a:lnTo>
                <a:lnTo>
                  <a:pt x="11169474" y="3484330"/>
                </a:lnTo>
                <a:lnTo>
                  <a:pt x="11139872" y="3484330"/>
                </a:lnTo>
                <a:close/>
                <a:moveTo>
                  <a:pt x="10873675" y="3454727"/>
                </a:moveTo>
                <a:lnTo>
                  <a:pt x="10903277" y="3454727"/>
                </a:lnTo>
                <a:lnTo>
                  <a:pt x="10903277" y="3484330"/>
                </a:lnTo>
                <a:lnTo>
                  <a:pt x="10873675" y="3484330"/>
                </a:lnTo>
                <a:close/>
                <a:moveTo>
                  <a:pt x="10607478" y="3454727"/>
                </a:moveTo>
                <a:lnTo>
                  <a:pt x="10637188" y="3454727"/>
                </a:lnTo>
                <a:lnTo>
                  <a:pt x="10637188" y="3484330"/>
                </a:lnTo>
                <a:lnTo>
                  <a:pt x="10607478" y="3484330"/>
                </a:lnTo>
                <a:close/>
                <a:moveTo>
                  <a:pt x="10341389" y="3454727"/>
                </a:moveTo>
                <a:lnTo>
                  <a:pt x="10370992" y="3454727"/>
                </a:lnTo>
                <a:lnTo>
                  <a:pt x="10370992" y="3484330"/>
                </a:lnTo>
                <a:lnTo>
                  <a:pt x="10341389" y="3484330"/>
                </a:lnTo>
                <a:close/>
                <a:moveTo>
                  <a:pt x="10075192" y="3454727"/>
                </a:moveTo>
                <a:lnTo>
                  <a:pt x="10104794" y="3454727"/>
                </a:lnTo>
                <a:lnTo>
                  <a:pt x="10104794" y="3484330"/>
                </a:lnTo>
                <a:lnTo>
                  <a:pt x="10075192" y="3484330"/>
                </a:lnTo>
                <a:close/>
                <a:moveTo>
                  <a:pt x="9809103" y="3454727"/>
                </a:moveTo>
                <a:lnTo>
                  <a:pt x="9838705" y="3454727"/>
                </a:lnTo>
                <a:lnTo>
                  <a:pt x="9838705" y="3484330"/>
                </a:lnTo>
                <a:lnTo>
                  <a:pt x="9809103" y="3484330"/>
                </a:lnTo>
                <a:close/>
                <a:moveTo>
                  <a:pt x="9542906" y="3454727"/>
                </a:moveTo>
                <a:lnTo>
                  <a:pt x="9572509" y="3454727"/>
                </a:lnTo>
                <a:lnTo>
                  <a:pt x="9572509" y="3484330"/>
                </a:lnTo>
                <a:lnTo>
                  <a:pt x="9542906" y="3484330"/>
                </a:lnTo>
                <a:close/>
                <a:moveTo>
                  <a:pt x="9276817" y="3454727"/>
                </a:moveTo>
                <a:lnTo>
                  <a:pt x="9306420" y="3454727"/>
                </a:lnTo>
                <a:lnTo>
                  <a:pt x="9306420" y="3484330"/>
                </a:lnTo>
                <a:lnTo>
                  <a:pt x="9276817" y="3484330"/>
                </a:lnTo>
                <a:close/>
                <a:moveTo>
                  <a:pt x="9010620" y="3454727"/>
                </a:moveTo>
                <a:lnTo>
                  <a:pt x="9040222" y="3454727"/>
                </a:lnTo>
                <a:lnTo>
                  <a:pt x="9040222" y="3484330"/>
                </a:lnTo>
                <a:lnTo>
                  <a:pt x="9010620" y="3484330"/>
                </a:lnTo>
                <a:close/>
                <a:moveTo>
                  <a:pt x="8744423" y="3454727"/>
                </a:moveTo>
                <a:lnTo>
                  <a:pt x="8774026" y="3454727"/>
                </a:lnTo>
                <a:lnTo>
                  <a:pt x="8774026" y="3484330"/>
                </a:lnTo>
                <a:lnTo>
                  <a:pt x="8744423" y="3484330"/>
                </a:lnTo>
                <a:close/>
                <a:moveTo>
                  <a:pt x="8478226" y="3454727"/>
                </a:moveTo>
                <a:lnTo>
                  <a:pt x="8507828" y="3454727"/>
                </a:lnTo>
                <a:lnTo>
                  <a:pt x="8507828" y="3484330"/>
                </a:lnTo>
                <a:lnTo>
                  <a:pt x="8478226" y="3484330"/>
                </a:lnTo>
                <a:close/>
                <a:moveTo>
                  <a:pt x="8212137" y="3454727"/>
                </a:moveTo>
                <a:lnTo>
                  <a:pt x="8241740" y="3454727"/>
                </a:lnTo>
                <a:lnTo>
                  <a:pt x="8241740" y="3484330"/>
                </a:lnTo>
                <a:lnTo>
                  <a:pt x="8212137" y="3484330"/>
                </a:lnTo>
                <a:close/>
                <a:moveTo>
                  <a:pt x="7945940" y="3454727"/>
                </a:moveTo>
                <a:lnTo>
                  <a:pt x="7975543" y="3454727"/>
                </a:lnTo>
                <a:lnTo>
                  <a:pt x="7975543" y="3484330"/>
                </a:lnTo>
                <a:lnTo>
                  <a:pt x="7945940" y="3484330"/>
                </a:lnTo>
                <a:close/>
                <a:moveTo>
                  <a:pt x="7679743" y="3454727"/>
                </a:moveTo>
                <a:lnTo>
                  <a:pt x="7709346" y="3454727"/>
                </a:lnTo>
                <a:lnTo>
                  <a:pt x="7709346" y="3484330"/>
                </a:lnTo>
                <a:lnTo>
                  <a:pt x="7679743" y="3484330"/>
                </a:lnTo>
                <a:close/>
                <a:moveTo>
                  <a:pt x="7413653" y="3454727"/>
                </a:moveTo>
                <a:lnTo>
                  <a:pt x="7443256" y="3454727"/>
                </a:lnTo>
                <a:lnTo>
                  <a:pt x="7443256" y="3484330"/>
                </a:lnTo>
                <a:lnTo>
                  <a:pt x="7413653" y="3484330"/>
                </a:lnTo>
                <a:close/>
                <a:moveTo>
                  <a:pt x="7147456" y="3454727"/>
                </a:moveTo>
                <a:lnTo>
                  <a:pt x="7177058" y="3454727"/>
                </a:lnTo>
                <a:lnTo>
                  <a:pt x="7177058" y="3484330"/>
                </a:lnTo>
                <a:lnTo>
                  <a:pt x="7147456" y="3484330"/>
                </a:lnTo>
                <a:close/>
                <a:moveTo>
                  <a:pt x="6881367" y="3454727"/>
                </a:moveTo>
                <a:lnTo>
                  <a:pt x="6910970" y="3454727"/>
                </a:lnTo>
                <a:lnTo>
                  <a:pt x="6910970" y="3484330"/>
                </a:lnTo>
                <a:lnTo>
                  <a:pt x="6881367" y="3484330"/>
                </a:lnTo>
                <a:close/>
                <a:moveTo>
                  <a:pt x="6615170" y="3454727"/>
                </a:moveTo>
                <a:lnTo>
                  <a:pt x="6644773" y="3454727"/>
                </a:lnTo>
                <a:lnTo>
                  <a:pt x="6644773" y="3484330"/>
                </a:lnTo>
                <a:lnTo>
                  <a:pt x="6615170" y="3484330"/>
                </a:lnTo>
                <a:close/>
                <a:moveTo>
                  <a:pt x="6349081" y="3454727"/>
                </a:moveTo>
                <a:lnTo>
                  <a:pt x="6378683" y="3454727"/>
                </a:lnTo>
                <a:lnTo>
                  <a:pt x="6378683" y="3484330"/>
                </a:lnTo>
                <a:lnTo>
                  <a:pt x="6349081" y="3484330"/>
                </a:lnTo>
                <a:close/>
                <a:moveTo>
                  <a:pt x="6082884" y="3454727"/>
                </a:moveTo>
                <a:lnTo>
                  <a:pt x="6112486" y="3454727"/>
                </a:lnTo>
                <a:lnTo>
                  <a:pt x="6112486" y="3484330"/>
                </a:lnTo>
                <a:lnTo>
                  <a:pt x="6082884" y="3484330"/>
                </a:lnTo>
                <a:close/>
                <a:moveTo>
                  <a:pt x="5825310" y="3454727"/>
                </a:moveTo>
                <a:lnTo>
                  <a:pt x="5854913" y="3454727"/>
                </a:lnTo>
                <a:lnTo>
                  <a:pt x="5854913" y="3484330"/>
                </a:lnTo>
                <a:lnTo>
                  <a:pt x="5825310" y="3484330"/>
                </a:lnTo>
                <a:close/>
                <a:moveTo>
                  <a:pt x="5559113" y="3454727"/>
                </a:moveTo>
                <a:lnTo>
                  <a:pt x="5588715" y="3454727"/>
                </a:lnTo>
                <a:lnTo>
                  <a:pt x="5588715" y="3484330"/>
                </a:lnTo>
                <a:lnTo>
                  <a:pt x="5559113" y="3484330"/>
                </a:lnTo>
                <a:close/>
                <a:moveTo>
                  <a:pt x="5293024" y="3454727"/>
                </a:moveTo>
                <a:lnTo>
                  <a:pt x="5322626" y="3454727"/>
                </a:lnTo>
                <a:lnTo>
                  <a:pt x="5322626" y="3484330"/>
                </a:lnTo>
                <a:lnTo>
                  <a:pt x="5293024" y="3484330"/>
                </a:lnTo>
                <a:close/>
                <a:moveTo>
                  <a:pt x="5026827" y="3454727"/>
                </a:moveTo>
                <a:lnTo>
                  <a:pt x="5056429" y="3454727"/>
                </a:lnTo>
                <a:lnTo>
                  <a:pt x="5056429" y="3484330"/>
                </a:lnTo>
                <a:lnTo>
                  <a:pt x="5026827" y="3484330"/>
                </a:lnTo>
                <a:close/>
                <a:moveTo>
                  <a:pt x="4760630" y="3454727"/>
                </a:moveTo>
                <a:lnTo>
                  <a:pt x="4790340" y="3454727"/>
                </a:lnTo>
                <a:lnTo>
                  <a:pt x="4790340" y="3484330"/>
                </a:lnTo>
                <a:lnTo>
                  <a:pt x="4760630" y="3484330"/>
                </a:lnTo>
                <a:close/>
                <a:moveTo>
                  <a:pt x="4494541" y="3454727"/>
                </a:moveTo>
                <a:lnTo>
                  <a:pt x="4524144" y="3454727"/>
                </a:lnTo>
                <a:lnTo>
                  <a:pt x="4524144" y="3484330"/>
                </a:lnTo>
                <a:lnTo>
                  <a:pt x="4494541" y="3484330"/>
                </a:lnTo>
                <a:close/>
                <a:moveTo>
                  <a:pt x="4228344" y="3454727"/>
                </a:moveTo>
                <a:lnTo>
                  <a:pt x="4257946" y="3454727"/>
                </a:lnTo>
                <a:lnTo>
                  <a:pt x="4257946" y="3484330"/>
                </a:lnTo>
                <a:lnTo>
                  <a:pt x="4228344" y="3484330"/>
                </a:lnTo>
                <a:close/>
                <a:moveTo>
                  <a:pt x="3962255" y="3454727"/>
                </a:moveTo>
                <a:lnTo>
                  <a:pt x="3991857" y="3454727"/>
                </a:lnTo>
                <a:lnTo>
                  <a:pt x="3991857" y="3484330"/>
                </a:lnTo>
                <a:lnTo>
                  <a:pt x="3962255" y="3484330"/>
                </a:lnTo>
                <a:close/>
                <a:moveTo>
                  <a:pt x="3696058" y="3454727"/>
                </a:moveTo>
                <a:lnTo>
                  <a:pt x="3725661" y="3454727"/>
                </a:lnTo>
                <a:lnTo>
                  <a:pt x="3725661" y="3484330"/>
                </a:lnTo>
                <a:lnTo>
                  <a:pt x="3696058" y="3484330"/>
                </a:lnTo>
                <a:close/>
                <a:moveTo>
                  <a:pt x="3429969" y="3454727"/>
                </a:moveTo>
                <a:lnTo>
                  <a:pt x="3459572" y="3454727"/>
                </a:lnTo>
                <a:lnTo>
                  <a:pt x="3459572" y="3484330"/>
                </a:lnTo>
                <a:lnTo>
                  <a:pt x="3429969" y="3484330"/>
                </a:lnTo>
                <a:close/>
                <a:moveTo>
                  <a:pt x="3163772" y="3454727"/>
                </a:moveTo>
                <a:lnTo>
                  <a:pt x="3193374" y="3454727"/>
                </a:lnTo>
                <a:lnTo>
                  <a:pt x="3193374" y="3484330"/>
                </a:lnTo>
                <a:lnTo>
                  <a:pt x="3163772" y="3484330"/>
                </a:lnTo>
                <a:close/>
                <a:moveTo>
                  <a:pt x="2897575" y="3454727"/>
                </a:moveTo>
                <a:lnTo>
                  <a:pt x="2927178" y="3454727"/>
                </a:lnTo>
                <a:lnTo>
                  <a:pt x="2927178" y="3484330"/>
                </a:lnTo>
                <a:lnTo>
                  <a:pt x="2897575" y="3484330"/>
                </a:lnTo>
                <a:close/>
                <a:moveTo>
                  <a:pt x="2631378" y="3454727"/>
                </a:moveTo>
                <a:lnTo>
                  <a:pt x="2660980" y="3454727"/>
                </a:lnTo>
                <a:lnTo>
                  <a:pt x="2660980" y="3484330"/>
                </a:lnTo>
                <a:lnTo>
                  <a:pt x="2631378" y="3484330"/>
                </a:lnTo>
                <a:close/>
                <a:moveTo>
                  <a:pt x="2365289" y="3454727"/>
                </a:moveTo>
                <a:lnTo>
                  <a:pt x="2394892" y="3454727"/>
                </a:lnTo>
                <a:lnTo>
                  <a:pt x="2394892" y="3484330"/>
                </a:lnTo>
                <a:lnTo>
                  <a:pt x="2365289" y="3484330"/>
                </a:lnTo>
                <a:close/>
                <a:moveTo>
                  <a:pt x="2099092" y="3454727"/>
                </a:moveTo>
                <a:lnTo>
                  <a:pt x="2128695" y="3454727"/>
                </a:lnTo>
                <a:lnTo>
                  <a:pt x="2128695" y="3484330"/>
                </a:lnTo>
                <a:lnTo>
                  <a:pt x="2099092" y="3484330"/>
                </a:lnTo>
                <a:close/>
                <a:moveTo>
                  <a:pt x="1832898" y="3454727"/>
                </a:moveTo>
                <a:lnTo>
                  <a:pt x="1862498" y="3454727"/>
                </a:lnTo>
                <a:lnTo>
                  <a:pt x="1862498" y="3484330"/>
                </a:lnTo>
                <a:lnTo>
                  <a:pt x="1832898" y="3484330"/>
                </a:lnTo>
                <a:close/>
                <a:moveTo>
                  <a:pt x="1566808" y="3454727"/>
                </a:moveTo>
                <a:lnTo>
                  <a:pt x="1596409" y="3454727"/>
                </a:lnTo>
                <a:lnTo>
                  <a:pt x="1596409" y="3484330"/>
                </a:lnTo>
                <a:lnTo>
                  <a:pt x="1566808" y="3484330"/>
                </a:lnTo>
                <a:close/>
                <a:moveTo>
                  <a:pt x="1300611" y="3454727"/>
                </a:moveTo>
                <a:lnTo>
                  <a:pt x="1330213" y="3454727"/>
                </a:lnTo>
                <a:lnTo>
                  <a:pt x="1330213" y="3484330"/>
                </a:lnTo>
                <a:lnTo>
                  <a:pt x="1300611" y="3484330"/>
                </a:lnTo>
                <a:close/>
                <a:moveTo>
                  <a:pt x="1034520" y="3454727"/>
                </a:moveTo>
                <a:lnTo>
                  <a:pt x="1064123" y="3454727"/>
                </a:lnTo>
                <a:lnTo>
                  <a:pt x="1064123" y="3484330"/>
                </a:lnTo>
                <a:lnTo>
                  <a:pt x="1034520" y="3484330"/>
                </a:lnTo>
                <a:close/>
                <a:moveTo>
                  <a:pt x="768327" y="3454727"/>
                </a:moveTo>
                <a:lnTo>
                  <a:pt x="797926" y="3454727"/>
                </a:lnTo>
                <a:lnTo>
                  <a:pt x="797926" y="3484330"/>
                </a:lnTo>
                <a:lnTo>
                  <a:pt x="768327" y="3484330"/>
                </a:lnTo>
                <a:close/>
                <a:moveTo>
                  <a:pt x="502236" y="3454727"/>
                </a:moveTo>
                <a:lnTo>
                  <a:pt x="531839" y="3454727"/>
                </a:lnTo>
                <a:lnTo>
                  <a:pt x="531839" y="3484330"/>
                </a:lnTo>
                <a:lnTo>
                  <a:pt x="502236" y="3484330"/>
                </a:lnTo>
                <a:close/>
                <a:moveTo>
                  <a:pt x="236037" y="3454727"/>
                </a:moveTo>
                <a:lnTo>
                  <a:pt x="265640" y="3454727"/>
                </a:lnTo>
                <a:lnTo>
                  <a:pt x="265640" y="3484330"/>
                </a:lnTo>
                <a:lnTo>
                  <a:pt x="236037" y="3484330"/>
                </a:lnTo>
                <a:close/>
                <a:moveTo>
                  <a:pt x="1" y="3454727"/>
                </a:moveTo>
                <a:lnTo>
                  <a:pt x="29603" y="3454727"/>
                </a:lnTo>
                <a:lnTo>
                  <a:pt x="29603" y="3484330"/>
                </a:lnTo>
                <a:lnTo>
                  <a:pt x="1" y="3484330"/>
                </a:lnTo>
                <a:close/>
                <a:moveTo>
                  <a:pt x="11672158" y="3189089"/>
                </a:moveTo>
                <a:lnTo>
                  <a:pt x="11701760" y="3189089"/>
                </a:lnTo>
                <a:lnTo>
                  <a:pt x="11701760" y="3218566"/>
                </a:lnTo>
                <a:lnTo>
                  <a:pt x="11672158" y="3218566"/>
                </a:lnTo>
                <a:close/>
                <a:moveTo>
                  <a:pt x="11405961" y="3189089"/>
                </a:moveTo>
                <a:lnTo>
                  <a:pt x="11435563" y="3189089"/>
                </a:lnTo>
                <a:lnTo>
                  <a:pt x="11435563" y="3218566"/>
                </a:lnTo>
                <a:lnTo>
                  <a:pt x="11405961" y="3218566"/>
                </a:lnTo>
                <a:close/>
                <a:moveTo>
                  <a:pt x="5825310" y="3189089"/>
                </a:moveTo>
                <a:lnTo>
                  <a:pt x="5854913" y="3189089"/>
                </a:lnTo>
                <a:lnTo>
                  <a:pt x="5854913" y="3218566"/>
                </a:lnTo>
                <a:lnTo>
                  <a:pt x="5825310" y="3218566"/>
                </a:lnTo>
                <a:close/>
                <a:moveTo>
                  <a:pt x="5559113" y="3189089"/>
                </a:moveTo>
                <a:lnTo>
                  <a:pt x="5588715" y="3189089"/>
                </a:lnTo>
                <a:lnTo>
                  <a:pt x="5588715" y="3218566"/>
                </a:lnTo>
                <a:lnTo>
                  <a:pt x="5559113" y="3218566"/>
                </a:lnTo>
                <a:close/>
                <a:moveTo>
                  <a:pt x="11139872" y="3189087"/>
                </a:moveTo>
                <a:lnTo>
                  <a:pt x="11169474" y="3189087"/>
                </a:lnTo>
                <a:lnTo>
                  <a:pt x="11169474" y="3218566"/>
                </a:lnTo>
                <a:lnTo>
                  <a:pt x="11139872" y="3218566"/>
                </a:lnTo>
                <a:close/>
                <a:moveTo>
                  <a:pt x="10873675" y="3189087"/>
                </a:moveTo>
                <a:lnTo>
                  <a:pt x="10903277" y="3189087"/>
                </a:lnTo>
                <a:lnTo>
                  <a:pt x="10903277" y="3218566"/>
                </a:lnTo>
                <a:lnTo>
                  <a:pt x="10873675" y="3218566"/>
                </a:lnTo>
                <a:close/>
                <a:moveTo>
                  <a:pt x="5293024" y="3189087"/>
                </a:moveTo>
                <a:lnTo>
                  <a:pt x="5322626" y="3189087"/>
                </a:lnTo>
                <a:lnTo>
                  <a:pt x="5322626" y="3218566"/>
                </a:lnTo>
                <a:lnTo>
                  <a:pt x="5293024" y="3218566"/>
                </a:lnTo>
                <a:close/>
                <a:moveTo>
                  <a:pt x="5026827" y="3189087"/>
                </a:moveTo>
                <a:lnTo>
                  <a:pt x="5056429" y="3189087"/>
                </a:lnTo>
                <a:lnTo>
                  <a:pt x="5056429" y="3218566"/>
                </a:lnTo>
                <a:lnTo>
                  <a:pt x="5026827" y="3218566"/>
                </a:lnTo>
                <a:close/>
                <a:moveTo>
                  <a:pt x="10607478" y="3189086"/>
                </a:moveTo>
                <a:lnTo>
                  <a:pt x="10637188" y="3189086"/>
                </a:lnTo>
                <a:lnTo>
                  <a:pt x="10637188" y="3218566"/>
                </a:lnTo>
                <a:lnTo>
                  <a:pt x="10607478" y="3218566"/>
                </a:lnTo>
                <a:close/>
                <a:moveTo>
                  <a:pt x="4760630" y="3189086"/>
                </a:moveTo>
                <a:lnTo>
                  <a:pt x="4790340" y="3189086"/>
                </a:lnTo>
                <a:lnTo>
                  <a:pt x="4790340" y="3218566"/>
                </a:lnTo>
                <a:lnTo>
                  <a:pt x="4760630" y="3218566"/>
                </a:lnTo>
                <a:close/>
                <a:moveTo>
                  <a:pt x="10341389" y="3189085"/>
                </a:moveTo>
                <a:lnTo>
                  <a:pt x="10370992" y="3189085"/>
                </a:lnTo>
                <a:lnTo>
                  <a:pt x="10370992" y="3218566"/>
                </a:lnTo>
                <a:lnTo>
                  <a:pt x="10341389" y="3218566"/>
                </a:lnTo>
                <a:close/>
                <a:moveTo>
                  <a:pt x="4494541" y="3189085"/>
                </a:moveTo>
                <a:lnTo>
                  <a:pt x="4524144" y="3189085"/>
                </a:lnTo>
                <a:lnTo>
                  <a:pt x="4524144" y="3218566"/>
                </a:lnTo>
                <a:lnTo>
                  <a:pt x="4494541" y="3218566"/>
                </a:lnTo>
                <a:close/>
                <a:moveTo>
                  <a:pt x="10075192" y="3189084"/>
                </a:moveTo>
                <a:lnTo>
                  <a:pt x="10104794" y="3189084"/>
                </a:lnTo>
                <a:lnTo>
                  <a:pt x="10104794" y="3218566"/>
                </a:lnTo>
                <a:lnTo>
                  <a:pt x="10075192" y="3218566"/>
                </a:lnTo>
                <a:close/>
                <a:moveTo>
                  <a:pt x="4228344" y="3189084"/>
                </a:moveTo>
                <a:lnTo>
                  <a:pt x="4257946" y="3189084"/>
                </a:lnTo>
                <a:lnTo>
                  <a:pt x="4257946" y="3218566"/>
                </a:lnTo>
                <a:lnTo>
                  <a:pt x="4228344" y="3218566"/>
                </a:lnTo>
                <a:close/>
                <a:moveTo>
                  <a:pt x="9809103" y="3189083"/>
                </a:moveTo>
                <a:lnTo>
                  <a:pt x="9838705" y="3189083"/>
                </a:lnTo>
                <a:lnTo>
                  <a:pt x="9838705" y="3218566"/>
                </a:lnTo>
                <a:lnTo>
                  <a:pt x="9809103" y="3218566"/>
                </a:lnTo>
                <a:close/>
                <a:moveTo>
                  <a:pt x="3962255" y="3189083"/>
                </a:moveTo>
                <a:lnTo>
                  <a:pt x="3991857" y="3189083"/>
                </a:lnTo>
                <a:lnTo>
                  <a:pt x="3991857" y="3218566"/>
                </a:lnTo>
                <a:lnTo>
                  <a:pt x="3962255" y="3218566"/>
                </a:lnTo>
                <a:close/>
                <a:moveTo>
                  <a:pt x="9542906" y="3189082"/>
                </a:moveTo>
                <a:lnTo>
                  <a:pt x="9572509" y="3189082"/>
                </a:lnTo>
                <a:lnTo>
                  <a:pt x="9572509" y="3218566"/>
                </a:lnTo>
                <a:lnTo>
                  <a:pt x="9542906" y="3218566"/>
                </a:lnTo>
                <a:close/>
                <a:moveTo>
                  <a:pt x="3696058" y="3189082"/>
                </a:moveTo>
                <a:lnTo>
                  <a:pt x="3725661" y="3189082"/>
                </a:lnTo>
                <a:lnTo>
                  <a:pt x="3725661" y="3218566"/>
                </a:lnTo>
                <a:lnTo>
                  <a:pt x="3696058" y="3218566"/>
                </a:lnTo>
                <a:close/>
                <a:moveTo>
                  <a:pt x="9276817" y="3189081"/>
                </a:moveTo>
                <a:lnTo>
                  <a:pt x="9306420" y="3189081"/>
                </a:lnTo>
                <a:lnTo>
                  <a:pt x="9306420" y="3218566"/>
                </a:lnTo>
                <a:lnTo>
                  <a:pt x="9276817" y="3218566"/>
                </a:lnTo>
                <a:close/>
                <a:moveTo>
                  <a:pt x="9010620" y="3189081"/>
                </a:moveTo>
                <a:lnTo>
                  <a:pt x="9040222" y="3189081"/>
                </a:lnTo>
                <a:lnTo>
                  <a:pt x="9040222" y="3218566"/>
                </a:lnTo>
                <a:lnTo>
                  <a:pt x="9010620" y="3218566"/>
                </a:lnTo>
                <a:close/>
                <a:moveTo>
                  <a:pt x="3429969" y="3189081"/>
                </a:moveTo>
                <a:lnTo>
                  <a:pt x="3459572" y="3189081"/>
                </a:lnTo>
                <a:lnTo>
                  <a:pt x="3459572" y="3218566"/>
                </a:lnTo>
                <a:lnTo>
                  <a:pt x="3429969" y="3218566"/>
                </a:lnTo>
                <a:close/>
                <a:moveTo>
                  <a:pt x="3163772" y="3189081"/>
                </a:moveTo>
                <a:lnTo>
                  <a:pt x="3193374" y="3189081"/>
                </a:lnTo>
                <a:lnTo>
                  <a:pt x="3193374" y="3218566"/>
                </a:lnTo>
                <a:lnTo>
                  <a:pt x="3163772" y="3218566"/>
                </a:lnTo>
                <a:close/>
                <a:moveTo>
                  <a:pt x="8744423" y="3189080"/>
                </a:moveTo>
                <a:lnTo>
                  <a:pt x="8774026" y="3189080"/>
                </a:lnTo>
                <a:lnTo>
                  <a:pt x="8774026" y="3218566"/>
                </a:lnTo>
                <a:lnTo>
                  <a:pt x="8744423" y="3218566"/>
                </a:lnTo>
                <a:close/>
                <a:moveTo>
                  <a:pt x="2897575" y="3189080"/>
                </a:moveTo>
                <a:lnTo>
                  <a:pt x="2927178" y="3189080"/>
                </a:lnTo>
                <a:lnTo>
                  <a:pt x="2927178" y="3218566"/>
                </a:lnTo>
                <a:lnTo>
                  <a:pt x="2897575" y="3218566"/>
                </a:lnTo>
                <a:close/>
                <a:moveTo>
                  <a:pt x="8478226" y="3189079"/>
                </a:moveTo>
                <a:lnTo>
                  <a:pt x="8507828" y="3189079"/>
                </a:lnTo>
                <a:lnTo>
                  <a:pt x="8507828" y="3218566"/>
                </a:lnTo>
                <a:lnTo>
                  <a:pt x="8478226" y="3218566"/>
                </a:lnTo>
                <a:close/>
                <a:moveTo>
                  <a:pt x="2631378" y="3189079"/>
                </a:moveTo>
                <a:lnTo>
                  <a:pt x="2660980" y="3189079"/>
                </a:lnTo>
                <a:lnTo>
                  <a:pt x="2660980" y="3218566"/>
                </a:lnTo>
                <a:lnTo>
                  <a:pt x="2631378" y="3218566"/>
                </a:lnTo>
                <a:close/>
                <a:moveTo>
                  <a:pt x="8212137" y="3189078"/>
                </a:moveTo>
                <a:lnTo>
                  <a:pt x="8241740" y="3189078"/>
                </a:lnTo>
                <a:lnTo>
                  <a:pt x="8241740" y="3218566"/>
                </a:lnTo>
                <a:lnTo>
                  <a:pt x="8212137" y="3218566"/>
                </a:lnTo>
                <a:close/>
                <a:moveTo>
                  <a:pt x="2365289" y="3189078"/>
                </a:moveTo>
                <a:lnTo>
                  <a:pt x="2394892" y="3189078"/>
                </a:lnTo>
                <a:lnTo>
                  <a:pt x="2394892" y="3218566"/>
                </a:lnTo>
                <a:lnTo>
                  <a:pt x="2365289" y="3218566"/>
                </a:lnTo>
                <a:close/>
                <a:moveTo>
                  <a:pt x="7945940" y="3189077"/>
                </a:moveTo>
                <a:lnTo>
                  <a:pt x="7975543" y="3189077"/>
                </a:lnTo>
                <a:lnTo>
                  <a:pt x="7975543" y="3218566"/>
                </a:lnTo>
                <a:lnTo>
                  <a:pt x="7945940" y="3218566"/>
                </a:lnTo>
                <a:close/>
                <a:moveTo>
                  <a:pt x="2099092" y="3189077"/>
                </a:moveTo>
                <a:lnTo>
                  <a:pt x="2128695" y="3189077"/>
                </a:lnTo>
                <a:lnTo>
                  <a:pt x="2128695" y="3218566"/>
                </a:lnTo>
                <a:lnTo>
                  <a:pt x="2099092" y="3218566"/>
                </a:lnTo>
                <a:close/>
                <a:moveTo>
                  <a:pt x="7679743" y="3189076"/>
                </a:moveTo>
                <a:lnTo>
                  <a:pt x="7709346" y="3189076"/>
                </a:lnTo>
                <a:lnTo>
                  <a:pt x="7709346" y="3218566"/>
                </a:lnTo>
                <a:lnTo>
                  <a:pt x="7679743" y="3218566"/>
                </a:lnTo>
                <a:close/>
                <a:moveTo>
                  <a:pt x="7413653" y="3189076"/>
                </a:moveTo>
                <a:lnTo>
                  <a:pt x="7443256" y="3189076"/>
                </a:lnTo>
                <a:lnTo>
                  <a:pt x="7443256" y="3218566"/>
                </a:lnTo>
                <a:lnTo>
                  <a:pt x="7413653" y="3218566"/>
                </a:lnTo>
                <a:close/>
                <a:moveTo>
                  <a:pt x="1832898" y="3189076"/>
                </a:moveTo>
                <a:lnTo>
                  <a:pt x="1862498" y="3189076"/>
                </a:lnTo>
                <a:lnTo>
                  <a:pt x="1862498" y="3218566"/>
                </a:lnTo>
                <a:lnTo>
                  <a:pt x="1832898" y="3218566"/>
                </a:lnTo>
                <a:close/>
                <a:moveTo>
                  <a:pt x="1566808" y="3189076"/>
                </a:moveTo>
                <a:lnTo>
                  <a:pt x="1596409" y="3189076"/>
                </a:lnTo>
                <a:lnTo>
                  <a:pt x="1596409" y="3218566"/>
                </a:lnTo>
                <a:lnTo>
                  <a:pt x="1566808" y="3218566"/>
                </a:lnTo>
                <a:close/>
                <a:moveTo>
                  <a:pt x="7147456" y="3189075"/>
                </a:moveTo>
                <a:lnTo>
                  <a:pt x="7177058" y="3189075"/>
                </a:lnTo>
                <a:lnTo>
                  <a:pt x="7177058" y="3218566"/>
                </a:lnTo>
                <a:lnTo>
                  <a:pt x="7147456" y="3218566"/>
                </a:lnTo>
                <a:close/>
                <a:moveTo>
                  <a:pt x="1300611" y="3189075"/>
                </a:moveTo>
                <a:lnTo>
                  <a:pt x="1330213" y="3189075"/>
                </a:lnTo>
                <a:lnTo>
                  <a:pt x="1330213" y="3218566"/>
                </a:lnTo>
                <a:lnTo>
                  <a:pt x="1300611" y="3218566"/>
                </a:lnTo>
                <a:close/>
                <a:moveTo>
                  <a:pt x="6881367" y="3189074"/>
                </a:moveTo>
                <a:lnTo>
                  <a:pt x="6910970" y="3189074"/>
                </a:lnTo>
                <a:lnTo>
                  <a:pt x="6910970" y="3218566"/>
                </a:lnTo>
                <a:lnTo>
                  <a:pt x="6881367" y="3218566"/>
                </a:lnTo>
                <a:close/>
                <a:moveTo>
                  <a:pt x="1034520" y="3189074"/>
                </a:moveTo>
                <a:lnTo>
                  <a:pt x="1064123" y="3189074"/>
                </a:lnTo>
                <a:lnTo>
                  <a:pt x="1064123" y="3218566"/>
                </a:lnTo>
                <a:lnTo>
                  <a:pt x="1034520" y="3218566"/>
                </a:lnTo>
                <a:close/>
                <a:moveTo>
                  <a:pt x="6615170" y="3189073"/>
                </a:moveTo>
                <a:lnTo>
                  <a:pt x="6644773" y="3189073"/>
                </a:lnTo>
                <a:lnTo>
                  <a:pt x="6644773" y="3218566"/>
                </a:lnTo>
                <a:lnTo>
                  <a:pt x="6615170" y="3218566"/>
                </a:lnTo>
                <a:close/>
                <a:moveTo>
                  <a:pt x="768327" y="3189073"/>
                </a:moveTo>
                <a:lnTo>
                  <a:pt x="797926" y="3189073"/>
                </a:lnTo>
                <a:lnTo>
                  <a:pt x="797926" y="3218566"/>
                </a:lnTo>
                <a:lnTo>
                  <a:pt x="768327" y="3218566"/>
                </a:lnTo>
                <a:close/>
                <a:moveTo>
                  <a:pt x="6349081" y="3189072"/>
                </a:moveTo>
                <a:lnTo>
                  <a:pt x="6378683" y="3189072"/>
                </a:lnTo>
                <a:lnTo>
                  <a:pt x="6378683" y="3218566"/>
                </a:lnTo>
                <a:lnTo>
                  <a:pt x="6349081" y="3218566"/>
                </a:lnTo>
                <a:close/>
                <a:moveTo>
                  <a:pt x="502236" y="3189072"/>
                </a:moveTo>
                <a:lnTo>
                  <a:pt x="531839" y="3189072"/>
                </a:lnTo>
                <a:lnTo>
                  <a:pt x="531839" y="3218566"/>
                </a:lnTo>
                <a:lnTo>
                  <a:pt x="502236" y="3218566"/>
                </a:lnTo>
                <a:close/>
                <a:moveTo>
                  <a:pt x="6082884" y="3189071"/>
                </a:moveTo>
                <a:lnTo>
                  <a:pt x="6112486" y="3189071"/>
                </a:lnTo>
                <a:lnTo>
                  <a:pt x="6112486" y="3218566"/>
                </a:lnTo>
                <a:lnTo>
                  <a:pt x="6082884" y="3218566"/>
                </a:lnTo>
                <a:close/>
                <a:moveTo>
                  <a:pt x="236037" y="3189071"/>
                </a:moveTo>
                <a:lnTo>
                  <a:pt x="265639" y="3189071"/>
                </a:lnTo>
                <a:lnTo>
                  <a:pt x="265639" y="3218566"/>
                </a:lnTo>
                <a:lnTo>
                  <a:pt x="236037" y="3218566"/>
                </a:lnTo>
                <a:close/>
                <a:moveTo>
                  <a:pt x="1" y="3189071"/>
                </a:moveTo>
                <a:lnTo>
                  <a:pt x="29603" y="3189071"/>
                </a:lnTo>
                <a:lnTo>
                  <a:pt x="29603" y="3218566"/>
                </a:lnTo>
                <a:lnTo>
                  <a:pt x="1" y="3218566"/>
                </a:lnTo>
                <a:close/>
                <a:moveTo>
                  <a:pt x="11672158" y="2923329"/>
                </a:moveTo>
                <a:lnTo>
                  <a:pt x="11701760" y="2923329"/>
                </a:lnTo>
                <a:lnTo>
                  <a:pt x="11701760" y="2952824"/>
                </a:lnTo>
                <a:lnTo>
                  <a:pt x="11672158" y="2952824"/>
                </a:lnTo>
                <a:close/>
                <a:moveTo>
                  <a:pt x="5825310" y="2923329"/>
                </a:moveTo>
                <a:lnTo>
                  <a:pt x="5854913" y="2923329"/>
                </a:lnTo>
                <a:lnTo>
                  <a:pt x="5854913" y="2952824"/>
                </a:lnTo>
                <a:lnTo>
                  <a:pt x="5825310" y="2952824"/>
                </a:lnTo>
                <a:close/>
                <a:moveTo>
                  <a:pt x="11405961" y="2923328"/>
                </a:moveTo>
                <a:lnTo>
                  <a:pt x="11435563" y="2923328"/>
                </a:lnTo>
                <a:lnTo>
                  <a:pt x="11435563" y="2952823"/>
                </a:lnTo>
                <a:lnTo>
                  <a:pt x="11405961" y="2952823"/>
                </a:lnTo>
                <a:close/>
                <a:moveTo>
                  <a:pt x="5559113" y="2923328"/>
                </a:moveTo>
                <a:lnTo>
                  <a:pt x="5588715" y="2923328"/>
                </a:lnTo>
                <a:lnTo>
                  <a:pt x="5588715" y="2952823"/>
                </a:lnTo>
                <a:lnTo>
                  <a:pt x="5559113" y="2952823"/>
                </a:lnTo>
                <a:close/>
                <a:moveTo>
                  <a:pt x="11139872" y="2923327"/>
                </a:moveTo>
                <a:lnTo>
                  <a:pt x="11169474" y="2923327"/>
                </a:lnTo>
                <a:lnTo>
                  <a:pt x="11169474" y="2952822"/>
                </a:lnTo>
                <a:lnTo>
                  <a:pt x="11139872" y="2952822"/>
                </a:lnTo>
                <a:close/>
                <a:moveTo>
                  <a:pt x="5293024" y="2923327"/>
                </a:moveTo>
                <a:lnTo>
                  <a:pt x="5322626" y="2923327"/>
                </a:lnTo>
                <a:lnTo>
                  <a:pt x="5322626" y="2952822"/>
                </a:lnTo>
                <a:lnTo>
                  <a:pt x="5293024" y="2952822"/>
                </a:lnTo>
                <a:close/>
                <a:moveTo>
                  <a:pt x="10873675" y="2923326"/>
                </a:moveTo>
                <a:lnTo>
                  <a:pt x="10903277" y="2923326"/>
                </a:lnTo>
                <a:lnTo>
                  <a:pt x="10903277" y="2952821"/>
                </a:lnTo>
                <a:lnTo>
                  <a:pt x="10873675" y="2952821"/>
                </a:lnTo>
                <a:close/>
                <a:moveTo>
                  <a:pt x="5026827" y="2923326"/>
                </a:moveTo>
                <a:lnTo>
                  <a:pt x="5056429" y="2923326"/>
                </a:lnTo>
                <a:lnTo>
                  <a:pt x="5056429" y="2952821"/>
                </a:lnTo>
                <a:lnTo>
                  <a:pt x="5026827" y="2952821"/>
                </a:lnTo>
                <a:close/>
                <a:moveTo>
                  <a:pt x="10607478" y="2923325"/>
                </a:moveTo>
                <a:lnTo>
                  <a:pt x="10637188" y="2923325"/>
                </a:lnTo>
                <a:lnTo>
                  <a:pt x="10637188" y="2952820"/>
                </a:lnTo>
                <a:lnTo>
                  <a:pt x="10607478" y="2952820"/>
                </a:lnTo>
                <a:close/>
                <a:moveTo>
                  <a:pt x="4760630" y="2923325"/>
                </a:moveTo>
                <a:lnTo>
                  <a:pt x="4790340" y="2923325"/>
                </a:lnTo>
                <a:lnTo>
                  <a:pt x="4790340" y="2952820"/>
                </a:lnTo>
                <a:lnTo>
                  <a:pt x="4760630" y="2952820"/>
                </a:lnTo>
                <a:close/>
                <a:moveTo>
                  <a:pt x="10341389" y="2923323"/>
                </a:moveTo>
                <a:lnTo>
                  <a:pt x="10370992" y="2923323"/>
                </a:lnTo>
                <a:lnTo>
                  <a:pt x="10370992" y="2952819"/>
                </a:lnTo>
                <a:lnTo>
                  <a:pt x="10341389" y="2952819"/>
                </a:lnTo>
                <a:close/>
                <a:moveTo>
                  <a:pt x="4494541" y="2923323"/>
                </a:moveTo>
                <a:lnTo>
                  <a:pt x="4524144" y="2923323"/>
                </a:lnTo>
                <a:lnTo>
                  <a:pt x="4524144" y="2952819"/>
                </a:lnTo>
                <a:lnTo>
                  <a:pt x="4494541" y="2952819"/>
                </a:lnTo>
                <a:close/>
                <a:moveTo>
                  <a:pt x="10075192" y="2923322"/>
                </a:moveTo>
                <a:lnTo>
                  <a:pt x="10104794" y="2923322"/>
                </a:lnTo>
                <a:lnTo>
                  <a:pt x="10104794" y="2952818"/>
                </a:lnTo>
                <a:lnTo>
                  <a:pt x="10075192" y="2952818"/>
                </a:lnTo>
                <a:close/>
                <a:moveTo>
                  <a:pt x="4228344" y="2923322"/>
                </a:moveTo>
                <a:lnTo>
                  <a:pt x="4257946" y="2923322"/>
                </a:lnTo>
                <a:lnTo>
                  <a:pt x="4257946" y="2952818"/>
                </a:lnTo>
                <a:lnTo>
                  <a:pt x="4228344" y="2952818"/>
                </a:lnTo>
                <a:close/>
                <a:moveTo>
                  <a:pt x="9809103" y="2923321"/>
                </a:moveTo>
                <a:lnTo>
                  <a:pt x="9838705" y="2923321"/>
                </a:lnTo>
                <a:lnTo>
                  <a:pt x="9838705" y="2952817"/>
                </a:lnTo>
                <a:lnTo>
                  <a:pt x="9809103" y="2952817"/>
                </a:lnTo>
                <a:close/>
                <a:moveTo>
                  <a:pt x="3962255" y="2923321"/>
                </a:moveTo>
                <a:lnTo>
                  <a:pt x="3991857" y="2923321"/>
                </a:lnTo>
                <a:lnTo>
                  <a:pt x="3991857" y="2952817"/>
                </a:lnTo>
                <a:lnTo>
                  <a:pt x="3962255" y="2952817"/>
                </a:lnTo>
                <a:close/>
                <a:moveTo>
                  <a:pt x="9542906" y="2923320"/>
                </a:moveTo>
                <a:lnTo>
                  <a:pt x="9572509" y="2923320"/>
                </a:lnTo>
                <a:lnTo>
                  <a:pt x="9572509" y="2952815"/>
                </a:lnTo>
                <a:lnTo>
                  <a:pt x="9542906" y="2952815"/>
                </a:lnTo>
                <a:close/>
                <a:moveTo>
                  <a:pt x="3696058" y="2923320"/>
                </a:moveTo>
                <a:lnTo>
                  <a:pt x="3725661" y="2923320"/>
                </a:lnTo>
                <a:lnTo>
                  <a:pt x="3725661" y="2952815"/>
                </a:lnTo>
                <a:lnTo>
                  <a:pt x="3696058" y="2952815"/>
                </a:lnTo>
                <a:close/>
                <a:moveTo>
                  <a:pt x="9276817" y="2923319"/>
                </a:moveTo>
                <a:lnTo>
                  <a:pt x="9306420" y="2923319"/>
                </a:lnTo>
                <a:lnTo>
                  <a:pt x="9306420" y="2952814"/>
                </a:lnTo>
                <a:lnTo>
                  <a:pt x="9276817" y="2952814"/>
                </a:lnTo>
                <a:close/>
                <a:moveTo>
                  <a:pt x="3429969" y="2923319"/>
                </a:moveTo>
                <a:lnTo>
                  <a:pt x="3459572" y="2923319"/>
                </a:lnTo>
                <a:lnTo>
                  <a:pt x="3459572" y="2952814"/>
                </a:lnTo>
                <a:lnTo>
                  <a:pt x="3429969" y="2952814"/>
                </a:lnTo>
                <a:close/>
                <a:moveTo>
                  <a:pt x="9010620" y="2923318"/>
                </a:moveTo>
                <a:lnTo>
                  <a:pt x="9040222" y="2923318"/>
                </a:lnTo>
                <a:lnTo>
                  <a:pt x="9040222" y="2952813"/>
                </a:lnTo>
                <a:lnTo>
                  <a:pt x="9010620" y="2952813"/>
                </a:lnTo>
                <a:close/>
                <a:moveTo>
                  <a:pt x="3163772" y="2923318"/>
                </a:moveTo>
                <a:lnTo>
                  <a:pt x="3193374" y="2923318"/>
                </a:lnTo>
                <a:lnTo>
                  <a:pt x="3193374" y="2952813"/>
                </a:lnTo>
                <a:lnTo>
                  <a:pt x="3163772" y="2952813"/>
                </a:lnTo>
                <a:close/>
                <a:moveTo>
                  <a:pt x="8744423" y="2923317"/>
                </a:moveTo>
                <a:lnTo>
                  <a:pt x="8774026" y="2923317"/>
                </a:lnTo>
                <a:lnTo>
                  <a:pt x="8774026" y="2952812"/>
                </a:lnTo>
                <a:lnTo>
                  <a:pt x="8744423" y="2952812"/>
                </a:lnTo>
                <a:close/>
                <a:moveTo>
                  <a:pt x="2897575" y="2923317"/>
                </a:moveTo>
                <a:lnTo>
                  <a:pt x="2927178" y="2923317"/>
                </a:lnTo>
                <a:lnTo>
                  <a:pt x="2927178" y="2952812"/>
                </a:lnTo>
                <a:lnTo>
                  <a:pt x="2897575" y="2952812"/>
                </a:lnTo>
                <a:close/>
                <a:moveTo>
                  <a:pt x="8478226" y="2923316"/>
                </a:moveTo>
                <a:lnTo>
                  <a:pt x="8507828" y="2923316"/>
                </a:lnTo>
                <a:lnTo>
                  <a:pt x="8507828" y="2952811"/>
                </a:lnTo>
                <a:lnTo>
                  <a:pt x="8478226" y="2952811"/>
                </a:lnTo>
                <a:close/>
                <a:moveTo>
                  <a:pt x="2631378" y="2923316"/>
                </a:moveTo>
                <a:lnTo>
                  <a:pt x="2660980" y="2923316"/>
                </a:lnTo>
                <a:lnTo>
                  <a:pt x="2660980" y="2952811"/>
                </a:lnTo>
                <a:lnTo>
                  <a:pt x="2631378" y="2952811"/>
                </a:lnTo>
                <a:close/>
                <a:moveTo>
                  <a:pt x="8212137" y="2923315"/>
                </a:moveTo>
                <a:lnTo>
                  <a:pt x="8241740" y="2923315"/>
                </a:lnTo>
                <a:lnTo>
                  <a:pt x="8241740" y="2952810"/>
                </a:lnTo>
                <a:lnTo>
                  <a:pt x="8212137" y="2952810"/>
                </a:lnTo>
                <a:close/>
                <a:moveTo>
                  <a:pt x="2365289" y="2923315"/>
                </a:moveTo>
                <a:lnTo>
                  <a:pt x="2394892" y="2923315"/>
                </a:lnTo>
                <a:lnTo>
                  <a:pt x="2394892" y="2952810"/>
                </a:lnTo>
                <a:lnTo>
                  <a:pt x="2365289" y="2952810"/>
                </a:lnTo>
                <a:close/>
                <a:moveTo>
                  <a:pt x="7945940" y="2923314"/>
                </a:moveTo>
                <a:lnTo>
                  <a:pt x="7975543" y="2923314"/>
                </a:lnTo>
                <a:lnTo>
                  <a:pt x="7975543" y="2952809"/>
                </a:lnTo>
                <a:lnTo>
                  <a:pt x="7945940" y="2952809"/>
                </a:lnTo>
                <a:close/>
                <a:moveTo>
                  <a:pt x="2099092" y="2923314"/>
                </a:moveTo>
                <a:lnTo>
                  <a:pt x="2128695" y="2923314"/>
                </a:lnTo>
                <a:lnTo>
                  <a:pt x="2128695" y="2952809"/>
                </a:lnTo>
                <a:lnTo>
                  <a:pt x="2099092" y="2952809"/>
                </a:lnTo>
                <a:close/>
                <a:moveTo>
                  <a:pt x="7679743" y="2923313"/>
                </a:moveTo>
                <a:lnTo>
                  <a:pt x="7709346" y="2923313"/>
                </a:lnTo>
                <a:lnTo>
                  <a:pt x="7709346" y="2952808"/>
                </a:lnTo>
                <a:lnTo>
                  <a:pt x="7679743" y="2952808"/>
                </a:lnTo>
                <a:close/>
                <a:moveTo>
                  <a:pt x="1832898" y="2923313"/>
                </a:moveTo>
                <a:lnTo>
                  <a:pt x="1862498" y="2923313"/>
                </a:lnTo>
                <a:lnTo>
                  <a:pt x="1862498" y="2952808"/>
                </a:lnTo>
                <a:lnTo>
                  <a:pt x="1832898" y="2952808"/>
                </a:lnTo>
                <a:close/>
                <a:moveTo>
                  <a:pt x="7413653" y="2923312"/>
                </a:moveTo>
                <a:lnTo>
                  <a:pt x="7443256" y="2923312"/>
                </a:lnTo>
                <a:lnTo>
                  <a:pt x="7443256" y="2952807"/>
                </a:lnTo>
                <a:lnTo>
                  <a:pt x="7413653" y="2952807"/>
                </a:lnTo>
                <a:close/>
                <a:moveTo>
                  <a:pt x="1566808" y="2923312"/>
                </a:moveTo>
                <a:lnTo>
                  <a:pt x="1596409" y="2923312"/>
                </a:lnTo>
                <a:lnTo>
                  <a:pt x="1596409" y="2952807"/>
                </a:lnTo>
                <a:lnTo>
                  <a:pt x="1566808" y="2952807"/>
                </a:lnTo>
                <a:close/>
                <a:moveTo>
                  <a:pt x="7147456" y="2923311"/>
                </a:moveTo>
                <a:lnTo>
                  <a:pt x="7177058" y="2923311"/>
                </a:lnTo>
                <a:lnTo>
                  <a:pt x="7177058" y="2952806"/>
                </a:lnTo>
                <a:lnTo>
                  <a:pt x="7147456" y="2952806"/>
                </a:lnTo>
                <a:close/>
                <a:moveTo>
                  <a:pt x="1300611" y="2923311"/>
                </a:moveTo>
                <a:lnTo>
                  <a:pt x="1330213" y="2923311"/>
                </a:lnTo>
                <a:lnTo>
                  <a:pt x="1330213" y="2952806"/>
                </a:lnTo>
                <a:lnTo>
                  <a:pt x="1300611" y="2952806"/>
                </a:lnTo>
                <a:close/>
                <a:moveTo>
                  <a:pt x="6881367" y="2923310"/>
                </a:moveTo>
                <a:lnTo>
                  <a:pt x="6910970" y="2923310"/>
                </a:lnTo>
                <a:lnTo>
                  <a:pt x="6910970" y="2952805"/>
                </a:lnTo>
                <a:lnTo>
                  <a:pt x="6881367" y="2952805"/>
                </a:lnTo>
                <a:close/>
                <a:moveTo>
                  <a:pt x="1034520" y="2923310"/>
                </a:moveTo>
                <a:lnTo>
                  <a:pt x="1064123" y="2923310"/>
                </a:lnTo>
                <a:lnTo>
                  <a:pt x="1064123" y="2952805"/>
                </a:lnTo>
                <a:lnTo>
                  <a:pt x="1034520" y="2952805"/>
                </a:lnTo>
                <a:close/>
                <a:moveTo>
                  <a:pt x="6615170" y="2923309"/>
                </a:moveTo>
                <a:lnTo>
                  <a:pt x="6644773" y="2923309"/>
                </a:lnTo>
                <a:lnTo>
                  <a:pt x="6644773" y="2952804"/>
                </a:lnTo>
                <a:lnTo>
                  <a:pt x="6615170" y="2952804"/>
                </a:lnTo>
                <a:close/>
                <a:moveTo>
                  <a:pt x="768327" y="2923309"/>
                </a:moveTo>
                <a:lnTo>
                  <a:pt x="797926" y="2923309"/>
                </a:lnTo>
                <a:lnTo>
                  <a:pt x="797926" y="2952804"/>
                </a:lnTo>
                <a:lnTo>
                  <a:pt x="768327" y="2952804"/>
                </a:lnTo>
                <a:close/>
                <a:moveTo>
                  <a:pt x="6349081" y="2923308"/>
                </a:moveTo>
                <a:lnTo>
                  <a:pt x="6378683" y="2923308"/>
                </a:lnTo>
                <a:lnTo>
                  <a:pt x="6378683" y="2952803"/>
                </a:lnTo>
                <a:lnTo>
                  <a:pt x="6349081" y="2952803"/>
                </a:lnTo>
                <a:close/>
                <a:moveTo>
                  <a:pt x="502236" y="2923308"/>
                </a:moveTo>
                <a:lnTo>
                  <a:pt x="531838" y="2923308"/>
                </a:lnTo>
                <a:lnTo>
                  <a:pt x="531838" y="2952803"/>
                </a:lnTo>
                <a:lnTo>
                  <a:pt x="502236" y="2952803"/>
                </a:lnTo>
                <a:close/>
                <a:moveTo>
                  <a:pt x="6082884" y="2923307"/>
                </a:moveTo>
                <a:lnTo>
                  <a:pt x="6112486" y="2923307"/>
                </a:lnTo>
                <a:lnTo>
                  <a:pt x="6112486" y="2952802"/>
                </a:lnTo>
                <a:lnTo>
                  <a:pt x="6082884" y="2952802"/>
                </a:lnTo>
                <a:close/>
                <a:moveTo>
                  <a:pt x="236037" y="2923307"/>
                </a:moveTo>
                <a:lnTo>
                  <a:pt x="265639" y="2923307"/>
                </a:lnTo>
                <a:lnTo>
                  <a:pt x="265639" y="2952802"/>
                </a:lnTo>
                <a:lnTo>
                  <a:pt x="236037" y="2952802"/>
                </a:lnTo>
                <a:close/>
                <a:moveTo>
                  <a:pt x="1" y="2923307"/>
                </a:moveTo>
                <a:lnTo>
                  <a:pt x="29603" y="2923307"/>
                </a:lnTo>
                <a:lnTo>
                  <a:pt x="29603" y="2952802"/>
                </a:lnTo>
                <a:lnTo>
                  <a:pt x="1" y="2952802"/>
                </a:lnTo>
                <a:close/>
                <a:moveTo>
                  <a:pt x="11672158" y="2657500"/>
                </a:moveTo>
                <a:lnTo>
                  <a:pt x="11701760" y="2657500"/>
                </a:lnTo>
                <a:lnTo>
                  <a:pt x="11701760" y="2687101"/>
                </a:lnTo>
                <a:lnTo>
                  <a:pt x="11672158" y="2687101"/>
                </a:lnTo>
                <a:close/>
                <a:moveTo>
                  <a:pt x="5825310" y="2657500"/>
                </a:moveTo>
                <a:lnTo>
                  <a:pt x="5854913" y="2657500"/>
                </a:lnTo>
                <a:lnTo>
                  <a:pt x="5854913" y="2687101"/>
                </a:lnTo>
                <a:lnTo>
                  <a:pt x="5825310" y="2687101"/>
                </a:lnTo>
                <a:close/>
                <a:moveTo>
                  <a:pt x="11405961" y="2657497"/>
                </a:moveTo>
                <a:lnTo>
                  <a:pt x="11435563" y="2657497"/>
                </a:lnTo>
                <a:lnTo>
                  <a:pt x="11435563" y="2687099"/>
                </a:lnTo>
                <a:lnTo>
                  <a:pt x="11405961" y="2687099"/>
                </a:lnTo>
                <a:close/>
                <a:moveTo>
                  <a:pt x="5559113" y="2657497"/>
                </a:moveTo>
                <a:lnTo>
                  <a:pt x="5588715" y="2657497"/>
                </a:lnTo>
                <a:lnTo>
                  <a:pt x="5588715" y="2687099"/>
                </a:lnTo>
                <a:lnTo>
                  <a:pt x="5559113" y="2687099"/>
                </a:lnTo>
                <a:close/>
                <a:moveTo>
                  <a:pt x="11139872" y="2657494"/>
                </a:moveTo>
                <a:lnTo>
                  <a:pt x="11169474" y="2657494"/>
                </a:lnTo>
                <a:lnTo>
                  <a:pt x="11169474" y="2687096"/>
                </a:lnTo>
                <a:lnTo>
                  <a:pt x="11139872" y="2687096"/>
                </a:lnTo>
                <a:close/>
                <a:moveTo>
                  <a:pt x="5293024" y="2657494"/>
                </a:moveTo>
                <a:lnTo>
                  <a:pt x="5322626" y="2657494"/>
                </a:lnTo>
                <a:lnTo>
                  <a:pt x="5322626" y="2687096"/>
                </a:lnTo>
                <a:lnTo>
                  <a:pt x="5293024" y="2687096"/>
                </a:lnTo>
                <a:close/>
                <a:moveTo>
                  <a:pt x="10873675" y="2657491"/>
                </a:moveTo>
                <a:lnTo>
                  <a:pt x="10903277" y="2657491"/>
                </a:lnTo>
                <a:lnTo>
                  <a:pt x="10903277" y="2687093"/>
                </a:lnTo>
                <a:lnTo>
                  <a:pt x="10873675" y="2687093"/>
                </a:lnTo>
                <a:close/>
                <a:moveTo>
                  <a:pt x="5026827" y="2657491"/>
                </a:moveTo>
                <a:lnTo>
                  <a:pt x="5056429" y="2657491"/>
                </a:lnTo>
                <a:lnTo>
                  <a:pt x="5056429" y="2687093"/>
                </a:lnTo>
                <a:lnTo>
                  <a:pt x="5026827" y="2687093"/>
                </a:lnTo>
                <a:close/>
                <a:moveTo>
                  <a:pt x="10607478" y="2657488"/>
                </a:moveTo>
                <a:lnTo>
                  <a:pt x="10637188" y="2657488"/>
                </a:lnTo>
                <a:lnTo>
                  <a:pt x="10637188" y="2687090"/>
                </a:lnTo>
                <a:lnTo>
                  <a:pt x="10607478" y="2687090"/>
                </a:lnTo>
                <a:close/>
                <a:moveTo>
                  <a:pt x="4760630" y="2657488"/>
                </a:moveTo>
                <a:lnTo>
                  <a:pt x="4790340" y="2657488"/>
                </a:lnTo>
                <a:lnTo>
                  <a:pt x="4790340" y="2687090"/>
                </a:lnTo>
                <a:lnTo>
                  <a:pt x="4760630" y="2687090"/>
                </a:lnTo>
                <a:close/>
                <a:moveTo>
                  <a:pt x="10341389" y="2657485"/>
                </a:moveTo>
                <a:lnTo>
                  <a:pt x="10370992" y="2657485"/>
                </a:lnTo>
                <a:lnTo>
                  <a:pt x="10370992" y="2687087"/>
                </a:lnTo>
                <a:lnTo>
                  <a:pt x="10341389" y="2687087"/>
                </a:lnTo>
                <a:close/>
                <a:moveTo>
                  <a:pt x="4494541" y="2657485"/>
                </a:moveTo>
                <a:lnTo>
                  <a:pt x="4524144" y="2657485"/>
                </a:lnTo>
                <a:lnTo>
                  <a:pt x="4524144" y="2687087"/>
                </a:lnTo>
                <a:lnTo>
                  <a:pt x="4494541" y="2687087"/>
                </a:lnTo>
                <a:close/>
                <a:moveTo>
                  <a:pt x="10075192" y="2657482"/>
                </a:moveTo>
                <a:lnTo>
                  <a:pt x="10104794" y="2657482"/>
                </a:lnTo>
                <a:lnTo>
                  <a:pt x="10104794" y="2687083"/>
                </a:lnTo>
                <a:lnTo>
                  <a:pt x="10075192" y="2687083"/>
                </a:lnTo>
                <a:close/>
                <a:moveTo>
                  <a:pt x="4228344" y="2657482"/>
                </a:moveTo>
                <a:lnTo>
                  <a:pt x="4257946" y="2657482"/>
                </a:lnTo>
                <a:lnTo>
                  <a:pt x="4257946" y="2687083"/>
                </a:lnTo>
                <a:lnTo>
                  <a:pt x="4228344" y="2687083"/>
                </a:lnTo>
                <a:close/>
                <a:moveTo>
                  <a:pt x="9809103" y="2657478"/>
                </a:moveTo>
                <a:lnTo>
                  <a:pt x="9838705" y="2657478"/>
                </a:lnTo>
                <a:lnTo>
                  <a:pt x="9838705" y="2687080"/>
                </a:lnTo>
                <a:lnTo>
                  <a:pt x="9809103" y="2687080"/>
                </a:lnTo>
                <a:close/>
                <a:moveTo>
                  <a:pt x="3962255" y="2657478"/>
                </a:moveTo>
                <a:lnTo>
                  <a:pt x="3991857" y="2657478"/>
                </a:lnTo>
                <a:lnTo>
                  <a:pt x="3991857" y="2687080"/>
                </a:lnTo>
                <a:lnTo>
                  <a:pt x="3962255" y="2687080"/>
                </a:lnTo>
                <a:close/>
                <a:moveTo>
                  <a:pt x="9542906" y="2657475"/>
                </a:moveTo>
                <a:lnTo>
                  <a:pt x="9572509" y="2657475"/>
                </a:lnTo>
                <a:lnTo>
                  <a:pt x="9572509" y="2687077"/>
                </a:lnTo>
                <a:lnTo>
                  <a:pt x="9542906" y="2687077"/>
                </a:lnTo>
                <a:close/>
                <a:moveTo>
                  <a:pt x="3696058" y="2657475"/>
                </a:moveTo>
                <a:lnTo>
                  <a:pt x="3725661" y="2657475"/>
                </a:lnTo>
                <a:lnTo>
                  <a:pt x="3725661" y="2687077"/>
                </a:lnTo>
                <a:lnTo>
                  <a:pt x="3696058" y="2687077"/>
                </a:lnTo>
                <a:close/>
                <a:moveTo>
                  <a:pt x="9276817" y="2657472"/>
                </a:moveTo>
                <a:lnTo>
                  <a:pt x="9306420" y="2657472"/>
                </a:lnTo>
                <a:lnTo>
                  <a:pt x="9306420" y="2687074"/>
                </a:lnTo>
                <a:lnTo>
                  <a:pt x="9276817" y="2687074"/>
                </a:lnTo>
                <a:close/>
                <a:moveTo>
                  <a:pt x="3429969" y="2657472"/>
                </a:moveTo>
                <a:lnTo>
                  <a:pt x="3459572" y="2657472"/>
                </a:lnTo>
                <a:lnTo>
                  <a:pt x="3459572" y="2687074"/>
                </a:lnTo>
                <a:lnTo>
                  <a:pt x="3429969" y="2687074"/>
                </a:lnTo>
                <a:close/>
                <a:moveTo>
                  <a:pt x="9010620" y="2657469"/>
                </a:moveTo>
                <a:lnTo>
                  <a:pt x="9040222" y="2657469"/>
                </a:lnTo>
                <a:lnTo>
                  <a:pt x="9040222" y="2687071"/>
                </a:lnTo>
                <a:lnTo>
                  <a:pt x="9010620" y="2687071"/>
                </a:lnTo>
                <a:close/>
                <a:moveTo>
                  <a:pt x="3163772" y="2657469"/>
                </a:moveTo>
                <a:lnTo>
                  <a:pt x="3193374" y="2657469"/>
                </a:lnTo>
                <a:lnTo>
                  <a:pt x="3193374" y="2687071"/>
                </a:lnTo>
                <a:lnTo>
                  <a:pt x="3163772" y="2687071"/>
                </a:lnTo>
                <a:close/>
                <a:moveTo>
                  <a:pt x="8744423" y="2657466"/>
                </a:moveTo>
                <a:lnTo>
                  <a:pt x="8774026" y="2657466"/>
                </a:lnTo>
                <a:lnTo>
                  <a:pt x="8774026" y="2687068"/>
                </a:lnTo>
                <a:lnTo>
                  <a:pt x="8744423" y="2687068"/>
                </a:lnTo>
                <a:close/>
                <a:moveTo>
                  <a:pt x="2897575" y="2657466"/>
                </a:moveTo>
                <a:lnTo>
                  <a:pt x="2927178" y="2657466"/>
                </a:lnTo>
                <a:lnTo>
                  <a:pt x="2927178" y="2687068"/>
                </a:lnTo>
                <a:lnTo>
                  <a:pt x="2897575" y="2687068"/>
                </a:lnTo>
                <a:close/>
                <a:moveTo>
                  <a:pt x="8478226" y="2657462"/>
                </a:moveTo>
                <a:lnTo>
                  <a:pt x="8507828" y="2657462"/>
                </a:lnTo>
                <a:lnTo>
                  <a:pt x="8507828" y="2687064"/>
                </a:lnTo>
                <a:lnTo>
                  <a:pt x="8478226" y="2687064"/>
                </a:lnTo>
                <a:close/>
                <a:moveTo>
                  <a:pt x="2631378" y="2657462"/>
                </a:moveTo>
                <a:lnTo>
                  <a:pt x="2660980" y="2657462"/>
                </a:lnTo>
                <a:lnTo>
                  <a:pt x="2660980" y="2687064"/>
                </a:lnTo>
                <a:lnTo>
                  <a:pt x="2631378" y="2687064"/>
                </a:lnTo>
                <a:close/>
                <a:moveTo>
                  <a:pt x="8212137" y="2657459"/>
                </a:moveTo>
                <a:lnTo>
                  <a:pt x="8241740" y="2657459"/>
                </a:lnTo>
                <a:lnTo>
                  <a:pt x="8241740" y="2687061"/>
                </a:lnTo>
                <a:lnTo>
                  <a:pt x="8212137" y="2687061"/>
                </a:lnTo>
                <a:close/>
                <a:moveTo>
                  <a:pt x="2365289" y="2657459"/>
                </a:moveTo>
                <a:lnTo>
                  <a:pt x="2394892" y="2657459"/>
                </a:lnTo>
                <a:lnTo>
                  <a:pt x="2394892" y="2687061"/>
                </a:lnTo>
                <a:lnTo>
                  <a:pt x="2365289" y="2687061"/>
                </a:lnTo>
                <a:close/>
                <a:moveTo>
                  <a:pt x="7945940" y="2657456"/>
                </a:moveTo>
                <a:lnTo>
                  <a:pt x="7975543" y="2657456"/>
                </a:lnTo>
                <a:lnTo>
                  <a:pt x="7975543" y="2687058"/>
                </a:lnTo>
                <a:lnTo>
                  <a:pt x="7945940" y="2687058"/>
                </a:lnTo>
                <a:close/>
                <a:moveTo>
                  <a:pt x="2099092" y="2657456"/>
                </a:moveTo>
                <a:lnTo>
                  <a:pt x="2128695" y="2657456"/>
                </a:lnTo>
                <a:lnTo>
                  <a:pt x="2128695" y="2687058"/>
                </a:lnTo>
                <a:lnTo>
                  <a:pt x="2099092" y="2687058"/>
                </a:lnTo>
                <a:close/>
                <a:moveTo>
                  <a:pt x="7679743" y="2657453"/>
                </a:moveTo>
                <a:lnTo>
                  <a:pt x="7709346" y="2657453"/>
                </a:lnTo>
                <a:lnTo>
                  <a:pt x="7709346" y="2687055"/>
                </a:lnTo>
                <a:lnTo>
                  <a:pt x="7679743" y="2687055"/>
                </a:lnTo>
                <a:close/>
                <a:moveTo>
                  <a:pt x="1832898" y="2657453"/>
                </a:moveTo>
                <a:lnTo>
                  <a:pt x="1862498" y="2657453"/>
                </a:lnTo>
                <a:lnTo>
                  <a:pt x="1862498" y="2687055"/>
                </a:lnTo>
                <a:lnTo>
                  <a:pt x="1832898" y="2687055"/>
                </a:lnTo>
                <a:close/>
                <a:moveTo>
                  <a:pt x="7413653" y="2657450"/>
                </a:moveTo>
                <a:lnTo>
                  <a:pt x="7443256" y="2657450"/>
                </a:lnTo>
                <a:lnTo>
                  <a:pt x="7443256" y="2687052"/>
                </a:lnTo>
                <a:lnTo>
                  <a:pt x="7413653" y="2687052"/>
                </a:lnTo>
                <a:close/>
                <a:moveTo>
                  <a:pt x="1566808" y="2657450"/>
                </a:moveTo>
                <a:lnTo>
                  <a:pt x="1596409" y="2657450"/>
                </a:lnTo>
                <a:lnTo>
                  <a:pt x="1596409" y="2687052"/>
                </a:lnTo>
                <a:lnTo>
                  <a:pt x="1566808" y="2687052"/>
                </a:lnTo>
                <a:close/>
                <a:moveTo>
                  <a:pt x="7147456" y="2657447"/>
                </a:moveTo>
                <a:lnTo>
                  <a:pt x="7177058" y="2657447"/>
                </a:lnTo>
                <a:lnTo>
                  <a:pt x="7177058" y="2687049"/>
                </a:lnTo>
                <a:lnTo>
                  <a:pt x="7147456" y="2687049"/>
                </a:lnTo>
                <a:close/>
                <a:moveTo>
                  <a:pt x="1300611" y="2657447"/>
                </a:moveTo>
                <a:lnTo>
                  <a:pt x="1330213" y="2657447"/>
                </a:lnTo>
                <a:lnTo>
                  <a:pt x="1330213" y="2687049"/>
                </a:lnTo>
                <a:lnTo>
                  <a:pt x="1300611" y="2687049"/>
                </a:lnTo>
                <a:close/>
                <a:moveTo>
                  <a:pt x="6881367" y="2657443"/>
                </a:moveTo>
                <a:lnTo>
                  <a:pt x="6910970" y="2657443"/>
                </a:lnTo>
                <a:lnTo>
                  <a:pt x="6910970" y="2687045"/>
                </a:lnTo>
                <a:lnTo>
                  <a:pt x="6881367" y="2687045"/>
                </a:lnTo>
                <a:close/>
                <a:moveTo>
                  <a:pt x="1034520" y="2657443"/>
                </a:moveTo>
                <a:lnTo>
                  <a:pt x="1064123" y="2657443"/>
                </a:lnTo>
                <a:lnTo>
                  <a:pt x="1064123" y="2687045"/>
                </a:lnTo>
                <a:lnTo>
                  <a:pt x="1034520" y="2687045"/>
                </a:lnTo>
                <a:close/>
                <a:moveTo>
                  <a:pt x="6615170" y="2657440"/>
                </a:moveTo>
                <a:lnTo>
                  <a:pt x="6644773" y="2657440"/>
                </a:lnTo>
                <a:lnTo>
                  <a:pt x="6644773" y="2687042"/>
                </a:lnTo>
                <a:lnTo>
                  <a:pt x="6615170" y="2687042"/>
                </a:lnTo>
                <a:close/>
                <a:moveTo>
                  <a:pt x="768327" y="2657440"/>
                </a:moveTo>
                <a:lnTo>
                  <a:pt x="797926" y="2657440"/>
                </a:lnTo>
                <a:lnTo>
                  <a:pt x="797926" y="2687042"/>
                </a:lnTo>
                <a:lnTo>
                  <a:pt x="768327" y="2687042"/>
                </a:lnTo>
                <a:close/>
                <a:moveTo>
                  <a:pt x="6349081" y="2657437"/>
                </a:moveTo>
                <a:lnTo>
                  <a:pt x="6378683" y="2657437"/>
                </a:lnTo>
                <a:lnTo>
                  <a:pt x="6378683" y="2687039"/>
                </a:lnTo>
                <a:lnTo>
                  <a:pt x="6349081" y="2687039"/>
                </a:lnTo>
                <a:close/>
                <a:moveTo>
                  <a:pt x="502236" y="2657437"/>
                </a:moveTo>
                <a:lnTo>
                  <a:pt x="531838" y="2657437"/>
                </a:lnTo>
                <a:lnTo>
                  <a:pt x="531838" y="2687039"/>
                </a:lnTo>
                <a:lnTo>
                  <a:pt x="502236" y="2687039"/>
                </a:lnTo>
                <a:close/>
                <a:moveTo>
                  <a:pt x="6082884" y="2657434"/>
                </a:moveTo>
                <a:lnTo>
                  <a:pt x="6112486" y="2657434"/>
                </a:lnTo>
                <a:lnTo>
                  <a:pt x="6112486" y="2687036"/>
                </a:lnTo>
                <a:lnTo>
                  <a:pt x="6082884" y="2687036"/>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1672158" y="2391735"/>
                </a:moveTo>
                <a:lnTo>
                  <a:pt x="11701760" y="2391735"/>
                </a:lnTo>
                <a:lnTo>
                  <a:pt x="11701760" y="2421368"/>
                </a:lnTo>
                <a:lnTo>
                  <a:pt x="11672158" y="2421368"/>
                </a:lnTo>
                <a:close/>
                <a:moveTo>
                  <a:pt x="5825310" y="2391735"/>
                </a:moveTo>
                <a:lnTo>
                  <a:pt x="5854913" y="2391735"/>
                </a:lnTo>
                <a:lnTo>
                  <a:pt x="5854913" y="2421368"/>
                </a:lnTo>
                <a:lnTo>
                  <a:pt x="5825310" y="2421368"/>
                </a:lnTo>
                <a:close/>
                <a:moveTo>
                  <a:pt x="11405961" y="2391732"/>
                </a:moveTo>
                <a:lnTo>
                  <a:pt x="11435563" y="2391732"/>
                </a:lnTo>
                <a:lnTo>
                  <a:pt x="11435563" y="2421368"/>
                </a:lnTo>
                <a:lnTo>
                  <a:pt x="11405961" y="2421368"/>
                </a:lnTo>
                <a:close/>
                <a:moveTo>
                  <a:pt x="5559113" y="2391732"/>
                </a:moveTo>
                <a:lnTo>
                  <a:pt x="5588715" y="2391732"/>
                </a:lnTo>
                <a:lnTo>
                  <a:pt x="5588715" y="2421368"/>
                </a:lnTo>
                <a:lnTo>
                  <a:pt x="5559113" y="2421368"/>
                </a:lnTo>
                <a:close/>
                <a:moveTo>
                  <a:pt x="11139872" y="2391729"/>
                </a:moveTo>
                <a:lnTo>
                  <a:pt x="11169474" y="2391729"/>
                </a:lnTo>
                <a:lnTo>
                  <a:pt x="11169474" y="2421364"/>
                </a:lnTo>
                <a:lnTo>
                  <a:pt x="11139872" y="2421364"/>
                </a:lnTo>
                <a:close/>
                <a:moveTo>
                  <a:pt x="5293024" y="2391729"/>
                </a:moveTo>
                <a:lnTo>
                  <a:pt x="5322626" y="2391729"/>
                </a:lnTo>
                <a:lnTo>
                  <a:pt x="5322626" y="2421364"/>
                </a:lnTo>
                <a:lnTo>
                  <a:pt x="5293024" y="2421364"/>
                </a:lnTo>
                <a:close/>
                <a:moveTo>
                  <a:pt x="10873675" y="2391726"/>
                </a:moveTo>
                <a:lnTo>
                  <a:pt x="10903277" y="2391726"/>
                </a:lnTo>
                <a:lnTo>
                  <a:pt x="10903277" y="2421359"/>
                </a:lnTo>
                <a:lnTo>
                  <a:pt x="10873675" y="2421359"/>
                </a:lnTo>
                <a:close/>
                <a:moveTo>
                  <a:pt x="5026827" y="2391726"/>
                </a:moveTo>
                <a:lnTo>
                  <a:pt x="5056429" y="2391726"/>
                </a:lnTo>
                <a:lnTo>
                  <a:pt x="5056429" y="2421359"/>
                </a:lnTo>
                <a:lnTo>
                  <a:pt x="5026827" y="2421359"/>
                </a:lnTo>
                <a:close/>
                <a:moveTo>
                  <a:pt x="10607478" y="2391725"/>
                </a:moveTo>
                <a:lnTo>
                  <a:pt x="10637188" y="2391725"/>
                </a:lnTo>
                <a:lnTo>
                  <a:pt x="10637188" y="2421354"/>
                </a:lnTo>
                <a:lnTo>
                  <a:pt x="10607478" y="2421354"/>
                </a:lnTo>
                <a:close/>
                <a:moveTo>
                  <a:pt x="4760630" y="2391725"/>
                </a:moveTo>
                <a:lnTo>
                  <a:pt x="4790340" y="2391725"/>
                </a:lnTo>
                <a:lnTo>
                  <a:pt x="4790340" y="2421354"/>
                </a:lnTo>
                <a:lnTo>
                  <a:pt x="4760630" y="2421354"/>
                </a:lnTo>
                <a:close/>
                <a:moveTo>
                  <a:pt x="10341389" y="2391720"/>
                </a:moveTo>
                <a:lnTo>
                  <a:pt x="10370992" y="2391720"/>
                </a:lnTo>
                <a:lnTo>
                  <a:pt x="10370992" y="2421349"/>
                </a:lnTo>
                <a:lnTo>
                  <a:pt x="10341389" y="2421349"/>
                </a:lnTo>
                <a:close/>
                <a:moveTo>
                  <a:pt x="4494541" y="2391720"/>
                </a:moveTo>
                <a:lnTo>
                  <a:pt x="4524144" y="2391720"/>
                </a:lnTo>
                <a:lnTo>
                  <a:pt x="4524144" y="2421349"/>
                </a:lnTo>
                <a:lnTo>
                  <a:pt x="4494541" y="2421349"/>
                </a:lnTo>
                <a:close/>
                <a:moveTo>
                  <a:pt x="10075192" y="2391716"/>
                </a:moveTo>
                <a:lnTo>
                  <a:pt x="10104794" y="2391716"/>
                </a:lnTo>
                <a:lnTo>
                  <a:pt x="10104794" y="2421345"/>
                </a:lnTo>
                <a:lnTo>
                  <a:pt x="10075192" y="2421345"/>
                </a:lnTo>
                <a:close/>
                <a:moveTo>
                  <a:pt x="4228344" y="2391716"/>
                </a:moveTo>
                <a:lnTo>
                  <a:pt x="4257946" y="2391716"/>
                </a:lnTo>
                <a:lnTo>
                  <a:pt x="4257946" y="2421345"/>
                </a:lnTo>
                <a:lnTo>
                  <a:pt x="4228344" y="2421345"/>
                </a:lnTo>
                <a:close/>
                <a:moveTo>
                  <a:pt x="9809103" y="2391713"/>
                </a:moveTo>
                <a:lnTo>
                  <a:pt x="9838705" y="2391713"/>
                </a:lnTo>
                <a:lnTo>
                  <a:pt x="9838705" y="2421340"/>
                </a:lnTo>
                <a:lnTo>
                  <a:pt x="9809103" y="2421340"/>
                </a:lnTo>
                <a:close/>
                <a:moveTo>
                  <a:pt x="3962255" y="2391713"/>
                </a:moveTo>
                <a:lnTo>
                  <a:pt x="3991857" y="2391713"/>
                </a:lnTo>
                <a:lnTo>
                  <a:pt x="3991857" y="2421340"/>
                </a:lnTo>
                <a:lnTo>
                  <a:pt x="3962255" y="2421340"/>
                </a:lnTo>
                <a:close/>
                <a:moveTo>
                  <a:pt x="9542906" y="2391710"/>
                </a:moveTo>
                <a:lnTo>
                  <a:pt x="9572509" y="2391710"/>
                </a:lnTo>
                <a:lnTo>
                  <a:pt x="9572509" y="2421336"/>
                </a:lnTo>
                <a:lnTo>
                  <a:pt x="9542906" y="2421336"/>
                </a:lnTo>
                <a:close/>
                <a:moveTo>
                  <a:pt x="3696058" y="2391710"/>
                </a:moveTo>
                <a:lnTo>
                  <a:pt x="3725661" y="2391710"/>
                </a:lnTo>
                <a:lnTo>
                  <a:pt x="3725661" y="2421336"/>
                </a:lnTo>
                <a:lnTo>
                  <a:pt x="3696058" y="2421336"/>
                </a:lnTo>
                <a:close/>
                <a:moveTo>
                  <a:pt x="9276817" y="2391707"/>
                </a:moveTo>
                <a:lnTo>
                  <a:pt x="9306420" y="2391707"/>
                </a:lnTo>
                <a:lnTo>
                  <a:pt x="9306420" y="2421331"/>
                </a:lnTo>
                <a:lnTo>
                  <a:pt x="9276817" y="2421331"/>
                </a:lnTo>
                <a:close/>
                <a:moveTo>
                  <a:pt x="3429969" y="2391707"/>
                </a:moveTo>
                <a:lnTo>
                  <a:pt x="3459572" y="2391707"/>
                </a:lnTo>
                <a:lnTo>
                  <a:pt x="3459572" y="2421331"/>
                </a:lnTo>
                <a:lnTo>
                  <a:pt x="3429969" y="2421331"/>
                </a:lnTo>
                <a:close/>
                <a:moveTo>
                  <a:pt x="9010620" y="2391706"/>
                </a:moveTo>
                <a:lnTo>
                  <a:pt x="9040222" y="2391706"/>
                </a:lnTo>
                <a:lnTo>
                  <a:pt x="9040222" y="2421326"/>
                </a:lnTo>
                <a:lnTo>
                  <a:pt x="9010620" y="2421326"/>
                </a:lnTo>
                <a:close/>
                <a:moveTo>
                  <a:pt x="3163772" y="2391706"/>
                </a:moveTo>
                <a:lnTo>
                  <a:pt x="3193374" y="2391706"/>
                </a:lnTo>
                <a:lnTo>
                  <a:pt x="3193374" y="2421326"/>
                </a:lnTo>
                <a:lnTo>
                  <a:pt x="3163772" y="2421326"/>
                </a:lnTo>
                <a:close/>
                <a:moveTo>
                  <a:pt x="8744423" y="2391701"/>
                </a:moveTo>
                <a:lnTo>
                  <a:pt x="8774026" y="2391701"/>
                </a:lnTo>
                <a:lnTo>
                  <a:pt x="8774026" y="2421321"/>
                </a:lnTo>
                <a:lnTo>
                  <a:pt x="8744423" y="2421321"/>
                </a:lnTo>
                <a:close/>
                <a:moveTo>
                  <a:pt x="2897575" y="2391701"/>
                </a:moveTo>
                <a:lnTo>
                  <a:pt x="2927178" y="2391701"/>
                </a:lnTo>
                <a:lnTo>
                  <a:pt x="2927178" y="2421321"/>
                </a:lnTo>
                <a:lnTo>
                  <a:pt x="2897575" y="2421321"/>
                </a:lnTo>
                <a:close/>
                <a:moveTo>
                  <a:pt x="8478226" y="2391697"/>
                </a:moveTo>
                <a:lnTo>
                  <a:pt x="8507828" y="2391697"/>
                </a:lnTo>
                <a:lnTo>
                  <a:pt x="8507828" y="2421317"/>
                </a:lnTo>
                <a:lnTo>
                  <a:pt x="8478226" y="2421317"/>
                </a:lnTo>
                <a:close/>
                <a:moveTo>
                  <a:pt x="2631378" y="2391697"/>
                </a:moveTo>
                <a:lnTo>
                  <a:pt x="2660980" y="2391697"/>
                </a:lnTo>
                <a:lnTo>
                  <a:pt x="2660980" y="2421317"/>
                </a:lnTo>
                <a:lnTo>
                  <a:pt x="2631378" y="2421317"/>
                </a:lnTo>
                <a:close/>
                <a:moveTo>
                  <a:pt x="8212137" y="2391694"/>
                </a:moveTo>
                <a:lnTo>
                  <a:pt x="8241740" y="2391694"/>
                </a:lnTo>
                <a:lnTo>
                  <a:pt x="8241740" y="2421312"/>
                </a:lnTo>
                <a:lnTo>
                  <a:pt x="8212137" y="2421312"/>
                </a:lnTo>
                <a:close/>
                <a:moveTo>
                  <a:pt x="2365289" y="2391694"/>
                </a:moveTo>
                <a:lnTo>
                  <a:pt x="2394892" y="2391694"/>
                </a:lnTo>
                <a:lnTo>
                  <a:pt x="2394892" y="2421312"/>
                </a:lnTo>
                <a:lnTo>
                  <a:pt x="2365289" y="2421312"/>
                </a:lnTo>
                <a:close/>
                <a:moveTo>
                  <a:pt x="7945940" y="2391691"/>
                </a:moveTo>
                <a:lnTo>
                  <a:pt x="7975543" y="2391691"/>
                </a:lnTo>
                <a:lnTo>
                  <a:pt x="7975543" y="2421307"/>
                </a:lnTo>
                <a:lnTo>
                  <a:pt x="7945940" y="2421307"/>
                </a:lnTo>
                <a:close/>
                <a:moveTo>
                  <a:pt x="2099092" y="2391691"/>
                </a:moveTo>
                <a:lnTo>
                  <a:pt x="2128695" y="2391691"/>
                </a:lnTo>
                <a:lnTo>
                  <a:pt x="2128695" y="2421307"/>
                </a:lnTo>
                <a:lnTo>
                  <a:pt x="2099092" y="2421307"/>
                </a:lnTo>
                <a:close/>
                <a:moveTo>
                  <a:pt x="7679743" y="2391688"/>
                </a:moveTo>
                <a:lnTo>
                  <a:pt x="7709346" y="2391688"/>
                </a:lnTo>
                <a:lnTo>
                  <a:pt x="7709346" y="2421302"/>
                </a:lnTo>
                <a:lnTo>
                  <a:pt x="7679743" y="2421302"/>
                </a:lnTo>
                <a:close/>
                <a:moveTo>
                  <a:pt x="1832898" y="2391688"/>
                </a:moveTo>
                <a:lnTo>
                  <a:pt x="1862498" y="2391688"/>
                </a:lnTo>
                <a:lnTo>
                  <a:pt x="1862498" y="2421302"/>
                </a:lnTo>
                <a:lnTo>
                  <a:pt x="1832898" y="2421302"/>
                </a:lnTo>
                <a:close/>
                <a:moveTo>
                  <a:pt x="7413653" y="2391687"/>
                </a:moveTo>
                <a:lnTo>
                  <a:pt x="7443256" y="2391687"/>
                </a:lnTo>
                <a:lnTo>
                  <a:pt x="7443256" y="2421298"/>
                </a:lnTo>
                <a:lnTo>
                  <a:pt x="7413653" y="2421298"/>
                </a:lnTo>
                <a:close/>
                <a:moveTo>
                  <a:pt x="1566808" y="2391687"/>
                </a:moveTo>
                <a:lnTo>
                  <a:pt x="1596409" y="2391687"/>
                </a:lnTo>
                <a:lnTo>
                  <a:pt x="1596409" y="2421298"/>
                </a:lnTo>
                <a:lnTo>
                  <a:pt x="1566808" y="2421298"/>
                </a:lnTo>
                <a:close/>
                <a:moveTo>
                  <a:pt x="7147456" y="2391682"/>
                </a:moveTo>
                <a:lnTo>
                  <a:pt x="7177058" y="2391682"/>
                </a:lnTo>
                <a:lnTo>
                  <a:pt x="7177058" y="2421293"/>
                </a:lnTo>
                <a:lnTo>
                  <a:pt x="7147456" y="2421293"/>
                </a:lnTo>
                <a:close/>
                <a:moveTo>
                  <a:pt x="1300611" y="2391682"/>
                </a:moveTo>
                <a:lnTo>
                  <a:pt x="1330213" y="2391682"/>
                </a:lnTo>
                <a:lnTo>
                  <a:pt x="1330213" y="2421293"/>
                </a:lnTo>
                <a:lnTo>
                  <a:pt x="1300611" y="2421293"/>
                </a:lnTo>
                <a:close/>
                <a:moveTo>
                  <a:pt x="6881367" y="2391678"/>
                </a:moveTo>
                <a:lnTo>
                  <a:pt x="6910970" y="2391678"/>
                </a:lnTo>
                <a:lnTo>
                  <a:pt x="6910970" y="2421288"/>
                </a:lnTo>
                <a:lnTo>
                  <a:pt x="6881367" y="2421288"/>
                </a:lnTo>
                <a:close/>
                <a:moveTo>
                  <a:pt x="1034520" y="2391678"/>
                </a:moveTo>
                <a:lnTo>
                  <a:pt x="1064123" y="2391678"/>
                </a:lnTo>
                <a:lnTo>
                  <a:pt x="1064123" y="2421288"/>
                </a:lnTo>
                <a:lnTo>
                  <a:pt x="1034520" y="2421288"/>
                </a:lnTo>
                <a:close/>
                <a:moveTo>
                  <a:pt x="6615170" y="2391675"/>
                </a:moveTo>
                <a:lnTo>
                  <a:pt x="6644773" y="2391675"/>
                </a:lnTo>
                <a:lnTo>
                  <a:pt x="6644773" y="2421283"/>
                </a:lnTo>
                <a:lnTo>
                  <a:pt x="6615170" y="2421283"/>
                </a:lnTo>
                <a:close/>
                <a:moveTo>
                  <a:pt x="768327" y="2391675"/>
                </a:moveTo>
                <a:lnTo>
                  <a:pt x="797926" y="2391675"/>
                </a:lnTo>
                <a:lnTo>
                  <a:pt x="797926" y="2421283"/>
                </a:lnTo>
                <a:lnTo>
                  <a:pt x="768327" y="2421283"/>
                </a:lnTo>
                <a:close/>
                <a:moveTo>
                  <a:pt x="6349081" y="2391672"/>
                </a:moveTo>
                <a:lnTo>
                  <a:pt x="6378683" y="2391672"/>
                </a:lnTo>
                <a:lnTo>
                  <a:pt x="6378683" y="2421278"/>
                </a:lnTo>
                <a:lnTo>
                  <a:pt x="6349081" y="2421278"/>
                </a:lnTo>
                <a:close/>
                <a:moveTo>
                  <a:pt x="502236" y="2391672"/>
                </a:moveTo>
                <a:lnTo>
                  <a:pt x="531838" y="2391672"/>
                </a:lnTo>
                <a:lnTo>
                  <a:pt x="531838" y="2421278"/>
                </a:lnTo>
                <a:lnTo>
                  <a:pt x="502236" y="2421278"/>
                </a:lnTo>
                <a:close/>
                <a:moveTo>
                  <a:pt x="6082884" y="2391669"/>
                </a:moveTo>
                <a:lnTo>
                  <a:pt x="6112486" y="2391669"/>
                </a:lnTo>
                <a:lnTo>
                  <a:pt x="6112486" y="2421272"/>
                </a:lnTo>
                <a:lnTo>
                  <a:pt x="6082884" y="2421272"/>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1672158" y="2126064"/>
                </a:moveTo>
                <a:lnTo>
                  <a:pt x="11701760" y="2126064"/>
                </a:lnTo>
                <a:lnTo>
                  <a:pt x="11701760" y="2155577"/>
                </a:lnTo>
                <a:lnTo>
                  <a:pt x="11672158" y="2155577"/>
                </a:lnTo>
                <a:close/>
                <a:moveTo>
                  <a:pt x="5825310" y="2126064"/>
                </a:moveTo>
                <a:lnTo>
                  <a:pt x="5854913" y="2126064"/>
                </a:lnTo>
                <a:lnTo>
                  <a:pt x="5854913" y="2155577"/>
                </a:lnTo>
                <a:lnTo>
                  <a:pt x="5825310" y="2155577"/>
                </a:lnTo>
                <a:close/>
                <a:moveTo>
                  <a:pt x="11405961" y="2126062"/>
                </a:moveTo>
                <a:lnTo>
                  <a:pt x="11435563" y="2126062"/>
                </a:lnTo>
                <a:lnTo>
                  <a:pt x="11435563" y="2155575"/>
                </a:lnTo>
                <a:lnTo>
                  <a:pt x="11405961" y="2155575"/>
                </a:lnTo>
                <a:close/>
                <a:moveTo>
                  <a:pt x="5559113" y="2126062"/>
                </a:moveTo>
                <a:lnTo>
                  <a:pt x="5588715" y="2126062"/>
                </a:lnTo>
                <a:lnTo>
                  <a:pt x="5588715" y="2155575"/>
                </a:lnTo>
                <a:lnTo>
                  <a:pt x="5559113" y="2155575"/>
                </a:lnTo>
                <a:close/>
                <a:moveTo>
                  <a:pt x="11139872" y="2126061"/>
                </a:moveTo>
                <a:lnTo>
                  <a:pt x="11169474" y="2126061"/>
                </a:lnTo>
                <a:lnTo>
                  <a:pt x="11169474" y="2155572"/>
                </a:lnTo>
                <a:lnTo>
                  <a:pt x="11139872" y="2155572"/>
                </a:lnTo>
                <a:close/>
                <a:moveTo>
                  <a:pt x="5293024" y="2126061"/>
                </a:moveTo>
                <a:lnTo>
                  <a:pt x="5322626" y="2126061"/>
                </a:lnTo>
                <a:lnTo>
                  <a:pt x="5322626" y="2155572"/>
                </a:lnTo>
                <a:lnTo>
                  <a:pt x="5293024" y="2155572"/>
                </a:lnTo>
                <a:close/>
                <a:moveTo>
                  <a:pt x="10873675" y="2126058"/>
                </a:moveTo>
                <a:lnTo>
                  <a:pt x="10903277" y="2126058"/>
                </a:lnTo>
                <a:lnTo>
                  <a:pt x="10903277" y="2155569"/>
                </a:lnTo>
                <a:lnTo>
                  <a:pt x="10873675" y="2155569"/>
                </a:lnTo>
                <a:close/>
                <a:moveTo>
                  <a:pt x="5026827" y="2126058"/>
                </a:moveTo>
                <a:lnTo>
                  <a:pt x="5056429" y="2126058"/>
                </a:lnTo>
                <a:lnTo>
                  <a:pt x="5056429" y="2155569"/>
                </a:lnTo>
                <a:lnTo>
                  <a:pt x="5026827" y="2155569"/>
                </a:lnTo>
                <a:close/>
                <a:moveTo>
                  <a:pt x="10607478" y="2126055"/>
                </a:moveTo>
                <a:lnTo>
                  <a:pt x="10637188" y="2126055"/>
                </a:lnTo>
                <a:lnTo>
                  <a:pt x="10637188" y="2155565"/>
                </a:lnTo>
                <a:lnTo>
                  <a:pt x="10607478" y="2155565"/>
                </a:lnTo>
                <a:close/>
                <a:moveTo>
                  <a:pt x="4760630" y="2126055"/>
                </a:moveTo>
                <a:lnTo>
                  <a:pt x="4790340" y="2126055"/>
                </a:lnTo>
                <a:lnTo>
                  <a:pt x="4790340" y="2155565"/>
                </a:lnTo>
                <a:lnTo>
                  <a:pt x="4760630" y="2155565"/>
                </a:lnTo>
                <a:close/>
                <a:moveTo>
                  <a:pt x="10341389" y="2126052"/>
                </a:moveTo>
                <a:lnTo>
                  <a:pt x="10370992" y="2126052"/>
                </a:lnTo>
                <a:lnTo>
                  <a:pt x="10370992" y="2155561"/>
                </a:lnTo>
                <a:lnTo>
                  <a:pt x="10341389" y="2155561"/>
                </a:lnTo>
                <a:close/>
                <a:moveTo>
                  <a:pt x="4494541" y="2126052"/>
                </a:moveTo>
                <a:lnTo>
                  <a:pt x="4524144" y="2126052"/>
                </a:lnTo>
                <a:lnTo>
                  <a:pt x="4524144" y="2155561"/>
                </a:lnTo>
                <a:lnTo>
                  <a:pt x="4494541" y="2155561"/>
                </a:lnTo>
                <a:close/>
                <a:moveTo>
                  <a:pt x="10075192" y="2126049"/>
                </a:moveTo>
                <a:lnTo>
                  <a:pt x="10104794" y="2126049"/>
                </a:lnTo>
                <a:lnTo>
                  <a:pt x="10104794" y="2155558"/>
                </a:lnTo>
                <a:lnTo>
                  <a:pt x="10075192" y="2155558"/>
                </a:lnTo>
                <a:close/>
                <a:moveTo>
                  <a:pt x="4228344" y="2126049"/>
                </a:moveTo>
                <a:lnTo>
                  <a:pt x="4257946" y="2126049"/>
                </a:lnTo>
                <a:lnTo>
                  <a:pt x="4257946" y="2155558"/>
                </a:lnTo>
                <a:lnTo>
                  <a:pt x="4228344" y="2155558"/>
                </a:lnTo>
                <a:close/>
                <a:moveTo>
                  <a:pt x="9809103" y="2126047"/>
                </a:moveTo>
                <a:lnTo>
                  <a:pt x="9838705" y="2126047"/>
                </a:lnTo>
                <a:lnTo>
                  <a:pt x="9838705" y="2155554"/>
                </a:lnTo>
                <a:lnTo>
                  <a:pt x="9809103" y="2155554"/>
                </a:lnTo>
                <a:close/>
                <a:moveTo>
                  <a:pt x="3962255" y="2126047"/>
                </a:moveTo>
                <a:lnTo>
                  <a:pt x="3991857" y="2126047"/>
                </a:lnTo>
                <a:lnTo>
                  <a:pt x="3991857" y="2155554"/>
                </a:lnTo>
                <a:lnTo>
                  <a:pt x="3962255" y="2155554"/>
                </a:lnTo>
                <a:close/>
                <a:moveTo>
                  <a:pt x="9542906" y="2126044"/>
                </a:moveTo>
                <a:lnTo>
                  <a:pt x="9572509" y="2126044"/>
                </a:lnTo>
                <a:lnTo>
                  <a:pt x="9572509" y="2155551"/>
                </a:lnTo>
                <a:lnTo>
                  <a:pt x="9542906" y="2155551"/>
                </a:lnTo>
                <a:close/>
                <a:moveTo>
                  <a:pt x="3696058" y="2126044"/>
                </a:moveTo>
                <a:lnTo>
                  <a:pt x="3725661" y="2126044"/>
                </a:lnTo>
                <a:lnTo>
                  <a:pt x="3725661" y="2155551"/>
                </a:lnTo>
                <a:lnTo>
                  <a:pt x="3696058" y="2155551"/>
                </a:lnTo>
                <a:close/>
                <a:moveTo>
                  <a:pt x="9276817" y="2126042"/>
                </a:moveTo>
                <a:lnTo>
                  <a:pt x="9306420" y="2126042"/>
                </a:lnTo>
                <a:lnTo>
                  <a:pt x="9306420" y="2155548"/>
                </a:lnTo>
                <a:lnTo>
                  <a:pt x="9276817" y="2155548"/>
                </a:lnTo>
                <a:close/>
                <a:moveTo>
                  <a:pt x="3429969" y="2126042"/>
                </a:moveTo>
                <a:lnTo>
                  <a:pt x="3459572" y="2126042"/>
                </a:lnTo>
                <a:lnTo>
                  <a:pt x="3459572" y="2155548"/>
                </a:lnTo>
                <a:lnTo>
                  <a:pt x="3429969" y="2155548"/>
                </a:lnTo>
                <a:close/>
                <a:moveTo>
                  <a:pt x="9010620" y="2126039"/>
                </a:moveTo>
                <a:lnTo>
                  <a:pt x="9040222" y="2126039"/>
                </a:lnTo>
                <a:lnTo>
                  <a:pt x="9040222" y="2155544"/>
                </a:lnTo>
                <a:lnTo>
                  <a:pt x="9010620" y="2155544"/>
                </a:lnTo>
                <a:close/>
                <a:moveTo>
                  <a:pt x="3163772" y="2126039"/>
                </a:moveTo>
                <a:lnTo>
                  <a:pt x="3193374" y="2126039"/>
                </a:lnTo>
                <a:lnTo>
                  <a:pt x="3193374" y="2155544"/>
                </a:lnTo>
                <a:lnTo>
                  <a:pt x="3163772" y="2155544"/>
                </a:lnTo>
                <a:close/>
                <a:moveTo>
                  <a:pt x="8744423" y="2126036"/>
                </a:moveTo>
                <a:lnTo>
                  <a:pt x="8774026" y="2126036"/>
                </a:lnTo>
                <a:lnTo>
                  <a:pt x="8774026" y="2155541"/>
                </a:lnTo>
                <a:lnTo>
                  <a:pt x="8744423" y="2155541"/>
                </a:lnTo>
                <a:close/>
                <a:moveTo>
                  <a:pt x="2897575" y="2126036"/>
                </a:moveTo>
                <a:lnTo>
                  <a:pt x="2927178" y="2126036"/>
                </a:lnTo>
                <a:lnTo>
                  <a:pt x="2927178" y="2155541"/>
                </a:lnTo>
                <a:lnTo>
                  <a:pt x="2897575" y="2155541"/>
                </a:lnTo>
                <a:close/>
                <a:moveTo>
                  <a:pt x="8478226" y="2126033"/>
                </a:moveTo>
                <a:lnTo>
                  <a:pt x="8507828" y="2126033"/>
                </a:lnTo>
                <a:lnTo>
                  <a:pt x="8507828" y="2155537"/>
                </a:lnTo>
                <a:lnTo>
                  <a:pt x="8478226" y="2155537"/>
                </a:lnTo>
                <a:close/>
                <a:moveTo>
                  <a:pt x="2631378" y="2126033"/>
                </a:moveTo>
                <a:lnTo>
                  <a:pt x="2660980" y="2126033"/>
                </a:lnTo>
                <a:lnTo>
                  <a:pt x="2660980" y="2155537"/>
                </a:lnTo>
                <a:lnTo>
                  <a:pt x="2631378" y="2155537"/>
                </a:lnTo>
                <a:close/>
                <a:moveTo>
                  <a:pt x="8212137" y="2126031"/>
                </a:moveTo>
                <a:lnTo>
                  <a:pt x="8241740" y="2126031"/>
                </a:lnTo>
                <a:lnTo>
                  <a:pt x="8241740" y="2155534"/>
                </a:lnTo>
                <a:lnTo>
                  <a:pt x="8212137" y="2155534"/>
                </a:lnTo>
                <a:close/>
                <a:moveTo>
                  <a:pt x="2365289" y="2126031"/>
                </a:moveTo>
                <a:lnTo>
                  <a:pt x="2394892" y="2126031"/>
                </a:lnTo>
                <a:lnTo>
                  <a:pt x="2394892" y="2155534"/>
                </a:lnTo>
                <a:lnTo>
                  <a:pt x="2365289" y="2155534"/>
                </a:lnTo>
                <a:close/>
                <a:moveTo>
                  <a:pt x="7945940" y="2126030"/>
                </a:moveTo>
                <a:lnTo>
                  <a:pt x="7975543" y="2126030"/>
                </a:lnTo>
                <a:lnTo>
                  <a:pt x="7975543" y="2155531"/>
                </a:lnTo>
                <a:lnTo>
                  <a:pt x="7945940" y="2155531"/>
                </a:lnTo>
                <a:close/>
                <a:moveTo>
                  <a:pt x="2099092" y="2126030"/>
                </a:moveTo>
                <a:lnTo>
                  <a:pt x="2128695" y="2126030"/>
                </a:lnTo>
                <a:lnTo>
                  <a:pt x="2128695" y="2155531"/>
                </a:lnTo>
                <a:lnTo>
                  <a:pt x="2099092" y="2155531"/>
                </a:lnTo>
                <a:close/>
                <a:moveTo>
                  <a:pt x="7679743" y="2126028"/>
                </a:moveTo>
                <a:lnTo>
                  <a:pt x="7709346" y="2126028"/>
                </a:lnTo>
                <a:lnTo>
                  <a:pt x="7709346" y="2155527"/>
                </a:lnTo>
                <a:lnTo>
                  <a:pt x="7679743" y="2155527"/>
                </a:lnTo>
                <a:close/>
                <a:moveTo>
                  <a:pt x="1832898" y="2126028"/>
                </a:moveTo>
                <a:lnTo>
                  <a:pt x="1862498" y="2126028"/>
                </a:lnTo>
                <a:lnTo>
                  <a:pt x="1862498" y="2155527"/>
                </a:lnTo>
                <a:lnTo>
                  <a:pt x="1832898" y="2155527"/>
                </a:lnTo>
                <a:close/>
                <a:moveTo>
                  <a:pt x="7413653" y="2126025"/>
                </a:moveTo>
                <a:lnTo>
                  <a:pt x="7443256" y="2126025"/>
                </a:lnTo>
                <a:lnTo>
                  <a:pt x="7443256" y="2155523"/>
                </a:lnTo>
                <a:lnTo>
                  <a:pt x="7413653" y="2155523"/>
                </a:lnTo>
                <a:close/>
                <a:moveTo>
                  <a:pt x="1566808" y="2126025"/>
                </a:moveTo>
                <a:lnTo>
                  <a:pt x="1596409" y="2126025"/>
                </a:lnTo>
                <a:lnTo>
                  <a:pt x="1596409" y="2155523"/>
                </a:lnTo>
                <a:lnTo>
                  <a:pt x="1566808" y="2155523"/>
                </a:lnTo>
                <a:close/>
                <a:moveTo>
                  <a:pt x="7147456" y="2126023"/>
                </a:moveTo>
                <a:lnTo>
                  <a:pt x="7177058" y="2126023"/>
                </a:lnTo>
                <a:lnTo>
                  <a:pt x="7177058" y="2155520"/>
                </a:lnTo>
                <a:lnTo>
                  <a:pt x="7147456" y="2155520"/>
                </a:lnTo>
                <a:close/>
                <a:moveTo>
                  <a:pt x="1300611" y="2126023"/>
                </a:moveTo>
                <a:lnTo>
                  <a:pt x="1330213" y="2126023"/>
                </a:lnTo>
                <a:lnTo>
                  <a:pt x="1330213" y="2155520"/>
                </a:lnTo>
                <a:lnTo>
                  <a:pt x="1300611" y="2155520"/>
                </a:lnTo>
                <a:close/>
                <a:moveTo>
                  <a:pt x="6881367" y="2126020"/>
                </a:moveTo>
                <a:lnTo>
                  <a:pt x="6910970" y="2126020"/>
                </a:lnTo>
                <a:lnTo>
                  <a:pt x="6910970" y="2155517"/>
                </a:lnTo>
                <a:lnTo>
                  <a:pt x="6881367" y="2155517"/>
                </a:lnTo>
                <a:close/>
                <a:moveTo>
                  <a:pt x="1034520" y="2126020"/>
                </a:moveTo>
                <a:lnTo>
                  <a:pt x="1064123" y="2126020"/>
                </a:lnTo>
                <a:lnTo>
                  <a:pt x="1064123" y="2155517"/>
                </a:lnTo>
                <a:lnTo>
                  <a:pt x="1034520" y="2155517"/>
                </a:lnTo>
                <a:close/>
                <a:moveTo>
                  <a:pt x="6615170" y="2126017"/>
                </a:moveTo>
                <a:lnTo>
                  <a:pt x="6644773" y="2126017"/>
                </a:lnTo>
                <a:lnTo>
                  <a:pt x="6644773" y="2155513"/>
                </a:lnTo>
                <a:lnTo>
                  <a:pt x="6615170" y="2155513"/>
                </a:lnTo>
                <a:close/>
                <a:moveTo>
                  <a:pt x="768327" y="2126017"/>
                </a:moveTo>
                <a:lnTo>
                  <a:pt x="797926" y="2126017"/>
                </a:lnTo>
                <a:lnTo>
                  <a:pt x="797926" y="2155513"/>
                </a:lnTo>
                <a:lnTo>
                  <a:pt x="768327" y="2155513"/>
                </a:lnTo>
                <a:close/>
                <a:moveTo>
                  <a:pt x="6349081" y="2126014"/>
                </a:moveTo>
                <a:lnTo>
                  <a:pt x="6378683" y="2126014"/>
                </a:lnTo>
                <a:lnTo>
                  <a:pt x="6378683" y="2155510"/>
                </a:lnTo>
                <a:lnTo>
                  <a:pt x="6349081" y="2155510"/>
                </a:lnTo>
                <a:close/>
                <a:moveTo>
                  <a:pt x="502236" y="2126014"/>
                </a:moveTo>
                <a:lnTo>
                  <a:pt x="531838" y="2126014"/>
                </a:lnTo>
                <a:lnTo>
                  <a:pt x="531838" y="2155510"/>
                </a:lnTo>
                <a:lnTo>
                  <a:pt x="502236" y="2155510"/>
                </a:lnTo>
                <a:close/>
                <a:moveTo>
                  <a:pt x="6082884" y="2126012"/>
                </a:moveTo>
                <a:lnTo>
                  <a:pt x="6112486" y="2126012"/>
                </a:lnTo>
                <a:lnTo>
                  <a:pt x="6112486" y="2155506"/>
                </a:lnTo>
                <a:lnTo>
                  <a:pt x="6082884" y="2155506"/>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1672158" y="1860298"/>
                </a:moveTo>
                <a:lnTo>
                  <a:pt x="11701760" y="1860298"/>
                </a:lnTo>
                <a:lnTo>
                  <a:pt x="11701760" y="1889774"/>
                </a:lnTo>
                <a:lnTo>
                  <a:pt x="11672158" y="1889774"/>
                </a:lnTo>
                <a:close/>
                <a:moveTo>
                  <a:pt x="5825310" y="1860298"/>
                </a:moveTo>
                <a:lnTo>
                  <a:pt x="5854913" y="1860298"/>
                </a:lnTo>
                <a:lnTo>
                  <a:pt x="5854913" y="1889774"/>
                </a:lnTo>
                <a:lnTo>
                  <a:pt x="5825310" y="1889774"/>
                </a:lnTo>
                <a:close/>
                <a:moveTo>
                  <a:pt x="11405961" y="1860296"/>
                </a:moveTo>
                <a:lnTo>
                  <a:pt x="11435563" y="1860296"/>
                </a:lnTo>
                <a:lnTo>
                  <a:pt x="11435563" y="1889774"/>
                </a:lnTo>
                <a:lnTo>
                  <a:pt x="11405961" y="1889774"/>
                </a:lnTo>
                <a:close/>
                <a:moveTo>
                  <a:pt x="5559113" y="1860296"/>
                </a:moveTo>
                <a:lnTo>
                  <a:pt x="5588715" y="1860296"/>
                </a:lnTo>
                <a:lnTo>
                  <a:pt x="5588715" y="1889774"/>
                </a:lnTo>
                <a:lnTo>
                  <a:pt x="5559113" y="1889774"/>
                </a:lnTo>
                <a:close/>
                <a:moveTo>
                  <a:pt x="11139872" y="1860293"/>
                </a:moveTo>
                <a:lnTo>
                  <a:pt x="11169474" y="1860293"/>
                </a:lnTo>
                <a:lnTo>
                  <a:pt x="11169474" y="1889772"/>
                </a:lnTo>
                <a:lnTo>
                  <a:pt x="11139872" y="1889772"/>
                </a:lnTo>
                <a:close/>
                <a:moveTo>
                  <a:pt x="5293024" y="1860293"/>
                </a:moveTo>
                <a:lnTo>
                  <a:pt x="5322626" y="1860293"/>
                </a:lnTo>
                <a:lnTo>
                  <a:pt x="5322626" y="1889772"/>
                </a:lnTo>
                <a:lnTo>
                  <a:pt x="5293024" y="1889772"/>
                </a:lnTo>
                <a:close/>
                <a:moveTo>
                  <a:pt x="10873675" y="1860291"/>
                </a:moveTo>
                <a:lnTo>
                  <a:pt x="10903277" y="1860291"/>
                </a:lnTo>
                <a:lnTo>
                  <a:pt x="10903277" y="1889770"/>
                </a:lnTo>
                <a:lnTo>
                  <a:pt x="10873675" y="1889770"/>
                </a:lnTo>
                <a:close/>
                <a:moveTo>
                  <a:pt x="5026827" y="1860291"/>
                </a:moveTo>
                <a:lnTo>
                  <a:pt x="5056429" y="1860291"/>
                </a:lnTo>
                <a:lnTo>
                  <a:pt x="5056429" y="1889770"/>
                </a:lnTo>
                <a:lnTo>
                  <a:pt x="5026827" y="1889770"/>
                </a:lnTo>
                <a:close/>
                <a:moveTo>
                  <a:pt x="10607478" y="1860288"/>
                </a:moveTo>
                <a:lnTo>
                  <a:pt x="10637188" y="1860288"/>
                </a:lnTo>
                <a:lnTo>
                  <a:pt x="10637188" y="1889769"/>
                </a:lnTo>
                <a:lnTo>
                  <a:pt x="10607478" y="1889769"/>
                </a:lnTo>
                <a:close/>
                <a:moveTo>
                  <a:pt x="4760630" y="1860288"/>
                </a:moveTo>
                <a:lnTo>
                  <a:pt x="4790340" y="1860288"/>
                </a:lnTo>
                <a:lnTo>
                  <a:pt x="4790340" y="1889769"/>
                </a:lnTo>
                <a:lnTo>
                  <a:pt x="4760630" y="1889769"/>
                </a:lnTo>
                <a:close/>
                <a:moveTo>
                  <a:pt x="10341389" y="1860286"/>
                </a:moveTo>
                <a:lnTo>
                  <a:pt x="10370992" y="1860286"/>
                </a:lnTo>
                <a:lnTo>
                  <a:pt x="10370992" y="1889767"/>
                </a:lnTo>
                <a:lnTo>
                  <a:pt x="10341389" y="1889767"/>
                </a:lnTo>
                <a:close/>
                <a:moveTo>
                  <a:pt x="4494541" y="1860286"/>
                </a:moveTo>
                <a:lnTo>
                  <a:pt x="4524144" y="1860286"/>
                </a:lnTo>
                <a:lnTo>
                  <a:pt x="4524144" y="1889767"/>
                </a:lnTo>
                <a:lnTo>
                  <a:pt x="4494541" y="1889767"/>
                </a:lnTo>
                <a:close/>
                <a:moveTo>
                  <a:pt x="10075192" y="1860283"/>
                </a:moveTo>
                <a:lnTo>
                  <a:pt x="10104794" y="1860283"/>
                </a:lnTo>
                <a:lnTo>
                  <a:pt x="10104794" y="1889766"/>
                </a:lnTo>
                <a:lnTo>
                  <a:pt x="10075192" y="1889766"/>
                </a:lnTo>
                <a:close/>
                <a:moveTo>
                  <a:pt x="4228344" y="1860283"/>
                </a:moveTo>
                <a:lnTo>
                  <a:pt x="4257946" y="1860283"/>
                </a:lnTo>
                <a:lnTo>
                  <a:pt x="4257946" y="1889766"/>
                </a:lnTo>
                <a:lnTo>
                  <a:pt x="4228344" y="1889766"/>
                </a:lnTo>
                <a:close/>
                <a:moveTo>
                  <a:pt x="9809103" y="1860281"/>
                </a:moveTo>
                <a:lnTo>
                  <a:pt x="9838705" y="1860281"/>
                </a:lnTo>
                <a:lnTo>
                  <a:pt x="9838705" y="1889764"/>
                </a:lnTo>
                <a:lnTo>
                  <a:pt x="9809103" y="1889764"/>
                </a:lnTo>
                <a:close/>
                <a:moveTo>
                  <a:pt x="3962255" y="1860281"/>
                </a:moveTo>
                <a:lnTo>
                  <a:pt x="3991857" y="1860281"/>
                </a:lnTo>
                <a:lnTo>
                  <a:pt x="3991857" y="1889764"/>
                </a:lnTo>
                <a:lnTo>
                  <a:pt x="3962255" y="1889764"/>
                </a:lnTo>
                <a:close/>
                <a:moveTo>
                  <a:pt x="9542906" y="1860278"/>
                </a:moveTo>
                <a:lnTo>
                  <a:pt x="9572509" y="1860278"/>
                </a:lnTo>
                <a:lnTo>
                  <a:pt x="9572509" y="1889763"/>
                </a:lnTo>
                <a:lnTo>
                  <a:pt x="9542906" y="1889763"/>
                </a:lnTo>
                <a:close/>
                <a:moveTo>
                  <a:pt x="3696058" y="1860278"/>
                </a:moveTo>
                <a:lnTo>
                  <a:pt x="3725661" y="1860278"/>
                </a:lnTo>
                <a:lnTo>
                  <a:pt x="3725661" y="1889763"/>
                </a:lnTo>
                <a:lnTo>
                  <a:pt x="3696058" y="1889763"/>
                </a:lnTo>
                <a:close/>
                <a:moveTo>
                  <a:pt x="9276817" y="1860276"/>
                </a:moveTo>
                <a:lnTo>
                  <a:pt x="9306420" y="1860276"/>
                </a:lnTo>
                <a:lnTo>
                  <a:pt x="9306420" y="1889762"/>
                </a:lnTo>
                <a:lnTo>
                  <a:pt x="9276817" y="1889762"/>
                </a:lnTo>
                <a:close/>
                <a:moveTo>
                  <a:pt x="3429969" y="1860276"/>
                </a:moveTo>
                <a:lnTo>
                  <a:pt x="3459572" y="1860276"/>
                </a:lnTo>
                <a:lnTo>
                  <a:pt x="3459572" y="1889762"/>
                </a:lnTo>
                <a:lnTo>
                  <a:pt x="3429969" y="1889762"/>
                </a:lnTo>
                <a:close/>
                <a:moveTo>
                  <a:pt x="9010620" y="1860273"/>
                </a:moveTo>
                <a:lnTo>
                  <a:pt x="9040222" y="1860273"/>
                </a:lnTo>
                <a:lnTo>
                  <a:pt x="9040222" y="1889761"/>
                </a:lnTo>
                <a:lnTo>
                  <a:pt x="9010620" y="1889761"/>
                </a:lnTo>
                <a:close/>
                <a:moveTo>
                  <a:pt x="3163772" y="1860273"/>
                </a:moveTo>
                <a:lnTo>
                  <a:pt x="3193374" y="1860273"/>
                </a:lnTo>
                <a:lnTo>
                  <a:pt x="3193374" y="1889761"/>
                </a:lnTo>
                <a:lnTo>
                  <a:pt x="3163772" y="1889761"/>
                </a:lnTo>
                <a:close/>
                <a:moveTo>
                  <a:pt x="8744423" y="1860271"/>
                </a:moveTo>
                <a:lnTo>
                  <a:pt x="8774026" y="1860271"/>
                </a:lnTo>
                <a:lnTo>
                  <a:pt x="8774026" y="1889759"/>
                </a:lnTo>
                <a:lnTo>
                  <a:pt x="8744423" y="1889759"/>
                </a:lnTo>
                <a:close/>
                <a:moveTo>
                  <a:pt x="2897575" y="1860271"/>
                </a:moveTo>
                <a:lnTo>
                  <a:pt x="2927178" y="1860271"/>
                </a:lnTo>
                <a:lnTo>
                  <a:pt x="2927178" y="1889759"/>
                </a:lnTo>
                <a:lnTo>
                  <a:pt x="2897575" y="1889759"/>
                </a:lnTo>
                <a:close/>
                <a:moveTo>
                  <a:pt x="8478226" y="1860268"/>
                </a:moveTo>
                <a:lnTo>
                  <a:pt x="8507828" y="1860268"/>
                </a:lnTo>
                <a:lnTo>
                  <a:pt x="8507828" y="1889757"/>
                </a:lnTo>
                <a:lnTo>
                  <a:pt x="8478226" y="1889757"/>
                </a:lnTo>
                <a:close/>
                <a:moveTo>
                  <a:pt x="2631378" y="1860268"/>
                </a:moveTo>
                <a:lnTo>
                  <a:pt x="2660980" y="1860268"/>
                </a:lnTo>
                <a:lnTo>
                  <a:pt x="2660980" y="1889757"/>
                </a:lnTo>
                <a:lnTo>
                  <a:pt x="2631378" y="1889757"/>
                </a:lnTo>
                <a:close/>
                <a:moveTo>
                  <a:pt x="8212137" y="1860266"/>
                </a:moveTo>
                <a:lnTo>
                  <a:pt x="8241740" y="1860266"/>
                </a:lnTo>
                <a:lnTo>
                  <a:pt x="8241740" y="1889755"/>
                </a:lnTo>
                <a:lnTo>
                  <a:pt x="8212137" y="1889755"/>
                </a:lnTo>
                <a:close/>
                <a:moveTo>
                  <a:pt x="2365289" y="1860266"/>
                </a:moveTo>
                <a:lnTo>
                  <a:pt x="2394892" y="1860266"/>
                </a:lnTo>
                <a:lnTo>
                  <a:pt x="2394892" y="1889755"/>
                </a:lnTo>
                <a:lnTo>
                  <a:pt x="2365289" y="1889755"/>
                </a:lnTo>
                <a:close/>
                <a:moveTo>
                  <a:pt x="7945940" y="1860264"/>
                </a:moveTo>
                <a:lnTo>
                  <a:pt x="7975543" y="1860264"/>
                </a:lnTo>
                <a:lnTo>
                  <a:pt x="7975543" y="1889753"/>
                </a:lnTo>
                <a:lnTo>
                  <a:pt x="7945940" y="1889753"/>
                </a:lnTo>
                <a:close/>
                <a:moveTo>
                  <a:pt x="2099092" y="1860264"/>
                </a:moveTo>
                <a:lnTo>
                  <a:pt x="2128695" y="1860264"/>
                </a:lnTo>
                <a:lnTo>
                  <a:pt x="2128695" y="1889753"/>
                </a:lnTo>
                <a:lnTo>
                  <a:pt x="2099092" y="1889753"/>
                </a:lnTo>
                <a:close/>
                <a:moveTo>
                  <a:pt x="7679743" y="1860261"/>
                </a:moveTo>
                <a:lnTo>
                  <a:pt x="7709346" y="1860261"/>
                </a:lnTo>
                <a:lnTo>
                  <a:pt x="7709346" y="1889751"/>
                </a:lnTo>
                <a:lnTo>
                  <a:pt x="7679743" y="1889751"/>
                </a:lnTo>
                <a:close/>
                <a:moveTo>
                  <a:pt x="1832898" y="1860261"/>
                </a:moveTo>
                <a:lnTo>
                  <a:pt x="1862498" y="1860261"/>
                </a:lnTo>
                <a:lnTo>
                  <a:pt x="1862498" y="1889751"/>
                </a:lnTo>
                <a:lnTo>
                  <a:pt x="1832898" y="1889751"/>
                </a:lnTo>
                <a:close/>
                <a:moveTo>
                  <a:pt x="7413653" y="1860259"/>
                </a:moveTo>
                <a:lnTo>
                  <a:pt x="7443256" y="1860259"/>
                </a:lnTo>
                <a:lnTo>
                  <a:pt x="7443256" y="1889750"/>
                </a:lnTo>
                <a:lnTo>
                  <a:pt x="7413653" y="1889750"/>
                </a:lnTo>
                <a:close/>
                <a:moveTo>
                  <a:pt x="1566808" y="1860259"/>
                </a:moveTo>
                <a:lnTo>
                  <a:pt x="1596409" y="1860259"/>
                </a:lnTo>
                <a:lnTo>
                  <a:pt x="1596409" y="1889750"/>
                </a:lnTo>
                <a:lnTo>
                  <a:pt x="1566808" y="1889750"/>
                </a:lnTo>
                <a:close/>
                <a:moveTo>
                  <a:pt x="7147456" y="1860256"/>
                </a:moveTo>
                <a:lnTo>
                  <a:pt x="7177058" y="1860256"/>
                </a:lnTo>
                <a:lnTo>
                  <a:pt x="7177058" y="1889748"/>
                </a:lnTo>
                <a:lnTo>
                  <a:pt x="7147456" y="1889748"/>
                </a:lnTo>
                <a:close/>
                <a:moveTo>
                  <a:pt x="1300611" y="1860256"/>
                </a:moveTo>
                <a:lnTo>
                  <a:pt x="1330213" y="1860256"/>
                </a:lnTo>
                <a:lnTo>
                  <a:pt x="1330213" y="1889748"/>
                </a:lnTo>
                <a:lnTo>
                  <a:pt x="1300611" y="1889748"/>
                </a:lnTo>
                <a:close/>
                <a:moveTo>
                  <a:pt x="6881367" y="1860254"/>
                </a:moveTo>
                <a:lnTo>
                  <a:pt x="6910970" y="1860254"/>
                </a:lnTo>
                <a:lnTo>
                  <a:pt x="6910970" y="1889747"/>
                </a:lnTo>
                <a:lnTo>
                  <a:pt x="6881367" y="1889747"/>
                </a:lnTo>
                <a:close/>
                <a:moveTo>
                  <a:pt x="1034520" y="1860254"/>
                </a:moveTo>
                <a:lnTo>
                  <a:pt x="1064123" y="1860254"/>
                </a:lnTo>
                <a:lnTo>
                  <a:pt x="1064123" y="1889747"/>
                </a:lnTo>
                <a:lnTo>
                  <a:pt x="1034520" y="1889747"/>
                </a:lnTo>
                <a:close/>
                <a:moveTo>
                  <a:pt x="6615170" y="1860252"/>
                </a:moveTo>
                <a:lnTo>
                  <a:pt x="6644773" y="1860252"/>
                </a:lnTo>
                <a:lnTo>
                  <a:pt x="6644773" y="1889745"/>
                </a:lnTo>
                <a:lnTo>
                  <a:pt x="6615170" y="1889745"/>
                </a:lnTo>
                <a:close/>
                <a:moveTo>
                  <a:pt x="768327" y="1860252"/>
                </a:moveTo>
                <a:lnTo>
                  <a:pt x="797926" y="1860252"/>
                </a:lnTo>
                <a:lnTo>
                  <a:pt x="797926" y="1889745"/>
                </a:lnTo>
                <a:lnTo>
                  <a:pt x="768327" y="1889745"/>
                </a:lnTo>
                <a:close/>
                <a:moveTo>
                  <a:pt x="6349081" y="1860249"/>
                </a:moveTo>
                <a:lnTo>
                  <a:pt x="6378683" y="1860249"/>
                </a:lnTo>
                <a:lnTo>
                  <a:pt x="6378683" y="1889744"/>
                </a:lnTo>
                <a:lnTo>
                  <a:pt x="6349081" y="1889744"/>
                </a:lnTo>
                <a:close/>
                <a:moveTo>
                  <a:pt x="502236" y="1860249"/>
                </a:moveTo>
                <a:lnTo>
                  <a:pt x="531838" y="1860249"/>
                </a:lnTo>
                <a:lnTo>
                  <a:pt x="531838" y="1889744"/>
                </a:lnTo>
                <a:lnTo>
                  <a:pt x="502236" y="1889744"/>
                </a:lnTo>
                <a:close/>
                <a:moveTo>
                  <a:pt x="6082884" y="1860247"/>
                </a:moveTo>
                <a:lnTo>
                  <a:pt x="6112486" y="1860247"/>
                </a:lnTo>
                <a:lnTo>
                  <a:pt x="6112486" y="1889742"/>
                </a:lnTo>
                <a:lnTo>
                  <a:pt x="6082884" y="1889742"/>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1672158" y="1594533"/>
                </a:moveTo>
                <a:lnTo>
                  <a:pt x="11701760" y="1594533"/>
                </a:lnTo>
                <a:lnTo>
                  <a:pt x="11701760" y="1624136"/>
                </a:lnTo>
                <a:lnTo>
                  <a:pt x="11672158" y="1624136"/>
                </a:lnTo>
                <a:close/>
                <a:moveTo>
                  <a:pt x="5825310" y="1594533"/>
                </a:moveTo>
                <a:lnTo>
                  <a:pt x="5854913" y="1594533"/>
                </a:lnTo>
                <a:lnTo>
                  <a:pt x="5854913" y="1624136"/>
                </a:lnTo>
                <a:lnTo>
                  <a:pt x="5825310" y="1624136"/>
                </a:lnTo>
                <a:close/>
                <a:moveTo>
                  <a:pt x="11405961" y="1594531"/>
                </a:moveTo>
                <a:lnTo>
                  <a:pt x="11435563" y="1594531"/>
                </a:lnTo>
                <a:lnTo>
                  <a:pt x="11435563" y="1624134"/>
                </a:lnTo>
                <a:lnTo>
                  <a:pt x="11405961" y="1624134"/>
                </a:lnTo>
                <a:close/>
                <a:moveTo>
                  <a:pt x="5559113" y="1594531"/>
                </a:moveTo>
                <a:lnTo>
                  <a:pt x="5588715" y="1594531"/>
                </a:lnTo>
                <a:lnTo>
                  <a:pt x="5588715" y="1624134"/>
                </a:lnTo>
                <a:lnTo>
                  <a:pt x="5559113" y="1624134"/>
                </a:lnTo>
                <a:close/>
                <a:moveTo>
                  <a:pt x="11139872" y="1594528"/>
                </a:moveTo>
                <a:lnTo>
                  <a:pt x="11169474" y="1594528"/>
                </a:lnTo>
                <a:lnTo>
                  <a:pt x="11169474" y="1624131"/>
                </a:lnTo>
                <a:lnTo>
                  <a:pt x="11139872" y="1624131"/>
                </a:lnTo>
                <a:close/>
                <a:moveTo>
                  <a:pt x="5293024" y="1594528"/>
                </a:moveTo>
                <a:lnTo>
                  <a:pt x="5322626" y="1594528"/>
                </a:lnTo>
                <a:lnTo>
                  <a:pt x="5322626" y="1624131"/>
                </a:lnTo>
                <a:lnTo>
                  <a:pt x="5293024" y="1624131"/>
                </a:lnTo>
                <a:close/>
                <a:moveTo>
                  <a:pt x="10873675" y="1594526"/>
                </a:moveTo>
                <a:lnTo>
                  <a:pt x="10903277" y="1594526"/>
                </a:lnTo>
                <a:lnTo>
                  <a:pt x="10903277" y="1624129"/>
                </a:lnTo>
                <a:lnTo>
                  <a:pt x="10873675" y="1624129"/>
                </a:lnTo>
                <a:close/>
                <a:moveTo>
                  <a:pt x="5026827" y="1594526"/>
                </a:moveTo>
                <a:lnTo>
                  <a:pt x="5056429" y="1594526"/>
                </a:lnTo>
                <a:lnTo>
                  <a:pt x="5056429" y="1624129"/>
                </a:lnTo>
                <a:lnTo>
                  <a:pt x="5026827" y="1624129"/>
                </a:lnTo>
                <a:close/>
                <a:moveTo>
                  <a:pt x="10607478" y="1594523"/>
                </a:moveTo>
                <a:lnTo>
                  <a:pt x="10637188" y="1594523"/>
                </a:lnTo>
                <a:lnTo>
                  <a:pt x="10637188" y="1624127"/>
                </a:lnTo>
                <a:lnTo>
                  <a:pt x="10607478" y="1624127"/>
                </a:lnTo>
                <a:close/>
                <a:moveTo>
                  <a:pt x="4760630" y="1594523"/>
                </a:moveTo>
                <a:lnTo>
                  <a:pt x="4790340" y="1594523"/>
                </a:lnTo>
                <a:lnTo>
                  <a:pt x="4790340" y="1624127"/>
                </a:lnTo>
                <a:lnTo>
                  <a:pt x="4760630" y="1624127"/>
                </a:lnTo>
                <a:close/>
                <a:moveTo>
                  <a:pt x="10341389" y="1594521"/>
                </a:moveTo>
                <a:lnTo>
                  <a:pt x="10370992" y="1594521"/>
                </a:lnTo>
                <a:lnTo>
                  <a:pt x="10370992" y="1624124"/>
                </a:lnTo>
                <a:lnTo>
                  <a:pt x="10341389" y="1624124"/>
                </a:lnTo>
                <a:close/>
                <a:moveTo>
                  <a:pt x="4494541" y="1594521"/>
                </a:moveTo>
                <a:lnTo>
                  <a:pt x="4524144" y="1594521"/>
                </a:lnTo>
                <a:lnTo>
                  <a:pt x="4524144" y="1624124"/>
                </a:lnTo>
                <a:lnTo>
                  <a:pt x="4494541" y="1624124"/>
                </a:lnTo>
                <a:close/>
                <a:moveTo>
                  <a:pt x="10075192" y="1594518"/>
                </a:moveTo>
                <a:lnTo>
                  <a:pt x="10104794" y="1594518"/>
                </a:lnTo>
                <a:lnTo>
                  <a:pt x="10104794" y="1624122"/>
                </a:lnTo>
                <a:lnTo>
                  <a:pt x="10075192" y="1624122"/>
                </a:lnTo>
                <a:close/>
                <a:moveTo>
                  <a:pt x="4228344" y="1594518"/>
                </a:moveTo>
                <a:lnTo>
                  <a:pt x="4257946" y="1594518"/>
                </a:lnTo>
                <a:lnTo>
                  <a:pt x="4257946" y="1624122"/>
                </a:lnTo>
                <a:lnTo>
                  <a:pt x="4228344" y="1624122"/>
                </a:lnTo>
                <a:close/>
                <a:moveTo>
                  <a:pt x="9809103" y="1594516"/>
                </a:moveTo>
                <a:lnTo>
                  <a:pt x="9838705" y="1594516"/>
                </a:lnTo>
                <a:lnTo>
                  <a:pt x="9838705" y="1624120"/>
                </a:lnTo>
                <a:lnTo>
                  <a:pt x="9809103" y="1624120"/>
                </a:lnTo>
                <a:close/>
                <a:moveTo>
                  <a:pt x="3962255" y="1594516"/>
                </a:moveTo>
                <a:lnTo>
                  <a:pt x="3991857" y="1594516"/>
                </a:lnTo>
                <a:lnTo>
                  <a:pt x="3991857" y="1624120"/>
                </a:lnTo>
                <a:lnTo>
                  <a:pt x="3962255" y="1624120"/>
                </a:lnTo>
                <a:close/>
                <a:moveTo>
                  <a:pt x="9542906" y="1594514"/>
                </a:moveTo>
                <a:lnTo>
                  <a:pt x="9572509" y="1594514"/>
                </a:lnTo>
                <a:lnTo>
                  <a:pt x="9572509" y="1624117"/>
                </a:lnTo>
                <a:lnTo>
                  <a:pt x="9542906" y="1624117"/>
                </a:lnTo>
                <a:close/>
                <a:moveTo>
                  <a:pt x="3696058" y="1594514"/>
                </a:moveTo>
                <a:lnTo>
                  <a:pt x="3725661" y="1594514"/>
                </a:lnTo>
                <a:lnTo>
                  <a:pt x="3725661" y="1624117"/>
                </a:lnTo>
                <a:lnTo>
                  <a:pt x="3696058" y="1624117"/>
                </a:lnTo>
                <a:close/>
                <a:moveTo>
                  <a:pt x="9276817" y="1594511"/>
                </a:moveTo>
                <a:lnTo>
                  <a:pt x="9306420" y="1594511"/>
                </a:lnTo>
                <a:lnTo>
                  <a:pt x="9306420" y="1624114"/>
                </a:lnTo>
                <a:lnTo>
                  <a:pt x="9276817" y="1624114"/>
                </a:lnTo>
                <a:close/>
                <a:moveTo>
                  <a:pt x="3429969" y="1594511"/>
                </a:moveTo>
                <a:lnTo>
                  <a:pt x="3459572" y="1594511"/>
                </a:lnTo>
                <a:lnTo>
                  <a:pt x="3459572" y="1624114"/>
                </a:lnTo>
                <a:lnTo>
                  <a:pt x="3429969" y="1624114"/>
                </a:lnTo>
                <a:close/>
                <a:moveTo>
                  <a:pt x="9010620" y="1594509"/>
                </a:moveTo>
                <a:lnTo>
                  <a:pt x="9040222" y="1594509"/>
                </a:lnTo>
                <a:lnTo>
                  <a:pt x="9040222" y="1624112"/>
                </a:lnTo>
                <a:lnTo>
                  <a:pt x="9010620" y="1624112"/>
                </a:lnTo>
                <a:close/>
                <a:moveTo>
                  <a:pt x="3163772" y="1594509"/>
                </a:moveTo>
                <a:lnTo>
                  <a:pt x="3193374" y="1594509"/>
                </a:lnTo>
                <a:lnTo>
                  <a:pt x="3193374" y="1624112"/>
                </a:lnTo>
                <a:lnTo>
                  <a:pt x="3163772" y="1624112"/>
                </a:lnTo>
                <a:close/>
                <a:moveTo>
                  <a:pt x="8744423" y="1594506"/>
                </a:moveTo>
                <a:lnTo>
                  <a:pt x="8774026" y="1594506"/>
                </a:lnTo>
                <a:lnTo>
                  <a:pt x="8774026" y="1624110"/>
                </a:lnTo>
                <a:lnTo>
                  <a:pt x="8744423" y="1624110"/>
                </a:lnTo>
                <a:close/>
                <a:moveTo>
                  <a:pt x="2897575" y="1594506"/>
                </a:moveTo>
                <a:lnTo>
                  <a:pt x="2927178" y="1594506"/>
                </a:lnTo>
                <a:lnTo>
                  <a:pt x="2927178" y="1624110"/>
                </a:lnTo>
                <a:lnTo>
                  <a:pt x="2897575" y="1624110"/>
                </a:lnTo>
                <a:close/>
                <a:moveTo>
                  <a:pt x="8478226" y="1594504"/>
                </a:moveTo>
                <a:lnTo>
                  <a:pt x="8507828" y="1594504"/>
                </a:lnTo>
                <a:lnTo>
                  <a:pt x="8507828" y="1624107"/>
                </a:lnTo>
                <a:lnTo>
                  <a:pt x="8478226" y="1624107"/>
                </a:lnTo>
                <a:close/>
                <a:moveTo>
                  <a:pt x="2631378" y="1594504"/>
                </a:moveTo>
                <a:lnTo>
                  <a:pt x="2660980" y="1594504"/>
                </a:lnTo>
                <a:lnTo>
                  <a:pt x="2660980" y="1624107"/>
                </a:lnTo>
                <a:lnTo>
                  <a:pt x="2631378" y="1624107"/>
                </a:lnTo>
                <a:close/>
                <a:moveTo>
                  <a:pt x="8212137" y="1594502"/>
                </a:moveTo>
                <a:lnTo>
                  <a:pt x="8241740" y="1594502"/>
                </a:lnTo>
                <a:lnTo>
                  <a:pt x="8241740" y="1624105"/>
                </a:lnTo>
                <a:lnTo>
                  <a:pt x="8212137" y="1624105"/>
                </a:lnTo>
                <a:close/>
                <a:moveTo>
                  <a:pt x="2365289" y="1594502"/>
                </a:moveTo>
                <a:lnTo>
                  <a:pt x="2394892" y="1594502"/>
                </a:lnTo>
                <a:lnTo>
                  <a:pt x="2394892" y="1624105"/>
                </a:lnTo>
                <a:lnTo>
                  <a:pt x="2365289" y="1624105"/>
                </a:lnTo>
                <a:close/>
                <a:moveTo>
                  <a:pt x="7945940" y="1594499"/>
                </a:moveTo>
                <a:lnTo>
                  <a:pt x="7975543" y="1594499"/>
                </a:lnTo>
                <a:lnTo>
                  <a:pt x="7975543" y="1624102"/>
                </a:lnTo>
                <a:lnTo>
                  <a:pt x="7945940" y="1624102"/>
                </a:lnTo>
                <a:close/>
                <a:moveTo>
                  <a:pt x="2099092" y="1594499"/>
                </a:moveTo>
                <a:lnTo>
                  <a:pt x="2128695" y="1594499"/>
                </a:lnTo>
                <a:lnTo>
                  <a:pt x="2128695" y="1624102"/>
                </a:lnTo>
                <a:lnTo>
                  <a:pt x="2099092" y="1624102"/>
                </a:lnTo>
                <a:close/>
                <a:moveTo>
                  <a:pt x="7679743" y="1594496"/>
                </a:moveTo>
                <a:lnTo>
                  <a:pt x="7709346" y="1594496"/>
                </a:lnTo>
                <a:lnTo>
                  <a:pt x="7709346" y="1624100"/>
                </a:lnTo>
                <a:lnTo>
                  <a:pt x="7679743" y="1624100"/>
                </a:lnTo>
                <a:close/>
                <a:moveTo>
                  <a:pt x="1832898" y="1594496"/>
                </a:moveTo>
                <a:lnTo>
                  <a:pt x="1862498" y="1594496"/>
                </a:lnTo>
                <a:lnTo>
                  <a:pt x="1862498" y="1624100"/>
                </a:lnTo>
                <a:lnTo>
                  <a:pt x="1832898" y="1624100"/>
                </a:lnTo>
                <a:close/>
                <a:moveTo>
                  <a:pt x="7413653" y="1594494"/>
                </a:moveTo>
                <a:lnTo>
                  <a:pt x="7443256" y="1594494"/>
                </a:lnTo>
                <a:lnTo>
                  <a:pt x="7443256" y="1624097"/>
                </a:lnTo>
                <a:lnTo>
                  <a:pt x="7413653" y="1624097"/>
                </a:lnTo>
                <a:close/>
                <a:moveTo>
                  <a:pt x="1566808" y="1594494"/>
                </a:moveTo>
                <a:lnTo>
                  <a:pt x="1596409" y="1594494"/>
                </a:lnTo>
                <a:lnTo>
                  <a:pt x="1596409" y="1624097"/>
                </a:lnTo>
                <a:lnTo>
                  <a:pt x="1566808" y="1624097"/>
                </a:lnTo>
                <a:close/>
                <a:moveTo>
                  <a:pt x="7147456" y="1594491"/>
                </a:moveTo>
                <a:lnTo>
                  <a:pt x="7177058" y="1594491"/>
                </a:lnTo>
                <a:lnTo>
                  <a:pt x="7177058" y="1624095"/>
                </a:lnTo>
                <a:lnTo>
                  <a:pt x="7147456" y="1624095"/>
                </a:lnTo>
                <a:close/>
                <a:moveTo>
                  <a:pt x="1300611" y="1594491"/>
                </a:moveTo>
                <a:lnTo>
                  <a:pt x="1330213" y="1594491"/>
                </a:lnTo>
                <a:lnTo>
                  <a:pt x="1330213" y="1624095"/>
                </a:lnTo>
                <a:lnTo>
                  <a:pt x="1300611" y="1624095"/>
                </a:lnTo>
                <a:close/>
                <a:moveTo>
                  <a:pt x="6881367" y="1594489"/>
                </a:moveTo>
                <a:lnTo>
                  <a:pt x="6910970" y="1594489"/>
                </a:lnTo>
                <a:lnTo>
                  <a:pt x="6910970" y="1624092"/>
                </a:lnTo>
                <a:lnTo>
                  <a:pt x="6881367" y="1624092"/>
                </a:lnTo>
                <a:close/>
                <a:moveTo>
                  <a:pt x="1034520" y="1594489"/>
                </a:moveTo>
                <a:lnTo>
                  <a:pt x="1064123" y="1594489"/>
                </a:lnTo>
                <a:lnTo>
                  <a:pt x="1064123" y="1624092"/>
                </a:lnTo>
                <a:lnTo>
                  <a:pt x="1034520" y="1624092"/>
                </a:lnTo>
                <a:close/>
                <a:moveTo>
                  <a:pt x="6615170" y="1594486"/>
                </a:moveTo>
                <a:lnTo>
                  <a:pt x="6644773" y="1594486"/>
                </a:lnTo>
                <a:lnTo>
                  <a:pt x="6644773" y="1624090"/>
                </a:lnTo>
                <a:lnTo>
                  <a:pt x="6615170" y="1624090"/>
                </a:lnTo>
                <a:close/>
                <a:moveTo>
                  <a:pt x="768327" y="1594486"/>
                </a:moveTo>
                <a:lnTo>
                  <a:pt x="797926" y="1594486"/>
                </a:lnTo>
                <a:lnTo>
                  <a:pt x="797926" y="1624090"/>
                </a:lnTo>
                <a:lnTo>
                  <a:pt x="768327" y="1624090"/>
                </a:lnTo>
                <a:close/>
                <a:moveTo>
                  <a:pt x="6349081" y="1594484"/>
                </a:moveTo>
                <a:lnTo>
                  <a:pt x="6378683" y="1594484"/>
                </a:lnTo>
                <a:lnTo>
                  <a:pt x="6378683" y="1624087"/>
                </a:lnTo>
                <a:lnTo>
                  <a:pt x="6349081" y="1624087"/>
                </a:lnTo>
                <a:close/>
                <a:moveTo>
                  <a:pt x="502236" y="1594484"/>
                </a:moveTo>
                <a:lnTo>
                  <a:pt x="531838" y="1594484"/>
                </a:lnTo>
                <a:lnTo>
                  <a:pt x="531838" y="1624087"/>
                </a:lnTo>
                <a:lnTo>
                  <a:pt x="502236" y="1624087"/>
                </a:lnTo>
                <a:close/>
                <a:moveTo>
                  <a:pt x="6082884" y="1594482"/>
                </a:moveTo>
                <a:lnTo>
                  <a:pt x="6112486" y="1594482"/>
                </a:lnTo>
                <a:lnTo>
                  <a:pt x="6112486" y="1624085"/>
                </a:lnTo>
                <a:lnTo>
                  <a:pt x="6082884" y="1624085"/>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1672158" y="1328772"/>
                </a:moveTo>
                <a:lnTo>
                  <a:pt x="11701760" y="1328772"/>
                </a:lnTo>
                <a:lnTo>
                  <a:pt x="11701760" y="1358375"/>
                </a:lnTo>
                <a:lnTo>
                  <a:pt x="11672158" y="1358375"/>
                </a:lnTo>
                <a:close/>
                <a:moveTo>
                  <a:pt x="5825310" y="1328772"/>
                </a:moveTo>
                <a:lnTo>
                  <a:pt x="5854913" y="1328772"/>
                </a:lnTo>
                <a:lnTo>
                  <a:pt x="5854913" y="1358375"/>
                </a:lnTo>
                <a:lnTo>
                  <a:pt x="5825310" y="1358375"/>
                </a:lnTo>
                <a:close/>
                <a:moveTo>
                  <a:pt x="11405961" y="1328769"/>
                </a:moveTo>
                <a:lnTo>
                  <a:pt x="11435563" y="1328769"/>
                </a:lnTo>
                <a:lnTo>
                  <a:pt x="11435563" y="1358372"/>
                </a:lnTo>
                <a:lnTo>
                  <a:pt x="11405961" y="1358372"/>
                </a:lnTo>
                <a:close/>
                <a:moveTo>
                  <a:pt x="5559113" y="1328769"/>
                </a:moveTo>
                <a:lnTo>
                  <a:pt x="5588715" y="1328769"/>
                </a:lnTo>
                <a:lnTo>
                  <a:pt x="5588715" y="1358372"/>
                </a:lnTo>
                <a:lnTo>
                  <a:pt x="5559113" y="1358372"/>
                </a:lnTo>
                <a:close/>
                <a:moveTo>
                  <a:pt x="11139872" y="1328766"/>
                </a:moveTo>
                <a:lnTo>
                  <a:pt x="11169474" y="1328766"/>
                </a:lnTo>
                <a:lnTo>
                  <a:pt x="11169474" y="1358370"/>
                </a:lnTo>
                <a:lnTo>
                  <a:pt x="11139872" y="1358370"/>
                </a:lnTo>
                <a:close/>
                <a:moveTo>
                  <a:pt x="5293024" y="1328766"/>
                </a:moveTo>
                <a:lnTo>
                  <a:pt x="5322626" y="1328766"/>
                </a:lnTo>
                <a:lnTo>
                  <a:pt x="5322626" y="1358370"/>
                </a:lnTo>
                <a:lnTo>
                  <a:pt x="5293024" y="1358370"/>
                </a:lnTo>
                <a:close/>
                <a:moveTo>
                  <a:pt x="10873675" y="1328764"/>
                </a:moveTo>
                <a:lnTo>
                  <a:pt x="10903277" y="1328764"/>
                </a:lnTo>
                <a:lnTo>
                  <a:pt x="10903277" y="1358367"/>
                </a:lnTo>
                <a:lnTo>
                  <a:pt x="10873675" y="1358367"/>
                </a:lnTo>
                <a:close/>
                <a:moveTo>
                  <a:pt x="5026827" y="1328764"/>
                </a:moveTo>
                <a:lnTo>
                  <a:pt x="5056429" y="1328764"/>
                </a:lnTo>
                <a:lnTo>
                  <a:pt x="5056429" y="1358367"/>
                </a:lnTo>
                <a:lnTo>
                  <a:pt x="5026827" y="1358367"/>
                </a:lnTo>
                <a:close/>
                <a:moveTo>
                  <a:pt x="10607478" y="1328761"/>
                </a:moveTo>
                <a:lnTo>
                  <a:pt x="10637188" y="1328761"/>
                </a:lnTo>
                <a:lnTo>
                  <a:pt x="10637188" y="1358365"/>
                </a:lnTo>
                <a:lnTo>
                  <a:pt x="10607478" y="1358365"/>
                </a:lnTo>
                <a:close/>
                <a:moveTo>
                  <a:pt x="4760630" y="1328761"/>
                </a:moveTo>
                <a:lnTo>
                  <a:pt x="4790340" y="1328761"/>
                </a:lnTo>
                <a:lnTo>
                  <a:pt x="4790340" y="1358365"/>
                </a:lnTo>
                <a:lnTo>
                  <a:pt x="4760630" y="1358365"/>
                </a:lnTo>
                <a:close/>
                <a:moveTo>
                  <a:pt x="10341389" y="1328759"/>
                </a:moveTo>
                <a:lnTo>
                  <a:pt x="10370992" y="1328759"/>
                </a:lnTo>
                <a:lnTo>
                  <a:pt x="10370992" y="1358362"/>
                </a:lnTo>
                <a:lnTo>
                  <a:pt x="10341389" y="1358362"/>
                </a:lnTo>
                <a:close/>
                <a:moveTo>
                  <a:pt x="4494541" y="1328759"/>
                </a:moveTo>
                <a:lnTo>
                  <a:pt x="4524144" y="1328759"/>
                </a:lnTo>
                <a:lnTo>
                  <a:pt x="4524144" y="1358362"/>
                </a:lnTo>
                <a:lnTo>
                  <a:pt x="4494541" y="1358362"/>
                </a:lnTo>
                <a:close/>
                <a:moveTo>
                  <a:pt x="10075192" y="1328756"/>
                </a:moveTo>
                <a:lnTo>
                  <a:pt x="10104794" y="1328756"/>
                </a:lnTo>
                <a:lnTo>
                  <a:pt x="10104794" y="1358359"/>
                </a:lnTo>
                <a:lnTo>
                  <a:pt x="10075192" y="1358359"/>
                </a:lnTo>
                <a:close/>
                <a:moveTo>
                  <a:pt x="4228344" y="1328756"/>
                </a:moveTo>
                <a:lnTo>
                  <a:pt x="4257946" y="1328756"/>
                </a:lnTo>
                <a:lnTo>
                  <a:pt x="4257946" y="1358359"/>
                </a:lnTo>
                <a:lnTo>
                  <a:pt x="4228344" y="1358359"/>
                </a:lnTo>
                <a:close/>
                <a:moveTo>
                  <a:pt x="9809103" y="1328753"/>
                </a:moveTo>
                <a:lnTo>
                  <a:pt x="9838705" y="1328753"/>
                </a:lnTo>
                <a:lnTo>
                  <a:pt x="9838705" y="1358357"/>
                </a:lnTo>
                <a:lnTo>
                  <a:pt x="9809103" y="1358357"/>
                </a:lnTo>
                <a:close/>
                <a:moveTo>
                  <a:pt x="3962255" y="1328753"/>
                </a:moveTo>
                <a:lnTo>
                  <a:pt x="3991857" y="1328753"/>
                </a:lnTo>
                <a:lnTo>
                  <a:pt x="3991857" y="1358357"/>
                </a:lnTo>
                <a:lnTo>
                  <a:pt x="3962255" y="1358357"/>
                </a:lnTo>
                <a:close/>
                <a:moveTo>
                  <a:pt x="9542906" y="1328751"/>
                </a:moveTo>
                <a:lnTo>
                  <a:pt x="9572509" y="1328751"/>
                </a:lnTo>
                <a:lnTo>
                  <a:pt x="9572509" y="1358354"/>
                </a:lnTo>
                <a:lnTo>
                  <a:pt x="9542906" y="1358354"/>
                </a:lnTo>
                <a:close/>
                <a:moveTo>
                  <a:pt x="3696058" y="1328751"/>
                </a:moveTo>
                <a:lnTo>
                  <a:pt x="3725661" y="1328751"/>
                </a:lnTo>
                <a:lnTo>
                  <a:pt x="3725661" y="1358354"/>
                </a:lnTo>
                <a:lnTo>
                  <a:pt x="3696058" y="1358354"/>
                </a:lnTo>
                <a:close/>
                <a:moveTo>
                  <a:pt x="9276817" y="1328748"/>
                </a:moveTo>
                <a:lnTo>
                  <a:pt x="9306420" y="1328748"/>
                </a:lnTo>
                <a:lnTo>
                  <a:pt x="9306420" y="1358351"/>
                </a:lnTo>
                <a:lnTo>
                  <a:pt x="9276817" y="1358351"/>
                </a:lnTo>
                <a:close/>
                <a:moveTo>
                  <a:pt x="3429969" y="1328748"/>
                </a:moveTo>
                <a:lnTo>
                  <a:pt x="3459572" y="1328748"/>
                </a:lnTo>
                <a:lnTo>
                  <a:pt x="3459572" y="1358351"/>
                </a:lnTo>
                <a:lnTo>
                  <a:pt x="3429969" y="1358351"/>
                </a:lnTo>
                <a:close/>
                <a:moveTo>
                  <a:pt x="9010620" y="1328745"/>
                </a:moveTo>
                <a:lnTo>
                  <a:pt x="9040222" y="1328745"/>
                </a:lnTo>
                <a:lnTo>
                  <a:pt x="9040222" y="1358349"/>
                </a:lnTo>
                <a:lnTo>
                  <a:pt x="9010620" y="1358349"/>
                </a:lnTo>
                <a:close/>
                <a:moveTo>
                  <a:pt x="3163772" y="1328745"/>
                </a:moveTo>
                <a:lnTo>
                  <a:pt x="3193374" y="1328745"/>
                </a:lnTo>
                <a:lnTo>
                  <a:pt x="3193374" y="1358349"/>
                </a:lnTo>
                <a:lnTo>
                  <a:pt x="3163772" y="1358349"/>
                </a:lnTo>
                <a:close/>
                <a:moveTo>
                  <a:pt x="8744423" y="1328743"/>
                </a:moveTo>
                <a:lnTo>
                  <a:pt x="8774026" y="1328743"/>
                </a:lnTo>
                <a:lnTo>
                  <a:pt x="8774026" y="1358346"/>
                </a:lnTo>
                <a:lnTo>
                  <a:pt x="8744423" y="1358346"/>
                </a:lnTo>
                <a:close/>
                <a:moveTo>
                  <a:pt x="2897575" y="1328743"/>
                </a:moveTo>
                <a:lnTo>
                  <a:pt x="2927178" y="1328743"/>
                </a:lnTo>
                <a:lnTo>
                  <a:pt x="2927178" y="1358346"/>
                </a:lnTo>
                <a:lnTo>
                  <a:pt x="2897575" y="1358346"/>
                </a:lnTo>
                <a:close/>
                <a:moveTo>
                  <a:pt x="8478226" y="1328740"/>
                </a:moveTo>
                <a:lnTo>
                  <a:pt x="8507828" y="1328740"/>
                </a:lnTo>
                <a:lnTo>
                  <a:pt x="8507828" y="1358344"/>
                </a:lnTo>
                <a:lnTo>
                  <a:pt x="8478226" y="1358344"/>
                </a:lnTo>
                <a:close/>
                <a:moveTo>
                  <a:pt x="2631378" y="1328740"/>
                </a:moveTo>
                <a:lnTo>
                  <a:pt x="2660980" y="1328740"/>
                </a:lnTo>
                <a:lnTo>
                  <a:pt x="2660980" y="1358344"/>
                </a:lnTo>
                <a:lnTo>
                  <a:pt x="2631378" y="1358344"/>
                </a:lnTo>
                <a:close/>
                <a:moveTo>
                  <a:pt x="8212137" y="1328738"/>
                </a:moveTo>
                <a:lnTo>
                  <a:pt x="8241740" y="1328738"/>
                </a:lnTo>
                <a:lnTo>
                  <a:pt x="8241740" y="1358341"/>
                </a:lnTo>
                <a:lnTo>
                  <a:pt x="8212137" y="1358341"/>
                </a:lnTo>
                <a:close/>
                <a:moveTo>
                  <a:pt x="2365289" y="1328738"/>
                </a:moveTo>
                <a:lnTo>
                  <a:pt x="2394892" y="1328738"/>
                </a:lnTo>
                <a:lnTo>
                  <a:pt x="2394892" y="1358341"/>
                </a:lnTo>
                <a:lnTo>
                  <a:pt x="2365289" y="1358341"/>
                </a:lnTo>
                <a:close/>
                <a:moveTo>
                  <a:pt x="7945940" y="1328735"/>
                </a:moveTo>
                <a:lnTo>
                  <a:pt x="7975543" y="1328735"/>
                </a:lnTo>
                <a:lnTo>
                  <a:pt x="7975543" y="1358338"/>
                </a:lnTo>
                <a:lnTo>
                  <a:pt x="7945940" y="1358338"/>
                </a:lnTo>
                <a:close/>
                <a:moveTo>
                  <a:pt x="2099092" y="1328735"/>
                </a:moveTo>
                <a:lnTo>
                  <a:pt x="2128695" y="1328735"/>
                </a:lnTo>
                <a:lnTo>
                  <a:pt x="2128695" y="1358338"/>
                </a:lnTo>
                <a:lnTo>
                  <a:pt x="2099092" y="1358338"/>
                </a:lnTo>
                <a:close/>
                <a:moveTo>
                  <a:pt x="7679743" y="1328732"/>
                </a:moveTo>
                <a:lnTo>
                  <a:pt x="7709346" y="1328732"/>
                </a:lnTo>
                <a:lnTo>
                  <a:pt x="7709346" y="1358336"/>
                </a:lnTo>
                <a:lnTo>
                  <a:pt x="7679743" y="1358336"/>
                </a:lnTo>
                <a:close/>
                <a:moveTo>
                  <a:pt x="1832898" y="1328732"/>
                </a:moveTo>
                <a:lnTo>
                  <a:pt x="1862498" y="1328732"/>
                </a:lnTo>
                <a:lnTo>
                  <a:pt x="1862498" y="1358336"/>
                </a:lnTo>
                <a:lnTo>
                  <a:pt x="1832898" y="1358336"/>
                </a:lnTo>
                <a:close/>
                <a:moveTo>
                  <a:pt x="7413653" y="1328730"/>
                </a:moveTo>
                <a:lnTo>
                  <a:pt x="7443256" y="1328730"/>
                </a:lnTo>
                <a:lnTo>
                  <a:pt x="7443256" y="1358333"/>
                </a:lnTo>
                <a:lnTo>
                  <a:pt x="7413653" y="1358333"/>
                </a:lnTo>
                <a:close/>
                <a:moveTo>
                  <a:pt x="1566808" y="1328730"/>
                </a:moveTo>
                <a:lnTo>
                  <a:pt x="1596409" y="1328730"/>
                </a:lnTo>
                <a:lnTo>
                  <a:pt x="1596409" y="1358333"/>
                </a:lnTo>
                <a:lnTo>
                  <a:pt x="1566808" y="1358333"/>
                </a:lnTo>
                <a:close/>
                <a:moveTo>
                  <a:pt x="7147456" y="1328727"/>
                </a:moveTo>
                <a:lnTo>
                  <a:pt x="7177058" y="1328727"/>
                </a:lnTo>
                <a:lnTo>
                  <a:pt x="7177058" y="1358330"/>
                </a:lnTo>
                <a:lnTo>
                  <a:pt x="7147456" y="1358330"/>
                </a:lnTo>
                <a:close/>
                <a:moveTo>
                  <a:pt x="1300611" y="1328727"/>
                </a:moveTo>
                <a:lnTo>
                  <a:pt x="1330213" y="1328727"/>
                </a:lnTo>
                <a:lnTo>
                  <a:pt x="1330213" y="1358330"/>
                </a:lnTo>
                <a:lnTo>
                  <a:pt x="1300611" y="1358330"/>
                </a:lnTo>
                <a:close/>
                <a:moveTo>
                  <a:pt x="6881367" y="1328724"/>
                </a:moveTo>
                <a:lnTo>
                  <a:pt x="6910970" y="1328724"/>
                </a:lnTo>
                <a:lnTo>
                  <a:pt x="6910970" y="1358328"/>
                </a:lnTo>
                <a:lnTo>
                  <a:pt x="6881367" y="1358328"/>
                </a:lnTo>
                <a:close/>
                <a:moveTo>
                  <a:pt x="1034520" y="1328724"/>
                </a:moveTo>
                <a:lnTo>
                  <a:pt x="1064123" y="1328724"/>
                </a:lnTo>
                <a:lnTo>
                  <a:pt x="1064123" y="1358328"/>
                </a:lnTo>
                <a:lnTo>
                  <a:pt x="1034520" y="1358328"/>
                </a:lnTo>
                <a:close/>
                <a:moveTo>
                  <a:pt x="6615170" y="1328722"/>
                </a:moveTo>
                <a:lnTo>
                  <a:pt x="6644773" y="1328722"/>
                </a:lnTo>
                <a:lnTo>
                  <a:pt x="6644773" y="1358325"/>
                </a:lnTo>
                <a:lnTo>
                  <a:pt x="6615170" y="1358325"/>
                </a:lnTo>
                <a:close/>
                <a:moveTo>
                  <a:pt x="768327" y="1328722"/>
                </a:moveTo>
                <a:lnTo>
                  <a:pt x="797926" y="1328722"/>
                </a:lnTo>
                <a:lnTo>
                  <a:pt x="797926" y="1358325"/>
                </a:lnTo>
                <a:lnTo>
                  <a:pt x="768327" y="1358325"/>
                </a:lnTo>
                <a:close/>
                <a:moveTo>
                  <a:pt x="6349081" y="1328719"/>
                </a:moveTo>
                <a:lnTo>
                  <a:pt x="6378683" y="1328719"/>
                </a:lnTo>
                <a:lnTo>
                  <a:pt x="6378683" y="1358323"/>
                </a:lnTo>
                <a:lnTo>
                  <a:pt x="6349081" y="1358323"/>
                </a:lnTo>
                <a:close/>
                <a:moveTo>
                  <a:pt x="502236" y="1328719"/>
                </a:moveTo>
                <a:lnTo>
                  <a:pt x="531838" y="1328719"/>
                </a:lnTo>
                <a:lnTo>
                  <a:pt x="531838" y="1358323"/>
                </a:lnTo>
                <a:lnTo>
                  <a:pt x="502236" y="1358323"/>
                </a:lnTo>
                <a:close/>
                <a:moveTo>
                  <a:pt x="6082884" y="1328717"/>
                </a:moveTo>
                <a:lnTo>
                  <a:pt x="6112486" y="1328717"/>
                </a:lnTo>
                <a:lnTo>
                  <a:pt x="6112486" y="1358320"/>
                </a:lnTo>
                <a:lnTo>
                  <a:pt x="6082884" y="1358320"/>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1672158" y="1063123"/>
                </a:moveTo>
                <a:lnTo>
                  <a:pt x="11701760" y="1063123"/>
                </a:lnTo>
                <a:lnTo>
                  <a:pt x="11701760" y="1092617"/>
                </a:lnTo>
                <a:lnTo>
                  <a:pt x="11672158" y="1092617"/>
                </a:lnTo>
                <a:close/>
                <a:moveTo>
                  <a:pt x="5825310" y="1063123"/>
                </a:moveTo>
                <a:lnTo>
                  <a:pt x="5854913" y="1063123"/>
                </a:lnTo>
                <a:lnTo>
                  <a:pt x="5854913" y="1092617"/>
                </a:lnTo>
                <a:lnTo>
                  <a:pt x="5825310" y="1092617"/>
                </a:lnTo>
                <a:close/>
                <a:moveTo>
                  <a:pt x="11405961" y="1063120"/>
                </a:moveTo>
                <a:lnTo>
                  <a:pt x="11435563" y="1063120"/>
                </a:lnTo>
                <a:lnTo>
                  <a:pt x="11435563" y="1092615"/>
                </a:lnTo>
                <a:lnTo>
                  <a:pt x="11405961" y="1092615"/>
                </a:lnTo>
                <a:close/>
                <a:moveTo>
                  <a:pt x="5559113" y="1063120"/>
                </a:moveTo>
                <a:lnTo>
                  <a:pt x="5588715" y="1063120"/>
                </a:lnTo>
                <a:lnTo>
                  <a:pt x="5588715" y="1092615"/>
                </a:lnTo>
                <a:lnTo>
                  <a:pt x="5559113" y="1092615"/>
                </a:lnTo>
                <a:close/>
                <a:moveTo>
                  <a:pt x="11139872" y="1063117"/>
                </a:moveTo>
                <a:lnTo>
                  <a:pt x="11169474" y="1063117"/>
                </a:lnTo>
                <a:lnTo>
                  <a:pt x="11169474" y="1092612"/>
                </a:lnTo>
                <a:lnTo>
                  <a:pt x="11139872" y="1092612"/>
                </a:lnTo>
                <a:close/>
                <a:moveTo>
                  <a:pt x="5293024" y="1063117"/>
                </a:moveTo>
                <a:lnTo>
                  <a:pt x="5322626" y="1063117"/>
                </a:lnTo>
                <a:lnTo>
                  <a:pt x="5322626" y="1092612"/>
                </a:lnTo>
                <a:lnTo>
                  <a:pt x="5293024" y="1092612"/>
                </a:lnTo>
                <a:close/>
                <a:moveTo>
                  <a:pt x="10873675" y="1063114"/>
                </a:moveTo>
                <a:lnTo>
                  <a:pt x="10903277" y="1063114"/>
                </a:lnTo>
                <a:lnTo>
                  <a:pt x="10903277" y="1092608"/>
                </a:lnTo>
                <a:lnTo>
                  <a:pt x="10873675" y="1092608"/>
                </a:lnTo>
                <a:close/>
                <a:moveTo>
                  <a:pt x="5026827" y="1063114"/>
                </a:moveTo>
                <a:lnTo>
                  <a:pt x="5056429" y="1063114"/>
                </a:lnTo>
                <a:lnTo>
                  <a:pt x="5056429" y="1092608"/>
                </a:lnTo>
                <a:lnTo>
                  <a:pt x="5026827" y="1092608"/>
                </a:lnTo>
                <a:close/>
                <a:moveTo>
                  <a:pt x="10607478" y="1063111"/>
                </a:moveTo>
                <a:lnTo>
                  <a:pt x="10637188" y="1063111"/>
                </a:lnTo>
                <a:lnTo>
                  <a:pt x="10637188" y="1092605"/>
                </a:lnTo>
                <a:lnTo>
                  <a:pt x="10607478" y="1092605"/>
                </a:lnTo>
                <a:close/>
                <a:moveTo>
                  <a:pt x="4760630" y="1063111"/>
                </a:moveTo>
                <a:lnTo>
                  <a:pt x="4790340" y="1063111"/>
                </a:lnTo>
                <a:lnTo>
                  <a:pt x="4790340" y="1092605"/>
                </a:lnTo>
                <a:lnTo>
                  <a:pt x="4760630" y="1092605"/>
                </a:lnTo>
                <a:close/>
                <a:moveTo>
                  <a:pt x="10341389" y="1063108"/>
                </a:moveTo>
                <a:lnTo>
                  <a:pt x="10370992" y="1063108"/>
                </a:lnTo>
                <a:lnTo>
                  <a:pt x="10370992" y="1092602"/>
                </a:lnTo>
                <a:lnTo>
                  <a:pt x="10341389" y="1092602"/>
                </a:lnTo>
                <a:close/>
                <a:moveTo>
                  <a:pt x="4494541" y="1063108"/>
                </a:moveTo>
                <a:lnTo>
                  <a:pt x="4524144" y="1063108"/>
                </a:lnTo>
                <a:lnTo>
                  <a:pt x="4524144" y="1092602"/>
                </a:lnTo>
                <a:lnTo>
                  <a:pt x="4494541" y="1092602"/>
                </a:lnTo>
                <a:close/>
                <a:moveTo>
                  <a:pt x="10075192" y="1063105"/>
                </a:moveTo>
                <a:lnTo>
                  <a:pt x="10104794" y="1063105"/>
                </a:lnTo>
                <a:lnTo>
                  <a:pt x="10104794" y="1092599"/>
                </a:lnTo>
                <a:lnTo>
                  <a:pt x="10075192" y="1092599"/>
                </a:lnTo>
                <a:close/>
                <a:moveTo>
                  <a:pt x="4228344" y="1063105"/>
                </a:moveTo>
                <a:lnTo>
                  <a:pt x="4257946" y="1063105"/>
                </a:lnTo>
                <a:lnTo>
                  <a:pt x="4257946" y="1092599"/>
                </a:lnTo>
                <a:lnTo>
                  <a:pt x="4228344" y="1092599"/>
                </a:lnTo>
                <a:close/>
                <a:moveTo>
                  <a:pt x="9809103" y="1063102"/>
                </a:moveTo>
                <a:lnTo>
                  <a:pt x="9838705" y="1063102"/>
                </a:lnTo>
                <a:lnTo>
                  <a:pt x="9838705" y="1092596"/>
                </a:lnTo>
                <a:lnTo>
                  <a:pt x="9809103" y="1092596"/>
                </a:lnTo>
                <a:close/>
                <a:moveTo>
                  <a:pt x="3962255" y="1063102"/>
                </a:moveTo>
                <a:lnTo>
                  <a:pt x="3991857" y="1063102"/>
                </a:lnTo>
                <a:lnTo>
                  <a:pt x="3991857" y="1092596"/>
                </a:lnTo>
                <a:lnTo>
                  <a:pt x="3962255" y="1092596"/>
                </a:lnTo>
                <a:close/>
                <a:moveTo>
                  <a:pt x="9542906" y="1063099"/>
                </a:moveTo>
                <a:lnTo>
                  <a:pt x="9572509" y="1063099"/>
                </a:lnTo>
                <a:lnTo>
                  <a:pt x="9572509" y="1092593"/>
                </a:lnTo>
                <a:lnTo>
                  <a:pt x="9542906" y="1092593"/>
                </a:lnTo>
                <a:close/>
                <a:moveTo>
                  <a:pt x="3696058" y="1063099"/>
                </a:moveTo>
                <a:lnTo>
                  <a:pt x="3725661" y="1063099"/>
                </a:lnTo>
                <a:lnTo>
                  <a:pt x="3725661" y="1092593"/>
                </a:lnTo>
                <a:lnTo>
                  <a:pt x="3696058" y="1092593"/>
                </a:lnTo>
                <a:close/>
                <a:moveTo>
                  <a:pt x="9276817" y="1063096"/>
                </a:moveTo>
                <a:lnTo>
                  <a:pt x="9306420" y="1063096"/>
                </a:lnTo>
                <a:lnTo>
                  <a:pt x="9306420" y="1092590"/>
                </a:lnTo>
                <a:lnTo>
                  <a:pt x="9276817" y="1092590"/>
                </a:lnTo>
                <a:close/>
                <a:moveTo>
                  <a:pt x="3429969" y="1063096"/>
                </a:moveTo>
                <a:lnTo>
                  <a:pt x="3459572" y="1063096"/>
                </a:lnTo>
                <a:lnTo>
                  <a:pt x="3459572" y="1092590"/>
                </a:lnTo>
                <a:lnTo>
                  <a:pt x="3429969" y="1092590"/>
                </a:lnTo>
                <a:close/>
                <a:moveTo>
                  <a:pt x="9010620" y="1063093"/>
                </a:moveTo>
                <a:lnTo>
                  <a:pt x="9040222" y="1063093"/>
                </a:lnTo>
                <a:lnTo>
                  <a:pt x="9040222" y="1092587"/>
                </a:lnTo>
                <a:lnTo>
                  <a:pt x="9010620" y="1092587"/>
                </a:lnTo>
                <a:close/>
                <a:moveTo>
                  <a:pt x="3163772" y="1063093"/>
                </a:moveTo>
                <a:lnTo>
                  <a:pt x="3193374" y="1063093"/>
                </a:lnTo>
                <a:lnTo>
                  <a:pt x="3193374" y="1092587"/>
                </a:lnTo>
                <a:lnTo>
                  <a:pt x="3163772" y="1092587"/>
                </a:lnTo>
                <a:close/>
                <a:moveTo>
                  <a:pt x="8744423" y="1063090"/>
                </a:moveTo>
                <a:lnTo>
                  <a:pt x="8774026" y="1063090"/>
                </a:lnTo>
                <a:lnTo>
                  <a:pt x="8774026" y="1092584"/>
                </a:lnTo>
                <a:lnTo>
                  <a:pt x="8744423" y="1092584"/>
                </a:lnTo>
                <a:close/>
                <a:moveTo>
                  <a:pt x="2897575" y="1063090"/>
                </a:moveTo>
                <a:lnTo>
                  <a:pt x="2927178" y="1063090"/>
                </a:lnTo>
                <a:lnTo>
                  <a:pt x="2927178" y="1092584"/>
                </a:lnTo>
                <a:lnTo>
                  <a:pt x="2897575" y="1092584"/>
                </a:lnTo>
                <a:close/>
                <a:moveTo>
                  <a:pt x="8478226" y="1063087"/>
                </a:moveTo>
                <a:lnTo>
                  <a:pt x="8507828" y="1063087"/>
                </a:lnTo>
                <a:lnTo>
                  <a:pt x="8507828" y="1092581"/>
                </a:lnTo>
                <a:lnTo>
                  <a:pt x="8478226" y="1092581"/>
                </a:lnTo>
                <a:close/>
                <a:moveTo>
                  <a:pt x="2631378" y="1063087"/>
                </a:moveTo>
                <a:lnTo>
                  <a:pt x="2660980" y="1063087"/>
                </a:lnTo>
                <a:lnTo>
                  <a:pt x="2660980" y="1092581"/>
                </a:lnTo>
                <a:lnTo>
                  <a:pt x="2631378" y="1092581"/>
                </a:lnTo>
                <a:close/>
                <a:moveTo>
                  <a:pt x="8212137" y="1063084"/>
                </a:moveTo>
                <a:lnTo>
                  <a:pt x="8241740" y="1063084"/>
                </a:lnTo>
                <a:lnTo>
                  <a:pt x="8241740" y="1092578"/>
                </a:lnTo>
                <a:lnTo>
                  <a:pt x="8212137" y="1092578"/>
                </a:lnTo>
                <a:close/>
                <a:moveTo>
                  <a:pt x="2365289" y="1063084"/>
                </a:moveTo>
                <a:lnTo>
                  <a:pt x="2394892" y="1063084"/>
                </a:lnTo>
                <a:lnTo>
                  <a:pt x="2394892" y="1092578"/>
                </a:lnTo>
                <a:lnTo>
                  <a:pt x="2365289" y="1092578"/>
                </a:lnTo>
                <a:close/>
                <a:moveTo>
                  <a:pt x="7945940" y="1063081"/>
                </a:moveTo>
                <a:lnTo>
                  <a:pt x="7975543" y="1063081"/>
                </a:lnTo>
                <a:lnTo>
                  <a:pt x="7975543" y="1092575"/>
                </a:lnTo>
                <a:lnTo>
                  <a:pt x="7945940" y="1092575"/>
                </a:lnTo>
                <a:close/>
                <a:moveTo>
                  <a:pt x="2099092" y="1063081"/>
                </a:moveTo>
                <a:lnTo>
                  <a:pt x="2128695" y="1063081"/>
                </a:lnTo>
                <a:lnTo>
                  <a:pt x="2128695" y="1092575"/>
                </a:lnTo>
                <a:lnTo>
                  <a:pt x="2099092" y="1092575"/>
                </a:lnTo>
                <a:close/>
                <a:moveTo>
                  <a:pt x="7679743" y="1063078"/>
                </a:moveTo>
                <a:lnTo>
                  <a:pt x="7709346" y="1063078"/>
                </a:lnTo>
                <a:lnTo>
                  <a:pt x="7709346" y="1092572"/>
                </a:lnTo>
                <a:lnTo>
                  <a:pt x="7679743" y="1092572"/>
                </a:lnTo>
                <a:close/>
                <a:moveTo>
                  <a:pt x="1832898" y="1063078"/>
                </a:moveTo>
                <a:lnTo>
                  <a:pt x="1862498" y="1063078"/>
                </a:lnTo>
                <a:lnTo>
                  <a:pt x="1862498" y="1092572"/>
                </a:lnTo>
                <a:lnTo>
                  <a:pt x="1832898" y="1092572"/>
                </a:lnTo>
                <a:close/>
                <a:moveTo>
                  <a:pt x="7413653" y="1063075"/>
                </a:moveTo>
                <a:lnTo>
                  <a:pt x="7443256" y="1063075"/>
                </a:lnTo>
                <a:lnTo>
                  <a:pt x="7443256" y="1092569"/>
                </a:lnTo>
                <a:lnTo>
                  <a:pt x="7413653" y="1092569"/>
                </a:lnTo>
                <a:close/>
                <a:moveTo>
                  <a:pt x="1566808" y="1063075"/>
                </a:moveTo>
                <a:lnTo>
                  <a:pt x="1596409" y="1063075"/>
                </a:lnTo>
                <a:lnTo>
                  <a:pt x="1596409" y="1092569"/>
                </a:lnTo>
                <a:lnTo>
                  <a:pt x="1566808" y="1092569"/>
                </a:lnTo>
                <a:close/>
                <a:moveTo>
                  <a:pt x="7147456" y="1063072"/>
                </a:moveTo>
                <a:lnTo>
                  <a:pt x="7177058" y="1063072"/>
                </a:lnTo>
                <a:lnTo>
                  <a:pt x="7177058" y="1092566"/>
                </a:lnTo>
                <a:lnTo>
                  <a:pt x="7147456" y="1092566"/>
                </a:lnTo>
                <a:close/>
                <a:moveTo>
                  <a:pt x="1300611" y="1063072"/>
                </a:moveTo>
                <a:lnTo>
                  <a:pt x="1330213" y="1063072"/>
                </a:lnTo>
                <a:lnTo>
                  <a:pt x="1330213" y="1092566"/>
                </a:lnTo>
                <a:lnTo>
                  <a:pt x="1300611" y="1092566"/>
                </a:lnTo>
                <a:close/>
                <a:moveTo>
                  <a:pt x="6881367" y="1063069"/>
                </a:moveTo>
                <a:lnTo>
                  <a:pt x="6910970" y="1063069"/>
                </a:lnTo>
                <a:lnTo>
                  <a:pt x="6910970" y="1092563"/>
                </a:lnTo>
                <a:lnTo>
                  <a:pt x="6881367" y="1092563"/>
                </a:lnTo>
                <a:close/>
                <a:moveTo>
                  <a:pt x="1034520" y="1063069"/>
                </a:moveTo>
                <a:lnTo>
                  <a:pt x="1064123" y="1063069"/>
                </a:lnTo>
                <a:lnTo>
                  <a:pt x="1064123" y="1092563"/>
                </a:lnTo>
                <a:lnTo>
                  <a:pt x="1034520" y="1092563"/>
                </a:lnTo>
                <a:close/>
                <a:moveTo>
                  <a:pt x="6615170" y="1063066"/>
                </a:moveTo>
                <a:lnTo>
                  <a:pt x="6644773" y="1063066"/>
                </a:lnTo>
                <a:lnTo>
                  <a:pt x="6644773" y="1092560"/>
                </a:lnTo>
                <a:lnTo>
                  <a:pt x="6615170" y="1092560"/>
                </a:lnTo>
                <a:close/>
                <a:moveTo>
                  <a:pt x="768326" y="1063066"/>
                </a:moveTo>
                <a:lnTo>
                  <a:pt x="797926" y="1063066"/>
                </a:lnTo>
                <a:lnTo>
                  <a:pt x="797926" y="1092560"/>
                </a:lnTo>
                <a:lnTo>
                  <a:pt x="768326" y="1092560"/>
                </a:lnTo>
                <a:close/>
                <a:moveTo>
                  <a:pt x="6349081" y="1063063"/>
                </a:moveTo>
                <a:lnTo>
                  <a:pt x="6378683" y="1063063"/>
                </a:lnTo>
                <a:lnTo>
                  <a:pt x="6378683" y="1092557"/>
                </a:lnTo>
                <a:lnTo>
                  <a:pt x="6349081" y="1092557"/>
                </a:lnTo>
                <a:close/>
                <a:moveTo>
                  <a:pt x="502235" y="1063063"/>
                </a:moveTo>
                <a:lnTo>
                  <a:pt x="531838" y="1063063"/>
                </a:lnTo>
                <a:lnTo>
                  <a:pt x="531838" y="1092557"/>
                </a:lnTo>
                <a:lnTo>
                  <a:pt x="502235" y="1092557"/>
                </a:lnTo>
                <a:close/>
                <a:moveTo>
                  <a:pt x="6082884" y="1063059"/>
                </a:moveTo>
                <a:lnTo>
                  <a:pt x="6112486" y="1063059"/>
                </a:lnTo>
                <a:lnTo>
                  <a:pt x="6112486" y="1092554"/>
                </a:lnTo>
                <a:lnTo>
                  <a:pt x="6082884" y="1092554"/>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1672158" y="797337"/>
                </a:moveTo>
                <a:lnTo>
                  <a:pt x="11701760" y="797337"/>
                </a:lnTo>
                <a:lnTo>
                  <a:pt x="11701760" y="826844"/>
                </a:lnTo>
                <a:lnTo>
                  <a:pt x="11672158" y="826844"/>
                </a:lnTo>
                <a:close/>
                <a:moveTo>
                  <a:pt x="5825310" y="797337"/>
                </a:moveTo>
                <a:lnTo>
                  <a:pt x="5854913" y="797337"/>
                </a:lnTo>
                <a:lnTo>
                  <a:pt x="5854913" y="826844"/>
                </a:lnTo>
                <a:lnTo>
                  <a:pt x="5825310" y="826844"/>
                </a:lnTo>
                <a:close/>
                <a:moveTo>
                  <a:pt x="11405961" y="797335"/>
                </a:moveTo>
                <a:lnTo>
                  <a:pt x="11435563" y="797335"/>
                </a:lnTo>
                <a:lnTo>
                  <a:pt x="11435563" y="826841"/>
                </a:lnTo>
                <a:lnTo>
                  <a:pt x="11405961" y="826841"/>
                </a:lnTo>
                <a:close/>
                <a:moveTo>
                  <a:pt x="5559113" y="797335"/>
                </a:moveTo>
                <a:lnTo>
                  <a:pt x="5588715" y="797335"/>
                </a:lnTo>
                <a:lnTo>
                  <a:pt x="5588715" y="826841"/>
                </a:lnTo>
                <a:lnTo>
                  <a:pt x="5559113" y="826841"/>
                </a:lnTo>
                <a:close/>
                <a:moveTo>
                  <a:pt x="11139872" y="797333"/>
                </a:moveTo>
                <a:lnTo>
                  <a:pt x="11169474" y="797333"/>
                </a:lnTo>
                <a:lnTo>
                  <a:pt x="11169474" y="826839"/>
                </a:lnTo>
                <a:lnTo>
                  <a:pt x="11139872" y="826839"/>
                </a:lnTo>
                <a:close/>
                <a:moveTo>
                  <a:pt x="5293024" y="797333"/>
                </a:moveTo>
                <a:lnTo>
                  <a:pt x="5322626" y="797333"/>
                </a:lnTo>
                <a:lnTo>
                  <a:pt x="5322626" y="826839"/>
                </a:lnTo>
                <a:lnTo>
                  <a:pt x="5293024" y="826839"/>
                </a:lnTo>
                <a:close/>
                <a:moveTo>
                  <a:pt x="10873675" y="797331"/>
                </a:moveTo>
                <a:lnTo>
                  <a:pt x="10903277" y="797331"/>
                </a:lnTo>
                <a:lnTo>
                  <a:pt x="10903277" y="826836"/>
                </a:lnTo>
                <a:lnTo>
                  <a:pt x="10873675" y="826836"/>
                </a:lnTo>
                <a:close/>
                <a:moveTo>
                  <a:pt x="5026827" y="797331"/>
                </a:moveTo>
                <a:lnTo>
                  <a:pt x="5056429" y="797331"/>
                </a:lnTo>
                <a:lnTo>
                  <a:pt x="5056429" y="826836"/>
                </a:lnTo>
                <a:lnTo>
                  <a:pt x="5026827" y="826836"/>
                </a:lnTo>
                <a:close/>
                <a:moveTo>
                  <a:pt x="10607478" y="797329"/>
                </a:moveTo>
                <a:lnTo>
                  <a:pt x="10637188" y="797329"/>
                </a:lnTo>
                <a:lnTo>
                  <a:pt x="10637188" y="826833"/>
                </a:lnTo>
                <a:lnTo>
                  <a:pt x="10607478" y="826833"/>
                </a:lnTo>
                <a:close/>
                <a:moveTo>
                  <a:pt x="4760630" y="797329"/>
                </a:moveTo>
                <a:lnTo>
                  <a:pt x="4790340" y="797329"/>
                </a:lnTo>
                <a:lnTo>
                  <a:pt x="4790340" y="826833"/>
                </a:lnTo>
                <a:lnTo>
                  <a:pt x="4760630" y="826833"/>
                </a:lnTo>
                <a:close/>
                <a:moveTo>
                  <a:pt x="10341389" y="797327"/>
                </a:moveTo>
                <a:lnTo>
                  <a:pt x="10370992" y="797327"/>
                </a:lnTo>
                <a:lnTo>
                  <a:pt x="10370992" y="826831"/>
                </a:lnTo>
                <a:lnTo>
                  <a:pt x="10341389" y="826831"/>
                </a:lnTo>
                <a:close/>
                <a:moveTo>
                  <a:pt x="4494541" y="797327"/>
                </a:moveTo>
                <a:lnTo>
                  <a:pt x="4524144" y="797327"/>
                </a:lnTo>
                <a:lnTo>
                  <a:pt x="4524144" y="826831"/>
                </a:lnTo>
                <a:lnTo>
                  <a:pt x="4494541" y="826831"/>
                </a:lnTo>
                <a:close/>
                <a:moveTo>
                  <a:pt x="10075192" y="797325"/>
                </a:moveTo>
                <a:lnTo>
                  <a:pt x="10104794" y="797325"/>
                </a:lnTo>
                <a:lnTo>
                  <a:pt x="10104794" y="826828"/>
                </a:lnTo>
                <a:lnTo>
                  <a:pt x="10075192" y="826828"/>
                </a:lnTo>
                <a:close/>
                <a:moveTo>
                  <a:pt x="4228344" y="797325"/>
                </a:moveTo>
                <a:lnTo>
                  <a:pt x="4257946" y="797325"/>
                </a:lnTo>
                <a:lnTo>
                  <a:pt x="4257946" y="826828"/>
                </a:lnTo>
                <a:lnTo>
                  <a:pt x="4228344" y="826828"/>
                </a:lnTo>
                <a:close/>
                <a:moveTo>
                  <a:pt x="9809103" y="797323"/>
                </a:moveTo>
                <a:lnTo>
                  <a:pt x="9838705" y="797323"/>
                </a:lnTo>
                <a:lnTo>
                  <a:pt x="9838705" y="826826"/>
                </a:lnTo>
                <a:lnTo>
                  <a:pt x="9809103" y="826826"/>
                </a:lnTo>
                <a:close/>
                <a:moveTo>
                  <a:pt x="3962255" y="797323"/>
                </a:moveTo>
                <a:lnTo>
                  <a:pt x="3991857" y="797323"/>
                </a:lnTo>
                <a:lnTo>
                  <a:pt x="3991857" y="826826"/>
                </a:lnTo>
                <a:lnTo>
                  <a:pt x="3962255" y="826826"/>
                </a:lnTo>
                <a:close/>
                <a:moveTo>
                  <a:pt x="9542906" y="797321"/>
                </a:moveTo>
                <a:lnTo>
                  <a:pt x="9572509" y="797321"/>
                </a:lnTo>
                <a:lnTo>
                  <a:pt x="9572509" y="826823"/>
                </a:lnTo>
                <a:lnTo>
                  <a:pt x="9542906" y="826823"/>
                </a:lnTo>
                <a:close/>
                <a:moveTo>
                  <a:pt x="3696058" y="797321"/>
                </a:moveTo>
                <a:lnTo>
                  <a:pt x="3725661" y="797321"/>
                </a:lnTo>
                <a:lnTo>
                  <a:pt x="3725661" y="826823"/>
                </a:lnTo>
                <a:lnTo>
                  <a:pt x="3696058" y="826823"/>
                </a:lnTo>
                <a:close/>
                <a:moveTo>
                  <a:pt x="9276817" y="797319"/>
                </a:moveTo>
                <a:lnTo>
                  <a:pt x="9306420" y="797319"/>
                </a:lnTo>
                <a:lnTo>
                  <a:pt x="9306420" y="826820"/>
                </a:lnTo>
                <a:lnTo>
                  <a:pt x="9276817" y="826820"/>
                </a:lnTo>
                <a:close/>
                <a:moveTo>
                  <a:pt x="3429969" y="797319"/>
                </a:moveTo>
                <a:lnTo>
                  <a:pt x="3459572" y="797319"/>
                </a:lnTo>
                <a:lnTo>
                  <a:pt x="3459572" y="826820"/>
                </a:lnTo>
                <a:lnTo>
                  <a:pt x="3429969" y="826820"/>
                </a:lnTo>
                <a:close/>
                <a:moveTo>
                  <a:pt x="9010620" y="797317"/>
                </a:moveTo>
                <a:lnTo>
                  <a:pt x="9040222" y="797317"/>
                </a:lnTo>
                <a:lnTo>
                  <a:pt x="9040222" y="826818"/>
                </a:lnTo>
                <a:lnTo>
                  <a:pt x="9010620" y="826818"/>
                </a:lnTo>
                <a:close/>
                <a:moveTo>
                  <a:pt x="3163772" y="797317"/>
                </a:moveTo>
                <a:lnTo>
                  <a:pt x="3193374" y="797317"/>
                </a:lnTo>
                <a:lnTo>
                  <a:pt x="3193374" y="826818"/>
                </a:lnTo>
                <a:lnTo>
                  <a:pt x="3163772" y="826818"/>
                </a:lnTo>
                <a:close/>
                <a:moveTo>
                  <a:pt x="8744423" y="797315"/>
                </a:moveTo>
                <a:lnTo>
                  <a:pt x="8774026" y="797315"/>
                </a:lnTo>
                <a:lnTo>
                  <a:pt x="8774026" y="826815"/>
                </a:lnTo>
                <a:lnTo>
                  <a:pt x="8744423" y="826815"/>
                </a:lnTo>
                <a:close/>
                <a:moveTo>
                  <a:pt x="2897575" y="797315"/>
                </a:moveTo>
                <a:lnTo>
                  <a:pt x="2927178" y="797315"/>
                </a:lnTo>
                <a:lnTo>
                  <a:pt x="2927178" y="826815"/>
                </a:lnTo>
                <a:lnTo>
                  <a:pt x="2897575" y="826815"/>
                </a:lnTo>
                <a:close/>
                <a:moveTo>
                  <a:pt x="8478226" y="797312"/>
                </a:moveTo>
                <a:lnTo>
                  <a:pt x="8507828" y="797312"/>
                </a:lnTo>
                <a:lnTo>
                  <a:pt x="8507828" y="826812"/>
                </a:lnTo>
                <a:lnTo>
                  <a:pt x="8478226" y="826812"/>
                </a:lnTo>
                <a:close/>
                <a:moveTo>
                  <a:pt x="2631378" y="797312"/>
                </a:moveTo>
                <a:lnTo>
                  <a:pt x="2660980" y="797312"/>
                </a:lnTo>
                <a:lnTo>
                  <a:pt x="2660980" y="826812"/>
                </a:lnTo>
                <a:lnTo>
                  <a:pt x="2631378" y="826812"/>
                </a:lnTo>
                <a:close/>
                <a:moveTo>
                  <a:pt x="8212137" y="797310"/>
                </a:moveTo>
                <a:lnTo>
                  <a:pt x="8241740" y="797310"/>
                </a:lnTo>
                <a:lnTo>
                  <a:pt x="8241740" y="826810"/>
                </a:lnTo>
                <a:lnTo>
                  <a:pt x="8212137" y="826810"/>
                </a:lnTo>
                <a:close/>
                <a:moveTo>
                  <a:pt x="2365289" y="797310"/>
                </a:moveTo>
                <a:lnTo>
                  <a:pt x="2394892" y="797310"/>
                </a:lnTo>
                <a:lnTo>
                  <a:pt x="2394892" y="826810"/>
                </a:lnTo>
                <a:lnTo>
                  <a:pt x="2365289" y="826810"/>
                </a:lnTo>
                <a:close/>
                <a:moveTo>
                  <a:pt x="7945940" y="797308"/>
                </a:moveTo>
                <a:lnTo>
                  <a:pt x="7975543" y="797308"/>
                </a:lnTo>
                <a:lnTo>
                  <a:pt x="7975543" y="826807"/>
                </a:lnTo>
                <a:lnTo>
                  <a:pt x="7945940" y="826807"/>
                </a:lnTo>
                <a:close/>
                <a:moveTo>
                  <a:pt x="2099092" y="797308"/>
                </a:moveTo>
                <a:lnTo>
                  <a:pt x="2128695" y="797308"/>
                </a:lnTo>
                <a:lnTo>
                  <a:pt x="2128695" y="826807"/>
                </a:lnTo>
                <a:lnTo>
                  <a:pt x="2099092" y="826807"/>
                </a:lnTo>
                <a:close/>
                <a:moveTo>
                  <a:pt x="7679743" y="797306"/>
                </a:moveTo>
                <a:lnTo>
                  <a:pt x="7709346" y="797306"/>
                </a:lnTo>
                <a:lnTo>
                  <a:pt x="7709346" y="826805"/>
                </a:lnTo>
                <a:lnTo>
                  <a:pt x="7679743" y="826805"/>
                </a:lnTo>
                <a:close/>
                <a:moveTo>
                  <a:pt x="1832898" y="797306"/>
                </a:moveTo>
                <a:lnTo>
                  <a:pt x="1862498" y="797306"/>
                </a:lnTo>
                <a:lnTo>
                  <a:pt x="1862498" y="826805"/>
                </a:lnTo>
                <a:lnTo>
                  <a:pt x="1832898" y="826805"/>
                </a:lnTo>
                <a:close/>
                <a:moveTo>
                  <a:pt x="7413653" y="797304"/>
                </a:moveTo>
                <a:lnTo>
                  <a:pt x="7443256" y="797304"/>
                </a:lnTo>
                <a:lnTo>
                  <a:pt x="7443256" y="826802"/>
                </a:lnTo>
                <a:lnTo>
                  <a:pt x="7413653" y="826802"/>
                </a:lnTo>
                <a:close/>
                <a:moveTo>
                  <a:pt x="1566808" y="797304"/>
                </a:moveTo>
                <a:lnTo>
                  <a:pt x="1596409" y="797304"/>
                </a:lnTo>
                <a:lnTo>
                  <a:pt x="1596409" y="826802"/>
                </a:lnTo>
                <a:lnTo>
                  <a:pt x="1566808" y="826802"/>
                </a:lnTo>
                <a:close/>
                <a:moveTo>
                  <a:pt x="7147456" y="797302"/>
                </a:moveTo>
                <a:lnTo>
                  <a:pt x="7177058" y="797302"/>
                </a:lnTo>
                <a:lnTo>
                  <a:pt x="7177058" y="826799"/>
                </a:lnTo>
                <a:lnTo>
                  <a:pt x="7147456" y="826799"/>
                </a:lnTo>
                <a:close/>
                <a:moveTo>
                  <a:pt x="1300611" y="797302"/>
                </a:moveTo>
                <a:lnTo>
                  <a:pt x="1330213" y="797302"/>
                </a:lnTo>
                <a:lnTo>
                  <a:pt x="1330213" y="826799"/>
                </a:lnTo>
                <a:lnTo>
                  <a:pt x="1300611" y="826799"/>
                </a:lnTo>
                <a:close/>
                <a:moveTo>
                  <a:pt x="6881367" y="797300"/>
                </a:moveTo>
                <a:lnTo>
                  <a:pt x="6910970" y="797300"/>
                </a:lnTo>
                <a:lnTo>
                  <a:pt x="6910970" y="826797"/>
                </a:lnTo>
                <a:lnTo>
                  <a:pt x="6881367" y="826797"/>
                </a:lnTo>
                <a:close/>
                <a:moveTo>
                  <a:pt x="1034520" y="797300"/>
                </a:moveTo>
                <a:lnTo>
                  <a:pt x="1064123" y="797300"/>
                </a:lnTo>
                <a:lnTo>
                  <a:pt x="1064123" y="826797"/>
                </a:lnTo>
                <a:lnTo>
                  <a:pt x="1034520" y="826797"/>
                </a:lnTo>
                <a:close/>
                <a:moveTo>
                  <a:pt x="6615170" y="797298"/>
                </a:moveTo>
                <a:lnTo>
                  <a:pt x="6644773" y="797298"/>
                </a:lnTo>
                <a:lnTo>
                  <a:pt x="6644773" y="826794"/>
                </a:lnTo>
                <a:lnTo>
                  <a:pt x="6615170" y="826794"/>
                </a:lnTo>
                <a:close/>
                <a:moveTo>
                  <a:pt x="768326" y="797298"/>
                </a:moveTo>
                <a:lnTo>
                  <a:pt x="797926" y="797298"/>
                </a:lnTo>
                <a:lnTo>
                  <a:pt x="797926" y="826794"/>
                </a:lnTo>
                <a:lnTo>
                  <a:pt x="768326" y="826794"/>
                </a:lnTo>
                <a:close/>
                <a:moveTo>
                  <a:pt x="6349081" y="797296"/>
                </a:moveTo>
                <a:lnTo>
                  <a:pt x="6378683" y="797296"/>
                </a:lnTo>
                <a:lnTo>
                  <a:pt x="6378683" y="826792"/>
                </a:lnTo>
                <a:lnTo>
                  <a:pt x="6349081" y="826792"/>
                </a:lnTo>
                <a:close/>
                <a:moveTo>
                  <a:pt x="502235" y="797296"/>
                </a:moveTo>
                <a:lnTo>
                  <a:pt x="531838" y="797296"/>
                </a:lnTo>
                <a:lnTo>
                  <a:pt x="531838" y="826792"/>
                </a:lnTo>
                <a:lnTo>
                  <a:pt x="502235" y="826792"/>
                </a:lnTo>
                <a:close/>
                <a:moveTo>
                  <a:pt x="6082884" y="797294"/>
                </a:moveTo>
                <a:lnTo>
                  <a:pt x="6112486" y="797294"/>
                </a:lnTo>
                <a:lnTo>
                  <a:pt x="6112486" y="826789"/>
                </a:lnTo>
                <a:lnTo>
                  <a:pt x="6082884" y="826789"/>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1672158" y="531575"/>
                </a:moveTo>
                <a:lnTo>
                  <a:pt x="11701760" y="531575"/>
                </a:lnTo>
                <a:lnTo>
                  <a:pt x="11701760" y="561177"/>
                </a:lnTo>
                <a:lnTo>
                  <a:pt x="11672158" y="561177"/>
                </a:lnTo>
                <a:close/>
                <a:moveTo>
                  <a:pt x="5825310" y="531575"/>
                </a:moveTo>
                <a:lnTo>
                  <a:pt x="5854913" y="531575"/>
                </a:lnTo>
                <a:lnTo>
                  <a:pt x="5854913" y="561177"/>
                </a:lnTo>
                <a:lnTo>
                  <a:pt x="5825310" y="561177"/>
                </a:lnTo>
                <a:close/>
                <a:moveTo>
                  <a:pt x="11405961" y="531573"/>
                </a:moveTo>
                <a:lnTo>
                  <a:pt x="11435563" y="531573"/>
                </a:lnTo>
                <a:lnTo>
                  <a:pt x="11435563" y="561175"/>
                </a:lnTo>
                <a:lnTo>
                  <a:pt x="11405961" y="561175"/>
                </a:lnTo>
                <a:close/>
                <a:moveTo>
                  <a:pt x="5559113" y="531573"/>
                </a:moveTo>
                <a:lnTo>
                  <a:pt x="5588715" y="531573"/>
                </a:lnTo>
                <a:lnTo>
                  <a:pt x="5588715" y="561175"/>
                </a:lnTo>
                <a:lnTo>
                  <a:pt x="5559113" y="561175"/>
                </a:lnTo>
                <a:close/>
                <a:moveTo>
                  <a:pt x="11139872" y="531571"/>
                </a:moveTo>
                <a:lnTo>
                  <a:pt x="11169474" y="531571"/>
                </a:lnTo>
                <a:lnTo>
                  <a:pt x="11169474" y="561173"/>
                </a:lnTo>
                <a:lnTo>
                  <a:pt x="11139872" y="561173"/>
                </a:lnTo>
                <a:close/>
                <a:moveTo>
                  <a:pt x="5293024" y="531571"/>
                </a:moveTo>
                <a:lnTo>
                  <a:pt x="5322626" y="531571"/>
                </a:lnTo>
                <a:lnTo>
                  <a:pt x="5322626" y="561173"/>
                </a:lnTo>
                <a:lnTo>
                  <a:pt x="5293024" y="561173"/>
                </a:lnTo>
                <a:close/>
                <a:moveTo>
                  <a:pt x="10873675" y="531568"/>
                </a:moveTo>
                <a:lnTo>
                  <a:pt x="10903277" y="531568"/>
                </a:lnTo>
                <a:lnTo>
                  <a:pt x="10903277" y="561170"/>
                </a:lnTo>
                <a:lnTo>
                  <a:pt x="10873675" y="561170"/>
                </a:lnTo>
                <a:close/>
                <a:moveTo>
                  <a:pt x="5026827" y="531568"/>
                </a:moveTo>
                <a:lnTo>
                  <a:pt x="5056429" y="531568"/>
                </a:lnTo>
                <a:lnTo>
                  <a:pt x="5056429" y="561170"/>
                </a:lnTo>
                <a:lnTo>
                  <a:pt x="5026827" y="561170"/>
                </a:lnTo>
                <a:close/>
                <a:moveTo>
                  <a:pt x="10607478" y="531566"/>
                </a:moveTo>
                <a:lnTo>
                  <a:pt x="10637188" y="531566"/>
                </a:lnTo>
                <a:lnTo>
                  <a:pt x="10637188" y="561168"/>
                </a:lnTo>
                <a:lnTo>
                  <a:pt x="10607478" y="561168"/>
                </a:lnTo>
                <a:close/>
                <a:moveTo>
                  <a:pt x="4760630" y="531566"/>
                </a:moveTo>
                <a:lnTo>
                  <a:pt x="4790340" y="531566"/>
                </a:lnTo>
                <a:lnTo>
                  <a:pt x="4790340" y="561168"/>
                </a:lnTo>
                <a:lnTo>
                  <a:pt x="4760630" y="561168"/>
                </a:lnTo>
                <a:close/>
                <a:moveTo>
                  <a:pt x="10341389" y="531564"/>
                </a:moveTo>
                <a:lnTo>
                  <a:pt x="10370992" y="531564"/>
                </a:lnTo>
                <a:lnTo>
                  <a:pt x="10370992" y="561166"/>
                </a:lnTo>
                <a:lnTo>
                  <a:pt x="10341389" y="561166"/>
                </a:lnTo>
                <a:close/>
                <a:moveTo>
                  <a:pt x="4494541" y="531564"/>
                </a:moveTo>
                <a:lnTo>
                  <a:pt x="4524144" y="531564"/>
                </a:lnTo>
                <a:lnTo>
                  <a:pt x="4524144" y="561166"/>
                </a:lnTo>
                <a:lnTo>
                  <a:pt x="4494541" y="561166"/>
                </a:lnTo>
                <a:close/>
                <a:moveTo>
                  <a:pt x="10075192" y="531562"/>
                </a:moveTo>
                <a:lnTo>
                  <a:pt x="10104794" y="531562"/>
                </a:lnTo>
                <a:lnTo>
                  <a:pt x="10104794" y="561164"/>
                </a:lnTo>
                <a:lnTo>
                  <a:pt x="10075192" y="561164"/>
                </a:lnTo>
                <a:close/>
                <a:moveTo>
                  <a:pt x="4228344" y="531562"/>
                </a:moveTo>
                <a:lnTo>
                  <a:pt x="4257946" y="531562"/>
                </a:lnTo>
                <a:lnTo>
                  <a:pt x="4257946" y="561164"/>
                </a:lnTo>
                <a:lnTo>
                  <a:pt x="4228344" y="561164"/>
                </a:lnTo>
                <a:close/>
                <a:moveTo>
                  <a:pt x="9809103" y="531560"/>
                </a:moveTo>
                <a:lnTo>
                  <a:pt x="9838705" y="531560"/>
                </a:lnTo>
                <a:lnTo>
                  <a:pt x="9838705" y="561162"/>
                </a:lnTo>
                <a:lnTo>
                  <a:pt x="9809103" y="561162"/>
                </a:lnTo>
                <a:close/>
                <a:moveTo>
                  <a:pt x="3962255" y="531560"/>
                </a:moveTo>
                <a:lnTo>
                  <a:pt x="3991857" y="531560"/>
                </a:lnTo>
                <a:lnTo>
                  <a:pt x="3991857" y="561162"/>
                </a:lnTo>
                <a:lnTo>
                  <a:pt x="3962255" y="561162"/>
                </a:lnTo>
                <a:close/>
                <a:moveTo>
                  <a:pt x="9542906" y="531558"/>
                </a:moveTo>
                <a:lnTo>
                  <a:pt x="9572509" y="531558"/>
                </a:lnTo>
                <a:lnTo>
                  <a:pt x="9572509" y="561160"/>
                </a:lnTo>
                <a:lnTo>
                  <a:pt x="9542906" y="561160"/>
                </a:lnTo>
                <a:close/>
                <a:moveTo>
                  <a:pt x="3696058" y="531558"/>
                </a:moveTo>
                <a:lnTo>
                  <a:pt x="3725661" y="531558"/>
                </a:lnTo>
                <a:lnTo>
                  <a:pt x="3725661" y="561160"/>
                </a:lnTo>
                <a:lnTo>
                  <a:pt x="3696058" y="561160"/>
                </a:lnTo>
                <a:close/>
                <a:moveTo>
                  <a:pt x="9276817" y="531556"/>
                </a:moveTo>
                <a:lnTo>
                  <a:pt x="9306420" y="531556"/>
                </a:lnTo>
                <a:lnTo>
                  <a:pt x="9306420" y="561158"/>
                </a:lnTo>
                <a:lnTo>
                  <a:pt x="9276817" y="561158"/>
                </a:lnTo>
                <a:close/>
                <a:moveTo>
                  <a:pt x="3429969" y="531556"/>
                </a:moveTo>
                <a:lnTo>
                  <a:pt x="3459572" y="531556"/>
                </a:lnTo>
                <a:lnTo>
                  <a:pt x="3459572" y="561158"/>
                </a:lnTo>
                <a:lnTo>
                  <a:pt x="3429969" y="561158"/>
                </a:lnTo>
                <a:close/>
                <a:moveTo>
                  <a:pt x="9010620" y="531554"/>
                </a:moveTo>
                <a:lnTo>
                  <a:pt x="9040222" y="531554"/>
                </a:lnTo>
                <a:lnTo>
                  <a:pt x="9040222" y="561156"/>
                </a:lnTo>
                <a:lnTo>
                  <a:pt x="9010620" y="561156"/>
                </a:lnTo>
                <a:close/>
                <a:moveTo>
                  <a:pt x="3163772" y="531554"/>
                </a:moveTo>
                <a:lnTo>
                  <a:pt x="3193374" y="531554"/>
                </a:lnTo>
                <a:lnTo>
                  <a:pt x="3193374" y="561156"/>
                </a:lnTo>
                <a:lnTo>
                  <a:pt x="3163772" y="561156"/>
                </a:lnTo>
                <a:close/>
                <a:moveTo>
                  <a:pt x="8744423" y="531551"/>
                </a:moveTo>
                <a:lnTo>
                  <a:pt x="8774026" y="531551"/>
                </a:lnTo>
                <a:lnTo>
                  <a:pt x="8774026" y="561154"/>
                </a:lnTo>
                <a:lnTo>
                  <a:pt x="8744423" y="561154"/>
                </a:lnTo>
                <a:close/>
                <a:moveTo>
                  <a:pt x="2897575" y="531551"/>
                </a:moveTo>
                <a:lnTo>
                  <a:pt x="2927178" y="531551"/>
                </a:lnTo>
                <a:lnTo>
                  <a:pt x="2927178" y="561154"/>
                </a:lnTo>
                <a:lnTo>
                  <a:pt x="2897575" y="561154"/>
                </a:lnTo>
                <a:close/>
                <a:moveTo>
                  <a:pt x="8478226" y="531549"/>
                </a:moveTo>
                <a:lnTo>
                  <a:pt x="8507828" y="531549"/>
                </a:lnTo>
                <a:lnTo>
                  <a:pt x="8507828" y="561152"/>
                </a:lnTo>
                <a:lnTo>
                  <a:pt x="8478226" y="561152"/>
                </a:lnTo>
                <a:close/>
                <a:moveTo>
                  <a:pt x="2631378" y="531549"/>
                </a:moveTo>
                <a:lnTo>
                  <a:pt x="2660980" y="531549"/>
                </a:lnTo>
                <a:lnTo>
                  <a:pt x="2660980" y="561152"/>
                </a:lnTo>
                <a:lnTo>
                  <a:pt x="2631378" y="561152"/>
                </a:lnTo>
                <a:close/>
                <a:moveTo>
                  <a:pt x="8212137" y="531547"/>
                </a:moveTo>
                <a:lnTo>
                  <a:pt x="8241740" y="531547"/>
                </a:lnTo>
                <a:lnTo>
                  <a:pt x="8241740" y="561149"/>
                </a:lnTo>
                <a:lnTo>
                  <a:pt x="8212137" y="561149"/>
                </a:lnTo>
                <a:close/>
                <a:moveTo>
                  <a:pt x="2365289" y="531547"/>
                </a:moveTo>
                <a:lnTo>
                  <a:pt x="2394892" y="531547"/>
                </a:lnTo>
                <a:lnTo>
                  <a:pt x="2394892" y="561149"/>
                </a:lnTo>
                <a:lnTo>
                  <a:pt x="2365289" y="561149"/>
                </a:lnTo>
                <a:close/>
                <a:moveTo>
                  <a:pt x="7945940" y="531545"/>
                </a:moveTo>
                <a:lnTo>
                  <a:pt x="7975543" y="531545"/>
                </a:lnTo>
                <a:lnTo>
                  <a:pt x="7975543" y="561147"/>
                </a:lnTo>
                <a:lnTo>
                  <a:pt x="7945940" y="561147"/>
                </a:lnTo>
                <a:close/>
                <a:moveTo>
                  <a:pt x="2099092" y="531545"/>
                </a:moveTo>
                <a:lnTo>
                  <a:pt x="2128695" y="531545"/>
                </a:lnTo>
                <a:lnTo>
                  <a:pt x="2128695" y="561147"/>
                </a:lnTo>
                <a:lnTo>
                  <a:pt x="2099092" y="561147"/>
                </a:lnTo>
                <a:close/>
                <a:moveTo>
                  <a:pt x="7679743" y="531543"/>
                </a:moveTo>
                <a:lnTo>
                  <a:pt x="7709346" y="531543"/>
                </a:lnTo>
                <a:lnTo>
                  <a:pt x="7709346" y="561145"/>
                </a:lnTo>
                <a:lnTo>
                  <a:pt x="7679743" y="561145"/>
                </a:lnTo>
                <a:close/>
                <a:moveTo>
                  <a:pt x="1832898" y="531543"/>
                </a:moveTo>
                <a:lnTo>
                  <a:pt x="1862498" y="531543"/>
                </a:lnTo>
                <a:lnTo>
                  <a:pt x="1862498" y="561145"/>
                </a:lnTo>
                <a:lnTo>
                  <a:pt x="1832898" y="561145"/>
                </a:lnTo>
                <a:close/>
                <a:moveTo>
                  <a:pt x="7413653" y="531541"/>
                </a:moveTo>
                <a:lnTo>
                  <a:pt x="7443256" y="531541"/>
                </a:lnTo>
                <a:lnTo>
                  <a:pt x="7443256" y="561143"/>
                </a:lnTo>
                <a:lnTo>
                  <a:pt x="7413653" y="561143"/>
                </a:lnTo>
                <a:close/>
                <a:moveTo>
                  <a:pt x="1566808" y="531541"/>
                </a:moveTo>
                <a:lnTo>
                  <a:pt x="1596409" y="531541"/>
                </a:lnTo>
                <a:lnTo>
                  <a:pt x="1596409" y="561143"/>
                </a:lnTo>
                <a:lnTo>
                  <a:pt x="1566808" y="561143"/>
                </a:lnTo>
                <a:close/>
                <a:moveTo>
                  <a:pt x="7147456" y="531539"/>
                </a:moveTo>
                <a:lnTo>
                  <a:pt x="7177058" y="531539"/>
                </a:lnTo>
                <a:lnTo>
                  <a:pt x="7177058" y="561141"/>
                </a:lnTo>
                <a:lnTo>
                  <a:pt x="7147456" y="561141"/>
                </a:lnTo>
                <a:close/>
                <a:moveTo>
                  <a:pt x="1300611" y="531539"/>
                </a:moveTo>
                <a:lnTo>
                  <a:pt x="1330213" y="531539"/>
                </a:lnTo>
                <a:lnTo>
                  <a:pt x="1330213" y="561141"/>
                </a:lnTo>
                <a:lnTo>
                  <a:pt x="1300611" y="561141"/>
                </a:lnTo>
                <a:close/>
                <a:moveTo>
                  <a:pt x="6881367" y="531537"/>
                </a:moveTo>
                <a:lnTo>
                  <a:pt x="6910970" y="531537"/>
                </a:lnTo>
                <a:lnTo>
                  <a:pt x="6910970" y="561139"/>
                </a:lnTo>
                <a:lnTo>
                  <a:pt x="6881367" y="561139"/>
                </a:lnTo>
                <a:close/>
                <a:moveTo>
                  <a:pt x="1034520" y="531537"/>
                </a:moveTo>
                <a:lnTo>
                  <a:pt x="1064123" y="531537"/>
                </a:lnTo>
                <a:lnTo>
                  <a:pt x="1064123" y="561139"/>
                </a:lnTo>
                <a:lnTo>
                  <a:pt x="1034520" y="561139"/>
                </a:lnTo>
                <a:close/>
                <a:moveTo>
                  <a:pt x="6615170" y="531534"/>
                </a:moveTo>
                <a:lnTo>
                  <a:pt x="6644773" y="531534"/>
                </a:lnTo>
                <a:lnTo>
                  <a:pt x="6644773" y="561137"/>
                </a:lnTo>
                <a:lnTo>
                  <a:pt x="6615170" y="561137"/>
                </a:lnTo>
                <a:close/>
                <a:moveTo>
                  <a:pt x="768326" y="531534"/>
                </a:moveTo>
                <a:lnTo>
                  <a:pt x="797926" y="531534"/>
                </a:lnTo>
                <a:lnTo>
                  <a:pt x="797926" y="561137"/>
                </a:lnTo>
                <a:lnTo>
                  <a:pt x="768326" y="561137"/>
                </a:lnTo>
                <a:close/>
                <a:moveTo>
                  <a:pt x="6349081" y="531532"/>
                </a:moveTo>
                <a:lnTo>
                  <a:pt x="6378683" y="531532"/>
                </a:lnTo>
                <a:lnTo>
                  <a:pt x="6378683" y="561135"/>
                </a:lnTo>
                <a:lnTo>
                  <a:pt x="6349081" y="561135"/>
                </a:lnTo>
                <a:close/>
                <a:moveTo>
                  <a:pt x="502235" y="531532"/>
                </a:moveTo>
                <a:lnTo>
                  <a:pt x="531838" y="531532"/>
                </a:lnTo>
                <a:lnTo>
                  <a:pt x="531838" y="561135"/>
                </a:lnTo>
                <a:lnTo>
                  <a:pt x="502235" y="561135"/>
                </a:lnTo>
                <a:close/>
                <a:moveTo>
                  <a:pt x="6082884" y="531530"/>
                </a:moveTo>
                <a:lnTo>
                  <a:pt x="6112486" y="531530"/>
                </a:lnTo>
                <a:lnTo>
                  <a:pt x="6112486" y="561133"/>
                </a:lnTo>
                <a:lnTo>
                  <a:pt x="6082884" y="561133"/>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1672158" y="265811"/>
                </a:moveTo>
                <a:lnTo>
                  <a:pt x="11701760" y="265811"/>
                </a:lnTo>
                <a:lnTo>
                  <a:pt x="11701760" y="295414"/>
                </a:lnTo>
                <a:lnTo>
                  <a:pt x="11672158" y="295414"/>
                </a:lnTo>
                <a:close/>
                <a:moveTo>
                  <a:pt x="5825310" y="265811"/>
                </a:moveTo>
                <a:lnTo>
                  <a:pt x="5854913" y="265811"/>
                </a:lnTo>
                <a:lnTo>
                  <a:pt x="5854913" y="295414"/>
                </a:lnTo>
                <a:lnTo>
                  <a:pt x="5825310" y="295414"/>
                </a:lnTo>
                <a:close/>
                <a:moveTo>
                  <a:pt x="11405961" y="265809"/>
                </a:moveTo>
                <a:lnTo>
                  <a:pt x="11435563" y="265809"/>
                </a:lnTo>
                <a:lnTo>
                  <a:pt x="11435563" y="295412"/>
                </a:lnTo>
                <a:lnTo>
                  <a:pt x="11405961" y="295412"/>
                </a:lnTo>
                <a:close/>
                <a:moveTo>
                  <a:pt x="5559113" y="265809"/>
                </a:moveTo>
                <a:lnTo>
                  <a:pt x="5588715" y="265809"/>
                </a:lnTo>
                <a:lnTo>
                  <a:pt x="5588715" y="295412"/>
                </a:lnTo>
                <a:lnTo>
                  <a:pt x="5559113" y="295412"/>
                </a:lnTo>
                <a:close/>
                <a:moveTo>
                  <a:pt x="11139872" y="265807"/>
                </a:moveTo>
                <a:lnTo>
                  <a:pt x="11169474" y="265807"/>
                </a:lnTo>
                <a:lnTo>
                  <a:pt x="11169474" y="295409"/>
                </a:lnTo>
                <a:lnTo>
                  <a:pt x="11139872" y="295409"/>
                </a:lnTo>
                <a:close/>
                <a:moveTo>
                  <a:pt x="5293024" y="265807"/>
                </a:moveTo>
                <a:lnTo>
                  <a:pt x="5322626" y="265807"/>
                </a:lnTo>
                <a:lnTo>
                  <a:pt x="5322626" y="295409"/>
                </a:lnTo>
                <a:lnTo>
                  <a:pt x="5293024" y="295409"/>
                </a:lnTo>
                <a:close/>
                <a:moveTo>
                  <a:pt x="10873675" y="265805"/>
                </a:moveTo>
                <a:lnTo>
                  <a:pt x="10903277" y="265805"/>
                </a:lnTo>
                <a:lnTo>
                  <a:pt x="10903277" y="295407"/>
                </a:lnTo>
                <a:lnTo>
                  <a:pt x="10873675" y="295407"/>
                </a:lnTo>
                <a:close/>
                <a:moveTo>
                  <a:pt x="5026827" y="265805"/>
                </a:moveTo>
                <a:lnTo>
                  <a:pt x="5056429" y="265805"/>
                </a:lnTo>
                <a:lnTo>
                  <a:pt x="5056429" y="295407"/>
                </a:lnTo>
                <a:lnTo>
                  <a:pt x="5026827" y="295407"/>
                </a:lnTo>
                <a:close/>
                <a:moveTo>
                  <a:pt x="10607478" y="265803"/>
                </a:moveTo>
                <a:lnTo>
                  <a:pt x="10637188" y="265803"/>
                </a:lnTo>
                <a:lnTo>
                  <a:pt x="10637188" y="295405"/>
                </a:lnTo>
                <a:lnTo>
                  <a:pt x="10607478" y="295405"/>
                </a:lnTo>
                <a:close/>
                <a:moveTo>
                  <a:pt x="4760630" y="265803"/>
                </a:moveTo>
                <a:lnTo>
                  <a:pt x="4790340" y="265803"/>
                </a:lnTo>
                <a:lnTo>
                  <a:pt x="4790340" y="295405"/>
                </a:lnTo>
                <a:lnTo>
                  <a:pt x="4760630" y="295405"/>
                </a:lnTo>
                <a:close/>
                <a:moveTo>
                  <a:pt x="10341389" y="265800"/>
                </a:moveTo>
                <a:lnTo>
                  <a:pt x="10370992" y="265800"/>
                </a:lnTo>
                <a:lnTo>
                  <a:pt x="10370992" y="295403"/>
                </a:lnTo>
                <a:lnTo>
                  <a:pt x="10341389" y="295403"/>
                </a:lnTo>
                <a:close/>
                <a:moveTo>
                  <a:pt x="4494541" y="265800"/>
                </a:moveTo>
                <a:lnTo>
                  <a:pt x="4524144" y="265800"/>
                </a:lnTo>
                <a:lnTo>
                  <a:pt x="4524144" y="295403"/>
                </a:lnTo>
                <a:lnTo>
                  <a:pt x="4494541" y="295403"/>
                </a:lnTo>
                <a:close/>
                <a:moveTo>
                  <a:pt x="10075192" y="265798"/>
                </a:moveTo>
                <a:lnTo>
                  <a:pt x="10104794" y="265798"/>
                </a:lnTo>
                <a:lnTo>
                  <a:pt x="10104794" y="295401"/>
                </a:lnTo>
                <a:lnTo>
                  <a:pt x="10075192" y="295401"/>
                </a:lnTo>
                <a:close/>
                <a:moveTo>
                  <a:pt x="4228344" y="265798"/>
                </a:moveTo>
                <a:lnTo>
                  <a:pt x="4257946" y="265798"/>
                </a:lnTo>
                <a:lnTo>
                  <a:pt x="4257946" y="295401"/>
                </a:lnTo>
                <a:lnTo>
                  <a:pt x="4228344" y="295401"/>
                </a:lnTo>
                <a:close/>
                <a:moveTo>
                  <a:pt x="9809103" y="265796"/>
                </a:moveTo>
                <a:lnTo>
                  <a:pt x="9838705" y="265796"/>
                </a:lnTo>
                <a:lnTo>
                  <a:pt x="9838705" y="295398"/>
                </a:lnTo>
                <a:lnTo>
                  <a:pt x="9809103" y="295398"/>
                </a:lnTo>
                <a:close/>
                <a:moveTo>
                  <a:pt x="3962255" y="265796"/>
                </a:moveTo>
                <a:lnTo>
                  <a:pt x="3991857" y="265796"/>
                </a:lnTo>
                <a:lnTo>
                  <a:pt x="3991857" y="295398"/>
                </a:lnTo>
                <a:lnTo>
                  <a:pt x="3962255" y="295398"/>
                </a:lnTo>
                <a:close/>
                <a:moveTo>
                  <a:pt x="9542906" y="265794"/>
                </a:moveTo>
                <a:lnTo>
                  <a:pt x="9572509" y="265794"/>
                </a:lnTo>
                <a:lnTo>
                  <a:pt x="9572509" y="295396"/>
                </a:lnTo>
                <a:lnTo>
                  <a:pt x="9542906" y="295396"/>
                </a:lnTo>
                <a:close/>
                <a:moveTo>
                  <a:pt x="3696058" y="265794"/>
                </a:moveTo>
                <a:lnTo>
                  <a:pt x="3725661" y="265794"/>
                </a:lnTo>
                <a:lnTo>
                  <a:pt x="3725661" y="295396"/>
                </a:lnTo>
                <a:lnTo>
                  <a:pt x="3696058" y="295396"/>
                </a:lnTo>
                <a:close/>
                <a:moveTo>
                  <a:pt x="9276817" y="265792"/>
                </a:moveTo>
                <a:lnTo>
                  <a:pt x="9306420" y="265792"/>
                </a:lnTo>
                <a:lnTo>
                  <a:pt x="9306420" y="295394"/>
                </a:lnTo>
                <a:lnTo>
                  <a:pt x="9276817" y="295394"/>
                </a:lnTo>
                <a:close/>
                <a:moveTo>
                  <a:pt x="3429969" y="265792"/>
                </a:moveTo>
                <a:lnTo>
                  <a:pt x="3459572" y="265792"/>
                </a:lnTo>
                <a:lnTo>
                  <a:pt x="3459572" y="295394"/>
                </a:lnTo>
                <a:lnTo>
                  <a:pt x="3429969" y="295394"/>
                </a:lnTo>
                <a:close/>
                <a:moveTo>
                  <a:pt x="9010620" y="265789"/>
                </a:moveTo>
                <a:lnTo>
                  <a:pt x="9040222" y="265789"/>
                </a:lnTo>
                <a:lnTo>
                  <a:pt x="9040222" y="295392"/>
                </a:lnTo>
                <a:lnTo>
                  <a:pt x="9010620" y="295392"/>
                </a:lnTo>
                <a:close/>
                <a:moveTo>
                  <a:pt x="3163772" y="265789"/>
                </a:moveTo>
                <a:lnTo>
                  <a:pt x="3193374" y="265789"/>
                </a:lnTo>
                <a:lnTo>
                  <a:pt x="3193374" y="295392"/>
                </a:lnTo>
                <a:lnTo>
                  <a:pt x="3163772" y="295392"/>
                </a:lnTo>
                <a:close/>
                <a:moveTo>
                  <a:pt x="8744423" y="265787"/>
                </a:moveTo>
                <a:lnTo>
                  <a:pt x="8774026" y="265787"/>
                </a:lnTo>
                <a:lnTo>
                  <a:pt x="8774026" y="295390"/>
                </a:lnTo>
                <a:lnTo>
                  <a:pt x="8744423" y="295390"/>
                </a:lnTo>
                <a:close/>
                <a:moveTo>
                  <a:pt x="2897575" y="265787"/>
                </a:moveTo>
                <a:lnTo>
                  <a:pt x="2927178" y="265787"/>
                </a:lnTo>
                <a:lnTo>
                  <a:pt x="2927178" y="295390"/>
                </a:lnTo>
                <a:lnTo>
                  <a:pt x="2897575" y="295390"/>
                </a:lnTo>
                <a:close/>
                <a:moveTo>
                  <a:pt x="8478226" y="265785"/>
                </a:moveTo>
                <a:lnTo>
                  <a:pt x="8507828" y="265785"/>
                </a:lnTo>
                <a:lnTo>
                  <a:pt x="8507828" y="295387"/>
                </a:lnTo>
                <a:lnTo>
                  <a:pt x="8478226" y="295387"/>
                </a:lnTo>
                <a:close/>
                <a:moveTo>
                  <a:pt x="2631378" y="265785"/>
                </a:moveTo>
                <a:lnTo>
                  <a:pt x="2660980" y="265785"/>
                </a:lnTo>
                <a:lnTo>
                  <a:pt x="2660980" y="295387"/>
                </a:lnTo>
                <a:lnTo>
                  <a:pt x="2631378" y="295387"/>
                </a:lnTo>
                <a:close/>
                <a:moveTo>
                  <a:pt x="8212137" y="265783"/>
                </a:moveTo>
                <a:lnTo>
                  <a:pt x="8241740" y="265783"/>
                </a:lnTo>
                <a:lnTo>
                  <a:pt x="8241740" y="295385"/>
                </a:lnTo>
                <a:lnTo>
                  <a:pt x="8212137" y="295385"/>
                </a:lnTo>
                <a:close/>
                <a:moveTo>
                  <a:pt x="2365289" y="265783"/>
                </a:moveTo>
                <a:lnTo>
                  <a:pt x="2394892" y="265783"/>
                </a:lnTo>
                <a:lnTo>
                  <a:pt x="2394892" y="295385"/>
                </a:lnTo>
                <a:lnTo>
                  <a:pt x="2365289" y="295385"/>
                </a:lnTo>
                <a:close/>
                <a:moveTo>
                  <a:pt x="7945940" y="265781"/>
                </a:moveTo>
                <a:lnTo>
                  <a:pt x="7975543" y="265781"/>
                </a:lnTo>
                <a:lnTo>
                  <a:pt x="7975543" y="295383"/>
                </a:lnTo>
                <a:lnTo>
                  <a:pt x="7945940" y="295383"/>
                </a:lnTo>
                <a:close/>
                <a:moveTo>
                  <a:pt x="2099092" y="265781"/>
                </a:moveTo>
                <a:lnTo>
                  <a:pt x="2128695" y="265781"/>
                </a:lnTo>
                <a:lnTo>
                  <a:pt x="2128695" y="295383"/>
                </a:lnTo>
                <a:lnTo>
                  <a:pt x="2099092" y="295383"/>
                </a:lnTo>
                <a:close/>
                <a:moveTo>
                  <a:pt x="7679743" y="265778"/>
                </a:moveTo>
                <a:lnTo>
                  <a:pt x="7709346" y="265778"/>
                </a:lnTo>
                <a:lnTo>
                  <a:pt x="7709346" y="295381"/>
                </a:lnTo>
                <a:lnTo>
                  <a:pt x="7679743" y="295381"/>
                </a:lnTo>
                <a:close/>
                <a:moveTo>
                  <a:pt x="1832898" y="265778"/>
                </a:moveTo>
                <a:lnTo>
                  <a:pt x="1862498" y="265778"/>
                </a:lnTo>
                <a:lnTo>
                  <a:pt x="1862498" y="295381"/>
                </a:lnTo>
                <a:lnTo>
                  <a:pt x="1832898" y="295381"/>
                </a:lnTo>
                <a:close/>
                <a:moveTo>
                  <a:pt x="7413653" y="265776"/>
                </a:moveTo>
                <a:lnTo>
                  <a:pt x="7443256" y="265776"/>
                </a:lnTo>
                <a:lnTo>
                  <a:pt x="7443256" y="295379"/>
                </a:lnTo>
                <a:lnTo>
                  <a:pt x="7413653" y="295379"/>
                </a:lnTo>
                <a:close/>
                <a:moveTo>
                  <a:pt x="1566808" y="265776"/>
                </a:moveTo>
                <a:lnTo>
                  <a:pt x="1596409" y="265776"/>
                </a:lnTo>
                <a:lnTo>
                  <a:pt x="1596409" y="295379"/>
                </a:lnTo>
                <a:lnTo>
                  <a:pt x="1566808" y="295379"/>
                </a:lnTo>
                <a:close/>
                <a:moveTo>
                  <a:pt x="7147456" y="265774"/>
                </a:moveTo>
                <a:lnTo>
                  <a:pt x="7177058" y="265774"/>
                </a:lnTo>
                <a:lnTo>
                  <a:pt x="7177058" y="295376"/>
                </a:lnTo>
                <a:lnTo>
                  <a:pt x="7147456" y="295376"/>
                </a:lnTo>
                <a:close/>
                <a:moveTo>
                  <a:pt x="1300611" y="265774"/>
                </a:moveTo>
                <a:lnTo>
                  <a:pt x="1330213" y="265774"/>
                </a:lnTo>
                <a:lnTo>
                  <a:pt x="1330213" y="295376"/>
                </a:lnTo>
                <a:lnTo>
                  <a:pt x="1300611" y="295376"/>
                </a:lnTo>
                <a:close/>
                <a:moveTo>
                  <a:pt x="6881367" y="265772"/>
                </a:moveTo>
                <a:lnTo>
                  <a:pt x="6910970" y="265772"/>
                </a:lnTo>
                <a:lnTo>
                  <a:pt x="6910970" y="295374"/>
                </a:lnTo>
                <a:lnTo>
                  <a:pt x="6881367" y="295374"/>
                </a:lnTo>
                <a:close/>
                <a:moveTo>
                  <a:pt x="1034520" y="265772"/>
                </a:moveTo>
                <a:lnTo>
                  <a:pt x="1064123" y="265772"/>
                </a:lnTo>
                <a:lnTo>
                  <a:pt x="1064123" y="295374"/>
                </a:lnTo>
                <a:lnTo>
                  <a:pt x="1034520" y="295374"/>
                </a:lnTo>
                <a:close/>
                <a:moveTo>
                  <a:pt x="6615170" y="265770"/>
                </a:moveTo>
                <a:lnTo>
                  <a:pt x="6644773" y="265770"/>
                </a:lnTo>
                <a:lnTo>
                  <a:pt x="6644773" y="295372"/>
                </a:lnTo>
                <a:lnTo>
                  <a:pt x="6615170" y="295372"/>
                </a:lnTo>
                <a:close/>
                <a:moveTo>
                  <a:pt x="768326" y="265770"/>
                </a:moveTo>
                <a:lnTo>
                  <a:pt x="797926" y="265770"/>
                </a:lnTo>
                <a:lnTo>
                  <a:pt x="797926" y="295372"/>
                </a:lnTo>
                <a:lnTo>
                  <a:pt x="768326" y="295372"/>
                </a:lnTo>
                <a:close/>
                <a:moveTo>
                  <a:pt x="6349081" y="265767"/>
                </a:moveTo>
                <a:lnTo>
                  <a:pt x="6378683" y="265767"/>
                </a:lnTo>
                <a:lnTo>
                  <a:pt x="6378683" y="295370"/>
                </a:lnTo>
                <a:lnTo>
                  <a:pt x="6349081" y="295370"/>
                </a:lnTo>
                <a:close/>
                <a:moveTo>
                  <a:pt x="502235" y="265767"/>
                </a:moveTo>
                <a:lnTo>
                  <a:pt x="531838" y="265767"/>
                </a:lnTo>
                <a:lnTo>
                  <a:pt x="531838" y="295370"/>
                </a:lnTo>
                <a:lnTo>
                  <a:pt x="502235" y="295370"/>
                </a:lnTo>
                <a:close/>
                <a:moveTo>
                  <a:pt x="6082884" y="265765"/>
                </a:moveTo>
                <a:lnTo>
                  <a:pt x="6112486" y="265765"/>
                </a:lnTo>
                <a:lnTo>
                  <a:pt x="6112486" y="295368"/>
                </a:lnTo>
                <a:lnTo>
                  <a:pt x="6082884" y="295368"/>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1672158" y="48"/>
                </a:moveTo>
                <a:lnTo>
                  <a:pt x="11701760" y="48"/>
                </a:lnTo>
                <a:lnTo>
                  <a:pt x="11701760" y="29651"/>
                </a:lnTo>
                <a:lnTo>
                  <a:pt x="11672158" y="29651"/>
                </a:lnTo>
                <a:close/>
                <a:moveTo>
                  <a:pt x="5825310" y="48"/>
                </a:moveTo>
                <a:lnTo>
                  <a:pt x="5854913" y="48"/>
                </a:lnTo>
                <a:lnTo>
                  <a:pt x="5854913" y="29651"/>
                </a:lnTo>
                <a:lnTo>
                  <a:pt x="5825310" y="29651"/>
                </a:lnTo>
                <a:close/>
                <a:moveTo>
                  <a:pt x="11405961" y="46"/>
                </a:moveTo>
                <a:lnTo>
                  <a:pt x="11435563" y="46"/>
                </a:lnTo>
                <a:lnTo>
                  <a:pt x="11435563" y="29648"/>
                </a:lnTo>
                <a:lnTo>
                  <a:pt x="11405961" y="29648"/>
                </a:lnTo>
                <a:close/>
                <a:moveTo>
                  <a:pt x="5559113" y="46"/>
                </a:moveTo>
                <a:lnTo>
                  <a:pt x="5588715" y="46"/>
                </a:lnTo>
                <a:lnTo>
                  <a:pt x="5588715" y="29648"/>
                </a:lnTo>
                <a:lnTo>
                  <a:pt x="5559113" y="29648"/>
                </a:lnTo>
                <a:close/>
                <a:moveTo>
                  <a:pt x="11139872" y="44"/>
                </a:moveTo>
                <a:lnTo>
                  <a:pt x="11169474" y="44"/>
                </a:lnTo>
                <a:lnTo>
                  <a:pt x="11169474" y="29646"/>
                </a:lnTo>
                <a:lnTo>
                  <a:pt x="11139872" y="29646"/>
                </a:lnTo>
                <a:close/>
                <a:moveTo>
                  <a:pt x="5293024" y="44"/>
                </a:moveTo>
                <a:lnTo>
                  <a:pt x="5322626" y="44"/>
                </a:lnTo>
                <a:lnTo>
                  <a:pt x="5322626" y="29646"/>
                </a:lnTo>
                <a:lnTo>
                  <a:pt x="5293024" y="29646"/>
                </a:lnTo>
                <a:close/>
                <a:moveTo>
                  <a:pt x="10873675" y="41"/>
                </a:moveTo>
                <a:lnTo>
                  <a:pt x="10903277" y="41"/>
                </a:lnTo>
                <a:lnTo>
                  <a:pt x="10903277" y="29644"/>
                </a:lnTo>
                <a:lnTo>
                  <a:pt x="10873675" y="29644"/>
                </a:lnTo>
                <a:close/>
                <a:moveTo>
                  <a:pt x="5026827" y="41"/>
                </a:moveTo>
                <a:lnTo>
                  <a:pt x="5056429" y="41"/>
                </a:lnTo>
                <a:lnTo>
                  <a:pt x="5056429" y="29644"/>
                </a:lnTo>
                <a:lnTo>
                  <a:pt x="5026827" y="29644"/>
                </a:lnTo>
                <a:close/>
                <a:moveTo>
                  <a:pt x="10607478" y="39"/>
                </a:moveTo>
                <a:lnTo>
                  <a:pt x="10637188" y="39"/>
                </a:lnTo>
                <a:lnTo>
                  <a:pt x="10637188" y="29641"/>
                </a:lnTo>
                <a:lnTo>
                  <a:pt x="10607478" y="29641"/>
                </a:lnTo>
                <a:close/>
                <a:moveTo>
                  <a:pt x="4760630" y="39"/>
                </a:moveTo>
                <a:lnTo>
                  <a:pt x="4790340" y="39"/>
                </a:lnTo>
                <a:lnTo>
                  <a:pt x="4790340" y="29641"/>
                </a:lnTo>
                <a:lnTo>
                  <a:pt x="4760630" y="29641"/>
                </a:lnTo>
                <a:close/>
                <a:moveTo>
                  <a:pt x="10341389" y="37"/>
                </a:moveTo>
                <a:lnTo>
                  <a:pt x="10370992" y="37"/>
                </a:lnTo>
                <a:lnTo>
                  <a:pt x="10370992" y="29639"/>
                </a:lnTo>
                <a:lnTo>
                  <a:pt x="10341389" y="29639"/>
                </a:lnTo>
                <a:close/>
                <a:moveTo>
                  <a:pt x="4494541" y="37"/>
                </a:moveTo>
                <a:lnTo>
                  <a:pt x="4524144" y="37"/>
                </a:lnTo>
                <a:lnTo>
                  <a:pt x="4524144" y="29639"/>
                </a:lnTo>
                <a:lnTo>
                  <a:pt x="4494541" y="29639"/>
                </a:lnTo>
                <a:close/>
                <a:moveTo>
                  <a:pt x="10075192" y="34"/>
                </a:moveTo>
                <a:lnTo>
                  <a:pt x="10104794" y="34"/>
                </a:lnTo>
                <a:lnTo>
                  <a:pt x="10104794" y="29637"/>
                </a:lnTo>
                <a:lnTo>
                  <a:pt x="10075192" y="29637"/>
                </a:lnTo>
                <a:close/>
                <a:moveTo>
                  <a:pt x="4228344" y="34"/>
                </a:moveTo>
                <a:lnTo>
                  <a:pt x="4257946" y="34"/>
                </a:lnTo>
                <a:lnTo>
                  <a:pt x="4257946" y="29637"/>
                </a:lnTo>
                <a:lnTo>
                  <a:pt x="4228344" y="29637"/>
                </a:lnTo>
                <a:close/>
                <a:moveTo>
                  <a:pt x="9809103" y="32"/>
                </a:moveTo>
                <a:lnTo>
                  <a:pt x="9838705" y="32"/>
                </a:lnTo>
                <a:lnTo>
                  <a:pt x="9838705" y="29635"/>
                </a:lnTo>
                <a:lnTo>
                  <a:pt x="9809103" y="29635"/>
                </a:lnTo>
                <a:close/>
                <a:moveTo>
                  <a:pt x="3962255" y="32"/>
                </a:moveTo>
                <a:lnTo>
                  <a:pt x="3991857" y="32"/>
                </a:lnTo>
                <a:lnTo>
                  <a:pt x="3991857" y="29635"/>
                </a:lnTo>
                <a:lnTo>
                  <a:pt x="3962255" y="29635"/>
                </a:lnTo>
                <a:close/>
                <a:moveTo>
                  <a:pt x="9542906" y="30"/>
                </a:moveTo>
                <a:lnTo>
                  <a:pt x="9572509" y="30"/>
                </a:lnTo>
                <a:lnTo>
                  <a:pt x="9572509" y="29632"/>
                </a:lnTo>
                <a:lnTo>
                  <a:pt x="9542906" y="29632"/>
                </a:lnTo>
                <a:close/>
                <a:moveTo>
                  <a:pt x="3696058" y="30"/>
                </a:moveTo>
                <a:lnTo>
                  <a:pt x="3725661" y="30"/>
                </a:lnTo>
                <a:lnTo>
                  <a:pt x="3725661" y="29632"/>
                </a:lnTo>
                <a:lnTo>
                  <a:pt x="3696058" y="29632"/>
                </a:lnTo>
                <a:close/>
                <a:moveTo>
                  <a:pt x="9276817" y="28"/>
                </a:moveTo>
                <a:lnTo>
                  <a:pt x="9306420" y="28"/>
                </a:lnTo>
                <a:lnTo>
                  <a:pt x="9306420" y="29630"/>
                </a:lnTo>
                <a:lnTo>
                  <a:pt x="9276817" y="29630"/>
                </a:lnTo>
                <a:close/>
                <a:moveTo>
                  <a:pt x="3429969" y="28"/>
                </a:moveTo>
                <a:lnTo>
                  <a:pt x="3459572" y="28"/>
                </a:lnTo>
                <a:lnTo>
                  <a:pt x="3459572" y="29630"/>
                </a:lnTo>
                <a:lnTo>
                  <a:pt x="3429969" y="29630"/>
                </a:lnTo>
                <a:close/>
                <a:moveTo>
                  <a:pt x="9010620" y="25"/>
                </a:moveTo>
                <a:lnTo>
                  <a:pt x="9040222" y="25"/>
                </a:lnTo>
                <a:lnTo>
                  <a:pt x="9040222" y="29628"/>
                </a:lnTo>
                <a:lnTo>
                  <a:pt x="9010620" y="29628"/>
                </a:lnTo>
                <a:close/>
                <a:moveTo>
                  <a:pt x="3163772" y="25"/>
                </a:moveTo>
                <a:lnTo>
                  <a:pt x="3193374" y="25"/>
                </a:lnTo>
                <a:lnTo>
                  <a:pt x="3193374" y="29628"/>
                </a:lnTo>
                <a:lnTo>
                  <a:pt x="3163772" y="29628"/>
                </a:lnTo>
                <a:close/>
                <a:moveTo>
                  <a:pt x="8744423" y="23"/>
                </a:moveTo>
                <a:lnTo>
                  <a:pt x="8774026" y="23"/>
                </a:lnTo>
                <a:lnTo>
                  <a:pt x="8774026" y="29625"/>
                </a:lnTo>
                <a:lnTo>
                  <a:pt x="8744423" y="29625"/>
                </a:lnTo>
                <a:close/>
                <a:moveTo>
                  <a:pt x="2897575" y="23"/>
                </a:moveTo>
                <a:lnTo>
                  <a:pt x="2927178" y="23"/>
                </a:lnTo>
                <a:lnTo>
                  <a:pt x="2927178" y="29625"/>
                </a:lnTo>
                <a:lnTo>
                  <a:pt x="2897575" y="29625"/>
                </a:lnTo>
                <a:close/>
                <a:moveTo>
                  <a:pt x="8478226" y="21"/>
                </a:moveTo>
                <a:lnTo>
                  <a:pt x="8507828" y="21"/>
                </a:lnTo>
                <a:lnTo>
                  <a:pt x="8507828" y="29623"/>
                </a:lnTo>
                <a:lnTo>
                  <a:pt x="8478226" y="29623"/>
                </a:lnTo>
                <a:close/>
                <a:moveTo>
                  <a:pt x="2631378" y="21"/>
                </a:moveTo>
                <a:lnTo>
                  <a:pt x="2660980" y="21"/>
                </a:lnTo>
                <a:lnTo>
                  <a:pt x="2660980" y="29623"/>
                </a:lnTo>
                <a:lnTo>
                  <a:pt x="2631378" y="29623"/>
                </a:lnTo>
                <a:close/>
                <a:moveTo>
                  <a:pt x="8212137" y="18"/>
                </a:moveTo>
                <a:lnTo>
                  <a:pt x="8241740" y="18"/>
                </a:lnTo>
                <a:lnTo>
                  <a:pt x="8241740" y="29621"/>
                </a:lnTo>
                <a:lnTo>
                  <a:pt x="8212137" y="29621"/>
                </a:lnTo>
                <a:close/>
                <a:moveTo>
                  <a:pt x="2365289" y="18"/>
                </a:moveTo>
                <a:lnTo>
                  <a:pt x="2394892" y="18"/>
                </a:lnTo>
                <a:lnTo>
                  <a:pt x="2394892" y="29621"/>
                </a:lnTo>
                <a:lnTo>
                  <a:pt x="2365289" y="29621"/>
                </a:lnTo>
                <a:close/>
                <a:moveTo>
                  <a:pt x="7945940" y="16"/>
                </a:moveTo>
                <a:lnTo>
                  <a:pt x="7975543" y="16"/>
                </a:lnTo>
                <a:lnTo>
                  <a:pt x="7975543" y="29618"/>
                </a:lnTo>
                <a:lnTo>
                  <a:pt x="7945940" y="29618"/>
                </a:lnTo>
                <a:close/>
                <a:moveTo>
                  <a:pt x="2099092" y="16"/>
                </a:moveTo>
                <a:lnTo>
                  <a:pt x="2128695" y="16"/>
                </a:lnTo>
                <a:lnTo>
                  <a:pt x="2128695" y="29618"/>
                </a:lnTo>
                <a:lnTo>
                  <a:pt x="2099092" y="29618"/>
                </a:lnTo>
                <a:close/>
                <a:moveTo>
                  <a:pt x="7679743" y="14"/>
                </a:moveTo>
                <a:lnTo>
                  <a:pt x="7709346" y="14"/>
                </a:lnTo>
                <a:lnTo>
                  <a:pt x="7709346" y="29616"/>
                </a:lnTo>
                <a:lnTo>
                  <a:pt x="7679743" y="29616"/>
                </a:lnTo>
                <a:close/>
                <a:moveTo>
                  <a:pt x="1832898" y="14"/>
                </a:moveTo>
                <a:lnTo>
                  <a:pt x="1862498" y="14"/>
                </a:lnTo>
                <a:lnTo>
                  <a:pt x="1862498" y="29616"/>
                </a:lnTo>
                <a:lnTo>
                  <a:pt x="1832898" y="29616"/>
                </a:lnTo>
                <a:close/>
                <a:moveTo>
                  <a:pt x="7413653" y="12"/>
                </a:moveTo>
                <a:lnTo>
                  <a:pt x="7443256" y="12"/>
                </a:lnTo>
                <a:lnTo>
                  <a:pt x="7443256" y="29614"/>
                </a:lnTo>
                <a:lnTo>
                  <a:pt x="7413653" y="29614"/>
                </a:lnTo>
                <a:close/>
                <a:moveTo>
                  <a:pt x="1566808" y="12"/>
                </a:moveTo>
                <a:lnTo>
                  <a:pt x="1596409" y="12"/>
                </a:lnTo>
                <a:lnTo>
                  <a:pt x="1596409" y="29614"/>
                </a:lnTo>
                <a:lnTo>
                  <a:pt x="1566808" y="29614"/>
                </a:lnTo>
                <a:close/>
                <a:moveTo>
                  <a:pt x="7147456" y="9"/>
                </a:moveTo>
                <a:lnTo>
                  <a:pt x="7177058" y="9"/>
                </a:lnTo>
                <a:lnTo>
                  <a:pt x="7177058" y="29612"/>
                </a:lnTo>
                <a:lnTo>
                  <a:pt x="7147456" y="29612"/>
                </a:lnTo>
                <a:close/>
                <a:moveTo>
                  <a:pt x="1300611" y="9"/>
                </a:moveTo>
                <a:lnTo>
                  <a:pt x="1330213" y="9"/>
                </a:lnTo>
                <a:lnTo>
                  <a:pt x="1330213" y="29612"/>
                </a:lnTo>
                <a:lnTo>
                  <a:pt x="1300611" y="29612"/>
                </a:lnTo>
                <a:close/>
                <a:moveTo>
                  <a:pt x="6881367" y="7"/>
                </a:moveTo>
                <a:lnTo>
                  <a:pt x="6910970" y="7"/>
                </a:lnTo>
                <a:lnTo>
                  <a:pt x="6910970" y="29609"/>
                </a:lnTo>
                <a:lnTo>
                  <a:pt x="6881367" y="29609"/>
                </a:lnTo>
                <a:close/>
                <a:moveTo>
                  <a:pt x="1034520" y="7"/>
                </a:moveTo>
                <a:lnTo>
                  <a:pt x="1064123" y="7"/>
                </a:lnTo>
                <a:lnTo>
                  <a:pt x="1064123" y="29609"/>
                </a:lnTo>
                <a:lnTo>
                  <a:pt x="1034520" y="29609"/>
                </a:lnTo>
                <a:close/>
                <a:moveTo>
                  <a:pt x="6615170" y="5"/>
                </a:moveTo>
                <a:lnTo>
                  <a:pt x="6644773" y="5"/>
                </a:lnTo>
                <a:lnTo>
                  <a:pt x="6644773" y="29607"/>
                </a:lnTo>
                <a:lnTo>
                  <a:pt x="6615170" y="29607"/>
                </a:lnTo>
                <a:close/>
                <a:moveTo>
                  <a:pt x="768326" y="5"/>
                </a:moveTo>
                <a:lnTo>
                  <a:pt x="797926" y="5"/>
                </a:lnTo>
                <a:lnTo>
                  <a:pt x="797926" y="29607"/>
                </a:lnTo>
                <a:lnTo>
                  <a:pt x="768326" y="29607"/>
                </a:lnTo>
                <a:close/>
                <a:moveTo>
                  <a:pt x="6349081" y="2"/>
                </a:moveTo>
                <a:lnTo>
                  <a:pt x="6378683" y="2"/>
                </a:lnTo>
                <a:lnTo>
                  <a:pt x="6378683" y="29605"/>
                </a:lnTo>
                <a:lnTo>
                  <a:pt x="6349081" y="29605"/>
                </a:lnTo>
                <a:close/>
                <a:moveTo>
                  <a:pt x="502235" y="2"/>
                </a:moveTo>
                <a:lnTo>
                  <a:pt x="531838" y="2"/>
                </a:lnTo>
                <a:lnTo>
                  <a:pt x="531838" y="29605"/>
                </a:lnTo>
                <a:lnTo>
                  <a:pt x="502235" y="29605"/>
                </a:lnTo>
                <a:close/>
                <a:moveTo>
                  <a:pt x="6082884" y="0"/>
                </a:moveTo>
                <a:lnTo>
                  <a:pt x="6112486" y="0"/>
                </a:lnTo>
                <a:lnTo>
                  <a:pt x="6112486" y="29602"/>
                </a:lnTo>
                <a:lnTo>
                  <a:pt x="6082884" y="29602"/>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20000"/>
            </a:schemeClr>
          </a:solidFill>
          <a:ln w="10797" cap="flat">
            <a:noFill/>
            <a:prstDash val="solid"/>
            <a:miter/>
          </a:ln>
        </p:spPr>
        <p:txBody>
          <a:bodyPr rtlCol="0" anchor="ctr"/>
          <a:lstStyle/>
          <a:p>
            <a:endParaRPr lang="en-US"/>
          </a:p>
        </p:txBody>
      </p:sp>
      <p:sp>
        <p:nvSpPr>
          <p:cNvPr id="22" name="Title 1">
            <a:extLst>
              <a:ext uri="{FF2B5EF4-FFF2-40B4-BE49-F238E27FC236}">
                <a16:creationId xmlns:a16="http://schemas.microsoft.com/office/drawing/2014/main" id="{E2C5D4DA-7E8C-43ED-A21C-F053340146E4}"/>
              </a:ext>
            </a:extLst>
          </p:cNvPr>
          <p:cNvSpPr>
            <a:spLocks noGrp="1"/>
          </p:cNvSpPr>
          <p:nvPr>
            <p:ph type="ctrTitle"/>
          </p:nvPr>
        </p:nvSpPr>
        <p:spPr>
          <a:xfrm>
            <a:off x="382972" y="1371601"/>
            <a:ext cx="5292030" cy="2157916"/>
          </a:xfrm>
        </p:spPr>
        <p:txBody>
          <a:bodyPr lIns="0" tIns="0" rIns="0" bIns="0" anchor="b" anchorCtr="0">
            <a:no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4" name="Text Placeholder 7">
            <a:extLst>
              <a:ext uri="{FF2B5EF4-FFF2-40B4-BE49-F238E27FC236}">
                <a16:creationId xmlns:a16="http://schemas.microsoft.com/office/drawing/2014/main" id="{2E77F839-1906-4B62-993E-E3534B67AD9B}"/>
              </a:ext>
            </a:extLst>
          </p:cNvPr>
          <p:cNvSpPr>
            <a:spLocks noGrp="1"/>
          </p:cNvSpPr>
          <p:nvPr>
            <p:ph type="body" sz="quarter" idx="13" hasCustomPrompt="1"/>
          </p:nvPr>
        </p:nvSpPr>
        <p:spPr>
          <a:xfrm>
            <a:off x="382972" y="330897"/>
            <a:ext cx="3712777" cy="557212"/>
          </a:xfrm>
        </p:spPr>
        <p:txBody>
          <a:bodyPr/>
          <a:lstStyle>
            <a:lvl1pPr>
              <a:spcBef>
                <a:spcPts val="0"/>
              </a:spcBef>
              <a:defRPr sz="900">
                <a:solidFill>
                  <a:schemeClr val="bg1"/>
                </a:solidFill>
              </a:defRPr>
            </a:lvl1pPr>
            <a:lvl2pPr marL="112713" indent="-112713">
              <a:spcBef>
                <a:spcPts val="0"/>
              </a:spcBef>
              <a:buClr>
                <a:schemeClr val="tx2"/>
              </a:buClr>
              <a:defRPr sz="900">
                <a:solidFill>
                  <a:schemeClr val="tx1"/>
                </a:solidFill>
              </a:defRPr>
            </a:lvl2pPr>
            <a:lvl3pPr marL="225425" indent="-112713">
              <a:spcBef>
                <a:spcPts val="0"/>
              </a:spcBef>
              <a:buClr>
                <a:schemeClr val="tx2"/>
              </a:buClr>
              <a:defRPr sz="900">
                <a:solidFill>
                  <a:schemeClr val="tx1"/>
                </a:solidFill>
              </a:defRPr>
            </a:lvl3pPr>
            <a:lvl4pPr marL="339725" indent="-114300">
              <a:spcBef>
                <a:spcPts val="0"/>
              </a:spcBef>
              <a:buClr>
                <a:schemeClr val="tx2"/>
              </a:buClr>
              <a:defRPr sz="900"/>
            </a:lvl4pPr>
            <a:lvl5pPr marL="460375" indent="-120650">
              <a:spcBef>
                <a:spcPts val="0"/>
              </a:spcBef>
              <a:buClr>
                <a:schemeClr val="tx2"/>
              </a:buClr>
              <a:tabLst/>
              <a:defRPr sz="900"/>
            </a:lvl5pPr>
          </a:lstStyle>
          <a:p>
            <a:pPr lvl="0"/>
            <a:r>
              <a:rPr lang="en-US"/>
              <a:t>Insert Date Here</a:t>
            </a:r>
          </a:p>
          <a:p>
            <a:pPr lvl="0"/>
            <a:endParaRPr lang="en-US"/>
          </a:p>
        </p:txBody>
      </p:sp>
      <p:pic>
        <p:nvPicPr>
          <p:cNvPr id="28" name="Picture 27" descr="A close up of a sign&#10;&#10;Description automatically generated">
            <a:extLst>
              <a:ext uri="{FF2B5EF4-FFF2-40B4-BE49-F238E27FC236}">
                <a16:creationId xmlns:a16="http://schemas.microsoft.com/office/drawing/2014/main" id="{88FDB939-C306-4FC7-9750-831D971E91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212" y="6081014"/>
            <a:ext cx="2448162" cy="560910"/>
          </a:xfrm>
          <a:prstGeom prst="rect">
            <a:avLst/>
          </a:prstGeom>
        </p:spPr>
      </p:pic>
      <p:sp>
        <p:nvSpPr>
          <p:cNvPr id="45" name="Text Placeholder 46">
            <a:extLst>
              <a:ext uri="{FF2B5EF4-FFF2-40B4-BE49-F238E27FC236}">
                <a16:creationId xmlns:a16="http://schemas.microsoft.com/office/drawing/2014/main" id="{476823E0-2BB6-4EC7-A5A6-07E01E9F9710}"/>
              </a:ext>
            </a:extLst>
          </p:cNvPr>
          <p:cNvSpPr>
            <a:spLocks noGrp="1"/>
          </p:cNvSpPr>
          <p:nvPr>
            <p:ph type="body" sz="quarter" idx="16" hasCustomPrompt="1"/>
          </p:nvPr>
        </p:nvSpPr>
        <p:spPr>
          <a:xfrm>
            <a:off x="7417167" y="3"/>
            <a:ext cx="1059710" cy="1030447"/>
          </a:xfrm>
          <a:custGeom>
            <a:avLst/>
            <a:gdLst>
              <a:gd name="connsiteX0" fmla="*/ 0 w 1059710"/>
              <a:gd name="connsiteY0" fmla="*/ 0 h 1030447"/>
              <a:gd name="connsiteX1" fmla="*/ 530730 w 1059710"/>
              <a:gd name="connsiteY1" fmla="*/ 0 h 1030447"/>
              <a:gd name="connsiteX2" fmla="*/ 538263 w 1059710"/>
              <a:gd name="connsiteY2" fmla="*/ 74726 h 1030447"/>
              <a:gd name="connsiteX3" fmla="*/ 1059710 w 1059710"/>
              <a:gd name="connsiteY3" fmla="*/ 499718 h 1030447"/>
              <a:gd name="connsiteX4" fmla="*/ 1059710 w 1059710"/>
              <a:gd name="connsiteY4" fmla="*/ 1030447 h 1030447"/>
              <a:gd name="connsiteX5" fmla="*/ 18316 w 1059710"/>
              <a:gd name="connsiteY5" fmla="*/ 181687 h 103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9710" h="1030447">
                <a:moveTo>
                  <a:pt x="0" y="0"/>
                </a:moveTo>
                <a:lnTo>
                  <a:pt x="530730" y="0"/>
                </a:lnTo>
                <a:lnTo>
                  <a:pt x="538263" y="74726"/>
                </a:lnTo>
                <a:cubicBezTo>
                  <a:pt x="587894" y="317268"/>
                  <a:pt x="802496" y="499718"/>
                  <a:pt x="1059710" y="499718"/>
                </a:cubicBezTo>
                <a:lnTo>
                  <a:pt x="1059710" y="1030447"/>
                </a:lnTo>
                <a:cubicBezTo>
                  <a:pt x="546021" y="1030447"/>
                  <a:pt x="117435" y="666073"/>
                  <a:pt x="18316" y="181687"/>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46" name="Text Placeholder 49">
            <a:extLst>
              <a:ext uri="{FF2B5EF4-FFF2-40B4-BE49-F238E27FC236}">
                <a16:creationId xmlns:a16="http://schemas.microsoft.com/office/drawing/2014/main" id="{58846FF6-2C9C-4879-8AE7-BA19CDDE93A9}"/>
              </a:ext>
            </a:extLst>
          </p:cNvPr>
          <p:cNvSpPr>
            <a:spLocks noGrp="1"/>
          </p:cNvSpPr>
          <p:nvPr>
            <p:ph type="body" sz="quarter" idx="17" hasCustomPrompt="1"/>
          </p:nvPr>
        </p:nvSpPr>
        <p:spPr>
          <a:xfrm>
            <a:off x="6094412" y="1551001"/>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48" name="Text Placeholder 47">
            <a:extLst>
              <a:ext uri="{FF2B5EF4-FFF2-40B4-BE49-F238E27FC236}">
                <a16:creationId xmlns:a16="http://schemas.microsoft.com/office/drawing/2014/main" id="{F0F3C0D1-D180-472D-AF64-DB4A1F1FC68D}"/>
              </a:ext>
            </a:extLst>
          </p:cNvPr>
          <p:cNvSpPr>
            <a:spLocks noGrp="1"/>
          </p:cNvSpPr>
          <p:nvPr>
            <p:ph type="body" sz="quarter" idx="18" hasCustomPrompt="1"/>
          </p:nvPr>
        </p:nvSpPr>
        <p:spPr>
          <a:xfrm>
            <a:off x="9277475" y="1"/>
            <a:ext cx="530877" cy="1010939"/>
          </a:xfrm>
          <a:custGeom>
            <a:avLst/>
            <a:gdLst>
              <a:gd name="connsiteX0" fmla="*/ 0 w 530877"/>
              <a:gd name="connsiteY0" fmla="*/ 0 h 1010939"/>
              <a:gd name="connsiteX1" fmla="*/ 530877 w 530877"/>
              <a:gd name="connsiteY1" fmla="*/ 0 h 1010939"/>
              <a:gd name="connsiteX2" fmla="*/ 530877 w 530877"/>
              <a:gd name="connsiteY2" fmla="*/ 1010939 h 1010939"/>
              <a:gd name="connsiteX3" fmla="*/ 0 w 530877"/>
              <a:gd name="connsiteY3" fmla="*/ 1010939 h 1010939"/>
            </a:gdLst>
            <a:ahLst/>
            <a:cxnLst>
              <a:cxn ang="0">
                <a:pos x="connsiteX0" y="connsiteY0"/>
              </a:cxn>
              <a:cxn ang="0">
                <a:pos x="connsiteX1" y="connsiteY1"/>
              </a:cxn>
              <a:cxn ang="0">
                <a:pos x="connsiteX2" y="connsiteY2"/>
              </a:cxn>
              <a:cxn ang="0">
                <a:pos x="connsiteX3" y="connsiteY3"/>
              </a:cxn>
            </a:cxnLst>
            <a:rect l="l" t="t" r="r" b="b"/>
            <a:pathLst>
              <a:path w="530877" h="1010939">
                <a:moveTo>
                  <a:pt x="0" y="0"/>
                </a:moveTo>
                <a:lnTo>
                  <a:pt x="530877" y="0"/>
                </a:lnTo>
                <a:lnTo>
                  <a:pt x="530877" y="1010939"/>
                </a:lnTo>
                <a:lnTo>
                  <a:pt x="0" y="1010939"/>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49" name="Text Placeholder 48">
            <a:extLst>
              <a:ext uri="{FF2B5EF4-FFF2-40B4-BE49-F238E27FC236}">
                <a16:creationId xmlns:a16="http://schemas.microsoft.com/office/drawing/2014/main" id="{CD83280F-D219-450E-B1FA-0CC29001ACFD}"/>
              </a:ext>
            </a:extLst>
          </p:cNvPr>
          <p:cNvSpPr>
            <a:spLocks noGrp="1"/>
          </p:cNvSpPr>
          <p:nvPr>
            <p:ph type="body" sz="quarter" idx="19" hasCustomPrompt="1"/>
          </p:nvPr>
        </p:nvSpPr>
        <p:spPr>
          <a:xfrm>
            <a:off x="10592201" y="0"/>
            <a:ext cx="1596624" cy="1030511"/>
          </a:xfrm>
          <a:custGeom>
            <a:avLst/>
            <a:gdLst>
              <a:gd name="connsiteX0" fmla="*/ 0 w 1596624"/>
              <a:gd name="connsiteY0" fmla="*/ 0 h 1030511"/>
              <a:gd name="connsiteX1" fmla="*/ 530728 w 1596624"/>
              <a:gd name="connsiteY1" fmla="*/ 0 h 1030511"/>
              <a:gd name="connsiteX2" fmla="*/ 538268 w 1596624"/>
              <a:gd name="connsiteY2" fmla="*/ 74789 h 1030511"/>
              <a:gd name="connsiteX3" fmla="*/ 1059716 w 1596624"/>
              <a:gd name="connsiteY3" fmla="*/ 499781 h 1030511"/>
              <a:gd name="connsiteX4" fmla="*/ 1581162 w 1596624"/>
              <a:gd name="connsiteY4" fmla="*/ 74789 h 1030511"/>
              <a:gd name="connsiteX5" fmla="*/ 1588702 w 1596624"/>
              <a:gd name="connsiteY5" fmla="*/ 0 h 1030511"/>
              <a:gd name="connsiteX6" fmla="*/ 1596624 w 1596624"/>
              <a:gd name="connsiteY6" fmla="*/ 0 h 1030511"/>
              <a:gd name="connsiteX7" fmla="*/ 1596624 w 1596624"/>
              <a:gd name="connsiteY7" fmla="*/ 880135 h 1030511"/>
              <a:gd name="connsiteX8" fmla="*/ 1473479 w 1596624"/>
              <a:gd name="connsiteY8" fmla="*/ 946976 h 1030511"/>
              <a:gd name="connsiteX9" fmla="*/ 1059716 w 1596624"/>
              <a:gd name="connsiteY9" fmla="*/ 1030511 h 1030511"/>
              <a:gd name="connsiteX10" fmla="*/ 18322 w 1596624"/>
              <a:gd name="connsiteY10" fmla="*/ 181750 h 103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6624" h="1030511">
                <a:moveTo>
                  <a:pt x="0" y="0"/>
                </a:moveTo>
                <a:lnTo>
                  <a:pt x="530728" y="0"/>
                </a:lnTo>
                <a:lnTo>
                  <a:pt x="538268" y="74789"/>
                </a:lnTo>
                <a:cubicBezTo>
                  <a:pt x="587899" y="317331"/>
                  <a:pt x="802501" y="499781"/>
                  <a:pt x="1059716" y="499781"/>
                </a:cubicBezTo>
                <a:cubicBezTo>
                  <a:pt x="1316929" y="499781"/>
                  <a:pt x="1531531" y="317331"/>
                  <a:pt x="1581162" y="74789"/>
                </a:cubicBezTo>
                <a:lnTo>
                  <a:pt x="1588702" y="0"/>
                </a:lnTo>
                <a:lnTo>
                  <a:pt x="1596624" y="0"/>
                </a:lnTo>
                <a:lnTo>
                  <a:pt x="1596624" y="880135"/>
                </a:lnTo>
                <a:lnTo>
                  <a:pt x="1473479" y="946976"/>
                </a:lnTo>
                <a:cubicBezTo>
                  <a:pt x="1346305" y="1000766"/>
                  <a:pt x="1206484" y="1030511"/>
                  <a:pt x="1059716" y="1030511"/>
                </a:cubicBezTo>
                <a:cubicBezTo>
                  <a:pt x="546026" y="1030511"/>
                  <a:pt x="117442" y="666137"/>
                  <a:pt x="18322" y="18175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51" name="Text Placeholder 64">
            <a:extLst>
              <a:ext uri="{FF2B5EF4-FFF2-40B4-BE49-F238E27FC236}">
                <a16:creationId xmlns:a16="http://schemas.microsoft.com/office/drawing/2014/main" id="{5514BD35-D87F-4E9C-BC33-62920A3F91B9}"/>
              </a:ext>
            </a:extLst>
          </p:cNvPr>
          <p:cNvSpPr>
            <a:spLocks noGrp="1"/>
          </p:cNvSpPr>
          <p:nvPr>
            <p:ph type="body" sz="quarter" idx="22" hasCustomPrompt="1"/>
          </p:nvPr>
        </p:nvSpPr>
        <p:spPr>
          <a:xfrm>
            <a:off x="7678636" y="1545516"/>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52" name="Text Placeholder 70">
            <a:extLst>
              <a:ext uri="{FF2B5EF4-FFF2-40B4-BE49-F238E27FC236}">
                <a16:creationId xmlns:a16="http://schemas.microsoft.com/office/drawing/2014/main" id="{DF1C9C24-2AB4-41E0-BD8C-A941BF511AFC}"/>
              </a:ext>
            </a:extLst>
          </p:cNvPr>
          <p:cNvSpPr>
            <a:spLocks noGrp="1"/>
          </p:cNvSpPr>
          <p:nvPr>
            <p:ph type="body" sz="quarter" idx="24" hasCustomPrompt="1"/>
          </p:nvPr>
        </p:nvSpPr>
        <p:spPr>
          <a:xfrm>
            <a:off x="11657948" y="1564235"/>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54" name="Text Placeholder 73">
            <a:extLst>
              <a:ext uri="{FF2B5EF4-FFF2-40B4-BE49-F238E27FC236}">
                <a16:creationId xmlns:a16="http://schemas.microsoft.com/office/drawing/2014/main" id="{1FE5769B-1024-4108-A0E4-21AECD5DE0B2}"/>
              </a:ext>
            </a:extLst>
          </p:cNvPr>
          <p:cNvSpPr>
            <a:spLocks noGrp="1"/>
          </p:cNvSpPr>
          <p:nvPr>
            <p:ph type="body" sz="quarter" idx="25" hasCustomPrompt="1"/>
          </p:nvPr>
        </p:nvSpPr>
        <p:spPr>
          <a:xfrm>
            <a:off x="11657949" y="4225925"/>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55" name="Text Placeholder 76">
            <a:extLst>
              <a:ext uri="{FF2B5EF4-FFF2-40B4-BE49-F238E27FC236}">
                <a16:creationId xmlns:a16="http://schemas.microsoft.com/office/drawing/2014/main" id="{8AF7A61A-00C4-4C8A-9D66-248266249474}"/>
              </a:ext>
            </a:extLst>
          </p:cNvPr>
          <p:cNvSpPr>
            <a:spLocks noGrp="1"/>
          </p:cNvSpPr>
          <p:nvPr>
            <p:ph type="body" sz="quarter" idx="26" hasCustomPrompt="1"/>
          </p:nvPr>
        </p:nvSpPr>
        <p:spPr>
          <a:xfrm>
            <a:off x="9544222" y="6330122"/>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57" name="Text Placeholder 79">
            <a:extLst>
              <a:ext uri="{FF2B5EF4-FFF2-40B4-BE49-F238E27FC236}">
                <a16:creationId xmlns:a16="http://schemas.microsoft.com/office/drawing/2014/main" id="{B5327995-BCCF-4C0E-8276-742FEBCF6442}"/>
              </a:ext>
            </a:extLst>
          </p:cNvPr>
          <p:cNvSpPr>
            <a:spLocks noGrp="1"/>
          </p:cNvSpPr>
          <p:nvPr>
            <p:ph type="body" sz="quarter" idx="27" hasCustomPrompt="1"/>
          </p:nvPr>
        </p:nvSpPr>
        <p:spPr>
          <a:xfrm>
            <a:off x="10328449" y="5160862"/>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58" name="Text Placeholder 81">
            <a:extLst>
              <a:ext uri="{FF2B5EF4-FFF2-40B4-BE49-F238E27FC236}">
                <a16:creationId xmlns:a16="http://schemas.microsoft.com/office/drawing/2014/main" id="{80145750-86C5-41F1-9070-4053FC412DD6}"/>
              </a:ext>
            </a:extLst>
          </p:cNvPr>
          <p:cNvSpPr>
            <a:spLocks noGrp="1"/>
          </p:cNvSpPr>
          <p:nvPr>
            <p:ph type="body" sz="quarter" idx="29" hasCustomPrompt="1"/>
          </p:nvPr>
        </p:nvSpPr>
        <p:spPr>
          <a:xfrm>
            <a:off x="7960512" y="2890470"/>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59" name="Text Placeholder 83">
            <a:extLst>
              <a:ext uri="{FF2B5EF4-FFF2-40B4-BE49-F238E27FC236}">
                <a16:creationId xmlns:a16="http://schemas.microsoft.com/office/drawing/2014/main" id="{FCAE0127-1E44-4D81-8161-5624405EFF56}"/>
              </a:ext>
            </a:extLst>
          </p:cNvPr>
          <p:cNvSpPr>
            <a:spLocks noGrp="1"/>
          </p:cNvSpPr>
          <p:nvPr>
            <p:ph type="body" sz="quarter" idx="31" hasCustomPrompt="1"/>
          </p:nvPr>
        </p:nvSpPr>
        <p:spPr>
          <a:xfrm flipV="1">
            <a:off x="9015845" y="3160396"/>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0" name="Text Placeholder 84">
            <a:extLst>
              <a:ext uri="{FF2B5EF4-FFF2-40B4-BE49-F238E27FC236}">
                <a16:creationId xmlns:a16="http://schemas.microsoft.com/office/drawing/2014/main" id="{4B32CFB6-F79B-4A97-87E2-7E78891B0B81}"/>
              </a:ext>
            </a:extLst>
          </p:cNvPr>
          <p:cNvSpPr>
            <a:spLocks noGrp="1"/>
          </p:cNvSpPr>
          <p:nvPr>
            <p:ph type="body" sz="quarter" idx="32" hasCustomPrompt="1"/>
          </p:nvPr>
        </p:nvSpPr>
        <p:spPr>
          <a:xfrm rot="5400000" flipV="1">
            <a:off x="5572212" y="3427722"/>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1" name="Text Placeholder 60">
            <a:extLst>
              <a:ext uri="{FF2B5EF4-FFF2-40B4-BE49-F238E27FC236}">
                <a16:creationId xmlns:a16="http://schemas.microsoft.com/office/drawing/2014/main" id="{B512F71F-5F1E-4F80-9768-EB5AACD89DD1}"/>
              </a:ext>
            </a:extLst>
          </p:cNvPr>
          <p:cNvSpPr>
            <a:spLocks noGrp="1"/>
          </p:cNvSpPr>
          <p:nvPr>
            <p:ph type="body" sz="quarter" idx="37" hasCustomPrompt="1"/>
          </p:nvPr>
        </p:nvSpPr>
        <p:spPr>
          <a:xfrm>
            <a:off x="6085992" y="5822950"/>
            <a:ext cx="530877" cy="1035050"/>
          </a:xfrm>
          <a:custGeom>
            <a:avLst/>
            <a:gdLst>
              <a:gd name="connsiteX0" fmla="*/ 0 w 530877"/>
              <a:gd name="connsiteY0" fmla="*/ 0 h 1035050"/>
              <a:gd name="connsiteX1" fmla="*/ 530877 w 530877"/>
              <a:gd name="connsiteY1" fmla="*/ 0 h 1035050"/>
              <a:gd name="connsiteX2" fmla="*/ 530877 w 530877"/>
              <a:gd name="connsiteY2" fmla="*/ 1035050 h 1035050"/>
              <a:gd name="connsiteX3" fmla="*/ 0 w 530877"/>
              <a:gd name="connsiteY3" fmla="*/ 1035050 h 1035050"/>
            </a:gdLst>
            <a:ahLst/>
            <a:cxnLst>
              <a:cxn ang="0">
                <a:pos x="connsiteX0" y="connsiteY0"/>
              </a:cxn>
              <a:cxn ang="0">
                <a:pos x="connsiteX1" y="connsiteY1"/>
              </a:cxn>
              <a:cxn ang="0">
                <a:pos x="connsiteX2" y="connsiteY2"/>
              </a:cxn>
              <a:cxn ang="0">
                <a:pos x="connsiteX3" y="connsiteY3"/>
              </a:cxn>
            </a:cxnLst>
            <a:rect l="l" t="t" r="r" b="b"/>
            <a:pathLst>
              <a:path w="530877" h="1035050">
                <a:moveTo>
                  <a:pt x="0" y="0"/>
                </a:moveTo>
                <a:lnTo>
                  <a:pt x="530877" y="0"/>
                </a:lnTo>
                <a:lnTo>
                  <a:pt x="530877" y="1035050"/>
                </a:lnTo>
                <a:lnTo>
                  <a:pt x="0" y="1035050"/>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2" name="Text Placeholder 83">
            <a:extLst>
              <a:ext uri="{FF2B5EF4-FFF2-40B4-BE49-F238E27FC236}">
                <a16:creationId xmlns:a16="http://schemas.microsoft.com/office/drawing/2014/main" id="{8D0498E6-5B61-4FDC-827D-50883516D034}"/>
              </a:ext>
            </a:extLst>
          </p:cNvPr>
          <p:cNvSpPr>
            <a:spLocks noGrp="1"/>
          </p:cNvSpPr>
          <p:nvPr>
            <p:ph type="body" sz="quarter" idx="38" hasCustomPrompt="1"/>
          </p:nvPr>
        </p:nvSpPr>
        <p:spPr>
          <a:xfrm rot="10800000" flipV="1">
            <a:off x="7166570" y="5277700"/>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3" name="Text Placeholder 62">
            <a:extLst>
              <a:ext uri="{FF2B5EF4-FFF2-40B4-BE49-F238E27FC236}">
                <a16:creationId xmlns:a16="http://schemas.microsoft.com/office/drawing/2014/main" id="{42D98252-8FB1-4EA1-9872-941A40C567F2}"/>
              </a:ext>
            </a:extLst>
          </p:cNvPr>
          <p:cNvSpPr>
            <a:spLocks noGrp="1"/>
          </p:cNvSpPr>
          <p:nvPr>
            <p:ph type="body" sz="quarter" idx="39" hasCustomPrompt="1"/>
          </p:nvPr>
        </p:nvSpPr>
        <p:spPr>
          <a:xfrm>
            <a:off x="6089766" y="0"/>
            <a:ext cx="530877" cy="1012276"/>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4" name="Text Placeholder 89">
            <a:extLst>
              <a:ext uri="{FF2B5EF4-FFF2-40B4-BE49-F238E27FC236}">
                <a16:creationId xmlns:a16="http://schemas.microsoft.com/office/drawing/2014/main" id="{3A201156-AEF4-4700-B73B-2CC295F8B525}"/>
              </a:ext>
            </a:extLst>
          </p:cNvPr>
          <p:cNvSpPr>
            <a:spLocks noGrp="1"/>
          </p:cNvSpPr>
          <p:nvPr>
            <p:ph type="body" sz="quarter" idx="36" hasCustomPrompt="1"/>
          </p:nvPr>
        </p:nvSpPr>
        <p:spPr>
          <a:xfrm>
            <a:off x="10328449" y="1828841"/>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2" name="TextBox 1">
            <a:extLst>
              <a:ext uri="{FF2B5EF4-FFF2-40B4-BE49-F238E27FC236}">
                <a16:creationId xmlns:a16="http://schemas.microsoft.com/office/drawing/2014/main" id="{F91B6847-9E66-7348-A1C8-49BA7A950A05}"/>
              </a:ext>
            </a:extLst>
          </p:cNvPr>
          <p:cNvSpPr txBox="1"/>
          <p:nvPr userDrawn="1"/>
        </p:nvSpPr>
        <p:spPr>
          <a:xfrm>
            <a:off x="5517931" y="767255"/>
            <a:ext cx="0" cy="0"/>
          </a:xfrm>
          <a:prstGeom prst="rect">
            <a:avLst/>
          </a:prstGeom>
          <a:noFill/>
        </p:spPr>
        <p:txBody>
          <a:bodyPr wrap="none" lIns="0" tIns="0" rIns="0" bIns="0" rtlCol="0">
            <a:noAutofit/>
          </a:bodyPr>
          <a:lstStyle/>
          <a:p>
            <a:endParaRPr lang="en-US" sz="1400" err="1">
              <a:latin typeface="Arial"/>
              <a:cs typeface="Arial"/>
            </a:endParaRPr>
          </a:p>
        </p:txBody>
      </p:sp>
    </p:spTree>
    <p:extLst>
      <p:ext uri="{BB962C8B-B14F-4D97-AF65-F5344CB8AC3E}">
        <p14:creationId xmlns:p14="http://schemas.microsoft.com/office/powerpoint/2010/main" val="64767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3" y="1611085"/>
            <a:ext cx="11430000"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Tree>
    <p:extLst>
      <p:ext uri="{BB962C8B-B14F-4D97-AF65-F5344CB8AC3E}">
        <p14:creationId xmlns:p14="http://schemas.microsoft.com/office/powerpoint/2010/main" val="2026955769"/>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Quote Testimonial">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3" y="1625600"/>
            <a:ext cx="5376860"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
        <p:nvSpPr>
          <p:cNvPr id="4" name="Text Placeholder 5">
            <a:extLst>
              <a:ext uri="{FF2B5EF4-FFF2-40B4-BE49-F238E27FC236}">
                <a16:creationId xmlns:a16="http://schemas.microsoft.com/office/drawing/2014/main" id="{B02B4AF2-3D2F-4674-99A2-58ABCF020A77}"/>
              </a:ext>
            </a:extLst>
          </p:cNvPr>
          <p:cNvSpPr>
            <a:spLocks noGrp="1"/>
          </p:cNvSpPr>
          <p:nvPr>
            <p:ph type="body" sz="quarter" idx="15" hasCustomPrompt="1"/>
          </p:nvPr>
        </p:nvSpPr>
        <p:spPr>
          <a:xfrm>
            <a:off x="6432554" y="1625600"/>
            <a:ext cx="5376860"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cxnSp>
        <p:nvCxnSpPr>
          <p:cNvPr id="3" name="Straight Connector 2">
            <a:extLst>
              <a:ext uri="{FF2B5EF4-FFF2-40B4-BE49-F238E27FC236}">
                <a16:creationId xmlns:a16="http://schemas.microsoft.com/office/drawing/2014/main" id="{D6D1AC86-28F2-46B3-8E9D-1D3BF1F6A8AC}"/>
              </a:ext>
            </a:extLst>
          </p:cNvPr>
          <p:cNvCxnSpPr/>
          <p:nvPr userDrawn="1"/>
        </p:nvCxnSpPr>
        <p:spPr>
          <a:xfrm>
            <a:off x="6094413" y="1625600"/>
            <a:ext cx="0" cy="3932238"/>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98974475"/>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65127"/>
            <a:ext cx="3631905" cy="2201057"/>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4280246" y="2565127"/>
            <a:ext cx="3629920" cy="2201057"/>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177507" y="2565127"/>
            <a:ext cx="3631907" cy="220105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6" name="Title 5">
            <a:extLst>
              <a:ext uri="{FF2B5EF4-FFF2-40B4-BE49-F238E27FC236}">
                <a16:creationId xmlns:a16="http://schemas.microsoft.com/office/drawing/2014/main" id="{4F1F6B98-0C45-4BAB-86B0-EDAB9CA7B9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32376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23099"/>
            <a:ext cx="2721380"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283841" y="2523099"/>
            <a:ext cx="2719892" cy="2322913"/>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6185193"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7" name="Text Placeholder 7">
            <a:extLst>
              <a:ext uri="{FF2B5EF4-FFF2-40B4-BE49-F238E27FC236}">
                <a16:creationId xmlns:a16="http://schemas.microsoft.com/office/drawing/2014/main" id="{289AA023-A46F-450A-80A8-C6F3EBE56BA3}"/>
              </a:ext>
            </a:extLst>
          </p:cNvPr>
          <p:cNvSpPr>
            <a:spLocks noGrp="1"/>
          </p:cNvSpPr>
          <p:nvPr>
            <p:ph type="body" sz="quarter" idx="17"/>
          </p:nvPr>
        </p:nvSpPr>
        <p:spPr>
          <a:xfrm>
            <a:off x="9088033"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6" name="Title 5">
            <a:extLst>
              <a:ext uri="{FF2B5EF4-FFF2-40B4-BE49-F238E27FC236}">
                <a16:creationId xmlns:a16="http://schemas.microsoft.com/office/drawing/2014/main" id="{BF5953F7-BCD8-4688-B34C-D81CB08F826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13961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enn Diagram">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27D3642F-C8EF-48BF-929A-740A77E433EC}"/>
              </a:ext>
            </a:extLst>
          </p:cNvPr>
          <p:cNvSpPr>
            <a:spLocks noGrp="1" noChangeAspect="1"/>
          </p:cNvSpPr>
          <p:nvPr>
            <p:ph type="body" sz="quarter" idx="15" hasCustomPrompt="1"/>
          </p:nvPr>
        </p:nvSpPr>
        <p:spPr>
          <a:xfrm>
            <a:off x="7193142" y="1627356"/>
            <a:ext cx="4283708" cy="4283708"/>
          </a:xfrm>
          <a:prstGeom prst="ellipse">
            <a:avLst/>
          </a:prstGeom>
          <a:solidFill>
            <a:schemeClr val="accent3">
              <a:alpha val="75000"/>
            </a:schemeClr>
          </a:solidFill>
        </p:spPr>
        <p:txBody>
          <a:bodyPr wrap="square" lIns="0" tIns="0" rIns="0" bIns="0" anchor="ctr">
            <a:noAutofit/>
          </a:bodyPr>
          <a:lstStyle>
            <a:lvl1pPr marL="0" indent="0" algn="ctr">
              <a:lnSpc>
                <a:spcPct val="100000"/>
              </a:lnSpc>
              <a:spcBef>
                <a:spcPts val="0"/>
              </a:spcBef>
              <a:buNone/>
              <a:defRPr sz="2400" b="1">
                <a:solidFill>
                  <a:schemeClr val="bg1"/>
                </a:solidFill>
              </a:defRPr>
            </a:lvl1pPr>
          </a:lstStyle>
          <a:p>
            <a:pPr lvl="0"/>
            <a:r>
              <a:rPr lang="en-US"/>
              <a:t>Click to </a:t>
            </a:r>
            <a:br>
              <a:rPr lang="en-US"/>
            </a:br>
            <a:r>
              <a:rPr lang="en-US"/>
              <a:t>add text</a:t>
            </a:r>
          </a:p>
        </p:txBody>
      </p:sp>
      <p:sp>
        <p:nvSpPr>
          <p:cNvPr id="21" name="Text Placeholder 20">
            <a:extLst>
              <a:ext uri="{FF2B5EF4-FFF2-40B4-BE49-F238E27FC236}">
                <a16:creationId xmlns:a16="http://schemas.microsoft.com/office/drawing/2014/main" id="{F8E06C46-246C-4AC7-8CAA-09BB96286D58}"/>
              </a:ext>
            </a:extLst>
          </p:cNvPr>
          <p:cNvSpPr>
            <a:spLocks noGrp="1" noChangeAspect="1"/>
          </p:cNvSpPr>
          <p:nvPr>
            <p:ph type="body" sz="quarter" idx="12" hasCustomPrompt="1"/>
          </p:nvPr>
        </p:nvSpPr>
        <p:spPr>
          <a:xfrm>
            <a:off x="3912696" y="1627356"/>
            <a:ext cx="4283708" cy="4283708"/>
          </a:xfrm>
          <a:prstGeom prst="ellipse">
            <a:avLst/>
          </a:prstGeom>
          <a:solidFill>
            <a:schemeClr val="accent1">
              <a:alpha val="75000"/>
            </a:schemeClr>
          </a:solidFill>
        </p:spPr>
        <p:txBody>
          <a:bodyPr wrap="square" lIns="0" tIns="0" rIns="0" bIns="0" anchor="ctr">
            <a:noAutofit/>
          </a:bodyPr>
          <a:lstStyle>
            <a:lvl1pPr marL="0" indent="0" algn="ctr">
              <a:lnSpc>
                <a:spcPct val="100000"/>
              </a:lnSpc>
              <a:spcBef>
                <a:spcPts val="0"/>
              </a:spcBef>
              <a:buNone/>
              <a:defRPr sz="2400" b="1">
                <a:solidFill>
                  <a:schemeClr val="bg1"/>
                </a:solidFill>
              </a:defRPr>
            </a:lvl1pPr>
          </a:lstStyle>
          <a:p>
            <a:pPr lvl="0"/>
            <a:r>
              <a:rPr lang="en-US"/>
              <a:t>Click to </a:t>
            </a:r>
            <a:br>
              <a:rPr lang="en-US"/>
            </a:br>
            <a:r>
              <a:rPr lang="en-US"/>
              <a:t>add text</a:t>
            </a:r>
          </a:p>
        </p:txBody>
      </p:sp>
      <p:sp>
        <p:nvSpPr>
          <p:cNvPr id="22" name="Text Placeholder 21">
            <a:extLst>
              <a:ext uri="{FF2B5EF4-FFF2-40B4-BE49-F238E27FC236}">
                <a16:creationId xmlns:a16="http://schemas.microsoft.com/office/drawing/2014/main" id="{19B353F2-F330-43C5-9393-227A937D64FA}"/>
              </a:ext>
            </a:extLst>
          </p:cNvPr>
          <p:cNvSpPr>
            <a:spLocks noGrp="1" noChangeAspect="1"/>
          </p:cNvSpPr>
          <p:nvPr>
            <p:ph type="body" sz="quarter" idx="14" hasCustomPrompt="1"/>
          </p:nvPr>
        </p:nvSpPr>
        <p:spPr>
          <a:xfrm>
            <a:off x="632250" y="1627356"/>
            <a:ext cx="4283708" cy="4283708"/>
          </a:xfrm>
          <a:prstGeom prst="ellipse">
            <a:avLst/>
          </a:prstGeom>
          <a:solidFill>
            <a:schemeClr val="accent2">
              <a:alpha val="75000"/>
            </a:schemeClr>
          </a:solidFill>
        </p:spPr>
        <p:txBody>
          <a:bodyPr wrap="square" lIns="0" tIns="0" rIns="0" bIns="0" anchor="ctr">
            <a:noAutofit/>
          </a:bodyPr>
          <a:lstStyle>
            <a:lvl1pPr marL="0" indent="0" algn="ctr">
              <a:lnSpc>
                <a:spcPct val="100000"/>
              </a:lnSpc>
              <a:spcBef>
                <a:spcPts val="0"/>
              </a:spcBef>
              <a:buNone/>
              <a:defRPr sz="2400" b="1">
                <a:solidFill>
                  <a:schemeClr val="bg1"/>
                </a:solidFill>
              </a:defRPr>
            </a:lvl1pPr>
          </a:lstStyle>
          <a:p>
            <a:pPr lvl="0"/>
            <a:r>
              <a:rPr lang="en-US"/>
              <a:t>Click to </a:t>
            </a:r>
            <a:br>
              <a:rPr lang="en-US"/>
            </a:br>
            <a:r>
              <a:rPr lang="en-US"/>
              <a:t>add text</a:t>
            </a:r>
          </a:p>
        </p:txBody>
      </p:sp>
      <p:sp>
        <p:nvSpPr>
          <p:cNvPr id="2" name="Title 1">
            <a:extLst>
              <a:ext uri="{FF2B5EF4-FFF2-40B4-BE49-F238E27FC236}">
                <a16:creationId xmlns:a16="http://schemas.microsoft.com/office/drawing/2014/main" id="{064CB85A-A53D-46E7-AA71-5EF760D39CC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90257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 Photos">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381001" y="1171575"/>
            <a:ext cx="3642338" cy="2407920"/>
          </a:xfrm>
        </p:spPr>
        <p:txBody>
          <a:bodyPr anchor="ctr"/>
          <a:lstStyle>
            <a:lvl1pPr algn="ctr">
              <a:defRPr/>
            </a:lvl1pPr>
          </a:lstStyle>
          <a:p>
            <a:r>
              <a:rPr lang="en-US"/>
              <a:t>Click icon to add picture</a:t>
            </a:r>
          </a:p>
        </p:txBody>
      </p:sp>
      <p:sp>
        <p:nvSpPr>
          <p:cNvPr id="19" name="Picture Placeholder 5">
            <a:extLst>
              <a:ext uri="{FF2B5EF4-FFF2-40B4-BE49-F238E27FC236}">
                <a16:creationId xmlns:a16="http://schemas.microsoft.com/office/drawing/2014/main" id="{539C5952-9101-40EA-8EFD-F1D60A1A9A08}"/>
              </a:ext>
            </a:extLst>
          </p:cNvPr>
          <p:cNvSpPr>
            <a:spLocks noGrp="1"/>
          </p:cNvSpPr>
          <p:nvPr>
            <p:ph type="pic" sz="quarter" idx="29"/>
          </p:nvPr>
        </p:nvSpPr>
        <p:spPr>
          <a:xfrm>
            <a:off x="4272451" y="1171575"/>
            <a:ext cx="3642338" cy="2407920"/>
          </a:xfrm>
        </p:spPr>
        <p:txBody>
          <a:bodyPr anchor="ctr"/>
          <a:lstStyle>
            <a:lvl1pPr algn="ctr">
              <a:defRPr/>
            </a:lvl1pPr>
          </a:lstStyle>
          <a:p>
            <a:r>
              <a:rPr lang="en-US"/>
              <a:t>Click icon to add picture</a:t>
            </a:r>
          </a:p>
        </p:txBody>
      </p:sp>
      <p:sp>
        <p:nvSpPr>
          <p:cNvPr id="20" name="Picture Placeholder 5">
            <a:extLst>
              <a:ext uri="{FF2B5EF4-FFF2-40B4-BE49-F238E27FC236}">
                <a16:creationId xmlns:a16="http://schemas.microsoft.com/office/drawing/2014/main" id="{6493EF8F-CCE9-4B2B-A7E6-77DBCC02838A}"/>
              </a:ext>
            </a:extLst>
          </p:cNvPr>
          <p:cNvSpPr>
            <a:spLocks noGrp="1"/>
          </p:cNvSpPr>
          <p:nvPr>
            <p:ph type="pic" sz="quarter" idx="30"/>
          </p:nvPr>
        </p:nvSpPr>
        <p:spPr>
          <a:xfrm>
            <a:off x="8163901" y="1171575"/>
            <a:ext cx="3642338" cy="2407920"/>
          </a:xfrm>
        </p:spPr>
        <p:txBody>
          <a:bodyPr anchor="ctr"/>
          <a:lstStyle>
            <a:lvl1pPr algn="ctr">
              <a:defRPr/>
            </a:lvl1pPr>
          </a:lstStyle>
          <a:p>
            <a:r>
              <a:rPr lang="en-US"/>
              <a:t>Click icon to add picture</a:t>
            </a:r>
          </a:p>
        </p:txBody>
      </p:sp>
      <p:sp>
        <p:nvSpPr>
          <p:cNvPr id="27" name="Picture Placeholder 5">
            <a:extLst>
              <a:ext uri="{FF2B5EF4-FFF2-40B4-BE49-F238E27FC236}">
                <a16:creationId xmlns:a16="http://schemas.microsoft.com/office/drawing/2014/main" id="{4D42B27E-18C9-491F-981A-22AFA3A63254}"/>
              </a:ext>
            </a:extLst>
          </p:cNvPr>
          <p:cNvSpPr>
            <a:spLocks noGrp="1"/>
          </p:cNvSpPr>
          <p:nvPr>
            <p:ph type="pic" sz="quarter" idx="31"/>
          </p:nvPr>
        </p:nvSpPr>
        <p:spPr>
          <a:xfrm>
            <a:off x="381001" y="3803650"/>
            <a:ext cx="3642338" cy="2407920"/>
          </a:xfrm>
        </p:spPr>
        <p:txBody>
          <a:bodyPr anchor="ctr"/>
          <a:lstStyle>
            <a:lvl1pPr algn="ctr">
              <a:defRPr/>
            </a:lvl1pPr>
          </a:lstStyle>
          <a:p>
            <a:r>
              <a:rPr lang="en-US"/>
              <a:t>Click icon to add picture</a:t>
            </a:r>
          </a:p>
        </p:txBody>
      </p:sp>
      <p:sp>
        <p:nvSpPr>
          <p:cNvPr id="28" name="Picture Placeholder 5">
            <a:extLst>
              <a:ext uri="{FF2B5EF4-FFF2-40B4-BE49-F238E27FC236}">
                <a16:creationId xmlns:a16="http://schemas.microsoft.com/office/drawing/2014/main" id="{1BCAF74B-6018-4C57-A90E-AB54A58B1470}"/>
              </a:ext>
            </a:extLst>
          </p:cNvPr>
          <p:cNvSpPr>
            <a:spLocks noGrp="1"/>
          </p:cNvSpPr>
          <p:nvPr>
            <p:ph type="pic" sz="quarter" idx="32"/>
          </p:nvPr>
        </p:nvSpPr>
        <p:spPr>
          <a:xfrm>
            <a:off x="4272451" y="3803650"/>
            <a:ext cx="3642338" cy="2407920"/>
          </a:xfrm>
        </p:spPr>
        <p:txBody>
          <a:bodyPr anchor="ctr"/>
          <a:lstStyle>
            <a:lvl1pPr algn="ctr">
              <a:defRPr/>
            </a:lvl1pPr>
          </a:lstStyle>
          <a:p>
            <a:r>
              <a:rPr lang="en-US"/>
              <a:t>Click icon to add picture</a:t>
            </a:r>
          </a:p>
        </p:txBody>
      </p:sp>
      <p:sp>
        <p:nvSpPr>
          <p:cNvPr id="29" name="Picture Placeholder 5">
            <a:extLst>
              <a:ext uri="{FF2B5EF4-FFF2-40B4-BE49-F238E27FC236}">
                <a16:creationId xmlns:a16="http://schemas.microsoft.com/office/drawing/2014/main" id="{61217ED4-3DF8-4495-9467-ABDA716D4CF1}"/>
              </a:ext>
            </a:extLst>
          </p:cNvPr>
          <p:cNvSpPr>
            <a:spLocks noGrp="1"/>
          </p:cNvSpPr>
          <p:nvPr>
            <p:ph type="pic" sz="quarter" idx="33"/>
          </p:nvPr>
        </p:nvSpPr>
        <p:spPr>
          <a:xfrm>
            <a:off x="8163901" y="3803650"/>
            <a:ext cx="3642338" cy="2407920"/>
          </a:xfr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6144A2ED-0415-4F97-8542-3AEA900903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67449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11426823" cy="4887912"/>
          </a:xfrm>
        </p:spPr>
        <p:txBody>
          <a:bodyPr anchor="ctr"/>
          <a:lstStyle>
            <a:lvl1pPr algn="ctr">
              <a:defRPr/>
            </a:lvl1pPr>
          </a:lstStyle>
          <a:p>
            <a:r>
              <a:rPr lang="en-US"/>
              <a:t>Click icon to add table</a:t>
            </a:r>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48029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US Map">
    <p:bg>
      <p:bgPr>
        <a:solidFill>
          <a:schemeClr val="bg1"/>
        </a:solidFill>
        <a:effectLst/>
      </p:bgPr>
    </p:bg>
    <p:spTree>
      <p:nvGrpSpPr>
        <p:cNvPr id="1" name=""/>
        <p:cNvGrpSpPr/>
        <p:nvPr/>
      </p:nvGrpSpPr>
      <p:grpSpPr>
        <a:xfrm>
          <a:off x="0" y="0"/>
          <a:ext cx="0" cy="0"/>
          <a:chOff x="0" y="0"/>
          <a:chExt cx="0" cy="0"/>
        </a:xfrm>
      </p:grpSpPr>
      <p:grpSp>
        <p:nvGrpSpPr>
          <p:cNvPr id="5" name="Group 56">
            <a:extLst>
              <a:ext uri="{FF2B5EF4-FFF2-40B4-BE49-F238E27FC236}">
                <a16:creationId xmlns:a16="http://schemas.microsoft.com/office/drawing/2014/main" id="{1EC614DD-715F-4FED-8870-8126A5E30C3E}"/>
              </a:ext>
            </a:extLst>
          </p:cNvPr>
          <p:cNvGrpSpPr>
            <a:grpSpLocks/>
          </p:cNvGrpSpPr>
          <p:nvPr userDrawn="1"/>
        </p:nvGrpSpPr>
        <p:grpSpPr bwMode="auto">
          <a:xfrm>
            <a:off x="1478930" y="1386942"/>
            <a:ext cx="7785153" cy="5092700"/>
            <a:chOff x="1757363" y="1860550"/>
            <a:chExt cx="6414459" cy="3873500"/>
          </a:xfrm>
          <a:solidFill>
            <a:schemeClr val="bg2"/>
          </a:solidFill>
        </p:grpSpPr>
        <p:sp>
          <p:nvSpPr>
            <p:cNvPr id="6" name="Freeform 4">
              <a:extLst>
                <a:ext uri="{FF2B5EF4-FFF2-40B4-BE49-F238E27FC236}">
                  <a16:creationId xmlns:a16="http://schemas.microsoft.com/office/drawing/2014/main" id="{4D3AFE62-E176-4623-A52A-BE82F84C5C9E}"/>
                </a:ext>
              </a:extLst>
            </p:cNvPr>
            <p:cNvSpPr>
              <a:spLocks/>
            </p:cNvSpPr>
            <p:nvPr/>
          </p:nvSpPr>
          <p:spPr bwMode="auto">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6350">
              <a:solidFill>
                <a:schemeClr val="bg1"/>
              </a:solidFill>
              <a:round/>
              <a:headEnd/>
              <a:tailEnd/>
            </a:ln>
          </p:spPr>
          <p:txBody>
            <a:bodyPr/>
            <a:lstStyle/>
            <a:p>
              <a:pPr>
                <a:defRPr/>
              </a:pPr>
              <a:endParaRPr lang="en-GB"/>
            </a:p>
          </p:txBody>
        </p:sp>
        <p:sp>
          <p:nvSpPr>
            <p:cNvPr id="7" name="Freeform 6">
              <a:extLst>
                <a:ext uri="{FF2B5EF4-FFF2-40B4-BE49-F238E27FC236}">
                  <a16:creationId xmlns:a16="http://schemas.microsoft.com/office/drawing/2014/main" id="{56D09F3E-B20F-432D-B2BA-3EB96BD63BEF}"/>
                </a:ext>
              </a:extLst>
            </p:cNvPr>
            <p:cNvSpPr>
              <a:spLocks/>
            </p:cNvSpPr>
            <p:nvPr/>
          </p:nvSpPr>
          <p:spPr bwMode="auto">
            <a:xfrm>
              <a:off x="5268691"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6350">
              <a:solidFill>
                <a:schemeClr val="bg1"/>
              </a:solidFill>
              <a:round/>
              <a:headEnd/>
              <a:tailEnd/>
            </a:ln>
          </p:spPr>
          <p:txBody>
            <a:bodyPr/>
            <a:lstStyle/>
            <a:p>
              <a:pPr>
                <a:defRPr/>
              </a:pPr>
              <a:endParaRPr lang="en-GB"/>
            </a:p>
          </p:txBody>
        </p:sp>
        <p:sp>
          <p:nvSpPr>
            <p:cNvPr id="8" name="Freeform 7">
              <a:extLst>
                <a:ext uri="{FF2B5EF4-FFF2-40B4-BE49-F238E27FC236}">
                  <a16:creationId xmlns:a16="http://schemas.microsoft.com/office/drawing/2014/main" id="{2F7B9766-CACB-4A5A-88EB-7FDF048205A3}"/>
                </a:ext>
              </a:extLst>
            </p:cNvPr>
            <p:cNvSpPr>
              <a:spLocks/>
            </p:cNvSpPr>
            <p:nvPr/>
          </p:nvSpPr>
          <p:spPr bwMode="auto">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6350">
              <a:solidFill>
                <a:schemeClr val="bg1"/>
              </a:solidFill>
              <a:round/>
              <a:headEnd/>
              <a:tailEnd/>
            </a:ln>
          </p:spPr>
          <p:txBody>
            <a:bodyPr/>
            <a:lstStyle/>
            <a:p>
              <a:pPr>
                <a:defRPr/>
              </a:pPr>
              <a:endParaRPr lang="en-GB"/>
            </a:p>
          </p:txBody>
        </p:sp>
        <p:sp>
          <p:nvSpPr>
            <p:cNvPr id="9" name="Freeform 8">
              <a:extLst>
                <a:ext uri="{FF2B5EF4-FFF2-40B4-BE49-F238E27FC236}">
                  <a16:creationId xmlns:a16="http://schemas.microsoft.com/office/drawing/2014/main" id="{AC3BEAE1-90DA-4F18-921F-21C047EBCCF9}"/>
                </a:ext>
              </a:extLst>
            </p:cNvPr>
            <p:cNvSpPr>
              <a:spLocks/>
            </p:cNvSpPr>
            <p:nvPr/>
          </p:nvSpPr>
          <p:spPr bwMode="auto">
            <a:xfrm>
              <a:off x="4850151"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6350">
              <a:solidFill>
                <a:schemeClr val="bg1"/>
              </a:solidFill>
              <a:round/>
              <a:headEnd/>
              <a:tailEnd/>
            </a:ln>
          </p:spPr>
          <p:txBody>
            <a:bodyPr/>
            <a:lstStyle/>
            <a:p>
              <a:pPr>
                <a:defRPr/>
              </a:pPr>
              <a:endParaRPr lang="en-GB"/>
            </a:p>
          </p:txBody>
        </p:sp>
        <p:sp>
          <p:nvSpPr>
            <p:cNvPr id="10" name="Freeform 9">
              <a:extLst>
                <a:ext uri="{FF2B5EF4-FFF2-40B4-BE49-F238E27FC236}">
                  <a16:creationId xmlns:a16="http://schemas.microsoft.com/office/drawing/2014/main" id="{9EB14C47-F99E-47A3-96B4-6BCCB6C596C4}"/>
                </a:ext>
              </a:extLst>
            </p:cNvPr>
            <p:cNvSpPr>
              <a:spLocks/>
            </p:cNvSpPr>
            <p:nvPr/>
          </p:nvSpPr>
          <p:spPr bwMode="auto">
            <a:xfrm>
              <a:off x="5380937"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6350">
              <a:solidFill>
                <a:schemeClr val="bg1"/>
              </a:solidFill>
              <a:round/>
              <a:headEnd/>
              <a:tailEnd/>
            </a:ln>
          </p:spPr>
          <p:txBody>
            <a:bodyPr/>
            <a:lstStyle/>
            <a:p>
              <a:pPr>
                <a:defRPr/>
              </a:pPr>
              <a:endParaRPr lang="en-GB"/>
            </a:p>
          </p:txBody>
        </p:sp>
        <p:sp>
          <p:nvSpPr>
            <p:cNvPr id="11" name="Freeform 10">
              <a:extLst>
                <a:ext uri="{FF2B5EF4-FFF2-40B4-BE49-F238E27FC236}">
                  <a16:creationId xmlns:a16="http://schemas.microsoft.com/office/drawing/2014/main" id="{FEBA65BB-55DD-4ED4-8C9F-2A0782DC976B}"/>
                </a:ext>
              </a:extLst>
            </p:cNvPr>
            <p:cNvSpPr>
              <a:spLocks/>
            </p:cNvSpPr>
            <p:nvPr/>
          </p:nvSpPr>
          <p:spPr bwMode="auto">
            <a:xfrm>
              <a:off x="5627771" y="2331821"/>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6350">
              <a:solidFill>
                <a:schemeClr val="bg1"/>
              </a:solidFill>
              <a:round/>
              <a:headEnd/>
              <a:tailEnd/>
            </a:ln>
          </p:spPr>
          <p:txBody>
            <a:bodyPr/>
            <a:lstStyle/>
            <a:p>
              <a:pPr>
                <a:defRPr/>
              </a:pPr>
              <a:endParaRPr lang="en-GB"/>
            </a:p>
          </p:txBody>
        </p:sp>
        <p:sp>
          <p:nvSpPr>
            <p:cNvPr id="12" name="Freeform 11">
              <a:extLst>
                <a:ext uri="{FF2B5EF4-FFF2-40B4-BE49-F238E27FC236}">
                  <a16:creationId xmlns:a16="http://schemas.microsoft.com/office/drawing/2014/main" id="{EEC6AF57-10DE-45E2-93F6-96E58BEBC118}"/>
                </a:ext>
              </a:extLst>
            </p:cNvPr>
            <p:cNvSpPr>
              <a:spLocks/>
            </p:cNvSpPr>
            <p:nvPr/>
          </p:nvSpPr>
          <p:spPr bwMode="auto">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6350">
              <a:solidFill>
                <a:schemeClr val="bg1"/>
              </a:solidFill>
              <a:round/>
              <a:headEnd/>
              <a:tailEnd/>
            </a:ln>
          </p:spPr>
          <p:txBody>
            <a:bodyPr/>
            <a:lstStyle/>
            <a:p>
              <a:pPr>
                <a:defRPr/>
              </a:pPr>
              <a:endParaRPr lang="en-GB"/>
            </a:p>
          </p:txBody>
        </p:sp>
        <p:sp>
          <p:nvSpPr>
            <p:cNvPr id="13" name="Freeform 12">
              <a:extLst>
                <a:ext uri="{FF2B5EF4-FFF2-40B4-BE49-F238E27FC236}">
                  <a16:creationId xmlns:a16="http://schemas.microsoft.com/office/drawing/2014/main" id="{6D1C84AE-24BC-40D8-943C-247D8B7BC727}"/>
                </a:ext>
              </a:extLst>
            </p:cNvPr>
            <p:cNvSpPr>
              <a:spLocks/>
            </p:cNvSpPr>
            <p:nvPr/>
          </p:nvSpPr>
          <p:spPr bwMode="auto">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6350">
              <a:solidFill>
                <a:schemeClr val="bg1"/>
              </a:solidFill>
              <a:round/>
              <a:headEnd/>
              <a:tailEnd/>
            </a:ln>
          </p:spPr>
          <p:txBody>
            <a:bodyPr/>
            <a:lstStyle/>
            <a:p>
              <a:pPr>
                <a:defRPr/>
              </a:pPr>
              <a:endParaRPr lang="en-GB"/>
            </a:p>
          </p:txBody>
        </p:sp>
        <p:sp>
          <p:nvSpPr>
            <p:cNvPr id="16" name="Freeform 13">
              <a:extLst>
                <a:ext uri="{FF2B5EF4-FFF2-40B4-BE49-F238E27FC236}">
                  <a16:creationId xmlns:a16="http://schemas.microsoft.com/office/drawing/2014/main" id="{96F28FED-D84E-4D4D-AB3C-7056FFD95662}"/>
                </a:ext>
              </a:extLst>
            </p:cNvPr>
            <p:cNvSpPr>
              <a:spLocks/>
            </p:cNvSpPr>
            <p:nvPr/>
          </p:nvSpPr>
          <p:spPr bwMode="auto">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6350">
              <a:solidFill>
                <a:schemeClr val="bg1"/>
              </a:solidFill>
              <a:round/>
              <a:headEnd/>
              <a:tailEnd/>
            </a:ln>
          </p:spPr>
          <p:txBody>
            <a:bodyPr/>
            <a:lstStyle/>
            <a:p>
              <a:pPr>
                <a:defRPr/>
              </a:pPr>
              <a:endParaRPr lang="en-GB"/>
            </a:p>
          </p:txBody>
        </p:sp>
        <p:sp>
          <p:nvSpPr>
            <p:cNvPr id="17" name="Freeform 14">
              <a:extLst>
                <a:ext uri="{FF2B5EF4-FFF2-40B4-BE49-F238E27FC236}">
                  <a16:creationId xmlns:a16="http://schemas.microsoft.com/office/drawing/2014/main" id="{B8C44A6C-1F62-4550-9028-E5B9F11F074D}"/>
                </a:ext>
              </a:extLst>
            </p:cNvPr>
            <p:cNvSpPr>
              <a:spLocks/>
            </p:cNvSpPr>
            <p:nvPr/>
          </p:nvSpPr>
          <p:spPr bwMode="auto">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6350">
              <a:solidFill>
                <a:schemeClr val="bg1"/>
              </a:solidFill>
              <a:round/>
              <a:headEnd/>
              <a:tailEnd/>
            </a:ln>
          </p:spPr>
          <p:txBody>
            <a:bodyPr/>
            <a:lstStyle/>
            <a:p>
              <a:pPr>
                <a:defRPr/>
              </a:pPr>
              <a:endParaRPr lang="en-GB"/>
            </a:p>
          </p:txBody>
        </p:sp>
        <p:sp>
          <p:nvSpPr>
            <p:cNvPr id="18" name="Freeform 15">
              <a:extLst>
                <a:ext uri="{FF2B5EF4-FFF2-40B4-BE49-F238E27FC236}">
                  <a16:creationId xmlns:a16="http://schemas.microsoft.com/office/drawing/2014/main" id="{E3FC2059-5256-44A0-880D-9ADE32851176}"/>
                </a:ext>
              </a:extLst>
            </p:cNvPr>
            <p:cNvSpPr>
              <a:spLocks/>
            </p:cNvSpPr>
            <p:nvPr/>
          </p:nvSpPr>
          <p:spPr bwMode="auto">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6350">
              <a:solidFill>
                <a:schemeClr val="bg1"/>
              </a:solidFill>
              <a:round/>
              <a:headEnd/>
              <a:tailEnd/>
            </a:ln>
          </p:spPr>
          <p:txBody>
            <a:bodyPr/>
            <a:lstStyle/>
            <a:p>
              <a:pPr>
                <a:defRPr/>
              </a:pPr>
              <a:endParaRPr lang="en-GB"/>
            </a:p>
          </p:txBody>
        </p:sp>
        <p:sp>
          <p:nvSpPr>
            <p:cNvPr id="19" name="Freeform 16">
              <a:extLst>
                <a:ext uri="{FF2B5EF4-FFF2-40B4-BE49-F238E27FC236}">
                  <a16:creationId xmlns:a16="http://schemas.microsoft.com/office/drawing/2014/main" id="{D9AC98BC-DB17-448E-824D-D0C685C50F03}"/>
                </a:ext>
              </a:extLst>
            </p:cNvPr>
            <p:cNvSpPr>
              <a:spLocks/>
            </p:cNvSpPr>
            <p:nvPr/>
          </p:nvSpPr>
          <p:spPr bwMode="auto">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6350">
              <a:solidFill>
                <a:schemeClr val="bg1"/>
              </a:solidFill>
              <a:round/>
              <a:headEnd/>
              <a:tailEnd/>
            </a:ln>
          </p:spPr>
          <p:txBody>
            <a:bodyPr/>
            <a:lstStyle/>
            <a:p>
              <a:pPr>
                <a:defRPr/>
              </a:pPr>
              <a:endParaRPr lang="en-GB"/>
            </a:p>
          </p:txBody>
        </p:sp>
        <p:sp>
          <p:nvSpPr>
            <p:cNvPr id="20" name="Freeform 17">
              <a:extLst>
                <a:ext uri="{FF2B5EF4-FFF2-40B4-BE49-F238E27FC236}">
                  <a16:creationId xmlns:a16="http://schemas.microsoft.com/office/drawing/2014/main" id="{C26F7E2F-8201-485E-AF54-CA8250984850}"/>
                </a:ext>
              </a:extLst>
            </p:cNvPr>
            <p:cNvSpPr>
              <a:spLocks/>
            </p:cNvSpPr>
            <p:nvPr/>
          </p:nvSpPr>
          <p:spPr bwMode="auto">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6350">
              <a:solidFill>
                <a:schemeClr val="bg1"/>
              </a:solidFill>
              <a:round/>
              <a:headEnd/>
              <a:tailEnd/>
            </a:ln>
          </p:spPr>
          <p:txBody>
            <a:bodyPr/>
            <a:lstStyle/>
            <a:p>
              <a:pPr>
                <a:defRPr/>
              </a:pPr>
              <a:endParaRPr lang="en-GB"/>
            </a:p>
          </p:txBody>
        </p:sp>
        <p:sp>
          <p:nvSpPr>
            <p:cNvPr id="21" name="Freeform 18">
              <a:extLst>
                <a:ext uri="{FF2B5EF4-FFF2-40B4-BE49-F238E27FC236}">
                  <a16:creationId xmlns:a16="http://schemas.microsoft.com/office/drawing/2014/main" id="{2592AE8A-2EAB-47A4-831E-C5585002B6B3}"/>
                </a:ext>
              </a:extLst>
            </p:cNvPr>
            <p:cNvSpPr>
              <a:spLocks/>
            </p:cNvSpPr>
            <p:nvPr/>
          </p:nvSpPr>
          <p:spPr bwMode="auto">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6350">
              <a:solidFill>
                <a:schemeClr val="bg1"/>
              </a:solidFill>
              <a:round/>
              <a:headEnd/>
              <a:tailEnd/>
            </a:ln>
          </p:spPr>
          <p:txBody>
            <a:bodyPr/>
            <a:lstStyle/>
            <a:p>
              <a:pPr>
                <a:defRPr/>
              </a:pPr>
              <a:endParaRPr lang="en-GB"/>
            </a:p>
          </p:txBody>
        </p:sp>
        <p:sp>
          <p:nvSpPr>
            <p:cNvPr id="22" name="Freeform 19">
              <a:extLst>
                <a:ext uri="{FF2B5EF4-FFF2-40B4-BE49-F238E27FC236}">
                  <a16:creationId xmlns:a16="http://schemas.microsoft.com/office/drawing/2014/main" id="{31FE521B-E629-4AFE-A9F1-4F78699CB366}"/>
                </a:ext>
              </a:extLst>
            </p:cNvPr>
            <p:cNvSpPr>
              <a:spLocks/>
            </p:cNvSpPr>
            <p:nvPr/>
          </p:nvSpPr>
          <p:spPr bwMode="auto">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6350">
              <a:solidFill>
                <a:schemeClr val="bg1"/>
              </a:solidFill>
              <a:round/>
              <a:headEnd/>
              <a:tailEnd/>
            </a:ln>
          </p:spPr>
          <p:txBody>
            <a:bodyPr/>
            <a:lstStyle/>
            <a:p>
              <a:pPr>
                <a:defRPr/>
              </a:pPr>
              <a:endParaRPr lang="en-GB"/>
            </a:p>
          </p:txBody>
        </p:sp>
        <p:sp>
          <p:nvSpPr>
            <p:cNvPr id="23" name="Freeform 20">
              <a:extLst>
                <a:ext uri="{FF2B5EF4-FFF2-40B4-BE49-F238E27FC236}">
                  <a16:creationId xmlns:a16="http://schemas.microsoft.com/office/drawing/2014/main" id="{F8E20DED-C11D-4041-A3D4-11C887021566}"/>
                </a:ext>
              </a:extLst>
            </p:cNvPr>
            <p:cNvSpPr>
              <a:spLocks/>
            </p:cNvSpPr>
            <p:nvPr/>
          </p:nvSpPr>
          <p:spPr bwMode="auto">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6350">
              <a:solidFill>
                <a:schemeClr val="bg1"/>
              </a:solidFill>
              <a:round/>
              <a:headEnd/>
              <a:tailEnd/>
            </a:ln>
          </p:spPr>
          <p:txBody>
            <a:bodyPr/>
            <a:lstStyle/>
            <a:p>
              <a:pPr>
                <a:defRPr/>
              </a:pPr>
              <a:endParaRPr lang="en-GB"/>
            </a:p>
          </p:txBody>
        </p:sp>
        <p:sp>
          <p:nvSpPr>
            <p:cNvPr id="24" name="Freeform 21">
              <a:extLst>
                <a:ext uri="{FF2B5EF4-FFF2-40B4-BE49-F238E27FC236}">
                  <a16:creationId xmlns:a16="http://schemas.microsoft.com/office/drawing/2014/main" id="{B1D0E33C-E08E-430D-923C-D48AEBEC6FCC}"/>
                </a:ext>
              </a:extLst>
            </p:cNvPr>
            <p:cNvSpPr>
              <a:spLocks/>
            </p:cNvSpPr>
            <p:nvPr/>
          </p:nvSpPr>
          <p:spPr bwMode="auto">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6350">
              <a:solidFill>
                <a:schemeClr val="bg1"/>
              </a:solidFill>
              <a:round/>
              <a:headEnd/>
              <a:tailEnd/>
            </a:ln>
          </p:spPr>
          <p:txBody>
            <a:bodyPr/>
            <a:lstStyle/>
            <a:p>
              <a:pPr>
                <a:defRPr/>
              </a:pPr>
              <a:endParaRPr lang="en-GB"/>
            </a:p>
          </p:txBody>
        </p:sp>
        <p:sp>
          <p:nvSpPr>
            <p:cNvPr id="25" name="Freeform 22">
              <a:extLst>
                <a:ext uri="{FF2B5EF4-FFF2-40B4-BE49-F238E27FC236}">
                  <a16:creationId xmlns:a16="http://schemas.microsoft.com/office/drawing/2014/main" id="{0598434B-8DC1-4049-8FAA-E6DCA9C23549}"/>
                </a:ext>
              </a:extLst>
            </p:cNvPr>
            <p:cNvSpPr>
              <a:spLocks/>
            </p:cNvSpPr>
            <p:nvPr/>
          </p:nvSpPr>
          <p:spPr bwMode="auto">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6350">
              <a:solidFill>
                <a:schemeClr val="bg1"/>
              </a:solidFill>
              <a:round/>
              <a:headEnd/>
              <a:tailEnd/>
            </a:ln>
          </p:spPr>
          <p:txBody>
            <a:bodyPr/>
            <a:lstStyle/>
            <a:p>
              <a:pPr>
                <a:defRPr/>
              </a:pPr>
              <a:endParaRPr lang="en-GB"/>
            </a:p>
          </p:txBody>
        </p:sp>
        <p:sp>
          <p:nvSpPr>
            <p:cNvPr id="26" name="Freeform 23">
              <a:extLst>
                <a:ext uri="{FF2B5EF4-FFF2-40B4-BE49-F238E27FC236}">
                  <a16:creationId xmlns:a16="http://schemas.microsoft.com/office/drawing/2014/main" id="{72F953FE-3F68-4F3A-B005-4D0BBC04CB84}"/>
                </a:ext>
              </a:extLst>
            </p:cNvPr>
            <p:cNvSpPr>
              <a:spLocks/>
            </p:cNvSpPr>
            <p:nvPr/>
          </p:nvSpPr>
          <p:spPr bwMode="auto">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6350">
              <a:solidFill>
                <a:schemeClr val="bg1"/>
              </a:solidFill>
              <a:round/>
              <a:headEnd/>
              <a:tailEnd/>
            </a:ln>
          </p:spPr>
          <p:txBody>
            <a:bodyPr/>
            <a:lstStyle/>
            <a:p>
              <a:pPr>
                <a:defRPr/>
              </a:pPr>
              <a:endParaRPr lang="en-GB"/>
            </a:p>
          </p:txBody>
        </p:sp>
        <p:sp>
          <p:nvSpPr>
            <p:cNvPr id="27" name="Freeform 24">
              <a:extLst>
                <a:ext uri="{FF2B5EF4-FFF2-40B4-BE49-F238E27FC236}">
                  <a16:creationId xmlns:a16="http://schemas.microsoft.com/office/drawing/2014/main" id="{6EF5E097-F6CA-4844-BDD5-32B172EB9610}"/>
                </a:ext>
              </a:extLst>
            </p:cNvPr>
            <p:cNvSpPr>
              <a:spLocks/>
            </p:cNvSpPr>
            <p:nvPr/>
          </p:nvSpPr>
          <p:spPr bwMode="auto">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6350">
              <a:solidFill>
                <a:schemeClr val="bg1"/>
              </a:solidFill>
              <a:round/>
              <a:headEnd/>
              <a:tailEnd/>
            </a:ln>
          </p:spPr>
          <p:txBody>
            <a:bodyPr/>
            <a:lstStyle/>
            <a:p>
              <a:pPr>
                <a:defRPr/>
              </a:pPr>
              <a:endParaRPr lang="en-GB"/>
            </a:p>
          </p:txBody>
        </p:sp>
        <p:sp>
          <p:nvSpPr>
            <p:cNvPr id="28" name="Freeform 25">
              <a:extLst>
                <a:ext uri="{FF2B5EF4-FFF2-40B4-BE49-F238E27FC236}">
                  <a16:creationId xmlns:a16="http://schemas.microsoft.com/office/drawing/2014/main" id="{D2A0A74E-91D7-4D20-86F1-DD0D42739559}"/>
                </a:ext>
              </a:extLst>
            </p:cNvPr>
            <p:cNvSpPr>
              <a:spLocks/>
            </p:cNvSpPr>
            <p:nvPr/>
          </p:nvSpPr>
          <p:spPr bwMode="auto">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6350">
              <a:solidFill>
                <a:schemeClr val="bg1"/>
              </a:solidFill>
              <a:round/>
              <a:headEnd/>
              <a:tailEnd/>
            </a:ln>
          </p:spPr>
          <p:txBody>
            <a:bodyPr/>
            <a:lstStyle/>
            <a:p>
              <a:pPr>
                <a:defRPr/>
              </a:pPr>
              <a:endParaRPr lang="en-GB"/>
            </a:p>
          </p:txBody>
        </p:sp>
        <p:sp>
          <p:nvSpPr>
            <p:cNvPr id="29" name="Freeform 26">
              <a:extLst>
                <a:ext uri="{FF2B5EF4-FFF2-40B4-BE49-F238E27FC236}">
                  <a16:creationId xmlns:a16="http://schemas.microsoft.com/office/drawing/2014/main" id="{9E18E62C-FFEE-40EB-ACBE-CD85B312D722}"/>
                </a:ext>
              </a:extLst>
            </p:cNvPr>
            <p:cNvSpPr>
              <a:spLocks/>
            </p:cNvSpPr>
            <p:nvPr/>
          </p:nvSpPr>
          <p:spPr bwMode="auto">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6350">
              <a:solidFill>
                <a:schemeClr val="bg1"/>
              </a:solidFill>
              <a:round/>
              <a:headEnd/>
              <a:tailEnd/>
            </a:ln>
          </p:spPr>
          <p:txBody>
            <a:bodyPr/>
            <a:lstStyle/>
            <a:p>
              <a:pPr>
                <a:defRPr/>
              </a:pPr>
              <a:endParaRPr lang="en-GB"/>
            </a:p>
          </p:txBody>
        </p:sp>
        <p:grpSp>
          <p:nvGrpSpPr>
            <p:cNvPr id="30" name="Group 29">
              <a:extLst>
                <a:ext uri="{FF2B5EF4-FFF2-40B4-BE49-F238E27FC236}">
                  <a16:creationId xmlns:a16="http://schemas.microsoft.com/office/drawing/2014/main" id="{1366E7EF-7CDE-4DE0-9260-74B249B9B079}"/>
                </a:ext>
              </a:extLst>
            </p:cNvPr>
            <p:cNvGrpSpPr>
              <a:grpSpLocks/>
            </p:cNvGrpSpPr>
            <p:nvPr/>
          </p:nvGrpSpPr>
          <p:grpSpPr bwMode="auto">
            <a:xfrm>
              <a:off x="2199628" y="2176832"/>
              <a:ext cx="5701793" cy="2675059"/>
              <a:chOff x="1657" y="1277"/>
              <a:chExt cx="2764" cy="1404"/>
            </a:xfrm>
            <a:grpFill/>
          </p:grpSpPr>
          <p:sp>
            <p:nvSpPr>
              <p:cNvPr id="44" name="Freeform 28">
                <a:extLst>
                  <a:ext uri="{FF2B5EF4-FFF2-40B4-BE49-F238E27FC236}">
                    <a16:creationId xmlns:a16="http://schemas.microsoft.com/office/drawing/2014/main" id="{9D75BDA7-5A83-4C19-93E2-4E7BD2AF1023}"/>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6350">
                <a:solidFill>
                  <a:schemeClr val="bg1"/>
                </a:solidFill>
                <a:round/>
                <a:headEnd/>
                <a:tailEnd/>
              </a:ln>
            </p:spPr>
            <p:txBody>
              <a:bodyPr/>
              <a:lstStyle/>
              <a:p>
                <a:pPr>
                  <a:defRPr/>
                </a:pPr>
                <a:endParaRPr lang="en-GB"/>
              </a:p>
            </p:txBody>
          </p:sp>
          <p:sp>
            <p:nvSpPr>
              <p:cNvPr id="45" name="Freeform 29">
                <a:extLst>
                  <a:ext uri="{FF2B5EF4-FFF2-40B4-BE49-F238E27FC236}">
                    <a16:creationId xmlns:a16="http://schemas.microsoft.com/office/drawing/2014/main" id="{053F844D-2F18-408E-8245-95FB5369ABB5}"/>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6350">
                <a:solidFill>
                  <a:schemeClr val="bg1"/>
                </a:solidFill>
                <a:round/>
                <a:headEnd/>
                <a:tailEnd/>
              </a:ln>
            </p:spPr>
            <p:txBody>
              <a:bodyPr/>
              <a:lstStyle/>
              <a:p>
                <a:pPr>
                  <a:defRPr/>
                </a:pPr>
                <a:endParaRPr lang="en-GB"/>
              </a:p>
            </p:txBody>
          </p:sp>
          <p:sp>
            <p:nvSpPr>
              <p:cNvPr id="46" name="Freeform 30">
                <a:extLst>
                  <a:ext uri="{FF2B5EF4-FFF2-40B4-BE49-F238E27FC236}">
                    <a16:creationId xmlns:a16="http://schemas.microsoft.com/office/drawing/2014/main" id="{52FC6EAD-0A95-4201-B288-8BB043319274}"/>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6350">
                <a:solidFill>
                  <a:schemeClr val="bg1"/>
                </a:solidFill>
                <a:round/>
                <a:headEnd/>
                <a:tailEnd/>
              </a:ln>
            </p:spPr>
            <p:txBody>
              <a:bodyPr/>
              <a:lstStyle/>
              <a:p>
                <a:pPr>
                  <a:defRPr/>
                </a:pPr>
                <a:endParaRPr lang="en-GB"/>
              </a:p>
            </p:txBody>
          </p:sp>
          <p:sp>
            <p:nvSpPr>
              <p:cNvPr id="47" name="Freeform 31">
                <a:extLst>
                  <a:ext uri="{FF2B5EF4-FFF2-40B4-BE49-F238E27FC236}">
                    <a16:creationId xmlns:a16="http://schemas.microsoft.com/office/drawing/2014/main" id="{2C11F221-F283-4865-9170-ACEA1505BCEA}"/>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6350">
                <a:solidFill>
                  <a:schemeClr val="bg1"/>
                </a:solidFill>
                <a:round/>
                <a:headEnd/>
                <a:tailEnd/>
              </a:ln>
            </p:spPr>
            <p:txBody>
              <a:bodyPr/>
              <a:lstStyle/>
              <a:p>
                <a:pPr>
                  <a:defRPr/>
                </a:pPr>
                <a:endParaRPr lang="en-GB"/>
              </a:p>
            </p:txBody>
          </p:sp>
          <p:sp>
            <p:nvSpPr>
              <p:cNvPr id="48" name="Freeform 32">
                <a:extLst>
                  <a:ext uri="{FF2B5EF4-FFF2-40B4-BE49-F238E27FC236}">
                    <a16:creationId xmlns:a16="http://schemas.microsoft.com/office/drawing/2014/main" id="{42B27A1A-562B-46BC-8772-A95246863C5E}"/>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6350">
                <a:solidFill>
                  <a:schemeClr val="bg1"/>
                </a:solidFill>
                <a:round/>
                <a:headEnd/>
                <a:tailEnd/>
              </a:ln>
            </p:spPr>
            <p:txBody>
              <a:bodyPr/>
              <a:lstStyle/>
              <a:p>
                <a:pPr>
                  <a:defRPr/>
                </a:pPr>
                <a:endParaRPr lang="en-GB"/>
              </a:p>
            </p:txBody>
          </p:sp>
          <p:sp>
            <p:nvSpPr>
              <p:cNvPr id="49" name="Freeform 33">
                <a:extLst>
                  <a:ext uri="{FF2B5EF4-FFF2-40B4-BE49-F238E27FC236}">
                    <a16:creationId xmlns:a16="http://schemas.microsoft.com/office/drawing/2014/main" id="{EDDA9195-68DF-4649-8B41-661F3C03A672}"/>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6350">
                <a:solidFill>
                  <a:schemeClr val="bg1"/>
                </a:solidFill>
                <a:round/>
                <a:headEnd/>
                <a:tailEnd/>
              </a:ln>
            </p:spPr>
            <p:txBody>
              <a:bodyPr/>
              <a:lstStyle/>
              <a:p>
                <a:pPr>
                  <a:defRPr/>
                </a:pPr>
                <a:endParaRPr lang="en-GB"/>
              </a:p>
            </p:txBody>
          </p:sp>
          <p:sp>
            <p:nvSpPr>
              <p:cNvPr id="50" name="Freeform 34">
                <a:extLst>
                  <a:ext uri="{FF2B5EF4-FFF2-40B4-BE49-F238E27FC236}">
                    <a16:creationId xmlns:a16="http://schemas.microsoft.com/office/drawing/2014/main" id="{EE701A10-269A-4EE5-B5FB-51BCE44CF520}"/>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6350">
                <a:solidFill>
                  <a:schemeClr val="bg1"/>
                </a:solidFill>
                <a:round/>
                <a:headEnd/>
                <a:tailEnd/>
              </a:ln>
            </p:spPr>
            <p:txBody>
              <a:bodyPr/>
              <a:lstStyle/>
              <a:p>
                <a:pPr>
                  <a:defRPr/>
                </a:pPr>
                <a:endParaRPr lang="en-GB"/>
              </a:p>
            </p:txBody>
          </p:sp>
          <p:sp>
            <p:nvSpPr>
              <p:cNvPr id="51" name="Freeform 35">
                <a:extLst>
                  <a:ext uri="{FF2B5EF4-FFF2-40B4-BE49-F238E27FC236}">
                    <a16:creationId xmlns:a16="http://schemas.microsoft.com/office/drawing/2014/main" id="{9D4FDF83-505A-49E9-A3FD-5A71ED857110}"/>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6350">
                <a:solidFill>
                  <a:schemeClr val="bg1"/>
                </a:solidFill>
                <a:round/>
                <a:headEnd/>
                <a:tailEnd/>
              </a:ln>
            </p:spPr>
            <p:txBody>
              <a:bodyPr/>
              <a:lstStyle/>
              <a:p>
                <a:pPr>
                  <a:defRPr/>
                </a:pPr>
                <a:endParaRPr lang="en-GB"/>
              </a:p>
            </p:txBody>
          </p:sp>
          <p:sp>
            <p:nvSpPr>
              <p:cNvPr id="52" name="Freeform 36">
                <a:extLst>
                  <a:ext uri="{FF2B5EF4-FFF2-40B4-BE49-F238E27FC236}">
                    <a16:creationId xmlns:a16="http://schemas.microsoft.com/office/drawing/2014/main" id="{2070092D-D5C0-4F31-8F0E-F3FE8B45E1B2}"/>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6350">
                <a:solidFill>
                  <a:schemeClr val="bg1"/>
                </a:solidFill>
                <a:round/>
                <a:headEnd/>
                <a:tailEnd/>
              </a:ln>
            </p:spPr>
            <p:txBody>
              <a:bodyPr/>
              <a:lstStyle/>
              <a:p>
                <a:pPr>
                  <a:defRPr/>
                </a:pPr>
                <a:endParaRPr lang="en-GB"/>
              </a:p>
            </p:txBody>
          </p:sp>
          <p:sp>
            <p:nvSpPr>
              <p:cNvPr id="53" name="Freeform 37">
                <a:extLst>
                  <a:ext uri="{FF2B5EF4-FFF2-40B4-BE49-F238E27FC236}">
                    <a16:creationId xmlns:a16="http://schemas.microsoft.com/office/drawing/2014/main" id="{E1EB0082-2BF0-4D9B-A0F0-8DB65D08CA45}"/>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6350">
                <a:solidFill>
                  <a:schemeClr val="bg1"/>
                </a:solidFill>
                <a:round/>
                <a:headEnd/>
                <a:tailEnd/>
              </a:ln>
            </p:spPr>
            <p:txBody>
              <a:bodyPr/>
              <a:lstStyle/>
              <a:p>
                <a:pPr>
                  <a:defRPr/>
                </a:pPr>
                <a:endParaRPr lang="en-GB"/>
              </a:p>
            </p:txBody>
          </p:sp>
          <p:sp>
            <p:nvSpPr>
              <p:cNvPr id="54" name="Freeform 38">
                <a:extLst>
                  <a:ext uri="{FF2B5EF4-FFF2-40B4-BE49-F238E27FC236}">
                    <a16:creationId xmlns:a16="http://schemas.microsoft.com/office/drawing/2014/main" id="{26934ECF-B65A-4F99-98F9-9362158C2EDC}"/>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6350">
                <a:solidFill>
                  <a:schemeClr val="bg1"/>
                </a:solidFill>
                <a:round/>
                <a:headEnd/>
                <a:tailEnd/>
              </a:ln>
            </p:spPr>
            <p:txBody>
              <a:bodyPr/>
              <a:lstStyle/>
              <a:p>
                <a:pPr>
                  <a:defRPr/>
                </a:pPr>
                <a:endParaRPr lang="en-GB"/>
              </a:p>
            </p:txBody>
          </p:sp>
          <p:sp>
            <p:nvSpPr>
              <p:cNvPr id="55" name="Freeform 39">
                <a:extLst>
                  <a:ext uri="{FF2B5EF4-FFF2-40B4-BE49-F238E27FC236}">
                    <a16:creationId xmlns:a16="http://schemas.microsoft.com/office/drawing/2014/main" id="{D737A285-5E46-4B78-B77A-B5A782B901F7}"/>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6350">
                <a:solidFill>
                  <a:schemeClr val="bg1"/>
                </a:solidFill>
                <a:round/>
                <a:headEnd/>
                <a:tailEnd/>
              </a:ln>
            </p:spPr>
            <p:txBody>
              <a:bodyPr/>
              <a:lstStyle/>
              <a:p>
                <a:pPr>
                  <a:defRPr/>
                </a:pPr>
                <a:endParaRPr lang="en-GB"/>
              </a:p>
            </p:txBody>
          </p:sp>
          <p:sp>
            <p:nvSpPr>
              <p:cNvPr id="56" name="Freeform 40">
                <a:extLst>
                  <a:ext uri="{FF2B5EF4-FFF2-40B4-BE49-F238E27FC236}">
                    <a16:creationId xmlns:a16="http://schemas.microsoft.com/office/drawing/2014/main" id="{E1A3CFA2-E893-438C-8CE1-A3037AE6A030}"/>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6350">
                <a:solidFill>
                  <a:schemeClr val="bg1"/>
                </a:solidFill>
                <a:round/>
                <a:headEnd/>
                <a:tailEnd/>
              </a:ln>
            </p:spPr>
            <p:txBody>
              <a:bodyPr/>
              <a:lstStyle/>
              <a:p>
                <a:pPr>
                  <a:defRPr/>
                </a:pPr>
                <a:endParaRPr lang="en-GB"/>
              </a:p>
            </p:txBody>
          </p:sp>
          <p:sp>
            <p:nvSpPr>
              <p:cNvPr id="57" name="Freeform 41">
                <a:extLst>
                  <a:ext uri="{FF2B5EF4-FFF2-40B4-BE49-F238E27FC236}">
                    <a16:creationId xmlns:a16="http://schemas.microsoft.com/office/drawing/2014/main" id="{E31AE2D7-C441-465F-A6E6-2B61AE6477BA}"/>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6350">
                <a:solidFill>
                  <a:schemeClr val="bg1"/>
                </a:solidFill>
                <a:round/>
                <a:headEnd/>
                <a:tailEnd/>
              </a:ln>
            </p:spPr>
            <p:txBody>
              <a:bodyPr/>
              <a:lstStyle/>
              <a:p>
                <a:pPr>
                  <a:defRPr/>
                </a:pPr>
                <a:endParaRPr lang="en-GB"/>
              </a:p>
            </p:txBody>
          </p:sp>
          <p:sp>
            <p:nvSpPr>
              <p:cNvPr id="58" name="Freeform 42">
                <a:extLst>
                  <a:ext uri="{FF2B5EF4-FFF2-40B4-BE49-F238E27FC236}">
                    <a16:creationId xmlns:a16="http://schemas.microsoft.com/office/drawing/2014/main" id="{00000453-7A9F-4A08-8FC2-45EE87F8674C}"/>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6350">
                <a:solidFill>
                  <a:schemeClr val="bg1"/>
                </a:solidFill>
                <a:round/>
                <a:headEnd/>
                <a:tailEnd/>
              </a:ln>
            </p:spPr>
            <p:txBody>
              <a:bodyPr/>
              <a:lstStyle/>
              <a:p>
                <a:pPr>
                  <a:defRPr/>
                </a:pPr>
                <a:endParaRPr lang="en-GB"/>
              </a:p>
            </p:txBody>
          </p:sp>
          <p:sp>
            <p:nvSpPr>
              <p:cNvPr id="59" name="Freeform 43">
                <a:extLst>
                  <a:ext uri="{FF2B5EF4-FFF2-40B4-BE49-F238E27FC236}">
                    <a16:creationId xmlns:a16="http://schemas.microsoft.com/office/drawing/2014/main" id="{7FF2E43F-92ED-4A99-BECB-35FA8F5659FD}"/>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6350">
                <a:solidFill>
                  <a:schemeClr val="bg1"/>
                </a:solidFill>
                <a:round/>
                <a:headEnd/>
                <a:tailEnd/>
              </a:ln>
            </p:spPr>
            <p:txBody>
              <a:bodyPr/>
              <a:lstStyle/>
              <a:p>
                <a:pPr>
                  <a:defRPr/>
                </a:pPr>
                <a:endParaRPr lang="en-GB"/>
              </a:p>
            </p:txBody>
          </p:sp>
        </p:grpSp>
        <p:sp>
          <p:nvSpPr>
            <p:cNvPr id="31" name="Freeform 44">
              <a:extLst>
                <a:ext uri="{FF2B5EF4-FFF2-40B4-BE49-F238E27FC236}">
                  <a16:creationId xmlns:a16="http://schemas.microsoft.com/office/drawing/2014/main" id="{442B8ABC-B6E9-495F-94BC-225F7C2E55BE}"/>
                </a:ext>
              </a:extLst>
            </p:cNvPr>
            <p:cNvSpPr>
              <a:spLocks/>
            </p:cNvSpPr>
            <p:nvPr/>
          </p:nvSpPr>
          <p:spPr bwMode="auto">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6350">
              <a:solidFill>
                <a:schemeClr val="bg1"/>
              </a:solidFill>
              <a:round/>
              <a:headEnd/>
              <a:tailEnd/>
            </a:ln>
          </p:spPr>
          <p:txBody>
            <a:bodyPr/>
            <a:lstStyle/>
            <a:p>
              <a:pPr>
                <a:defRPr/>
              </a:pPr>
              <a:endParaRPr lang="en-GB"/>
            </a:p>
          </p:txBody>
        </p:sp>
        <p:sp>
          <p:nvSpPr>
            <p:cNvPr id="32" name="Freeform 45">
              <a:extLst>
                <a:ext uri="{FF2B5EF4-FFF2-40B4-BE49-F238E27FC236}">
                  <a16:creationId xmlns:a16="http://schemas.microsoft.com/office/drawing/2014/main" id="{120EE865-432D-43B1-B243-8A95B5920700}"/>
                </a:ext>
              </a:extLst>
            </p:cNvPr>
            <p:cNvSpPr>
              <a:spLocks/>
            </p:cNvSpPr>
            <p:nvPr/>
          </p:nvSpPr>
          <p:spPr bwMode="auto">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6350">
              <a:solidFill>
                <a:schemeClr val="bg1"/>
              </a:solidFill>
              <a:round/>
              <a:headEnd/>
              <a:tailEnd/>
            </a:ln>
          </p:spPr>
          <p:txBody>
            <a:bodyPr/>
            <a:lstStyle/>
            <a:p>
              <a:pPr>
                <a:defRPr/>
              </a:pPr>
              <a:endParaRPr lang="en-GB"/>
            </a:p>
          </p:txBody>
        </p:sp>
        <p:sp>
          <p:nvSpPr>
            <p:cNvPr id="33" name="Freeform 46">
              <a:extLst>
                <a:ext uri="{FF2B5EF4-FFF2-40B4-BE49-F238E27FC236}">
                  <a16:creationId xmlns:a16="http://schemas.microsoft.com/office/drawing/2014/main" id="{D8772527-92BC-4CEC-BE0D-CE17009D2CF1}"/>
                </a:ext>
              </a:extLst>
            </p:cNvPr>
            <p:cNvSpPr>
              <a:spLocks/>
            </p:cNvSpPr>
            <p:nvPr/>
          </p:nvSpPr>
          <p:spPr bwMode="auto">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6350">
              <a:solidFill>
                <a:schemeClr val="bg1"/>
              </a:solidFill>
              <a:round/>
              <a:headEnd/>
              <a:tailEnd/>
            </a:ln>
          </p:spPr>
          <p:txBody>
            <a:bodyPr/>
            <a:lstStyle/>
            <a:p>
              <a:pPr>
                <a:defRPr/>
              </a:pPr>
              <a:endParaRPr lang="en-GB"/>
            </a:p>
          </p:txBody>
        </p:sp>
        <p:sp>
          <p:nvSpPr>
            <p:cNvPr id="34" name="Freeform 47">
              <a:extLst>
                <a:ext uri="{FF2B5EF4-FFF2-40B4-BE49-F238E27FC236}">
                  <a16:creationId xmlns:a16="http://schemas.microsoft.com/office/drawing/2014/main" id="{C2BE81C8-9672-45DA-87F4-C088CACB5C85}"/>
                </a:ext>
              </a:extLst>
            </p:cNvPr>
            <p:cNvSpPr>
              <a:spLocks/>
            </p:cNvSpPr>
            <p:nvPr/>
          </p:nvSpPr>
          <p:spPr bwMode="auto">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6350">
              <a:solidFill>
                <a:schemeClr val="bg1"/>
              </a:solidFill>
              <a:round/>
              <a:headEnd/>
              <a:tailEnd/>
            </a:ln>
          </p:spPr>
          <p:txBody>
            <a:bodyPr/>
            <a:lstStyle/>
            <a:p>
              <a:pPr>
                <a:defRPr/>
              </a:pPr>
              <a:endParaRPr lang="en-GB"/>
            </a:p>
          </p:txBody>
        </p:sp>
        <p:sp>
          <p:nvSpPr>
            <p:cNvPr id="35" name="Freeform 48">
              <a:extLst>
                <a:ext uri="{FF2B5EF4-FFF2-40B4-BE49-F238E27FC236}">
                  <a16:creationId xmlns:a16="http://schemas.microsoft.com/office/drawing/2014/main" id="{5DE191FF-194F-4363-BFE9-A1559DFA5420}"/>
                </a:ext>
              </a:extLst>
            </p:cNvPr>
            <p:cNvSpPr>
              <a:spLocks/>
            </p:cNvSpPr>
            <p:nvPr/>
          </p:nvSpPr>
          <p:spPr bwMode="auto">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6350">
              <a:solidFill>
                <a:schemeClr val="bg1"/>
              </a:solidFill>
              <a:round/>
              <a:headEnd/>
              <a:tailEnd/>
            </a:ln>
          </p:spPr>
          <p:txBody>
            <a:bodyPr/>
            <a:lstStyle/>
            <a:p>
              <a:pPr>
                <a:defRPr/>
              </a:pPr>
              <a:endParaRPr lang="en-GB"/>
            </a:p>
          </p:txBody>
        </p:sp>
        <p:sp>
          <p:nvSpPr>
            <p:cNvPr id="36" name="Freeform 49">
              <a:extLst>
                <a:ext uri="{FF2B5EF4-FFF2-40B4-BE49-F238E27FC236}">
                  <a16:creationId xmlns:a16="http://schemas.microsoft.com/office/drawing/2014/main" id="{80B6F277-45F4-4D57-847D-8756FE015EFD}"/>
                </a:ext>
              </a:extLst>
            </p:cNvPr>
            <p:cNvSpPr>
              <a:spLocks/>
            </p:cNvSpPr>
            <p:nvPr/>
          </p:nvSpPr>
          <p:spPr bwMode="auto">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6350">
              <a:solidFill>
                <a:schemeClr val="bg1"/>
              </a:solidFill>
              <a:round/>
              <a:headEnd/>
              <a:tailEnd/>
            </a:ln>
          </p:spPr>
          <p:txBody>
            <a:bodyPr/>
            <a:lstStyle/>
            <a:p>
              <a:pPr>
                <a:defRPr/>
              </a:pPr>
              <a:endParaRPr lang="en-GB"/>
            </a:p>
          </p:txBody>
        </p:sp>
        <p:sp>
          <p:nvSpPr>
            <p:cNvPr id="37" name="Freeform 50">
              <a:extLst>
                <a:ext uri="{FF2B5EF4-FFF2-40B4-BE49-F238E27FC236}">
                  <a16:creationId xmlns:a16="http://schemas.microsoft.com/office/drawing/2014/main" id="{73220F68-016F-49B5-B97D-4EB04D899674}"/>
                </a:ext>
              </a:extLst>
            </p:cNvPr>
            <p:cNvSpPr>
              <a:spLocks/>
            </p:cNvSpPr>
            <p:nvPr/>
          </p:nvSpPr>
          <p:spPr bwMode="auto">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6350">
              <a:solidFill>
                <a:schemeClr val="bg1"/>
              </a:solidFill>
              <a:round/>
              <a:headEnd/>
              <a:tailEnd/>
            </a:ln>
          </p:spPr>
          <p:txBody>
            <a:bodyPr/>
            <a:lstStyle/>
            <a:p>
              <a:pPr>
                <a:defRPr/>
              </a:pPr>
              <a:endParaRPr lang="en-GB"/>
            </a:p>
          </p:txBody>
        </p:sp>
        <p:sp>
          <p:nvSpPr>
            <p:cNvPr id="38" name="Freeform 51">
              <a:extLst>
                <a:ext uri="{FF2B5EF4-FFF2-40B4-BE49-F238E27FC236}">
                  <a16:creationId xmlns:a16="http://schemas.microsoft.com/office/drawing/2014/main" id="{2F6C4EA2-2E1D-4EB3-BC03-0B86EC5BCFA3}"/>
                </a:ext>
              </a:extLst>
            </p:cNvPr>
            <p:cNvSpPr>
              <a:spLocks/>
            </p:cNvSpPr>
            <p:nvPr/>
          </p:nvSpPr>
          <p:spPr bwMode="auto">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6350">
              <a:solidFill>
                <a:schemeClr val="bg1"/>
              </a:solidFill>
              <a:round/>
              <a:headEnd/>
              <a:tailEnd/>
            </a:ln>
          </p:spPr>
          <p:txBody>
            <a:bodyPr/>
            <a:lstStyle/>
            <a:p>
              <a:pPr>
                <a:defRPr/>
              </a:pPr>
              <a:endParaRPr lang="en-GB"/>
            </a:p>
          </p:txBody>
        </p:sp>
        <p:sp>
          <p:nvSpPr>
            <p:cNvPr id="39" name="Freeform 52">
              <a:extLst>
                <a:ext uri="{FF2B5EF4-FFF2-40B4-BE49-F238E27FC236}">
                  <a16:creationId xmlns:a16="http://schemas.microsoft.com/office/drawing/2014/main" id="{2AFF1AE2-F51D-416E-8146-D5FB1E0206BD}"/>
                </a:ext>
              </a:extLst>
            </p:cNvPr>
            <p:cNvSpPr>
              <a:spLocks/>
            </p:cNvSpPr>
            <p:nvPr/>
          </p:nvSpPr>
          <p:spPr bwMode="auto">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6350">
              <a:solidFill>
                <a:schemeClr val="bg1"/>
              </a:solidFill>
              <a:round/>
              <a:headEnd/>
              <a:tailEnd/>
            </a:ln>
          </p:spPr>
          <p:txBody>
            <a:bodyPr/>
            <a:lstStyle/>
            <a:p>
              <a:pPr>
                <a:defRPr/>
              </a:pPr>
              <a:endParaRPr lang="en-GB"/>
            </a:p>
          </p:txBody>
        </p:sp>
        <p:sp>
          <p:nvSpPr>
            <p:cNvPr id="40" name="Freeform 53">
              <a:extLst>
                <a:ext uri="{FF2B5EF4-FFF2-40B4-BE49-F238E27FC236}">
                  <a16:creationId xmlns:a16="http://schemas.microsoft.com/office/drawing/2014/main" id="{F49C6F81-C55F-48BE-BDF3-DB293B7006F6}"/>
                </a:ext>
              </a:extLst>
            </p:cNvPr>
            <p:cNvSpPr>
              <a:spLocks/>
            </p:cNvSpPr>
            <p:nvPr/>
          </p:nvSpPr>
          <p:spPr bwMode="auto">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6350">
              <a:solidFill>
                <a:schemeClr val="bg1"/>
              </a:solidFill>
              <a:round/>
              <a:headEnd/>
              <a:tailEnd/>
            </a:ln>
          </p:spPr>
          <p:txBody>
            <a:bodyPr/>
            <a:lstStyle/>
            <a:p>
              <a:pPr>
                <a:defRPr/>
              </a:pPr>
              <a:endParaRPr lang="en-GB"/>
            </a:p>
          </p:txBody>
        </p:sp>
        <p:sp>
          <p:nvSpPr>
            <p:cNvPr id="41" name="Freeform 54">
              <a:extLst>
                <a:ext uri="{FF2B5EF4-FFF2-40B4-BE49-F238E27FC236}">
                  <a16:creationId xmlns:a16="http://schemas.microsoft.com/office/drawing/2014/main" id="{36BBFDC9-F535-4D1B-BBDB-5236FC3A8C38}"/>
                </a:ext>
              </a:extLst>
            </p:cNvPr>
            <p:cNvSpPr>
              <a:spLocks/>
            </p:cNvSpPr>
            <p:nvPr/>
          </p:nvSpPr>
          <p:spPr bwMode="auto">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6350">
              <a:solidFill>
                <a:schemeClr val="bg1"/>
              </a:solidFill>
              <a:round/>
              <a:headEnd/>
              <a:tailEnd/>
            </a:ln>
          </p:spPr>
          <p:txBody>
            <a:bodyPr/>
            <a:lstStyle/>
            <a:p>
              <a:pPr>
                <a:defRPr/>
              </a:pPr>
              <a:endParaRPr lang="en-GB"/>
            </a:p>
          </p:txBody>
        </p:sp>
        <p:sp>
          <p:nvSpPr>
            <p:cNvPr id="42" name="Freeform 55">
              <a:extLst>
                <a:ext uri="{FF2B5EF4-FFF2-40B4-BE49-F238E27FC236}">
                  <a16:creationId xmlns:a16="http://schemas.microsoft.com/office/drawing/2014/main" id="{BD841423-1244-4055-9F44-D74FC02AE1E9}"/>
                </a:ext>
              </a:extLst>
            </p:cNvPr>
            <p:cNvSpPr>
              <a:spLocks/>
            </p:cNvSpPr>
            <p:nvPr/>
          </p:nvSpPr>
          <p:spPr bwMode="auto">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6350">
              <a:solidFill>
                <a:schemeClr val="bg1"/>
              </a:solidFill>
              <a:round/>
              <a:headEnd/>
              <a:tailEnd/>
            </a:ln>
          </p:spPr>
          <p:txBody>
            <a:bodyPr/>
            <a:lstStyle/>
            <a:p>
              <a:pPr>
                <a:defRPr/>
              </a:pPr>
              <a:endParaRPr lang="en-GB"/>
            </a:p>
          </p:txBody>
        </p:sp>
        <p:sp>
          <p:nvSpPr>
            <p:cNvPr id="43" name="Freeform 5">
              <a:extLst>
                <a:ext uri="{FF2B5EF4-FFF2-40B4-BE49-F238E27FC236}">
                  <a16:creationId xmlns:a16="http://schemas.microsoft.com/office/drawing/2014/main" id="{51E08425-1167-4E8F-BD25-59F4B19A9110}"/>
                </a:ext>
              </a:extLst>
            </p:cNvPr>
            <p:cNvSpPr>
              <a:spLocks/>
            </p:cNvSpPr>
            <p:nvPr/>
          </p:nvSpPr>
          <p:spPr bwMode="auto">
            <a:xfrm>
              <a:off x="369962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6350">
              <a:solidFill>
                <a:schemeClr val="bg1"/>
              </a:solidFill>
              <a:round/>
              <a:headEnd/>
              <a:tailEnd/>
            </a:ln>
          </p:spPr>
          <p:txBody>
            <a:bodyPr/>
            <a:lstStyle/>
            <a:p>
              <a:pPr>
                <a:defRPr/>
              </a:pPr>
              <a:endParaRPr lang="en-GB"/>
            </a:p>
          </p:txBody>
        </p:sp>
      </p:grpSp>
      <p:sp>
        <p:nvSpPr>
          <p:cNvPr id="64" name="Text Placeholder 63">
            <a:extLst>
              <a:ext uri="{FF2B5EF4-FFF2-40B4-BE49-F238E27FC236}">
                <a16:creationId xmlns:a16="http://schemas.microsoft.com/office/drawing/2014/main" id="{6A78AED2-D80F-486D-9A5F-7BE35FD8D646}"/>
              </a:ext>
            </a:extLst>
          </p:cNvPr>
          <p:cNvSpPr>
            <a:spLocks noGrp="1"/>
          </p:cNvSpPr>
          <p:nvPr>
            <p:ph type="body" sz="quarter" idx="14" hasCustomPrompt="1"/>
          </p:nvPr>
        </p:nvSpPr>
        <p:spPr>
          <a:xfrm>
            <a:off x="8387759" y="2363006"/>
            <a:ext cx="407089" cy="491402"/>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0" rIns="731520" anchor="ctr" anchorCtr="0">
            <a:noAutofit/>
          </a:bodyPr>
          <a:lstStyle>
            <a:lvl1pPr algn="r">
              <a:defRPr sz="2400" b="1"/>
            </a:lvl1pPr>
          </a:lstStyle>
          <a:p>
            <a:pPr lvl="0"/>
            <a:r>
              <a:rPr lang="en-US"/>
              <a:t>New York HQ</a:t>
            </a:r>
          </a:p>
        </p:txBody>
      </p:sp>
      <p:sp>
        <p:nvSpPr>
          <p:cNvPr id="3" name="Title 2">
            <a:extLst>
              <a:ext uri="{FF2B5EF4-FFF2-40B4-BE49-F238E27FC236}">
                <a16:creationId xmlns:a16="http://schemas.microsoft.com/office/drawing/2014/main" id="{0120C356-CC85-4EB7-916E-AEFBD416DC5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96562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orld Map">
    <p:bg>
      <p:bgPr>
        <a:solidFill>
          <a:schemeClr val="bg1"/>
        </a:solidFill>
        <a:effectLst/>
      </p:bgPr>
    </p:bg>
    <p:spTree>
      <p:nvGrpSpPr>
        <p:cNvPr id="1" name=""/>
        <p:cNvGrpSpPr/>
        <p:nvPr/>
      </p:nvGrpSpPr>
      <p:grpSpPr>
        <a:xfrm>
          <a:off x="0" y="0"/>
          <a:ext cx="0" cy="0"/>
          <a:chOff x="0" y="0"/>
          <a:chExt cx="0" cy="0"/>
        </a:xfrm>
      </p:grpSpPr>
      <p:grpSp>
        <p:nvGrpSpPr>
          <p:cNvPr id="202" name="Group 201">
            <a:extLst>
              <a:ext uri="{FF2B5EF4-FFF2-40B4-BE49-F238E27FC236}">
                <a16:creationId xmlns:a16="http://schemas.microsoft.com/office/drawing/2014/main" id="{2DDE1C8B-2964-4902-841B-E8E86E5D5DFB}"/>
              </a:ext>
            </a:extLst>
          </p:cNvPr>
          <p:cNvGrpSpPr>
            <a:grpSpLocks noChangeAspect="1"/>
          </p:cNvGrpSpPr>
          <p:nvPr userDrawn="1"/>
        </p:nvGrpSpPr>
        <p:grpSpPr>
          <a:xfrm>
            <a:off x="751231" y="1258518"/>
            <a:ext cx="10363229" cy="5111535"/>
            <a:chOff x="2235200" y="1676289"/>
            <a:chExt cx="8248805" cy="4068623"/>
          </a:xfrm>
          <a:solidFill>
            <a:schemeClr val="bg2"/>
          </a:solidFill>
        </p:grpSpPr>
        <p:sp>
          <p:nvSpPr>
            <p:cNvPr id="203" name="Freeform 107">
              <a:extLst>
                <a:ext uri="{FF2B5EF4-FFF2-40B4-BE49-F238E27FC236}">
                  <a16:creationId xmlns:a16="http://schemas.microsoft.com/office/drawing/2014/main" id="{8BE6A7DE-2B2A-4DE3-859A-595256080918}"/>
                </a:ext>
              </a:extLst>
            </p:cNvPr>
            <p:cNvSpPr>
              <a:spLocks/>
            </p:cNvSpPr>
            <p:nvPr userDrawn="1"/>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26">
              <a:extLst>
                <a:ext uri="{FF2B5EF4-FFF2-40B4-BE49-F238E27FC236}">
                  <a16:creationId xmlns:a16="http://schemas.microsoft.com/office/drawing/2014/main" id="{848972A3-EB5C-4BEF-B7CA-8E392D2607A4}"/>
                </a:ext>
              </a:extLst>
            </p:cNvPr>
            <p:cNvSpPr>
              <a:spLocks noEditPoints="1"/>
            </p:cNvSpPr>
            <p:nvPr userDrawn="1"/>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8">
              <a:extLst>
                <a:ext uri="{FF2B5EF4-FFF2-40B4-BE49-F238E27FC236}">
                  <a16:creationId xmlns:a16="http://schemas.microsoft.com/office/drawing/2014/main" id="{338C85C8-08F6-4EDE-83F5-54D1493FC4EE}"/>
                </a:ext>
              </a:extLst>
            </p:cNvPr>
            <p:cNvSpPr>
              <a:spLocks noEditPoints="1"/>
            </p:cNvSpPr>
            <p:nvPr userDrawn="1"/>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4">
              <a:extLst>
                <a:ext uri="{FF2B5EF4-FFF2-40B4-BE49-F238E27FC236}">
                  <a16:creationId xmlns:a16="http://schemas.microsoft.com/office/drawing/2014/main" id="{58CA43E4-FD01-43B2-8F01-50B4EFB243F4}"/>
                </a:ext>
              </a:extLst>
            </p:cNvPr>
            <p:cNvSpPr>
              <a:spLocks noEditPoints="1"/>
            </p:cNvSpPr>
            <p:nvPr userDrawn="1"/>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08" name="Group 207">
              <a:extLst>
                <a:ext uri="{FF2B5EF4-FFF2-40B4-BE49-F238E27FC236}">
                  <a16:creationId xmlns:a16="http://schemas.microsoft.com/office/drawing/2014/main" id="{2780527C-2773-45AF-BFC0-428E07C24C92}"/>
                </a:ext>
              </a:extLst>
            </p:cNvPr>
            <p:cNvGrpSpPr/>
            <p:nvPr userDrawn="1"/>
          </p:nvGrpSpPr>
          <p:grpSpPr>
            <a:xfrm>
              <a:off x="2235200" y="1676289"/>
              <a:ext cx="8248805" cy="4068623"/>
              <a:chOff x="1785409" y="1960529"/>
              <a:chExt cx="6680161" cy="3294909"/>
            </a:xfrm>
            <a:grpFill/>
          </p:grpSpPr>
          <p:sp>
            <p:nvSpPr>
              <p:cNvPr id="209" name="Freeform 5">
                <a:extLst>
                  <a:ext uri="{FF2B5EF4-FFF2-40B4-BE49-F238E27FC236}">
                    <a16:creationId xmlns:a16="http://schemas.microsoft.com/office/drawing/2014/main" id="{99561CFB-789B-4A23-B9C8-6022C6FB9524}"/>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6">
                <a:extLst>
                  <a:ext uri="{FF2B5EF4-FFF2-40B4-BE49-F238E27FC236}">
                    <a16:creationId xmlns:a16="http://schemas.microsoft.com/office/drawing/2014/main" id="{7A0DF6EB-2359-465E-97D9-31DDB91769E2}"/>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7">
                <a:extLst>
                  <a:ext uri="{FF2B5EF4-FFF2-40B4-BE49-F238E27FC236}">
                    <a16:creationId xmlns:a16="http://schemas.microsoft.com/office/drawing/2014/main" id="{45CDC157-C2FE-4B36-9285-7BBC2F537343}"/>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
                <a:extLst>
                  <a:ext uri="{FF2B5EF4-FFF2-40B4-BE49-F238E27FC236}">
                    <a16:creationId xmlns:a16="http://schemas.microsoft.com/office/drawing/2014/main" id="{C81324F5-201D-4284-8888-95FF9B08820D}"/>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9">
                <a:extLst>
                  <a:ext uri="{FF2B5EF4-FFF2-40B4-BE49-F238E27FC236}">
                    <a16:creationId xmlns:a16="http://schemas.microsoft.com/office/drawing/2014/main" id="{5ADC209C-A8E7-4A30-B5BC-49FCA0BFA0D9}"/>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10">
                <a:extLst>
                  <a:ext uri="{FF2B5EF4-FFF2-40B4-BE49-F238E27FC236}">
                    <a16:creationId xmlns:a16="http://schemas.microsoft.com/office/drawing/2014/main" id="{1E35FBEE-6A9F-4128-8E85-379AA616F4BA}"/>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1">
                <a:extLst>
                  <a:ext uri="{FF2B5EF4-FFF2-40B4-BE49-F238E27FC236}">
                    <a16:creationId xmlns:a16="http://schemas.microsoft.com/office/drawing/2014/main" id="{D1198E76-B30B-433B-AF07-FB3ECE541C5F}"/>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2">
                <a:extLst>
                  <a:ext uri="{FF2B5EF4-FFF2-40B4-BE49-F238E27FC236}">
                    <a16:creationId xmlns:a16="http://schemas.microsoft.com/office/drawing/2014/main" id="{0A37CE45-017D-42DB-B62E-4BDC5504EB19}"/>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3">
                <a:extLst>
                  <a:ext uri="{FF2B5EF4-FFF2-40B4-BE49-F238E27FC236}">
                    <a16:creationId xmlns:a16="http://schemas.microsoft.com/office/drawing/2014/main" id="{B558557B-871C-467C-9ECB-FC9F291A5C67}"/>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14">
                <a:extLst>
                  <a:ext uri="{FF2B5EF4-FFF2-40B4-BE49-F238E27FC236}">
                    <a16:creationId xmlns:a16="http://schemas.microsoft.com/office/drawing/2014/main" id="{D15AE1B2-A2E5-4BDD-97B9-8E3F8F6B6CC8}"/>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15">
                <a:extLst>
                  <a:ext uri="{FF2B5EF4-FFF2-40B4-BE49-F238E27FC236}">
                    <a16:creationId xmlns:a16="http://schemas.microsoft.com/office/drawing/2014/main" id="{D1D4A05E-89F8-4735-8323-CF681D6459FF}"/>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16">
                <a:extLst>
                  <a:ext uri="{FF2B5EF4-FFF2-40B4-BE49-F238E27FC236}">
                    <a16:creationId xmlns:a16="http://schemas.microsoft.com/office/drawing/2014/main" id="{C20E01FC-2900-482D-8CCA-BE89728DCD9C}"/>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17">
                <a:extLst>
                  <a:ext uri="{FF2B5EF4-FFF2-40B4-BE49-F238E27FC236}">
                    <a16:creationId xmlns:a16="http://schemas.microsoft.com/office/drawing/2014/main" id="{571FE884-4A1E-403B-B184-759F9539A00D}"/>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18">
                <a:extLst>
                  <a:ext uri="{FF2B5EF4-FFF2-40B4-BE49-F238E27FC236}">
                    <a16:creationId xmlns:a16="http://schemas.microsoft.com/office/drawing/2014/main" id="{D03776E1-C0F0-4B1C-B8D0-6EEE18F6D96C}"/>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19">
                <a:extLst>
                  <a:ext uri="{FF2B5EF4-FFF2-40B4-BE49-F238E27FC236}">
                    <a16:creationId xmlns:a16="http://schemas.microsoft.com/office/drawing/2014/main" id="{A3EB4280-7A5D-4341-B873-31506CAF54D3}"/>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20">
                <a:extLst>
                  <a:ext uri="{FF2B5EF4-FFF2-40B4-BE49-F238E27FC236}">
                    <a16:creationId xmlns:a16="http://schemas.microsoft.com/office/drawing/2014/main" id="{7ACB97B2-81D6-49C3-AE4E-BEE2BCAE24C3}"/>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1">
                <a:extLst>
                  <a:ext uri="{FF2B5EF4-FFF2-40B4-BE49-F238E27FC236}">
                    <a16:creationId xmlns:a16="http://schemas.microsoft.com/office/drawing/2014/main" id="{6E767A31-D2EC-4C31-8A0F-FCA2A8034DBE}"/>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2">
                <a:extLst>
                  <a:ext uri="{FF2B5EF4-FFF2-40B4-BE49-F238E27FC236}">
                    <a16:creationId xmlns:a16="http://schemas.microsoft.com/office/drawing/2014/main" id="{D22E562F-F50A-4B34-8D0A-49DB668C5F47}"/>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23">
                <a:extLst>
                  <a:ext uri="{FF2B5EF4-FFF2-40B4-BE49-F238E27FC236}">
                    <a16:creationId xmlns:a16="http://schemas.microsoft.com/office/drawing/2014/main" id="{E6613EBA-CBB4-407C-8806-B431A840661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24">
                <a:extLst>
                  <a:ext uri="{FF2B5EF4-FFF2-40B4-BE49-F238E27FC236}">
                    <a16:creationId xmlns:a16="http://schemas.microsoft.com/office/drawing/2014/main" id="{9B7E9B4C-FC9E-4A3C-B375-BA3B89EF82D8}"/>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5">
                <a:extLst>
                  <a:ext uri="{FF2B5EF4-FFF2-40B4-BE49-F238E27FC236}">
                    <a16:creationId xmlns:a16="http://schemas.microsoft.com/office/drawing/2014/main" id="{B226C2BC-3080-4FC1-8129-4F10D69BDB6F}"/>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6">
                <a:extLst>
                  <a:ext uri="{FF2B5EF4-FFF2-40B4-BE49-F238E27FC236}">
                    <a16:creationId xmlns:a16="http://schemas.microsoft.com/office/drawing/2014/main" id="{D3C41865-341D-493A-8B9E-31A51B569851}"/>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7">
                <a:extLst>
                  <a:ext uri="{FF2B5EF4-FFF2-40B4-BE49-F238E27FC236}">
                    <a16:creationId xmlns:a16="http://schemas.microsoft.com/office/drawing/2014/main" id="{C0C25430-6E1D-49CD-9B8B-2D007336412F}"/>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8">
                <a:extLst>
                  <a:ext uri="{FF2B5EF4-FFF2-40B4-BE49-F238E27FC236}">
                    <a16:creationId xmlns:a16="http://schemas.microsoft.com/office/drawing/2014/main" id="{BC0F3890-7774-4285-B53B-4370ACD070DC}"/>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9">
                <a:extLst>
                  <a:ext uri="{FF2B5EF4-FFF2-40B4-BE49-F238E27FC236}">
                    <a16:creationId xmlns:a16="http://schemas.microsoft.com/office/drawing/2014/main" id="{575CECD2-8A40-4478-9071-E8AC630159C6}"/>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30">
                <a:extLst>
                  <a:ext uri="{FF2B5EF4-FFF2-40B4-BE49-F238E27FC236}">
                    <a16:creationId xmlns:a16="http://schemas.microsoft.com/office/drawing/2014/main" id="{780996E7-D27F-4BF3-B82D-7BBE9CF9CDFE}"/>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31">
                <a:extLst>
                  <a:ext uri="{FF2B5EF4-FFF2-40B4-BE49-F238E27FC236}">
                    <a16:creationId xmlns:a16="http://schemas.microsoft.com/office/drawing/2014/main" id="{18725BD7-A584-4D10-8C40-E21BC348F4B9}"/>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32">
                <a:extLst>
                  <a:ext uri="{FF2B5EF4-FFF2-40B4-BE49-F238E27FC236}">
                    <a16:creationId xmlns:a16="http://schemas.microsoft.com/office/drawing/2014/main" id="{B5E2B236-82A2-48EF-9BA0-A15705CE0171}"/>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33">
                <a:extLst>
                  <a:ext uri="{FF2B5EF4-FFF2-40B4-BE49-F238E27FC236}">
                    <a16:creationId xmlns:a16="http://schemas.microsoft.com/office/drawing/2014/main" id="{F2022576-33F5-4876-93AE-1AE54A6147C7}"/>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34">
                <a:extLst>
                  <a:ext uri="{FF2B5EF4-FFF2-40B4-BE49-F238E27FC236}">
                    <a16:creationId xmlns:a16="http://schemas.microsoft.com/office/drawing/2014/main" id="{7CCEC966-C8C6-4469-BA47-662FC47867C4}"/>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35">
                <a:extLst>
                  <a:ext uri="{FF2B5EF4-FFF2-40B4-BE49-F238E27FC236}">
                    <a16:creationId xmlns:a16="http://schemas.microsoft.com/office/drawing/2014/main" id="{4779085A-F5F9-4EF5-87A3-DDB98712ADC6}"/>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36">
                <a:extLst>
                  <a:ext uri="{FF2B5EF4-FFF2-40B4-BE49-F238E27FC236}">
                    <a16:creationId xmlns:a16="http://schemas.microsoft.com/office/drawing/2014/main" id="{828F52D2-F599-4452-8D0F-1352385E92AA}"/>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37">
                <a:extLst>
                  <a:ext uri="{FF2B5EF4-FFF2-40B4-BE49-F238E27FC236}">
                    <a16:creationId xmlns:a16="http://schemas.microsoft.com/office/drawing/2014/main" id="{A3EACAFC-2BB1-4FAB-BA1D-D307DBEE4FD6}"/>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38">
                <a:extLst>
                  <a:ext uri="{FF2B5EF4-FFF2-40B4-BE49-F238E27FC236}">
                    <a16:creationId xmlns:a16="http://schemas.microsoft.com/office/drawing/2014/main" id="{2F1B6B63-AB0F-4CAF-B189-2A9A31010505}"/>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39">
                <a:extLst>
                  <a:ext uri="{FF2B5EF4-FFF2-40B4-BE49-F238E27FC236}">
                    <a16:creationId xmlns:a16="http://schemas.microsoft.com/office/drawing/2014/main" id="{A80F478D-59A4-4753-A337-467FF719E4E1}"/>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40">
                <a:extLst>
                  <a:ext uri="{FF2B5EF4-FFF2-40B4-BE49-F238E27FC236}">
                    <a16:creationId xmlns:a16="http://schemas.microsoft.com/office/drawing/2014/main" id="{D5010F8C-02F1-4F49-84B6-4CC769FC453C}"/>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41">
                <a:extLst>
                  <a:ext uri="{FF2B5EF4-FFF2-40B4-BE49-F238E27FC236}">
                    <a16:creationId xmlns:a16="http://schemas.microsoft.com/office/drawing/2014/main" id="{3B206DDF-3670-4A02-98B3-F5FEF4325085}"/>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42">
                <a:extLst>
                  <a:ext uri="{FF2B5EF4-FFF2-40B4-BE49-F238E27FC236}">
                    <a16:creationId xmlns:a16="http://schemas.microsoft.com/office/drawing/2014/main" id="{39A9E284-A783-4F82-B2E5-9EF38B62302B}"/>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43">
                <a:extLst>
                  <a:ext uri="{FF2B5EF4-FFF2-40B4-BE49-F238E27FC236}">
                    <a16:creationId xmlns:a16="http://schemas.microsoft.com/office/drawing/2014/main" id="{F4D7AA82-BE90-40D2-BDA6-42017DACCE06}"/>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44">
                <a:extLst>
                  <a:ext uri="{FF2B5EF4-FFF2-40B4-BE49-F238E27FC236}">
                    <a16:creationId xmlns:a16="http://schemas.microsoft.com/office/drawing/2014/main" id="{AAD8FB33-12BF-4E0A-8311-5D3421690AFC}"/>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45">
                <a:extLst>
                  <a:ext uri="{FF2B5EF4-FFF2-40B4-BE49-F238E27FC236}">
                    <a16:creationId xmlns:a16="http://schemas.microsoft.com/office/drawing/2014/main" id="{98B96C6B-A698-4715-8B4F-5F313F2DA07E}"/>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46">
                <a:extLst>
                  <a:ext uri="{FF2B5EF4-FFF2-40B4-BE49-F238E27FC236}">
                    <a16:creationId xmlns:a16="http://schemas.microsoft.com/office/drawing/2014/main" id="{A6090E3A-43AE-4E03-9FB2-A622A4E5726E}"/>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47">
                <a:extLst>
                  <a:ext uri="{FF2B5EF4-FFF2-40B4-BE49-F238E27FC236}">
                    <a16:creationId xmlns:a16="http://schemas.microsoft.com/office/drawing/2014/main" id="{7C81DFD2-D99E-4375-944B-7DB815B46D6E}"/>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48">
                <a:extLst>
                  <a:ext uri="{FF2B5EF4-FFF2-40B4-BE49-F238E27FC236}">
                    <a16:creationId xmlns:a16="http://schemas.microsoft.com/office/drawing/2014/main" id="{55C546C5-5962-4B14-BDB2-44F92F7B4E68}"/>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49">
                <a:extLst>
                  <a:ext uri="{FF2B5EF4-FFF2-40B4-BE49-F238E27FC236}">
                    <a16:creationId xmlns:a16="http://schemas.microsoft.com/office/drawing/2014/main" id="{13D6A0AA-CB35-43E0-8E21-0BCD4100360E}"/>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50">
                <a:extLst>
                  <a:ext uri="{FF2B5EF4-FFF2-40B4-BE49-F238E27FC236}">
                    <a16:creationId xmlns:a16="http://schemas.microsoft.com/office/drawing/2014/main" id="{0B98670D-9916-499F-92AD-70CBDFD68E4A}"/>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51">
                <a:extLst>
                  <a:ext uri="{FF2B5EF4-FFF2-40B4-BE49-F238E27FC236}">
                    <a16:creationId xmlns:a16="http://schemas.microsoft.com/office/drawing/2014/main" id="{E898C675-070C-43CF-8607-6578E83B804F}"/>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52">
                <a:extLst>
                  <a:ext uri="{FF2B5EF4-FFF2-40B4-BE49-F238E27FC236}">
                    <a16:creationId xmlns:a16="http://schemas.microsoft.com/office/drawing/2014/main" id="{E4DCD4BC-3A75-4B90-9281-A1D0DB1FD10E}"/>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53">
                <a:extLst>
                  <a:ext uri="{FF2B5EF4-FFF2-40B4-BE49-F238E27FC236}">
                    <a16:creationId xmlns:a16="http://schemas.microsoft.com/office/drawing/2014/main" id="{43057A79-9A5B-4FDA-B309-765AB68A865E}"/>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54">
                <a:extLst>
                  <a:ext uri="{FF2B5EF4-FFF2-40B4-BE49-F238E27FC236}">
                    <a16:creationId xmlns:a16="http://schemas.microsoft.com/office/drawing/2014/main" id="{20BABA54-239B-42B8-BA6A-A96F6921FAE5}"/>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55">
                <a:extLst>
                  <a:ext uri="{FF2B5EF4-FFF2-40B4-BE49-F238E27FC236}">
                    <a16:creationId xmlns:a16="http://schemas.microsoft.com/office/drawing/2014/main" id="{0CF4CECE-1445-4497-9D66-595B14CACB00}"/>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56">
                <a:extLst>
                  <a:ext uri="{FF2B5EF4-FFF2-40B4-BE49-F238E27FC236}">
                    <a16:creationId xmlns:a16="http://schemas.microsoft.com/office/drawing/2014/main" id="{167C9983-CE57-4F8C-A492-E713F060F675}"/>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57">
                <a:extLst>
                  <a:ext uri="{FF2B5EF4-FFF2-40B4-BE49-F238E27FC236}">
                    <a16:creationId xmlns:a16="http://schemas.microsoft.com/office/drawing/2014/main" id="{1FEF9A44-D5E5-4FCD-B0EA-25B748A2A1C6}"/>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58">
                <a:extLst>
                  <a:ext uri="{FF2B5EF4-FFF2-40B4-BE49-F238E27FC236}">
                    <a16:creationId xmlns:a16="http://schemas.microsoft.com/office/drawing/2014/main" id="{27941950-983A-460E-8858-110F525BB792}"/>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59">
                <a:extLst>
                  <a:ext uri="{FF2B5EF4-FFF2-40B4-BE49-F238E27FC236}">
                    <a16:creationId xmlns:a16="http://schemas.microsoft.com/office/drawing/2014/main" id="{56ABC612-EB28-40AB-83E8-5A93413A6AD0}"/>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60">
                <a:extLst>
                  <a:ext uri="{FF2B5EF4-FFF2-40B4-BE49-F238E27FC236}">
                    <a16:creationId xmlns:a16="http://schemas.microsoft.com/office/drawing/2014/main" id="{7C6D609B-DCC4-48CF-B71A-247DB108052A}"/>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61">
                <a:extLst>
                  <a:ext uri="{FF2B5EF4-FFF2-40B4-BE49-F238E27FC236}">
                    <a16:creationId xmlns:a16="http://schemas.microsoft.com/office/drawing/2014/main" id="{CCF8698C-9111-440A-9B10-E709585977B5}"/>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62">
                <a:extLst>
                  <a:ext uri="{FF2B5EF4-FFF2-40B4-BE49-F238E27FC236}">
                    <a16:creationId xmlns:a16="http://schemas.microsoft.com/office/drawing/2014/main" id="{7678E276-C32B-4902-BB3C-706A4D640A3F}"/>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63">
                <a:extLst>
                  <a:ext uri="{FF2B5EF4-FFF2-40B4-BE49-F238E27FC236}">
                    <a16:creationId xmlns:a16="http://schemas.microsoft.com/office/drawing/2014/main" id="{5AFF8436-0D27-47C6-8A60-72E9E02279E5}"/>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64">
                <a:extLst>
                  <a:ext uri="{FF2B5EF4-FFF2-40B4-BE49-F238E27FC236}">
                    <a16:creationId xmlns:a16="http://schemas.microsoft.com/office/drawing/2014/main" id="{78E698BF-5E47-4047-90E5-CF8E6A186B38}"/>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65">
                <a:extLst>
                  <a:ext uri="{FF2B5EF4-FFF2-40B4-BE49-F238E27FC236}">
                    <a16:creationId xmlns:a16="http://schemas.microsoft.com/office/drawing/2014/main" id="{B580E777-9096-4DF8-8EFA-F10045F6DF16}"/>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6">
                <a:extLst>
                  <a:ext uri="{FF2B5EF4-FFF2-40B4-BE49-F238E27FC236}">
                    <a16:creationId xmlns:a16="http://schemas.microsoft.com/office/drawing/2014/main" id="{193A8D87-778C-4AD1-A14C-347200D592C9}"/>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67">
                <a:extLst>
                  <a:ext uri="{FF2B5EF4-FFF2-40B4-BE49-F238E27FC236}">
                    <a16:creationId xmlns:a16="http://schemas.microsoft.com/office/drawing/2014/main" id="{6EB773F2-971F-406F-9498-FCA24DFB0F26}"/>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68">
                <a:extLst>
                  <a:ext uri="{FF2B5EF4-FFF2-40B4-BE49-F238E27FC236}">
                    <a16:creationId xmlns:a16="http://schemas.microsoft.com/office/drawing/2014/main" id="{88B3C971-3E3A-440F-9366-053A7B334D33}"/>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69">
                <a:extLst>
                  <a:ext uri="{FF2B5EF4-FFF2-40B4-BE49-F238E27FC236}">
                    <a16:creationId xmlns:a16="http://schemas.microsoft.com/office/drawing/2014/main" id="{50A48F5A-2A5F-4B3F-A3AE-A7F8446341D7}"/>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70">
                <a:extLst>
                  <a:ext uri="{FF2B5EF4-FFF2-40B4-BE49-F238E27FC236}">
                    <a16:creationId xmlns:a16="http://schemas.microsoft.com/office/drawing/2014/main" id="{20264324-39B7-4822-A538-3484AC548AD9}"/>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71">
                <a:extLst>
                  <a:ext uri="{FF2B5EF4-FFF2-40B4-BE49-F238E27FC236}">
                    <a16:creationId xmlns:a16="http://schemas.microsoft.com/office/drawing/2014/main" id="{3596EB34-E1FE-44D4-9843-5C02EBDCE08B}"/>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72">
                <a:extLst>
                  <a:ext uri="{FF2B5EF4-FFF2-40B4-BE49-F238E27FC236}">
                    <a16:creationId xmlns:a16="http://schemas.microsoft.com/office/drawing/2014/main" id="{E5F81B6F-AC58-40B7-8698-856EB1A973B9}"/>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73">
                <a:extLst>
                  <a:ext uri="{FF2B5EF4-FFF2-40B4-BE49-F238E27FC236}">
                    <a16:creationId xmlns:a16="http://schemas.microsoft.com/office/drawing/2014/main" id="{18E9FD24-7C83-47C3-A65F-2DC8B8591747}"/>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74">
                <a:extLst>
                  <a:ext uri="{FF2B5EF4-FFF2-40B4-BE49-F238E27FC236}">
                    <a16:creationId xmlns:a16="http://schemas.microsoft.com/office/drawing/2014/main" id="{D19AC202-5831-42E3-826F-29E56CB1D634}"/>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75">
                <a:extLst>
                  <a:ext uri="{FF2B5EF4-FFF2-40B4-BE49-F238E27FC236}">
                    <a16:creationId xmlns:a16="http://schemas.microsoft.com/office/drawing/2014/main" id="{42B78536-ABFA-4078-B08C-79001FC35D76}"/>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76">
                <a:extLst>
                  <a:ext uri="{FF2B5EF4-FFF2-40B4-BE49-F238E27FC236}">
                    <a16:creationId xmlns:a16="http://schemas.microsoft.com/office/drawing/2014/main" id="{57849B8D-7CA7-46AA-87D3-E0B72CCB7912}"/>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77">
                <a:extLst>
                  <a:ext uri="{FF2B5EF4-FFF2-40B4-BE49-F238E27FC236}">
                    <a16:creationId xmlns:a16="http://schemas.microsoft.com/office/drawing/2014/main" id="{87907663-2A2F-4EC2-BC1B-3C8C76EFE8FC}"/>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78">
                <a:extLst>
                  <a:ext uri="{FF2B5EF4-FFF2-40B4-BE49-F238E27FC236}">
                    <a16:creationId xmlns:a16="http://schemas.microsoft.com/office/drawing/2014/main" id="{CDCADA37-44E8-42CD-8E1C-E80BD43A1781}"/>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79">
                <a:extLst>
                  <a:ext uri="{FF2B5EF4-FFF2-40B4-BE49-F238E27FC236}">
                    <a16:creationId xmlns:a16="http://schemas.microsoft.com/office/drawing/2014/main" id="{F5D02EE1-7058-49F8-8255-A0D49B940DB0}"/>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80">
                <a:extLst>
                  <a:ext uri="{FF2B5EF4-FFF2-40B4-BE49-F238E27FC236}">
                    <a16:creationId xmlns:a16="http://schemas.microsoft.com/office/drawing/2014/main" id="{073ED889-686E-41A6-8069-20F6CAA2DC4A}"/>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81">
                <a:extLst>
                  <a:ext uri="{FF2B5EF4-FFF2-40B4-BE49-F238E27FC236}">
                    <a16:creationId xmlns:a16="http://schemas.microsoft.com/office/drawing/2014/main" id="{18ED64BF-A2CD-474D-AB05-053D599BA6BE}"/>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82">
                <a:extLst>
                  <a:ext uri="{FF2B5EF4-FFF2-40B4-BE49-F238E27FC236}">
                    <a16:creationId xmlns:a16="http://schemas.microsoft.com/office/drawing/2014/main" id="{9F789697-920B-40A2-AF86-EA13CC8CBE39}"/>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83">
                <a:extLst>
                  <a:ext uri="{FF2B5EF4-FFF2-40B4-BE49-F238E27FC236}">
                    <a16:creationId xmlns:a16="http://schemas.microsoft.com/office/drawing/2014/main" id="{AE521EE0-4FFF-4BC3-8446-B5C0DD4D4E4B}"/>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84">
                <a:extLst>
                  <a:ext uri="{FF2B5EF4-FFF2-40B4-BE49-F238E27FC236}">
                    <a16:creationId xmlns:a16="http://schemas.microsoft.com/office/drawing/2014/main" id="{E667E14A-C710-4F2F-9AC0-D4296874764C}"/>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85">
                <a:extLst>
                  <a:ext uri="{FF2B5EF4-FFF2-40B4-BE49-F238E27FC236}">
                    <a16:creationId xmlns:a16="http://schemas.microsoft.com/office/drawing/2014/main" id="{57F43134-4FA4-4AD5-8A61-A5EF810B4C1B}"/>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86">
                <a:extLst>
                  <a:ext uri="{FF2B5EF4-FFF2-40B4-BE49-F238E27FC236}">
                    <a16:creationId xmlns:a16="http://schemas.microsoft.com/office/drawing/2014/main" id="{E4866CED-8D58-4C97-8E46-D614531F888F}"/>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87">
                <a:extLst>
                  <a:ext uri="{FF2B5EF4-FFF2-40B4-BE49-F238E27FC236}">
                    <a16:creationId xmlns:a16="http://schemas.microsoft.com/office/drawing/2014/main" id="{4CABC660-9AF0-4149-B14C-7A53F8D93332}"/>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88">
                <a:extLst>
                  <a:ext uri="{FF2B5EF4-FFF2-40B4-BE49-F238E27FC236}">
                    <a16:creationId xmlns:a16="http://schemas.microsoft.com/office/drawing/2014/main" id="{5B13A227-23B3-4342-854B-6D368F23CAE0}"/>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89">
                <a:extLst>
                  <a:ext uri="{FF2B5EF4-FFF2-40B4-BE49-F238E27FC236}">
                    <a16:creationId xmlns:a16="http://schemas.microsoft.com/office/drawing/2014/main" id="{3B341193-8026-4E7A-99A1-9AA780939FC8}"/>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90">
                <a:extLst>
                  <a:ext uri="{FF2B5EF4-FFF2-40B4-BE49-F238E27FC236}">
                    <a16:creationId xmlns:a16="http://schemas.microsoft.com/office/drawing/2014/main" id="{EAE5E0A7-5DFB-4341-A6AC-E416EB7322AE}"/>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91">
                <a:extLst>
                  <a:ext uri="{FF2B5EF4-FFF2-40B4-BE49-F238E27FC236}">
                    <a16:creationId xmlns:a16="http://schemas.microsoft.com/office/drawing/2014/main" id="{DF6C08B4-317D-4F73-8046-0A2E6A9F4882}"/>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92">
                <a:extLst>
                  <a:ext uri="{FF2B5EF4-FFF2-40B4-BE49-F238E27FC236}">
                    <a16:creationId xmlns:a16="http://schemas.microsoft.com/office/drawing/2014/main" id="{052F22A9-7841-4204-A51F-76640142C51A}"/>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3">
                <a:extLst>
                  <a:ext uri="{FF2B5EF4-FFF2-40B4-BE49-F238E27FC236}">
                    <a16:creationId xmlns:a16="http://schemas.microsoft.com/office/drawing/2014/main" id="{6A535125-5DB5-4A2E-8311-CA830F2F5E31}"/>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94">
                <a:extLst>
                  <a:ext uri="{FF2B5EF4-FFF2-40B4-BE49-F238E27FC236}">
                    <a16:creationId xmlns:a16="http://schemas.microsoft.com/office/drawing/2014/main" id="{F28E06A1-1ED9-475E-A10B-1ACE2AD48C5E}"/>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95">
                <a:extLst>
                  <a:ext uri="{FF2B5EF4-FFF2-40B4-BE49-F238E27FC236}">
                    <a16:creationId xmlns:a16="http://schemas.microsoft.com/office/drawing/2014/main" id="{685D9F58-FC5E-4133-8E8A-4B83622C7A34}"/>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96">
                <a:extLst>
                  <a:ext uri="{FF2B5EF4-FFF2-40B4-BE49-F238E27FC236}">
                    <a16:creationId xmlns:a16="http://schemas.microsoft.com/office/drawing/2014/main" id="{F0921AF9-53BF-4227-B542-E904D451499E}"/>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97">
                <a:extLst>
                  <a:ext uri="{FF2B5EF4-FFF2-40B4-BE49-F238E27FC236}">
                    <a16:creationId xmlns:a16="http://schemas.microsoft.com/office/drawing/2014/main" id="{6B1FD5B8-F9B8-41D4-941C-02D38CBE63F5}"/>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98">
                <a:extLst>
                  <a:ext uri="{FF2B5EF4-FFF2-40B4-BE49-F238E27FC236}">
                    <a16:creationId xmlns:a16="http://schemas.microsoft.com/office/drawing/2014/main" id="{EE344350-A6AE-4C12-82E2-FCA41E7EDA75}"/>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99">
                <a:extLst>
                  <a:ext uri="{FF2B5EF4-FFF2-40B4-BE49-F238E27FC236}">
                    <a16:creationId xmlns:a16="http://schemas.microsoft.com/office/drawing/2014/main" id="{B86E59F7-7640-43A1-9E5A-53EE5F5C9293}"/>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00">
                <a:extLst>
                  <a:ext uri="{FF2B5EF4-FFF2-40B4-BE49-F238E27FC236}">
                    <a16:creationId xmlns:a16="http://schemas.microsoft.com/office/drawing/2014/main" id="{215652BC-2210-4F30-B8EB-7EBA1F66C14E}"/>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01">
                <a:extLst>
                  <a:ext uri="{FF2B5EF4-FFF2-40B4-BE49-F238E27FC236}">
                    <a16:creationId xmlns:a16="http://schemas.microsoft.com/office/drawing/2014/main" id="{6A890E7D-5E2C-48FA-B025-52C9B52225A3}"/>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02">
                <a:extLst>
                  <a:ext uri="{FF2B5EF4-FFF2-40B4-BE49-F238E27FC236}">
                    <a16:creationId xmlns:a16="http://schemas.microsoft.com/office/drawing/2014/main" id="{5BC9F8B4-4598-453D-BFB6-841AEE836E80}"/>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03">
                <a:extLst>
                  <a:ext uri="{FF2B5EF4-FFF2-40B4-BE49-F238E27FC236}">
                    <a16:creationId xmlns:a16="http://schemas.microsoft.com/office/drawing/2014/main" id="{40D8D7D1-EC17-411A-A823-EE94E47D8E2B}"/>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04">
                <a:extLst>
                  <a:ext uri="{FF2B5EF4-FFF2-40B4-BE49-F238E27FC236}">
                    <a16:creationId xmlns:a16="http://schemas.microsoft.com/office/drawing/2014/main" id="{E0540DB1-B9F3-439D-B6C2-2DC8722536CB}"/>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05">
                <a:extLst>
                  <a:ext uri="{FF2B5EF4-FFF2-40B4-BE49-F238E27FC236}">
                    <a16:creationId xmlns:a16="http://schemas.microsoft.com/office/drawing/2014/main" id="{4A9F74F2-B7E6-4DEC-92BA-2679E40D6C5F}"/>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06">
                <a:extLst>
                  <a:ext uri="{FF2B5EF4-FFF2-40B4-BE49-F238E27FC236}">
                    <a16:creationId xmlns:a16="http://schemas.microsoft.com/office/drawing/2014/main" id="{63DD974E-D568-4065-81AF-94C0F6102497}"/>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08">
                <a:extLst>
                  <a:ext uri="{FF2B5EF4-FFF2-40B4-BE49-F238E27FC236}">
                    <a16:creationId xmlns:a16="http://schemas.microsoft.com/office/drawing/2014/main" id="{690BBC24-8B53-4B58-B171-19CB1E27361F}"/>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09">
                <a:extLst>
                  <a:ext uri="{FF2B5EF4-FFF2-40B4-BE49-F238E27FC236}">
                    <a16:creationId xmlns:a16="http://schemas.microsoft.com/office/drawing/2014/main" id="{99E2CA1F-A1D0-4B23-B3F8-DC21D7D13DDC}"/>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10">
                <a:extLst>
                  <a:ext uri="{FF2B5EF4-FFF2-40B4-BE49-F238E27FC236}">
                    <a16:creationId xmlns:a16="http://schemas.microsoft.com/office/drawing/2014/main" id="{E4F95AF0-685F-4209-8EC3-F5B3ABB953C3}"/>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11">
                <a:extLst>
                  <a:ext uri="{FF2B5EF4-FFF2-40B4-BE49-F238E27FC236}">
                    <a16:creationId xmlns:a16="http://schemas.microsoft.com/office/drawing/2014/main" id="{B03CEC0E-7512-4246-8F1E-DA7C4B7A2B0B}"/>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12">
                <a:extLst>
                  <a:ext uri="{FF2B5EF4-FFF2-40B4-BE49-F238E27FC236}">
                    <a16:creationId xmlns:a16="http://schemas.microsoft.com/office/drawing/2014/main" id="{6B5C1B4F-ECCE-4281-8A4B-D501B4362407}"/>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13">
                <a:extLst>
                  <a:ext uri="{FF2B5EF4-FFF2-40B4-BE49-F238E27FC236}">
                    <a16:creationId xmlns:a16="http://schemas.microsoft.com/office/drawing/2014/main" id="{E11AF6E2-AF0F-4D82-B08F-14B9C0B30AD6}"/>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14">
                <a:extLst>
                  <a:ext uri="{FF2B5EF4-FFF2-40B4-BE49-F238E27FC236}">
                    <a16:creationId xmlns:a16="http://schemas.microsoft.com/office/drawing/2014/main" id="{78F346BA-FA7E-4DF8-ACE9-939A3B8FCAB3}"/>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15">
                <a:extLst>
                  <a:ext uri="{FF2B5EF4-FFF2-40B4-BE49-F238E27FC236}">
                    <a16:creationId xmlns:a16="http://schemas.microsoft.com/office/drawing/2014/main" id="{51396BE7-D131-40D1-A7E9-8BA8F52C49DC}"/>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16">
                <a:extLst>
                  <a:ext uri="{FF2B5EF4-FFF2-40B4-BE49-F238E27FC236}">
                    <a16:creationId xmlns:a16="http://schemas.microsoft.com/office/drawing/2014/main" id="{E8319A9F-CD41-4CD4-91DC-0CDBCF7F1E87}"/>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17">
                <a:extLst>
                  <a:ext uri="{FF2B5EF4-FFF2-40B4-BE49-F238E27FC236}">
                    <a16:creationId xmlns:a16="http://schemas.microsoft.com/office/drawing/2014/main" id="{5E4708E0-AE1E-45EE-925E-74560B2A376E}"/>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18">
                <a:extLst>
                  <a:ext uri="{FF2B5EF4-FFF2-40B4-BE49-F238E27FC236}">
                    <a16:creationId xmlns:a16="http://schemas.microsoft.com/office/drawing/2014/main" id="{1F08A624-547B-48B0-8DC1-03FE5729F9FF}"/>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19">
                <a:extLst>
                  <a:ext uri="{FF2B5EF4-FFF2-40B4-BE49-F238E27FC236}">
                    <a16:creationId xmlns:a16="http://schemas.microsoft.com/office/drawing/2014/main" id="{74E32B58-E4F8-4E88-A5CB-8EDD35949A30}"/>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20">
                <a:extLst>
                  <a:ext uri="{FF2B5EF4-FFF2-40B4-BE49-F238E27FC236}">
                    <a16:creationId xmlns:a16="http://schemas.microsoft.com/office/drawing/2014/main" id="{172AAA69-DB34-4044-9451-5621A8CEDC8D}"/>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21">
                <a:extLst>
                  <a:ext uri="{FF2B5EF4-FFF2-40B4-BE49-F238E27FC236}">
                    <a16:creationId xmlns:a16="http://schemas.microsoft.com/office/drawing/2014/main" id="{EA3A0EB4-A1E4-49B0-8E77-8B2085E7F589}"/>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22">
                <a:extLst>
                  <a:ext uri="{FF2B5EF4-FFF2-40B4-BE49-F238E27FC236}">
                    <a16:creationId xmlns:a16="http://schemas.microsoft.com/office/drawing/2014/main" id="{2D847BCB-CE0B-47A3-A342-080BC988D3E6}"/>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23">
                <a:extLst>
                  <a:ext uri="{FF2B5EF4-FFF2-40B4-BE49-F238E27FC236}">
                    <a16:creationId xmlns:a16="http://schemas.microsoft.com/office/drawing/2014/main" id="{57A08BF3-BA9E-4B6E-BC54-44D43F883EDA}"/>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24">
                <a:extLst>
                  <a:ext uri="{FF2B5EF4-FFF2-40B4-BE49-F238E27FC236}">
                    <a16:creationId xmlns:a16="http://schemas.microsoft.com/office/drawing/2014/main" id="{637D32A7-F7AA-428E-AA41-97308E4D8CA5}"/>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25">
                <a:extLst>
                  <a:ext uri="{FF2B5EF4-FFF2-40B4-BE49-F238E27FC236}">
                    <a16:creationId xmlns:a16="http://schemas.microsoft.com/office/drawing/2014/main" id="{72613661-F14C-43F3-80EC-589B945A73D7}"/>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27">
                <a:extLst>
                  <a:ext uri="{FF2B5EF4-FFF2-40B4-BE49-F238E27FC236}">
                    <a16:creationId xmlns:a16="http://schemas.microsoft.com/office/drawing/2014/main" id="{7F1FC9B7-0096-47E5-A400-B2BBDD7BE3FE}"/>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128">
                <a:extLst>
                  <a:ext uri="{FF2B5EF4-FFF2-40B4-BE49-F238E27FC236}">
                    <a16:creationId xmlns:a16="http://schemas.microsoft.com/office/drawing/2014/main" id="{81581C3C-7292-4593-A1AD-C818691678C8}"/>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129">
                <a:extLst>
                  <a:ext uri="{FF2B5EF4-FFF2-40B4-BE49-F238E27FC236}">
                    <a16:creationId xmlns:a16="http://schemas.microsoft.com/office/drawing/2014/main" id="{9B93C8CC-7488-4D0C-A7AA-FC3F17EAA4C2}"/>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130">
                <a:extLst>
                  <a:ext uri="{FF2B5EF4-FFF2-40B4-BE49-F238E27FC236}">
                    <a16:creationId xmlns:a16="http://schemas.microsoft.com/office/drawing/2014/main" id="{E7F1CA81-F826-4DAE-B28D-137A2EF8D743}"/>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131">
                <a:extLst>
                  <a:ext uri="{FF2B5EF4-FFF2-40B4-BE49-F238E27FC236}">
                    <a16:creationId xmlns:a16="http://schemas.microsoft.com/office/drawing/2014/main" id="{6EAE9BEC-8817-40D2-B774-6FCD4B5C29A7}"/>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132">
                <a:extLst>
                  <a:ext uri="{FF2B5EF4-FFF2-40B4-BE49-F238E27FC236}">
                    <a16:creationId xmlns:a16="http://schemas.microsoft.com/office/drawing/2014/main" id="{771D0C1C-5981-4DF3-ADDA-87C59B9FAA2D}"/>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133">
                <a:extLst>
                  <a:ext uri="{FF2B5EF4-FFF2-40B4-BE49-F238E27FC236}">
                    <a16:creationId xmlns:a16="http://schemas.microsoft.com/office/drawing/2014/main" id="{160F79A8-FA2A-4FD8-93A6-964048DEC7C5}"/>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134">
                <a:extLst>
                  <a:ext uri="{FF2B5EF4-FFF2-40B4-BE49-F238E27FC236}">
                    <a16:creationId xmlns:a16="http://schemas.microsoft.com/office/drawing/2014/main" id="{6A00554E-8FCA-46B9-B6EA-AA3F52C76764}"/>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35">
                <a:extLst>
                  <a:ext uri="{FF2B5EF4-FFF2-40B4-BE49-F238E27FC236}">
                    <a16:creationId xmlns:a16="http://schemas.microsoft.com/office/drawing/2014/main" id="{F927DA4D-607F-403D-80DF-724738CD1C1C}"/>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36">
                <a:extLst>
                  <a:ext uri="{FF2B5EF4-FFF2-40B4-BE49-F238E27FC236}">
                    <a16:creationId xmlns:a16="http://schemas.microsoft.com/office/drawing/2014/main" id="{8CFF5FC1-29C9-45FF-A044-EF75EEA74650}"/>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137">
                <a:extLst>
                  <a:ext uri="{FF2B5EF4-FFF2-40B4-BE49-F238E27FC236}">
                    <a16:creationId xmlns:a16="http://schemas.microsoft.com/office/drawing/2014/main" id="{45733734-1382-49B3-B225-B3C64C2FC5BD}"/>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138">
                <a:extLst>
                  <a:ext uri="{FF2B5EF4-FFF2-40B4-BE49-F238E27FC236}">
                    <a16:creationId xmlns:a16="http://schemas.microsoft.com/office/drawing/2014/main" id="{8C4A3A08-F715-4BD7-8837-6C807A98530E}"/>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139">
                <a:extLst>
                  <a:ext uri="{FF2B5EF4-FFF2-40B4-BE49-F238E27FC236}">
                    <a16:creationId xmlns:a16="http://schemas.microsoft.com/office/drawing/2014/main" id="{ABCD9A74-554E-4DE1-A2BF-B1F5C64068FA}"/>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140">
                <a:extLst>
                  <a:ext uri="{FF2B5EF4-FFF2-40B4-BE49-F238E27FC236}">
                    <a16:creationId xmlns:a16="http://schemas.microsoft.com/office/drawing/2014/main" id="{3A975E57-CE4B-4A56-82D6-B0D503BED4C0}"/>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141">
                <a:extLst>
                  <a:ext uri="{FF2B5EF4-FFF2-40B4-BE49-F238E27FC236}">
                    <a16:creationId xmlns:a16="http://schemas.microsoft.com/office/drawing/2014/main" id="{E802BB90-0670-4B71-BA36-F788E34E3626}"/>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142">
                <a:extLst>
                  <a:ext uri="{FF2B5EF4-FFF2-40B4-BE49-F238E27FC236}">
                    <a16:creationId xmlns:a16="http://schemas.microsoft.com/office/drawing/2014/main" id="{56555BD9-B286-4A68-A729-9E0215BB80D0}"/>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143">
                <a:extLst>
                  <a:ext uri="{FF2B5EF4-FFF2-40B4-BE49-F238E27FC236}">
                    <a16:creationId xmlns:a16="http://schemas.microsoft.com/office/drawing/2014/main" id="{CFBA9559-8011-4DCA-A98E-C7843FFF5331}"/>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144">
                <a:extLst>
                  <a:ext uri="{FF2B5EF4-FFF2-40B4-BE49-F238E27FC236}">
                    <a16:creationId xmlns:a16="http://schemas.microsoft.com/office/drawing/2014/main" id="{FC2E7771-172F-47EC-81B7-E1345898E0F1}"/>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145">
                <a:extLst>
                  <a:ext uri="{FF2B5EF4-FFF2-40B4-BE49-F238E27FC236}">
                    <a16:creationId xmlns:a16="http://schemas.microsoft.com/office/drawing/2014/main" id="{1EEB1439-ED07-492A-9E07-93EF6145FEEA}"/>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146">
                <a:extLst>
                  <a:ext uri="{FF2B5EF4-FFF2-40B4-BE49-F238E27FC236}">
                    <a16:creationId xmlns:a16="http://schemas.microsoft.com/office/drawing/2014/main" id="{193023EF-5A34-4EE1-98D9-8C3B61A0CEC2}"/>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147">
                <a:extLst>
                  <a:ext uri="{FF2B5EF4-FFF2-40B4-BE49-F238E27FC236}">
                    <a16:creationId xmlns:a16="http://schemas.microsoft.com/office/drawing/2014/main" id="{5C0B1A09-60E2-4736-B7C7-8BDE0C97268D}"/>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148">
                <a:extLst>
                  <a:ext uri="{FF2B5EF4-FFF2-40B4-BE49-F238E27FC236}">
                    <a16:creationId xmlns:a16="http://schemas.microsoft.com/office/drawing/2014/main" id="{A475EFC6-2937-4F25-AF25-C93D6F803A89}"/>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149">
                <a:extLst>
                  <a:ext uri="{FF2B5EF4-FFF2-40B4-BE49-F238E27FC236}">
                    <a16:creationId xmlns:a16="http://schemas.microsoft.com/office/drawing/2014/main" id="{33E0C865-0400-43F6-AE48-1CC7499D1584}"/>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150">
                <a:extLst>
                  <a:ext uri="{FF2B5EF4-FFF2-40B4-BE49-F238E27FC236}">
                    <a16:creationId xmlns:a16="http://schemas.microsoft.com/office/drawing/2014/main" id="{1B049606-2312-44F1-8B6D-E66C144DCFEC}"/>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151">
                <a:extLst>
                  <a:ext uri="{FF2B5EF4-FFF2-40B4-BE49-F238E27FC236}">
                    <a16:creationId xmlns:a16="http://schemas.microsoft.com/office/drawing/2014/main" id="{EABF83F1-A835-4E17-837E-E9BE598C81F2}"/>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152">
                <a:extLst>
                  <a:ext uri="{FF2B5EF4-FFF2-40B4-BE49-F238E27FC236}">
                    <a16:creationId xmlns:a16="http://schemas.microsoft.com/office/drawing/2014/main" id="{7A05884A-2FA8-49F5-A48B-87C5D1875358}"/>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153">
                <a:extLst>
                  <a:ext uri="{FF2B5EF4-FFF2-40B4-BE49-F238E27FC236}">
                    <a16:creationId xmlns:a16="http://schemas.microsoft.com/office/drawing/2014/main" id="{F1C7C850-333E-4137-9F52-DF5797ED5B90}"/>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154">
                <a:extLst>
                  <a:ext uri="{FF2B5EF4-FFF2-40B4-BE49-F238E27FC236}">
                    <a16:creationId xmlns:a16="http://schemas.microsoft.com/office/drawing/2014/main" id="{04F24D10-53FB-4EB7-B9F4-F4B8D47F7E06}"/>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155">
                <a:extLst>
                  <a:ext uri="{FF2B5EF4-FFF2-40B4-BE49-F238E27FC236}">
                    <a16:creationId xmlns:a16="http://schemas.microsoft.com/office/drawing/2014/main" id="{E42BE77C-1DDB-4885-9070-908231D6B54A}"/>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156">
                <a:extLst>
                  <a:ext uri="{FF2B5EF4-FFF2-40B4-BE49-F238E27FC236}">
                    <a16:creationId xmlns:a16="http://schemas.microsoft.com/office/drawing/2014/main" id="{F2481323-97D8-4411-9DE7-007C29CB22D5}"/>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157">
                <a:extLst>
                  <a:ext uri="{FF2B5EF4-FFF2-40B4-BE49-F238E27FC236}">
                    <a16:creationId xmlns:a16="http://schemas.microsoft.com/office/drawing/2014/main" id="{EDDB3AE5-B541-4FE0-BC29-FB5475E57243}"/>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159">
                <a:extLst>
                  <a:ext uri="{FF2B5EF4-FFF2-40B4-BE49-F238E27FC236}">
                    <a16:creationId xmlns:a16="http://schemas.microsoft.com/office/drawing/2014/main" id="{5773DC10-43AA-4B18-8A1A-8CCFF8DE3F85}"/>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160">
                <a:extLst>
                  <a:ext uri="{FF2B5EF4-FFF2-40B4-BE49-F238E27FC236}">
                    <a16:creationId xmlns:a16="http://schemas.microsoft.com/office/drawing/2014/main" id="{191D217B-7D0B-4A62-B1E3-A464529EB33F}"/>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161">
                <a:extLst>
                  <a:ext uri="{FF2B5EF4-FFF2-40B4-BE49-F238E27FC236}">
                    <a16:creationId xmlns:a16="http://schemas.microsoft.com/office/drawing/2014/main" id="{E2A4B97E-0099-4391-9A1E-8C2744362479}"/>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162">
                <a:extLst>
                  <a:ext uri="{FF2B5EF4-FFF2-40B4-BE49-F238E27FC236}">
                    <a16:creationId xmlns:a16="http://schemas.microsoft.com/office/drawing/2014/main" id="{A90A4A1E-F9AF-4608-B446-955B088CBDB2}"/>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165">
                <a:extLst>
                  <a:ext uri="{FF2B5EF4-FFF2-40B4-BE49-F238E27FC236}">
                    <a16:creationId xmlns:a16="http://schemas.microsoft.com/office/drawing/2014/main" id="{2BB45075-6164-4468-BB37-83B8EC1CA3BA}"/>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166">
                <a:extLst>
                  <a:ext uri="{FF2B5EF4-FFF2-40B4-BE49-F238E27FC236}">
                    <a16:creationId xmlns:a16="http://schemas.microsoft.com/office/drawing/2014/main" id="{919D173C-7F86-45C2-AB0F-C6F6311809ED}"/>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167">
                <a:extLst>
                  <a:ext uri="{FF2B5EF4-FFF2-40B4-BE49-F238E27FC236}">
                    <a16:creationId xmlns:a16="http://schemas.microsoft.com/office/drawing/2014/main" id="{2E2141BC-6271-4181-8663-5D32A4C986CC}"/>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168">
                <a:extLst>
                  <a:ext uri="{FF2B5EF4-FFF2-40B4-BE49-F238E27FC236}">
                    <a16:creationId xmlns:a16="http://schemas.microsoft.com/office/drawing/2014/main" id="{9E9FC834-BA4D-40C7-BCA1-9A8D3C45F8C6}"/>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169">
                <a:extLst>
                  <a:ext uri="{FF2B5EF4-FFF2-40B4-BE49-F238E27FC236}">
                    <a16:creationId xmlns:a16="http://schemas.microsoft.com/office/drawing/2014/main" id="{F72D6D50-6040-4419-B895-D2118825D5F5}"/>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170">
                <a:extLst>
                  <a:ext uri="{FF2B5EF4-FFF2-40B4-BE49-F238E27FC236}">
                    <a16:creationId xmlns:a16="http://schemas.microsoft.com/office/drawing/2014/main" id="{B66750E4-EDC1-40DF-9A9D-1FC19EA15778}"/>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171">
                <a:extLst>
                  <a:ext uri="{FF2B5EF4-FFF2-40B4-BE49-F238E27FC236}">
                    <a16:creationId xmlns:a16="http://schemas.microsoft.com/office/drawing/2014/main" id="{0164B8D6-87C3-4035-A187-B339C5CB0281}"/>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172">
                <a:extLst>
                  <a:ext uri="{FF2B5EF4-FFF2-40B4-BE49-F238E27FC236}">
                    <a16:creationId xmlns:a16="http://schemas.microsoft.com/office/drawing/2014/main" id="{6B4015FF-BF2A-4F46-AB18-CAD2C2835941}"/>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173">
                <a:extLst>
                  <a:ext uri="{FF2B5EF4-FFF2-40B4-BE49-F238E27FC236}">
                    <a16:creationId xmlns:a16="http://schemas.microsoft.com/office/drawing/2014/main" id="{8365C8BD-71AA-4763-8DA0-E3ECD91AF532}"/>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174">
                <a:extLst>
                  <a:ext uri="{FF2B5EF4-FFF2-40B4-BE49-F238E27FC236}">
                    <a16:creationId xmlns:a16="http://schemas.microsoft.com/office/drawing/2014/main" id="{19CBFC91-307F-4A75-AF4D-954E5F06675E}"/>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175">
                <a:extLst>
                  <a:ext uri="{FF2B5EF4-FFF2-40B4-BE49-F238E27FC236}">
                    <a16:creationId xmlns:a16="http://schemas.microsoft.com/office/drawing/2014/main" id="{7DB09ADC-EE60-4BFA-8965-A13CE0877C94}"/>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176">
                <a:extLst>
                  <a:ext uri="{FF2B5EF4-FFF2-40B4-BE49-F238E27FC236}">
                    <a16:creationId xmlns:a16="http://schemas.microsoft.com/office/drawing/2014/main" id="{5F612F07-26EA-45FC-A6A9-CACAD599B163}"/>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77">
                <a:extLst>
                  <a:ext uri="{FF2B5EF4-FFF2-40B4-BE49-F238E27FC236}">
                    <a16:creationId xmlns:a16="http://schemas.microsoft.com/office/drawing/2014/main" id="{B37C169E-05F7-4F09-BB91-FDF1FA4AB816}"/>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78">
                <a:extLst>
                  <a:ext uri="{FF2B5EF4-FFF2-40B4-BE49-F238E27FC236}">
                    <a16:creationId xmlns:a16="http://schemas.microsoft.com/office/drawing/2014/main" id="{DB1CCE59-D01C-4498-8428-6F422AC2365D}"/>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79">
                <a:extLst>
                  <a:ext uri="{FF2B5EF4-FFF2-40B4-BE49-F238E27FC236}">
                    <a16:creationId xmlns:a16="http://schemas.microsoft.com/office/drawing/2014/main" id="{F7988573-2527-4619-9B40-44B145BE3674}"/>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80">
                <a:extLst>
                  <a:ext uri="{FF2B5EF4-FFF2-40B4-BE49-F238E27FC236}">
                    <a16:creationId xmlns:a16="http://schemas.microsoft.com/office/drawing/2014/main" id="{37D15F75-35B9-44BC-AE67-6BF589890F89}"/>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81">
                <a:extLst>
                  <a:ext uri="{FF2B5EF4-FFF2-40B4-BE49-F238E27FC236}">
                    <a16:creationId xmlns:a16="http://schemas.microsoft.com/office/drawing/2014/main" id="{56893D7D-6A56-4356-8DBF-8B596646383B}"/>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60" name="Text Placeholder 553">
            <a:extLst>
              <a:ext uri="{FF2B5EF4-FFF2-40B4-BE49-F238E27FC236}">
                <a16:creationId xmlns:a16="http://schemas.microsoft.com/office/drawing/2014/main" id="{D912895C-B21A-4D2F-8D0B-7647A17FE88C}"/>
              </a:ext>
            </a:extLst>
          </p:cNvPr>
          <p:cNvSpPr>
            <a:spLocks noGrp="1"/>
          </p:cNvSpPr>
          <p:nvPr>
            <p:ph type="body" sz="quarter" idx="14" hasCustomPrompt="1"/>
          </p:nvPr>
        </p:nvSpPr>
        <p:spPr>
          <a:xfrm>
            <a:off x="6108111" y="2605399"/>
            <a:ext cx="470585" cy="568049"/>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640080" anchor="ctr" anchorCtr="0">
            <a:noAutofit/>
          </a:bodyPr>
          <a:lstStyle>
            <a:lvl1pPr>
              <a:defRPr sz="2400" b="1"/>
            </a:lvl1pPr>
          </a:lstStyle>
          <a:p>
            <a:pPr lvl="0"/>
            <a:r>
              <a:rPr lang="en-US"/>
              <a:t>Bucharest, Romania</a:t>
            </a:r>
          </a:p>
        </p:txBody>
      </p:sp>
      <p:sp>
        <p:nvSpPr>
          <p:cNvPr id="2" name="Title 1">
            <a:extLst>
              <a:ext uri="{FF2B5EF4-FFF2-40B4-BE49-F238E27FC236}">
                <a16:creationId xmlns:a16="http://schemas.microsoft.com/office/drawing/2014/main" id="{72AE62B8-76B4-48AF-BECC-7E8965977A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5879163"/>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sktop Screenshot">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2C32A2-735E-4F61-B7C3-7EDF7AB8BD88}"/>
              </a:ext>
            </a:extLst>
          </p:cNvPr>
          <p:cNvPicPr>
            <a:picLocks noChangeAspect="1"/>
          </p:cNvPicPr>
          <p:nvPr userDrawn="1"/>
        </p:nvPicPr>
        <p:blipFill>
          <a:blip r:embed="rId2"/>
          <a:srcRect/>
          <a:stretch/>
        </p:blipFill>
        <p:spPr>
          <a:xfrm>
            <a:off x="2526764" y="1040665"/>
            <a:ext cx="6579136" cy="5534114"/>
          </a:xfrm>
          <a:prstGeom prst="rect">
            <a:avLst/>
          </a:prstGeom>
        </p:spPr>
      </p:pic>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2795588" y="1400175"/>
            <a:ext cx="6029325" cy="3386137"/>
          </a:xfrm>
        </p:spPr>
        <p:txBody>
          <a:bodyPr anchor="ctr"/>
          <a:lstStyle>
            <a:lvl1pPr algn="ctr">
              <a:defRPr/>
            </a:lvl1pPr>
          </a:lstStyle>
          <a:p>
            <a:r>
              <a:rPr lang="en-US"/>
              <a:t>Click icon to add picture</a:t>
            </a:r>
          </a:p>
        </p:txBody>
      </p:sp>
    </p:spTree>
    <p:extLst>
      <p:ext uri="{BB962C8B-B14F-4D97-AF65-F5344CB8AC3E}">
        <p14:creationId xmlns:p14="http://schemas.microsoft.com/office/powerpoint/2010/main" val="27815078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Bkgrd Fill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3" name="Graphic 32">
            <a:extLst>
              <a:ext uri="{FF2B5EF4-FFF2-40B4-BE49-F238E27FC236}">
                <a16:creationId xmlns:a16="http://schemas.microsoft.com/office/drawing/2014/main" id="{5EDD7DE1-19E3-4DB0-B56F-BC9ECB594C01}"/>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418" r="440"/>
          <a:stretch/>
        </p:blipFill>
        <p:spPr>
          <a:xfrm>
            <a:off x="6094412" y="986"/>
            <a:ext cx="6094409" cy="6860192"/>
          </a:xfrm>
          <a:prstGeom prst="rect">
            <a:avLst/>
          </a:prstGeom>
        </p:spPr>
      </p:pic>
      <p:sp>
        <p:nvSpPr>
          <p:cNvPr id="2" name="Rectangle 1">
            <a:extLst>
              <a:ext uri="{FF2B5EF4-FFF2-40B4-BE49-F238E27FC236}">
                <a16:creationId xmlns:a16="http://schemas.microsoft.com/office/drawing/2014/main" id="{922B0458-E72E-4D51-B452-0B9416404821}"/>
              </a:ext>
            </a:extLst>
          </p:cNvPr>
          <p:cNvSpPr/>
          <p:nvPr userDrawn="1"/>
        </p:nvSpPr>
        <p:spPr>
          <a:xfrm>
            <a:off x="0" y="0"/>
            <a:ext cx="6094413"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9" name="Subtitle 2">
            <a:extLst>
              <a:ext uri="{FF2B5EF4-FFF2-40B4-BE49-F238E27FC236}">
                <a16:creationId xmlns:a16="http://schemas.microsoft.com/office/drawing/2014/main" id="{AFFC2B96-DB9F-4E96-9BA2-A52D2687B368}"/>
              </a:ext>
            </a:extLst>
          </p:cNvPr>
          <p:cNvSpPr>
            <a:spLocks noGrp="1"/>
          </p:cNvSpPr>
          <p:nvPr>
            <p:ph type="subTitle" idx="1" hasCustomPrompt="1"/>
          </p:nvPr>
        </p:nvSpPr>
        <p:spPr>
          <a:xfrm>
            <a:off x="382972" y="3646288"/>
            <a:ext cx="5285422" cy="1623798"/>
          </a:xfrm>
        </p:spPr>
        <p:txBody>
          <a:bodyPr lIns="0" tIns="0" rIns="0" bIns="0" anchor="t" anchorCtr="0">
            <a:normAutofit/>
          </a:bodyPr>
          <a:lstStyle>
            <a:lvl1pPr marL="0" indent="0" algn="l">
              <a:lnSpc>
                <a:spcPct val="80000"/>
              </a:lnSpc>
              <a:spcBef>
                <a:spcPts val="0"/>
              </a:spcBef>
              <a:buNone/>
              <a:defRPr sz="5000" b="1" i="0" spc="-10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0" name="Text Placeholder 4">
            <a:extLst>
              <a:ext uri="{FF2B5EF4-FFF2-40B4-BE49-F238E27FC236}">
                <a16:creationId xmlns:a16="http://schemas.microsoft.com/office/drawing/2014/main" id="{BE6E51BF-7D83-4DE3-8AE5-5983CC7D6205}"/>
              </a:ext>
            </a:extLst>
          </p:cNvPr>
          <p:cNvSpPr>
            <a:spLocks noGrp="1"/>
          </p:cNvSpPr>
          <p:nvPr>
            <p:ph type="body" sz="quarter" idx="12" hasCustomPrompt="1"/>
          </p:nvPr>
        </p:nvSpPr>
        <p:spPr>
          <a:xfrm>
            <a:off x="386021" y="3003840"/>
            <a:ext cx="5285422" cy="510040"/>
          </a:xfrm>
        </p:spPr>
        <p:txBody>
          <a:bodyPr anchor="ctr" anchorCtr="0"/>
          <a:lstStyle>
            <a:lvl1pPr>
              <a:defRPr sz="5000" b="1" spc="-100" baseline="0">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834C5100-AB81-46B2-8F88-5CE3F132546E}"/>
              </a:ext>
            </a:extLst>
          </p:cNvPr>
          <p:cNvSpPr>
            <a:spLocks noGrp="1"/>
          </p:cNvSpPr>
          <p:nvPr>
            <p:ph type="ctrTitle"/>
          </p:nvPr>
        </p:nvSpPr>
        <p:spPr>
          <a:xfrm>
            <a:off x="382972" y="880649"/>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13" name="Freeform: Shape 17">
            <a:extLst>
              <a:ext uri="{FF2B5EF4-FFF2-40B4-BE49-F238E27FC236}">
                <a16:creationId xmlns:a16="http://schemas.microsoft.com/office/drawing/2014/main" id="{2C8D9C2C-10FF-4EA8-8F09-FB68B7B79595}"/>
              </a:ext>
            </a:extLst>
          </p:cNvPr>
          <p:cNvSpPr txBox="1">
            <a:spLocks/>
          </p:cNvSpPr>
          <p:nvPr/>
        </p:nvSpPr>
        <p:spPr>
          <a:xfrm>
            <a:off x="7415115" y="-16223"/>
            <a:ext cx="1059710" cy="1030447"/>
          </a:xfrm>
          <a:custGeom>
            <a:avLst/>
            <a:gdLst>
              <a:gd name="connsiteX0" fmla="*/ 0 w 1059710"/>
              <a:gd name="connsiteY0" fmla="*/ 0 h 1030447"/>
              <a:gd name="connsiteX1" fmla="*/ 530730 w 1059710"/>
              <a:gd name="connsiteY1" fmla="*/ 0 h 1030447"/>
              <a:gd name="connsiteX2" fmla="*/ 538263 w 1059710"/>
              <a:gd name="connsiteY2" fmla="*/ 74726 h 1030447"/>
              <a:gd name="connsiteX3" fmla="*/ 1059710 w 1059710"/>
              <a:gd name="connsiteY3" fmla="*/ 499718 h 1030447"/>
              <a:gd name="connsiteX4" fmla="*/ 1059710 w 1059710"/>
              <a:gd name="connsiteY4" fmla="*/ 1030447 h 1030447"/>
              <a:gd name="connsiteX5" fmla="*/ 18316 w 1059710"/>
              <a:gd name="connsiteY5" fmla="*/ 181687 h 103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9710" h="1030447">
                <a:moveTo>
                  <a:pt x="0" y="0"/>
                </a:moveTo>
                <a:lnTo>
                  <a:pt x="530730" y="0"/>
                </a:lnTo>
                <a:lnTo>
                  <a:pt x="538263" y="74726"/>
                </a:lnTo>
                <a:cubicBezTo>
                  <a:pt x="587894" y="317268"/>
                  <a:pt x="802496" y="499718"/>
                  <a:pt x="1059710" y="499718"/>
                </a:cubicBezTo>
                <a:lnTo>
                  <a:pt x="1059710" y="1030447"/>
                </a:lnTo>
                <a:cubicBezTo>
                  <a:pt x="546021" y="1030447"/>
                  <a:pt x="117435" y="666073"/>
                  <a:pt x="18316" y="181687"/>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4" name="Freeform: Shape 21">
            <a:extLst>
              <a:ext uri="{FF2B5EF4-FFF2-40B4-BE49-F238E27FC236}">
                <a16:creationId xmlns:a16="http://schemas.microsoft.com/office/drawing/2014/main" id="{1503FAC8-660A-4B09-BBC1-A3DC971FD446}"/>
              </a:ext>
            </a:extLst>
          </p:cNvPr>
          <p:cNvSpPr txBox="1">
            <a:spLocks/>
          </p:cNvSpPr>
          <p:nvPr/>
        </p:nvSpPr>
        <p:spPr>
          <a:xfrm>
            <a:off x="6333155" y="482789"/>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5" name="Freeform: Shape 22">
            <a:extLst>
              <a:ext uri="{FF2B5EF4-FFF2-40B4-BE49-F238E27FC236}">
                <a16:creationId xmlns:a16="http://schemas.microsoft.com/office/drawing/2014/main" id="{BA7E167D-EC14-4B1E-91D2-7F3670804026}"/>
              </a:ext>
            </a:extLst>
          </p:cNvPr>
          <p:cNvSpPr txBox="1">
            <a:spLocks/>
          </p:cNvSpPr>
          <p:nvPr/>
        </p:nvSpPr>
        <p:spPr>
          <a:xfrm>
            <a:off x="9015845" y="-16225"/>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 name="Freeform: Shape 23">
            <a:extLst>
              <a:ext uri="{FF2B5EF4-FFF2-40B4-BE49-F238E27FC236}">
                <a16:creationId xmlns:a16="http://schemas.microsoft.com/office/drawing/2014/main" id="{A8C4F75A-8F45-4964-9121-70D4A6151309}"/>
              </a:ext>
            </a:extLst>
          </p:cNvPr>
          <p:cNvSpPr txBox="1">
            <a:spLocks/>
          </p:cNvSpPr>
          <p:nvPr/>
        </p:nvSpPr>
        <p:spPr>
          <a:xfrm>
            <a:off x="10362964" y="-16226"/>
            <a:ext cx="1825857" cy="1030511"/>
          </a:xfrm>
          <a:custGeom>
            <a:avLst/>
            <a:gdLst>
              <a:gd name="connsiteX0" fmla="*/ 0 w 1825857"/>
              <a:gd name="connsiteY0" fmla="*/ 0 h 1030511"/>
              <a:gd name="connsiteX1" fmla="*/ 530728 w 1825857"/>
              <a:gd name="connsiteY1" fmla="*/ 0 h 1030511"/>
              <a:gd name="connsiteX2" fmla="*/ 538268 w 1825857"/>
              <a:gd name="connsiteY2" fmla="*/ 74789 h 1030511"/>
              <a:gd name="connsiteX3" fmla="*/ 1059716 w 1825857"/>
              <a:gd name="connsiteY3" fmla="*/ 499781 h 1030511"/>
              <a:gd name="connsiteX4" fmla="*/ 1581162 w 1825857"/>
              <a:gd name="connsiteY4" fmla="*/ 74789 h 1030511"/>
              <a:gd name="connsiteX5" fmla="*/ 1588702 w 1825857"/>
              <a:gd name="connsiteY5" fmla="*/ 0 h 1030511"/>
              <a:gd name="connsiteX6" fmla="*/ 1825857 w 1825857"/>
              <a:gd name="connsiteY6" fmla="*/ 0 h 1030511"/>
              <a:gd name="connsiteX7" fmla="*/ 1825857 w 1825857"/>
              <a:gd name="connsiteY7" fmla="*/ 703222 h 1030511"/>
              <a:gd name="connsiteX8" fmla="*/ 1811362 w 1825857"/>
              <a:gd name="connsiteY8" fmla="*/ 719168 h 1030511"/>
              <a:gd name="connsiteX9" fmla="*/ 1059716 w 1825857"/>
              <a:gd name="connsiteY9" fmla="*/ 1030511 h 1030511"/>
              <a:gd name="connsiteX10" fmla="*/ 18322 w 1825857"/>
              <a:gd name="connsiteY10" fmla="*/ 181750 h 103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5857" h="1030511">
                <a:moveTo>
                  <a:pt x="0" y="0"/>
                </a:moveTo>
                <a:lnTo>
                  <a:pt x="530728" y="0"/>
                </a:lnTo>
                <a:lnTo>
                  <a:pt x="538268" y="74789"/>
                </a:lnTo>
                <a:cubicBezTo>
                  <a:pt x="587899" y="317331"/>
                  <a:pt x="802501" y="499781"/>
                  <a:pt x="1059716" y="499781"/>
                </a:cubicBezTo>
                <a:cubicBezTo>
                  <a:pt x="1316929" y="499781"/>
                  <a:pt x="1531531" y="317331"/>
                  <a:pt x="1581162" y="74789"/>
                </a:cubicBezTo>
                <a:lnTo>
                  <a:pt x="1588702" y="0"/>
                </a:lnTo>
                <a:lnTo>
                  <a:pt x="1825857" y="0"/>
                </a:lnTo>
                <a:lnTo>
                  <a:pt x="1825857" y="703222"/>
                </a:lnTo>
                <a:lnTo>
                  <a:pt x="1811362" y="719168"/>
                </a:lnTo>
                <a:cubicBezTo>
                  <a:pt x="1619000" y="911532"/>
                  <a:pt x="1353252" y="1030511"/>
                  <a:pt x="1059716" y="1030511"/>
                </a:cubicBezTo>
                <a:cubicBezTo>
                  <a:pt x="546026" y="1030511"/>
                  <a:pt x="117442" y="666137"/>
                  <a:pt x="18322" y="181750"/>
                </a:cubicBezTo>
                <a:close/>
              </a:path>
            </a:pathLst>
          </a:custGeom>
          <a:solidFill>
            <a:schemeClr val="bg1">
              <a:alpha val="20000"/>
            </a:schemeClr>
          </a:solidFill>
        </p:spPr>
        <p:txBody>
          <a:bodyPr vert="horz" wrap="square" lIns="0" tIns="0" rIns="0" bIns="0" rtlCol="0" anchor="b" anchorCtr="0">
            <a:noAutofit/>
          </a:bodyPr>
          <a:lstStyle>
            <a:lvl1pPr marL="0" indent="0" algn="l" defTabSz="457200" rtl="0" eaLnBrk="1" latinLnBrk="0" hangingPunct="1">
              <a:lnSpc>
                <a:spcPct val="90000"/>
              </a:lnSpc>
              <a:spcBef>
                <a:spcPts val="500"/>
              </a:spcBef>
              <a:buFont typeface="Arial"/>
              <a:buNone/>
              <a:defRPr sz="1500" b="1" kern="1200" spc="-30" baseline="0">
                <a:solidFill>
                  <a:schemeClr val="bg1">
                    <a:alpha val="0"/>
                  </a:schemeClr>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7" name="Freeform: Shape 24">
            <a:extLst>
              <a:ext uri="{FF2B5EF4-FFF2-40B4-BE49-F238E27FC236}">
                <a16:creationId xmlns:a16="http://schemas.microsoft.com/office/drawing/2014/main" id="{E4A3B43E-70F9-4676-BFBE-0BAE4CF79E22}"/>
              </a:ext>
            </a:extLst>
          </p:cNvPr>
          <p:cNvSpPr txBox="1">
            <a:spLocks/>
          </p:cNvSpPr>
          <p:nvPr/>
        </p:nvSpPr>
        <p:spPr>
          <a:xfrm>
            <a:off x="6348844" y="1548009"/>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baseline="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8" name="Freeform: Shape 25">
            <a:extLst>
              <a:ext uri="{FF2B5EF4-FFF2-40B4-BE49-F238E27FC236}">
                <a16:creationId xmlns:a16="http://schemas.microsoft.com/office/drawing/2014/main" id="{BDB47D9A-48AD-430C-9273-585A62BBC5D7}"/>
              </a:ext>
            </a:extLst>
          </p:cNvPr>
          <p:cNvSpPr txBox="1">
            <a:spLocks/>
          </p:cNvSpPr>
          <p:nvPr/>
        </p:nvSpPr>
        <p:spPr>
          <a:xfrm>
            <a:off x="11657947" y="1548009"/>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alpha val="20000"/>
            </a:schemeClr>
          </a:solidFill>
        </p:spPr>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baseline="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9" name="Freeform: Shape 26">
            <a:extLst>
              <a:ext uri="{FF2B5EF4-FFF2-40B4-BE49-F238E27FC236}">
                <a16:creationId xmlns:a16="http://schemas.microsoft.com/office/drawing/2014/main" id="{848BA893-706A-4DC4-BA07-5A1792CE134E}"/>
              </a:ext>
            </a:extLst>
          </p:cNvPr>
          <p:cNvSpPr txBox="1">
            <a:spLocks/>
          </p:cNvSpPr>
          <p:nvPr/>
        </p:nvSpPr>
        <p:spPr>
          <a:xfrm>
            <a:off x="11657948" y="4209699"/>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 name="Freeform: Shape 27">
            <a:extLst>
              <a:ext uri="{FF2B5EF4-FFF2-40B4-BE49-F238E27FC236}">
                <a16:creationId xmlns:a16="http://schemas.microsoft.com/office/drawing/2014/main" id="{4A6A6EB0-F592-47B7-BAC3-462186D46040}"/>
              </a:ext>
            </a:extLst>
          </p:cNvPr>
          <p:cNvSpPr txBox="1">
            <a:spLocks/>
          </p:cNvSpPr>
          <p:nvPr/>
        </p:nvSpPr>
        <p:spPr>
          <a:xfrm>
            <a:off x="8738227" y="5823862"/>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Freeform: Shape 28">
            <a:extLst>
              <a:ext uri="{FF2B5EF4-FFF2-40B4-BE49-F238E27FC236}">
                <a16:creationId xmlns:a16="http://schemas.microsoft.com/office/drawing/2014/main" id="{31F2AEBF-9065-45CD-AD57-7F84B02404A7}"/>
              </a:ext>
            </a:extLst>
          </p:cNvPr>
          <p:cNvSpPr txBox="1">
            <a:spLocks/>
          </p:cNvSpPr>
          <p:nvPr/>
        </p:nvSpPr>
        <p:spPr>
          <a:xfrm>
            <a:off x="10612869" y="4738654"/>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6" name="Freeform: Shape 29">
            <a:extLst>
              <a:ext uri="{FF2B5EF4-FFF2-40B4-BE49-F238E27FC236}">
                <a16:creationId xmlns:a16="http://schemas.microsoft.com/office/drawing/2014/main" id="{5A569112-41E0-4212-8FEF-C1AAC76C47A5}"/>
              </a:ext>
            </a:extLst>
          </p:cNvPr>
          <p:cNvSpPr txBox="1">
            <a:spLocks/>
          </p:cNvSpPr>
          <p:nvPr/>
        </p:nvSpPr>
        <p:spPr>
          <a:xfrm>
            <a:off x="6642711" y="2873006"/>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7" name="Freeform: Shape 30">
            <a:extLst>
              <a:ext uri="{FF2B5EF4-FFF2-40B4-BE49-F238E27FC236}">
                <a16:creationId xmlns:a16="http://schemas.microsoft.com/office/drawing/2014/main" id="{55457D17-0F15-40B8-AE85-EB13409D2893}"/>
              </a:ext>
            </a:extLst>
          </p:cNvPr>
          <p:cNvSpPr txBox="1">
            <a:spLocks/>
          </p:cNvSpPr>
          <p:nvPr/>
        </p:nvSpPr>
        <p:spPr>
          <a:xfrm>
            <a:off x="6355705" y="5004370"/>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8" name="Freeform: Shape 31">
            <a:extLst>
              <a:ext uri="{FF2B5EF4-FFF2-40B4-BE49-F238E27FC236}">
                <a16:creationId xmlns:a16="http://schemas.microsoft.com/office/drawing/2014/main" id="{2607EC59-365F-4CC0-A18B-8257E9403903}"/>
              </a:ext>
            </a:extLst>
          </p:cNvPr>
          <p:cNvSpPr txBox="1">
            <a:spLocks/>
          </p:cNvSpPr>
          <p:nvPr/>
        </p:nvSpPr>
        <p:spPr>
          <a:xfrm flipV="1">
            <a:off x="7944970" y="2898405"/>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Freeform: Shape 32">
            <a:extLst>
              <a:ext uri="{FF2B5EF4-FFF2-40B4-BE49-F238E27FC236}">
                <a16:creationId xmlns:a16="http://schemas.microsoft.com/office/drawing/2014/main" id="{4AFBA5AA-0E1A-4183-B5BA-1D09FCECE6A9}"/>
              </a:ext>
            </a:extLst>
          </p:cNvPr>
          <p:cNvSpPr txBox="1">
            <a:spLocks/>
          </p:cNvSpPr>
          <p:nvPr/>
        </p:nvSpPr>
        <p:spPr>
          <a:xfrm>
            <a:off x="10347151" y="2086894"/>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pic>
        <p:nvPicPr>
          <p:cNvPr id="24" name="Picture 23" descr="A close up of a sign&#10;&#10;Description automatically generated">
            <a:extLst>
              <a:ext uri="{FF2B5EF4-FFF2-40B4-BE49-F238E27FC236}">
                <a16:creationId xmlns:a16="http://schemas.microsoft.com/office/drawing/2014/main" id="{D53A3DF0-9B59-4544-AB32-136B8BB715C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30212" y="6081015"/>
            <a:ext cx="2448162" cy="560909"/>
          </a:xfrm>
          <a:prstGeom prst="rect">
            <a:avLst/>
          </a:prstGeom>
        </p:spPr>
      </p:pic>
    </p:spTree>
    <p:extLst>
      <p:ext uri="{BB962C8B-B14F-4D97-AF65-F5344CB8AC3E}">
        <p14:creationId xmlns:p14="http://schemas.microsoft.com/office/powerpoint/2010/main" val="9333139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ptop Screensho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8AA178-7695-486F-AE3D-C1BB3F583729}"/>
              </a:ext>
            </a:extLst>
          </p:cNvPr>
          <p:cNvSpPr/>
          <p:nvPr userDrawn="1"/>
        </p:nvSpPr>
        <p:spPr>
          <a:xfrm>
            <a:off x="2778011" y="1296369"/>
            <a:ext cx="6805516" cy="441145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pic>
        <p:nvPicPr>
          <p:cNvPr id="4" name="Picture 3">
            <a:extLst>
              <a:ext uri="{FF2B5EF4-FFF2-40B4-BE49-F238E27FC236}">
                <a16:creationId xmlns:a16="http://schemas.microsoft.com/office/drawing/2014/main" id="{C3ED9E8F-DE34-408C-8ECF-DE7BEEA6A1A0}"/>
              </a:ext>
            </a:extLst>
          </p:cNvPr>
          <p:cNvPicPr>
            <a:picLocks noChangeAspect="1"/>
          </p:cNvPicPr>
          <p:nvPr userDrawn="1"/>
        </p:nvPicPr>
        <p:blipFill>
          <a:blip r:embed="rId2"/>
          <a:srcRect/>
          <a:stretch/>
        </p:blipFill>
        <p:spPr>
          <a:xfrm>
            <a:off x="1445418" y="862802"/>
            <a:ext cx="9297988" cy="5609576"/>
          </a:xfrm>
          <a:prstGeom prst="rect">
            <a:avLst/>
          </a:prstGeom>
        </p:spPr>
      </p:pic>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2814043" y="1523758"/>
            <a:ext cx="6568082" cy="4092359"/>
          </a:xfrm>
        </p:spPr>
        <p:txBody>
          <a:bodyPr anchor="ctr"/>
          <a:lstStyle>
            <a:lvl1pPr algn="ctr">
              <a:defRPr/>
            </a:lvl1pPr>
          </a:lstStyle>
          <a:p>
            <a:r>
              <a:rPr lang="en-US"/>
              <a:t>Click icon to add picture</a:t>
            </a:r>
          </a:p>
        </p:txBody>
      </p:sp>
      <p:pic>
        <p:nvPicPr>
          <p:cNvPr id="10" name="Graphic 9" hidden="1">
            <a:extLst>
              <a:ext uri="{FF2B5EF4-FFF2-40B4-BE49-F238E27FC236}">
                <a16:creationId xmlns:a16="http://schemas.microsoft.com/office/drawing/2014/main" id="{17CDA781-D5FC-4C3F-93B0-299A1CC43D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12103" y="715198"/>
            <a:ext cx="9301845" cy="5352540"/>
          </a:xfrm>
          <a:prstGeom prst="rect">
            <a:avLst/>
          </a:prstGeom>
        </p:spPr>
      </p:pic>
    </p:spTree>
    <p:extLst>
      <p:ext uri="{BB962C8B-B14F-4D97-AF65-F5344CB8AC3E}">
        <p14:creationId xmlns:p14="http://schemas.microsoft.com/office/powerpoint/2010/main" val="7077373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bg2"/>
        </a:solidFill>
        <a:effectLst/>
      </p:bgPr>
    </p:bg>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 y="0"/>
            <a:ext cx="12188825" cy="6858000"/>
          </a:xfrm>
          <a:solidFill>
            <a:schemeClr val="bg2"/>
          </a:solidFill>
        </p:spPr>
        <p:txBody>
          <a:bodyPr anchor="ctr"/>
          <a:lstStyle>
            <a:lvl1pPr algn="ctr">
              <a:defRPr/>
            </a:lvl1pPr>
          </a:lstStyle>
          <a:p>
            <a:r>
              <a:rPr lang="en-US"/>
              <a:t>Click icon to add picture</a:t>
            </a:r>
          </a:p>
        </p:txBody>
      </p:sp>
    </p:spTree>
    <p:extLst>
      <p:ext uri="{BB962C8B-B14F-4D97-AF65-F5344CB8AC3E}">
        <p14:creationId xmlns:p14="http://schemas.microsoft.com/office/powerpoint/2010/main" val="24090758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2B4579-08E6-446D-8BA1-312220878B00}"/>
              </a:ext>
            </a:extLst>
          </p:cNvPr>
          <p:cNvPicPr>
            <a:picLocks noChangeAspect="1"/>
          </p:cNvPicPr>
          <p:nvPr userDrawn="1"/>
        </p:nvPicPr>
        <p:blipFill>
          <a:blip r:embed="rId2"/>
          <a:srcRect/>
          <a:stretch/>
        </p:blipFill>
        <p:spPr>
          <a:xfrm>
            <a:off x="10350499" y="349030"/>
            <a:ext cx="1419617" cy="325698"/>
          </a:xfrm>
          <a:prstGeom prst="rect">
            <a:avLst/>
          </a:prstGeom>
        </p:spPr>
      </p:pic>
    </p:spTree>
    <p:extLst>
      <p:ext uri="{BB962C8B-B14F-4D97-AF65-F5344CB8AC3E}">
        <p14:creationId xmlns:p14="http://schemas.microsoft.com/office/powerpoint/2010/main" val="42570054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04C22-D44C-41A9-AAFB-C8BC9F54E6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551022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5A372-827C-4A8A-A73D-3DD63ED58925}"/>
              </a:ext>
            </a:extLst>
          </p:cNvPr>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0AF4AF6B-1F6A-4677-8B57-BBA720831A41}"/>
              </a:ext>
            </a:extLst>
          </p:cNvPr>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EB18CD1-6D72-495B-BCE3-A368416CBB8E}"/>
              </a:ext>
            </a:extLst>
          </p:cNvPr>
          <p:cNvSpPr>
            <a:spLocks noGrp="1"/>
          </p:cNvSpPr>
          <p:nvPr>
            <p:ph type="dt" sz="half" idx="10"/>
          </p:nvPr>
        </p:nvSpPr>
        <p:spPr/>
        <p:txBody>
          <a:bodyPr/>
          <a:lstStyle/>
          <a:p>
            <a:pPr defTabSz="914126">
              <a:buClr>
                <a:srgbClr val="000000"/>
              </a:buClr>
              <a:defRPr/>
            </a:pPr>
            <a:fld id="{B2749966-563E-4E91-B089-D182F3554B71}" type="datetimeFigureOut">
              <a:rPr lang="en-US" sz="1400" kern="0" smtClean="0">
                <a:solidFill>
                  <a:srgbClr val="000000"/>
                </a:solidFill>
                <a:cs typeface="Arial"/>
                <a:sym typeface="Arial"/>
              </a:rPr>
              <a:pPr defTabSz="914126">
                <a:buClr>
                  <a:srgbClr val="000000"/>
                </a:buClr>
                <a:defRPr/>
              </a:pPr>
              <a:t>1/7/2022</a:t>
            </a:fld>
            <a:endParaRPr lang="en-US" sz="1400" kern="0">
              <a:solidFill>
                <a:srgbClr val="000000"/>
              </a:solidFill>
              <a:cs typeface="Arial"/>
              <a:sym typeface="Arial"/>
            </a:endParaRPr>
          </a:p>
        </p:txBody>
      </p:sp>
      <p:sp>
        <p:nvSpPr>
          <p:cNvPr id="5" name="Footer Placeholder 4">
            <a:extLst>
              <a:ext uri="{FF2B5EF4-FFF2-40B4-BE49-F238E27FC236}">
                <a16:creationId xmlns:a16="http://schemas.microsoft.com/office/drawing/2014/main" id="{806C15EE-30D7-4BF2-9528-E4348D18C41A}"/>
              </a:ext>
            </a:extLst>
          </p:cNvPr>
          <p:cNvSpPr>
            <a:spLocks noGrp="1"/>
          </p:cNvSpPr>
          <p:nvPr>
            <p:ph type="ftr" sz="quarter" idx="11"/>
          </p:nvPr>
        </p:nvSpPr>
        <p:spPr/>
        <p:txBody>
          <a:bodyPr/>
          <a:lstStyle/>
          <a:p>
            <a:pPr defTabSz="914126">
              <a:buClr>
                <a:srgbClr val="000000"/>
              </a:buClr>
              <a:defRPr/>
            </a:pPr>
            <a:endParaRPr lang="en-US" sz="784" kern="0">
              <a:solidFill>
                <a:srgbClr val="000000"/>
              </a:solidFill>
              <a:cs typeface="Arial"/>
              <a:sym typeface="Arial"/>
            </a:endParaRPr>
          </a:p>
        </p:txBody>
      </p:sp>
      <p:sp>
        <p:nvSpPr>
          <p:cNvPr id="6" name="Slide Number Placeholder 5">
            <a:extLst>
              <a:ext uri="{FF2B5EF4-FFF2-40B4-BE49-F238E27FC236}">
                <a16:creationId xmlns:a16="http://schemas.microsoft.com/office/drawing/2014/main" id="{12FCF415-9233-4419-8993-AECF017388A8}"/>
              </a:ext>
            </a:extLst>
          </p:cNvPr>
          <p:cNvSpPr>
            <a:spLocks noGrp="1"/>
          </p:cNvSpPr>
          <p:nvPr>
            <p:ph type="sldNum" sz="quarter" idx="12"/>
          </p:nvPr>
        </p:nvSpPr>
        <p:spPr/>
        <p:txBody>
          <a:bodyPr/>
          <a:lstStyle/>
          <a:p>
            <a:pPr defTabSz="914126">
              <a:buClr>
                <a:srgbClr val="000000"/>
              </a:buClr>
              <a:defRPr/>
            </a:pPr>
            <a:fld id="{934B0701-6DEC-4557-ACEB-4CDEB0961289}" type="slidenum">
              <a:rPr lang="en-US" sz="784" kern="0" smtClean="0">
                <a:solidFill>
                  <a:srgbClr val="000000"/>
                </a:solidFill>
                <a:cs typeface="Arial"/>
                <a:sym typeface="Arial"/>
              </a:rPr>
              <a:pPr defTabSz="914126">
                <a:buClr>
                  <a:srgbClr val="000000"/>
                </a:buClr>
                <a:defRPr/>
              </a:pPr>
              <a:t>‹Nr.›</a:t>
            </a:fld>
            <a:endParaRPr lang="en-US" sz="784" kern="0">
              <a:solidFill>
                <a:srgbClr val="000000"/>
              </a:solidFill>
              <a:cs typeface="Arial"/>
              <a:sym typeface="Arial"/>
            </a:endParaRPr>
          </a:p>
        </p:txBody>
      </p:sp>
    </p:spTree>
    <p:extLst>
      <p:ext uri="{BB962C8B-B14F-4D97-AF65-F5344CB8AC3E}">
        <p14:creationId xmlns:p14="http://schemas.microsoft.com/office/powerpoint/2010/main" val="1233102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4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1942889" y="2804832"/>
            <a:ext cx="2258428" cy="2048436"/>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4479332" y="2804832"/>
            <a:ext cx="2257193" cy="2048436"/>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7014540" y="2804832"/>
            <a:ext cx="2258429" cy="2048436"/>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endParaRPr lang="en-US"/>
          </a:p>
        </p:txBody>
      </p:sp>
      <p:sp>
        <p:nvSpPr>
          <p:cNvPr id="7" name="Text Placeholder 7">
            <a:extLst>
              <a:ext uri="{FF2B5EF4-FFF2-40B4-BE49-F238E27FC236}">
                <a16:creationId xmlns:a16="http://schemas.microsoft.com/office/drawing/2014/main" id="{289AA023-A46F-450A-80A8-C6F3EBE56BA3}"/>
              </a:ext>
            </a:extLst>
          </p:cNvPr>
          <p:cNvSpPr>
            <a:spLocks noGrp="1"/>
          </p:cNvSpPr>
          <p:nvPr>
            <p:ph type="body" sz="quarter" idx="17"/>
          </p:nvPr>
        </p:nvSpPr>
        <p:spPr>
          <a:xfrm>
            <a:off x="9550985" y="2804832"/>
            <a:ext cx="2258429" cy="2048436"/>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endParaRPr lang="en-US"/>
          </a:p>
        </p:txBody>
      </p:sp>
      <p:sp>
        <p:nvSpPr>
          <p:cNvPr id="9" name="Title 8">
            <a:extLst>
              <a:ext uri="{FF2B5EF4-FFF2-40B4-BE49-F238E27FC236}">
                <a16:creationId xmlns:a16="http://schemas.microsoft.com/office/drawing/2014/main" id="{0D5DF6B6-3F3C-445E-8CC3-BAFA3D7DECE1}"/>
              </a:ext>
            </a:extLst>
          </p:cNvPr>
          <p:cNvSpPr>
            <a:spLocks noGrp="1"/>
          </p:cNvSpPr>
          <p:nvPr>
            <p:ph type="title"/>
          </p:nvPr>
        </p:nvSpPr>
        <p:spPr>
          <a:xfrm>
            <a:off x="1942889" y="912309"/>
            <a:ext cx="9864935" cy="916491"/>
          </a:xfrm>
        </p:spPr>
        <p:txBody>
          <a:bodyPr/>
          <a:lstStyle/>
          <a:p>
            <a:r>
              <a:rPr lang="en-US"/>
              <a:t>Click to edit Master title style</a:t>
            </a:r>
          </a:p>
        </p:txBody>
      </p:sp>
      <p:sp>
        <p:nvSpPr>
          <p:cNvPr id="10" name="Text Placeholder 12">
            <a:extLst>
              <a:ext uri="{FF2B5EF4-FFF2-40B4-BE49-F238E27FC236}">
                <a16:creationId xmlns:a16="http://schemas.microsoft.com/office/drawing/2014/main" id="{38906123-3E6D-4E61-9AB6-6B1A42B7A23A}"/>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19212811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2927351" y="1828800"/>
            <a:ext cx="7972424"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
        <p:nvSpPr>
          <p:cNvPr id="4" name="Text Placeholder 12">
            <a:extLst>
              <a:ext uri="{FF2B5EF4-FFF2-40B4-BE49-F238E27FC236}">
                <a16:creationId xmlns:a16="http://schemas.microsoft.com/office/drawing/2014/main" id="{A7FE044F-6493-4ECB-B580-2318E1DA6255}"/>
              </a:ext>
            </a:extLst>
          </p:cNvPr>
          <p:cNvSpPr>
            <a:spLocks noGrp="1"/>
          </p:cNvSpPr>
          <p:nvPr>
            <p:ph type="body" sz="quarter" idx="13"/>
          </p:nvPr>
        </p:nvSpPr>
        <p:spPr>
          <a:xfrm>
            <a:off x="1941518" y="356543"/>
            <a:ext cx="3780104" cy="316558"/>
          </a:xfrm>
        </p:spPr>
        <p:txBody>
          <a:bodyPr tIns="0"/>
          <a:lstStyle>
            <a:lvl1pPr>
              <a:lnSpc>
                <a:spcPct val="100000"/>
              </a:lnSpc>
              <a:spcBef>
                <a:spcPts val="0"/>
              </a:spcBef>
              <a:defRPr sz="750"/>
            </a:lvl1pPr>
            <a:lvl2pPr marL="112713" indent="-112713">
              <a:lnSpc>
                <a:spcPct val="100000"/>
              </a:lnSpc>
              <a:spcBef>
                <a:spcPts val="0"/>
              </a:spcBef>
              <a:defRPr sz="750"/>
            </a:lvl2pPr>
            <a:lvl3pPr marL="225425" indent="-112713">
              <a:lnSpc>
                <a:spcPct val="100000"/>
              </a:lnSpc>
              <a:spcBef>
                <a:spcPts val="0"/>
              </a:spcBef>
              <a:defRPr sz="750"/>
            </a:lvl3pPr>
            <a:lvl4pPr marL="339725" indent="-114300">
              <a:lnSpc>
                <a:spcPct val="100000"/>
              </a:lnSpc>
              <a:spcBef>
                <a:spcPts val="0"/>
              </a:spcBef>
              <a:defRPr sz="900"/>
            </a:lvl4pPr>
            <a:lvl5pPr marL="460375" indent="-120650">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687912538"/>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_Benefits v4">
    <p:bg>
      <p:bgPr>
        <a:solidFill>
          <a:schemeClr val="accent1"/>
        </a:solidFill>
        <a:effectLst/>
      </p:bgPr>
    </p:bg>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D511C554-A32C-0F40-A6C8-6BBE6BE627A9}"/>
              </a:ext>
            </a:extLst>
          </p:cNvPr>
          <p:cNvSpPr/>
          <p:nvPr userDrawn="1"/>
        </p:nvSpPr>
        <p:spPr>
          <a:xfrm flipH="1">
            <a:off x="5346944" y="0"/>
            <a:ext cx="2895339"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a:latin typeface="Arial"/>
              <a:cs typeface="Arial"/>
            </a:endParaRPr>
          </a:p>
        </p:txBody>
      </p:sp>
      <p:sp>
        <p:nvSpPr>
          <p:cNvPr id="47" name="Rectangle 46">
            <a:extLst>
              <a:ext uri="{FF2B5EF4-FFF2-40B4-BE49-F238E27FC236}">
                <a16:creationId xmlns:a16="http://schemas.microsoft.com/office/drawing/2014/main" id="{8990210C-FA5A-8748-B4BF-D75515467231}"/>
              </a:ext>
            </a:extLst>
          </p:cNvPr>
          <p:cNvSpPr/>
          <p:nvPr userDrawn="1"/>
        </p:nvSpPr>
        <p:spPr>
          <a:xfrm flipH="1">
            <a:off x="8243753" y="0"/>
            <a:ext cx="394507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a:latin typeface="Arial"/>
              <a:cs typeface="Arial"/>
            </a:endParaRPr>
          </a:p>
        </p:txBody>
      </p:sp>
      <p:pic>
        <p:nvPicPr>
          <p:cNvPr id="52" name="Picture 51">
            <a:extLst>
              <a:ext uri="{FF2B5EF4-FFF2-40B4-BE49-F238E27FC236}">
                <a16:creationId xmlns:a16="http://schemas.microsoft.com/office/drawing/2014/main" id="{2E04B34F-CF2D-3740-B169-6FA9E43921A0}"/>
              </a:ext>
            </a:extLst>
          </p:cNvPr>
          <p:cNvPicPr>
            <a:picLocks noChangeAspect="1"/>
          </p:cNvPicPr>
          <p:nvPr userDrawn="1"/>
        </p:nvPicPr>
        <p:blipFill>
          <a:blip r:embed="rId2"/>
          <a:srcRect/>
          <a:stretch/>
        </p:blipFill>
        <p:spPr>
          <a:xfrm>
            <a:off x="383994" y="6240523"/>
            <a:ext cx="1625226" cy="372870"/>
          </a:xfrm>
          <a:prstGeom prst="rect">
            <a:avLst/>
          </a:prstGeom>
        </p:spPr>
      </p:pic>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94853" y="1355518"/>
            <a:ext cx="4621309" cy="996570"/>
          </a:xfrm>
        </p:spPr>
        <p:txBody>
          <a:bodyPr lIns="0" tIns="0" rIns="0" bIns="0" anchor="t" anchorCtr="0">
            <a:noAutofit/>
          </a:bodyPr>
          <a:lstStyle>
            <a:lvl1pPr algn="l">
              <a:lnSpc>
                <a:spcPct val="80000"/>
              </a:lnSpc>
              <a:defRPr sz="3200" b="1" i="0" spc="-100">
                <a:solidFill>
                  <a:schemeClr val="bg1"/>
                </a:solidFill>
                <a:latin typeface="Arial"/>
                <a:cs typeface="Arial"/>
              </a:defRPr>
            </a:lvl1pPr>
          </a:lstStyle>
          <a:p>
            <a:endParaRPr lang="en-US"/>
          </a:p>
        </p:txBody>
      </p:sp>
      <p:sp>
        <p:nvSpPr>
          <p:cNvPr id="116" name="Picture Placeholder 29">
            <a:extLst>
              <a:ext uri="{FF2B5EF4-FFF2-40B4-BE49-F238E27FC236}">
                <a16:creationId xmlns:a16="http://schemas.microsoft.com/office/drawing/2014/main" id="{18FA2DB6-125A-9D47-AF1A-6633CB50604D}"/>
              </a:ext>
            </a:extLst>
          </p:cNvPr>
          <p:cNvSpPr>
            <a:spLocks noGrp="1" noChangeAspect="1"/>
          </p:cNvSpPr>
          <p:nvPr>
            <p:ph type="pic" sz="quarter" idx="43" hasCustomPrompt="1"/>
          </p:nvPr>
        </p:nvSpPr>
        <p:spPr>
          <a:xfrm>
            <a:off x="9622624" y="652123"/>
            <a:ext cx="1191732" cy="1188720"/>
          </a:xfrm>
          <a:prstGeom prst="ellipse">
            <a:avLst/>
          </a:prstGeom>
          <a:solidFill>
            <a:schemeClr val="tx2">
              <a:lumMod val="60000"/>
              <a:lumOff val="40000"/>
            </a:schemeClr>
          </a:solidFill>
          <a:ln w="101600">
            <a:noFill/>
          </a:ln>
        </p:spPr>
        <p:txBody>
          <a:bodyPr anchor="ctr">
            <a:normAutofit/>
          </a:bodyPr>
          <a:lstStyle>
            <a:lvl1pPr algn="ctr">
              <a:defRPr sz="1200">
                <a:solidFill>
                  <a:schemeClr val="tx2">
                    <a:lumMod val="40000"/>
                    <a:lumOff val="60000"/>
                  </a:schemeClr>
                </a:solidFill>
                <a:latin typeface="+mj-lt"/>
              </a:defRPr>
            </a:lvl1pPr>
          </a:lstStyle>
          <a:p>
            <a:r>
              <a:rPr lang="en-US"/>
              <a:t>Happy</a:t>
            </a:r>
          </a:p>
        </p:txBody>
      </p:sp>
      <p:sp>
        <p:nvSpPr>
          <p:cNvPr id="119" name="Text Placeholder 99">
            <a:extLst>
              <a:ext uri="{FF2B5EF4-FFF2-40B4-BE49-F238E27FC236}">
                <a16:creationId xmlns:a16="http://schemas.microsoft.com/office/drawing/2014/main" id="{12E9196D-A03D-9545-866E-74833F29350B}"/>
              </a:ext>
            </a:extLst>
          </p:cNvPr>
          <p:cNvSpPr>
            <a:spLocks noGrp="1"/>
          </p:cNvSpPr>
          <p:nvPr>
            <p:ph type="body" sz="quarter" idx="54"/>
          </p:nvPr>
        </p:nvSpPr>
        <p:spPr>
          <a:xfrm>
            <a:off x="9019339" y="3351591"/>
            <a:ext cx="2393900" cy="246221"/>
          </a:xfrm>
          <a:prstGeom prst="rect">
            <a:avLst/>
          </a:prstGeom>
          <a:solidFill>
            <a:schemeClr val="bg1"/>
          </a:solidFill>
          <a:ln>
            <a:solidFill>
              <a:schemeClr val="tx2">
                <a:lumMod val="20000"/>
                <a:lumOff val="80000"/>
              </a:schemeClr>
            </a:solidFill>
          </a:ln>
        </p:spPr>
        <p:txBody>
          <a:bodyPr wrap="square" lIns="109728" tIns="45720" rIns="109728" bIns="45720" anchor="t" anchorCtr="0">
            <a:spAutoFit/>
          </a:bodyPr>
          <a:lstStyle>
            <a:lvl1pPr algn="ctr">
              <a:lnSpc>
                <a:spcPct val="100000"/>
              </a:lnSpc>
              <a:defRPr sz="10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8" name="Text Placeholder 99">
            <a:extLst>
              <a:ext uri="{FF2B5EF4-FFF2-40B4-BE49-F238E27FC236}">
                <a16:creationId xmlns:a16="http://schemas.microsoft.com/office/drawing/2014/main" id="{4C57F58D-F1F3-4445-A8D9-E55823CE8E17}"/>
              </a:ext>
            </a:extLst>
          </p:cNvPr>
          <p:cNvSpPr>
            <a:spLocks noGrp="1"/>
          </p:cNvSpPr>
          <p:nvPr>
            <p:ph type="body" sz="quarter" idx="51"/>
          </p:nvPr>
        </p:nvSpPr>
        <p:spPr>
          <a:xfrm>
            <a:off x="9019758" y="2837825"/>
            <a:ext cx="2393062" cy="400110"/>
          </a:xfrm>
          <a:prstGeom prst="rect">
            <a:avLst/>
          </a:prstGeom>
          <a:solidFill>
            <a:schemeClr val="accent1"/>
          </a:solidFill>
          <a:ln>
            <a:noFill/>
          </a:ln>
        </p:spPr>
        <p:txBody>
          <a:bodyPr wrap="square" lIns="109728" tIns="45720" rIns="109728" bIns="45720" anchor="t" anchorCtr="0">
            <a:spAutoFit/>
          </a:bodyPr>
          <a:lstStyle>
            <a:lvl1pPr marL="0" marR="0" indent="0" algn="ctr" defTabSz="777240" rtl="0" eaLnBrk="1" fontAlgn="auto" latinLnBrk="0" hangingPunct="1">
              <a:lnSpc>
                <a:spcPct val="100000"/>
              </a:lnSpc>
              <a:spcBef>
                <a:spcPts val="0"/>
              </a:spcBef>
              <a:spcAft>
                <a:spcPts val="0"/>
              </a:spcAft>
              <a:buClrTx/>
              <a:buSzTx/>
              <a:buFont typeface="Arial" panose="020B0604020202020204" pitchFamily="34" charset="0"/>
              <a:buNone/>
              <a:tabLst/>
              <a:defRPr sz="1000" b="0" i="0">
                <a:solidFill>
                  <a:schemeClr val="bg1"/>
                </a:solidFill>
                <a:latin typeface="+mj-lt"/>
              </a:defRPr>
            </a:lvl1pPr>
            <a:lvl2pPr>
              <a:defRPr sz="1200"/>
            </a:lvl2pPr>
            <a:lvl3pPr>
              <a:defRPr sz="1200"/>
            </a:lvl3pPr>
            <a:lvl4pPr>
              <a:defRPr sz="1200"/>
            </a:lvl4pPr>
            <a:lvl5pPr>
              <a:defRPr sz="1200"/>
            </a:lvl5pPr>
          </a:lstStyle>
          <a:p>
            <a:pPr lvl="0"/>
            <a:endParaRPr lang="en-US"/>
          </a:p>
        </p:txBody>
      </p:sp>
      <p:sp>
        <p:nvSpPr>
          <p:cNvPr id="120" name="Text Placeholder 99">
            <a:extLst>
              <a:ext uri="{FF2B5EF4-FFF2-40B4-BE49-F238E27FC236}">
                <a16:creationId xmlns:a16="http://schemas.microsoft.com/office/drawing/2014/main" id="{7127D168-046A-A848-871E-F30AD45F0F52}"/>
              </a:ext>
            </a:extLst>
          </p:cNvPr>
          <p:cNvSpPr>
            <a:spLocks noGrp="1"/>
          </p:cNvSpPr>
          <p:nvPr>
            <p:ph type="body" sz="quarter" idx="55"/>
          </p:nvPr>
        </p:nvSpPr>
        <p:spPr>
          <a:xfrm>
            <a:off x="9019758" y="3711468"/>
            <a:ext cx="2393062" cy="400110"/>
          </a:xfrm>
          <a:prstGeom prst="rect">
            <a:avLst/>
          </a:prstGeom>
          <a:solidFill>
            <a:schemeClr val="accent1"/>
          </a:solidFill>
          <a:ln>
            <a:noFill/>
          </a:ln>
        </p:spPr>
        <p:txBody>
          <a:bodyPr wrap="square" lIns="109728" tIns="45720" rIns="109728" bIns="45720" anchor="t" anchorCtr="0">
            <a:spAutoFit/>
          </a:bodyPr>
          <a:lstStyle>
            <a:lvl1pPr algn="ctr">
              <a:lnSpc>
                <a:spcPct val="100000"/>
              </a:lnSpc>
              <a:spcBef>
                <a:spcPts val="0"/>
              </a:spcBef>
              <a:defRPr sz="1000" b="0" i="0">
                <a:solidFill>
                  <a:schemeClr val="bg1"/>
                </a:solidFill>
                <a:latin typeface="+mj-lt"/>
              </a:defRPr>
            </a:lvl1pPr>
            <a:lvl2pPr>
              <a:defRPr sz="1200"/>
            </a:lvl2pPr>
            <a:lvl3pPr>
              <a:defRPr sz="1200"/>
            </a:lvl3pPr>
            <a:lvl4pPr>
              <a:defRPr sz="1200"/>
            </a:lvl4pPr>
            <a:lvl5pPr>
              <a:defRPr sz="1200"/>
            </a:lvl5pPr>
          </a:lstStyle>
          <a:p>
            <a:pPr lvl="0"/>
            <a:endParaRPr lang="en-US"/>
          </a:p>
        </p:txBody>
      </p:sp>
      <p:sp>
        <p:nvSpPr>
          <p:cNvPr id="121" name="Text Placeholder 99">
            <a:extLst>
              <a:ext uri="{FF2B5EF4-FFF2-40B4-BE49-F238E27FC236}">
                <a16:creationId xmlns:a16="http://schemas.microsoft.com/office/drawing/2014/main" id="{EF0AC621-4253-3C44-9AE9-4740AD252505}"/>
              </a:ext>
            </a:extLst>
          </p:cNvPr>
          <p:cNvSpPr>
            <a:spLocks noGrp="1"/>
          </p:cNvSpPr>
          <p:nvPr>
            <p:ph type="body" sz="quarter" idx="56"/>
          </p:nvPr>
        </p:nvSpPr>
        <p:spPr>
          <a:xfrm>
            <a:off x="9019314" y="4225234"/>
            <a:ext cx="2393950" cy="246221"/>
          </a:xfrm>
          <a:prstGeom prst="rect">
            <a:avLst/>
          </a:prstGeom>
          <a:solidFill>
            <a:schemeClr val="bg1"/>
          </a:solidFill>
          <a:ln>
            <a:solidFill>
              <a:schemeClr val="tx2">
                <a:lumMod val="20000"/>
                <a:lumOff val="80000"/>
              </a:schemeClr>
            </a:solidFill>
          </a:ln>
        </p:spPr>
        <p:txBody>
          <a:bodyPr wrap="square" lIns="109728" tIns="45720" rIns="109728" bIns="45720" anchor="t" anchorCtr="0">
            <a:spAutoFit/>
          </a:bodyPr>
          <a:lstStyle>
            <a:lvl1pPr algn="ctr">
              <a:lnSpc>
                <a:spcPct val="100000"/>
              </a:lnSpc>
              <a:defRPr sz="10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22" name="Text Placeholder 99">
            <a:extLst>
              <a:ext uri="{FF2B5EF4-FFF2-40B4-BE49-F238E27FC236}">
                <a16:creationId xmlns:a16="http://schemas.microsoft.com/office/drawing/2014/main" id="{D8FF2D79-0EB1-6F41-93D4-654E1854D20C}"/>
              </a:ext>
            </a:extLst>
          </p:cNvPr>
          <p:cNvSpPr>
            <a:spLocks noGrp="1"/>
          </p:cNvSpPr>
          <p:nvPr>
            <p:ph type="body" sz="quarter" idx="57"/>
          </p:nvPr>
        </p:nvSpPr>
        <p:spPr>
          <a:xfrm>
            <a:off x="9019758" y="4585111"/>
            <a:ext cx="2393062" cy="400110"/>
          </a:xfrm>
          <a:prstGeom prst="rect">
            <a:avLst/>
          </a:prstGeom>
          <a:solidFill>
            <a:schemeClr val="accent1"/>
          </a:solidFill>
          <a:ln>
            <a:noFill/>
          </a:ln>
        </p:spPr>
        <p:txBody>
          <a:bodyPr wrap="square" lIns="109728" tIns="45720" rIns="109728" bIns="45720" anchor="t" anchorCtr="0">
            <a:spAutoFit/>
          </a:bodyPr>
          <a:lstStyle>
            <a:lvl1pPr algn="ctr">
              <a:lnSpc>
                <a:spcPct val="100000"/>
              </a:lnSpc>
              <a:spcBef>
                <a:spcPts val="0"/>
              </a:spcBef>
              <a:defRPr sz="1000" b="0" i="0">
                <a:solidFill>
                  <a:schemeClr val="bg1"/>
                </a:solidFill>
                <a:latin typeface="+mj-lt"/>
              </a:defRPr>
            </a:lvl1pPr>
            <a:lvl2pPr>
              <a:defRPr sz="1200"/>
            </a:lvl2pPr>
            <a:lvl3pPr>
              <a:defRPr sz="1200"/>
            </a:lvl3pPr>
            <a:lvl4pPr>
              <a:defRPr sz="1200"/>
            </a:lvl4pPr>
            <a:lvl5pPr>
              <a:defRPr sz="1200"/>
            </a:lvl5pPr>
          </a:lstStyle>
          <a:p>
            <a:pPr lvl="0"/>
            <a:endParaRPr lang="en-US"/>
          </a:p>
        </p:txBody>
      </p:sp>
      <p:sp>
        <p:nvSpPr>
          <p:cNvPr id="127" name="TextBox 126">
            <a:extLst>
              <a:ext uri="{FF2B5EF4-FFF2-40B4-BE49-F238E27FC236}">
                <a16:creationId xmlns:a16="http://schemas.microsoft.com/office/drawing/2014/main" id="{FF2EB9B3-2FF4-A54D-8745-6982A49B46A8}"/>
              </a:ext>
            </a:extLst>
          </p:cNvPr>
          <p:cNvSpPr txBox="1"/>
          <p:nvPr userDrawn="1"/>
        </p:nvSpPr>
        <p:spPr>
          <a:xfrm>
            <a:off x="10342166" y="2624218"/>
            <a:ext cx="381515" cy="123111"/>
          </a:xfrm>
          <a:prstGeom prst="rect">
            <a:avLst/>
          </a:prstGeom>
          <a:noFill/>
        </p:spPr>
        <p:txBody>
          <a:bodyPr wrap="none" lIns="0" tIns="0" rIns="0" bIns="0" rtlCol="0" anchor="ctr">
            <a:spAutoFit/>
          </a:bodyPr>
          <a:lstStyle/>
          <a:p>
            <a:pPr algn="ctr"/>
            <a:r>
              <a:rPr lang="en-US" sz="800" b="0" i="0">
                <a:solidFill>
                  <a:schemeClr val="accent2"/>
                </a:solidFill>
                <a:latin typeface="+mj-lt"/>
              </a:rPr>
              <a:t>HUMAN</a:t>
            </a:r>
          </a:p>
        </p:txBody>
      </p:sp>
      <p:sp>
        <p:nvSpPr>
          <p:cNvPr id="128" name="Triangle 127">
            <a:extLst>
              <a:ext uri="{FF2B5EF4-FFF2-40B4-BE49-F238E27FC236}">
                <a16:creationId xmlns:a16="http://schemas.microsoft.com/office/drawing/2014/main" id="{C68848D4-42EA-5B4E-A98A-537BC9795CB6}"/>
              </a:ext>
            </a:extLst>
          </p:cNvPr>
          <p:cNvSpPr>
            <a:spLocks noChangeAspect="1"/>
          </p:cNvSpPr>
          <p:nvPr userDrawn="1"/>
        </p:nvSpPr>
        <p:spPr>
          <a:xfrm flipV="1">
            <a:off x="10171798" y="2657439"/>
            <a:ext cx="95464" cy="8229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6" name="TextBox 125">
            <a:extLst>
              <a:ext uri="{FF2B5EF4-FFF2-40B4-BE49-F238E27FC236}">
                <a16:creationId xmlns:a16="http://schemas.microsoft.com/office/drawing/2014/main" id="{439F3288-ED7C-BC41-81F6-4C96D5E98548}"/>
              </a:ext>
            </a:extLst>
          </p:cNvPr>
          <p:cNvSpPr txBox="1"/>
          <p:nvPr userDrawn="1"/>
        </p:nvSpPr>
        <p:spPr>
          <a:xfrm>
            <a:off x="9734615" y="2624218"/>
            <a:ext cx="362279" cy="123111"/>
          </a:xfrm>
          <a:prstGeom prst="rect">
            <a:avLst/>
          </a:prstGeom>
          <a:noFill/>
        </p:spPr>
        <p:txBody>
          <a:bodyPr wrap="none" lIns="0" tIns="0" rIns="0" bIns="0" rtlCol="0" anchor="ctr">
            <a:spAutoFit/>
          </a:bodyPr>
          <a:lstStyle/>
          <a:p>
            <a:pPr algn="ctr"/>
            <a:r>
              <a:rPr lang="en-US" sz="800" b="0" i="0">
                <a:solidFill>
                  <a:srgbClr val="FF0000"/>
                </a:solidFill>
                <a:latin typeface="+mj-lt"/>
              </a:rPr>
              <a:t>ROBOT</a:t>
            </a:r>
          </a:p>
        </p:txBody>
      </p:sp>
      <p:sp>
        <p:nvSpPr>
          <p:cNvPr id="133" name="Picture Placeholder 29">
            <a:extLst>
              <a:ext uri="{FF2B5EF4-FFF2-40B4-BE49-F238E27FC236}">
                <a16:creationId xmlns:a16="http://schemas.microsoft.com/office/drawing/2014/main" id="{B0966158-B7FE-B448-A99D-6940834735C9}"/>
              </a:ext>
            </a:extLst>
          </p:cNvPr>
          <p:cNvSpPr>
            <a:spLocks noGrp="1" noChangeAspect="1"/>
          </p:cNvSpPr>
          <p:nvPr>
            <p:ph type="pic" sz="quarter" idx="63" hasCustomPrompt="1"/>
          </p:nvPr>
        </p:nvSpPr>
        <p:spPr>
          <a:xfrm>
            <a:off x="6209019" y="652123"/>
            <a:ext cx="1185722" cy="1188720"/>
          </a:xfrm>
          <a:prstGeom prst="ellipse">
            <a:avLst/>
          </a:prstGeom>
          <a:solidFill>
            <a:schemeClr val="tx2">
              <a:lumMod val="60000"/>
              <a:lumOff val="40000"/>
            </a:schemeClr>
          </a:solidFill>
          <a:ln w="101600">
            <a:noFill/>
          </a:ln>
        </p:spPr>
        <p:txBody>
          <a:bodyPr anchor="ctr">
            <a:normAutofit/>
          </a:bodyPr>
          <a:lstStyle>
            <a:lvl1pPr algn="ctr">
              <a:defRPr sz="1200">
                <a:solidFill>
                  <a:schemeClr val="tx2">
                    <a:lumMod val="40000"/>
                    <a:lumOff val="60000"/>
                  </a:schemeClr>
                </a:solidFill>
                <a:latin typeface="+mj-lt"/>
              </a:defRPr>
            </a:lvl1pPr>
          </a:lstStyle>
          <a:p>
            <a:r>
              <a:rPr lang="en-US"/>
              <a:t>Sad</a:t>
            </a:r>
          </a:p>
        </p:txBody>
      </p:sp>
      <p:sp>
        <p:nvSpPr>
          <p:cNvPr id="151" name="Subtitle 2">
            <a:extLst>
              <a:ext uri="{FF2B5EF4-FFF2-40B4-BE49-F238E27FC236}">
                <a16:creationId xmlns:a16="http://schemas.microsoft.com/office/drawing/2014/main" id="{A2955C41-CD34-0346-93DF-F6BDFD3AADA2}"/>
              </a:ext>
            </a:extLst>
          </p:cNvPr>
          <p:cNvSpPr>
            <a:spLocks noGrp="1"/>
          </p:cNvSpPr>
          <p:nvPr>
            <p:ph type="subTitle" idx="1" hasCustomPrompt="1"/>
          </p:nvPr>
        </p:nvSpPr>
        <p:spPr>
          <a:xfrm>
            <a:off x="214210" y="2528640"/>
            <a:ext cx="4803552" cy="3626504"/>
          </a:xfrm>
        </p:spPr>
        <p:txBody>
          <a:bodyPr lIns="0" tIns="0" rIns="0" bIns="0" anchor="ctr" anchorCtr="0">
            <a:normAutofit/>
          </a:bodyPr>
          <a:lstStyle>
            <a:lvl1pPr marL="585216" indent="-365760" algn="l" fontAlgn="ctr">
              <a:lnSpc>
                <a:spcPct val="100000"/>
              </a:lnSpc>
              <a:spcBef>
                <a:spcPts val="0"/>
              </a:spcBef>
              <a:spcAft>
                <a:spcPts val="2400"/>
              </a:spcAft>
              <a:buSzPct val="100000"/>
              <a:buFont typeface="Arial" panose="020B0604020202020204" pitchFamily="34" charset="0"/>
              <a:buChar char="•"/>
              <a:tabLst/>
              <a:defRPr sz="1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benefit</a:t>
            </a:r>
          </a:p>
        </p:txBody>
      </p:sp>
      <p:sp>
        <p:nvSpPr>
          <p:cNvPr id="49" name="Oval 48">
            <a:extLst>
              <a:ext uri="{FF2B5EF4-FFF2-40B4-BE49-F238E27FC236}">
                <a16:creationId xmlns:a16="http://schemas.microsoft.com/office/drawing/2014/main" id="{6CE7EDC3-8355-3F40-8862-E49CF1D592DA}"/>
              </a:ext>
            </a:extLst>
          </p:cNvPr>
          <p:cNvSpPr>
            <a:spLocks noChangeAspect="1"/>
          </p:cNvSpPr>
          <p:nvPr userDrawn="1"/>
        </p:nvSpPr>
        <p:spPr>
          <a:xfrm>
            <a:off x="6472696" y="6035875"/>
            <a:ext cx="658368" cy="658368"/>
          </a:xfrm>
          <a:prstGeom prst="ellipse">
            <a:avLst/>
          </a:prstGeom>
          <a:solidFill>
            <a:schemeClr val="bg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sz="700" b="0" i="0" spc="-40" baseline="0">
              <a:solidFill>
                <a:schemeClr val="bg1"/>
              </a:solidFill>
              <a:latin typeface="+mj-lt"/>
            </a:endParaRPr>
          </a:p>
        </p:txBody>
      </p:sp>
      <p:sp>
        <p:nvSpPr>
          <p:cNvPr id="7" name="Text Placeholder 6">
            <a:extLst>
              <a:ext uri="{FF2B5EF4-FFF2-40B4-BE49-F238E27FC236}">
                <a16:creationId xmlns:a16="http://schemas.microsoft.com/office/drawing/2014/main" id="{847DC8B6-9FF6-FD44-91DA-3D791A83F67E}"/>
              </a:ext>
            </a:extLst>
          </p:cNvPr>
          <p:cNvSpPr>
            <a:spLocks noGrp="1"/>
          </p:cNvSpPr>
          <p:nvPr>
            <p:ph type="body" sz="quarter" idx="82"/>
          </p:nvPr>
        </p:nvSpPr>
        <p:spPr>
          <a:xfrm>
            <a:off x="8765090" y="2031474"/>
            <a:ext cx="2895338" cy="355350"/>
          </a:xfrm>
        </p:spPr>
        <p:txBody>
          <a:bodyPr anchor="t"/>
          <a:lstStyle>
            <a:lvl1pPr marL="0" indent="0" algn="ctr">
              <a:spcBef>
                <a:spcPts val="0"/>
              </a:spcBef>
              <a:buFont typeface="Arial" panose="020B0604020202020204" pitchFamily="34" charset="0"/>
              <a:buNone/>
              <a:defRPr sz="1200" b="1">
                <a:solidFill>
                  <a:schemeClr val="accent1"/>
                </a:solidFill>
              </a:defRPr>
            </a:lvl1pPr>
            <a:lvl2pPr marL="0" indent="0" algn="ctr">
              <a:spcBef>
                <a:spcPts val="0"/>
              </a:spcBef>
              <a:buNone/>
              <a:defRPr sz="1200"/>
            </a:lvl2pPr>
            <a:lvl3pPr marL="174625" indent="0" algn="ctr">
              <a:buNone/>
              <a:defRPr/>
            </a:lvl3pPr>
            <a:lvl4pPr marL="339725" indent="0" algn="ctr">
              <a:buNone/>
              <a:defRPr/>
            </a:lvl4pPr>
            <a:lvl5pPr marL="512763" indent="0" algn="ctr">
              <a:buNone/>
              <a:defRPr/>
            </a:lvl5pPr>
          </a:lstStyle>
          <a:p>
            <a:pPr lvl="0"/>
            <a:endParaRPr lang="en-US"/>
          </a:p>
        </p:txBody>
      </p:sp>
      <p:sp>
        <p:nvSpPr>
          <p:cNvPr id="8" name="TextBox 7">
            <a:extLst>
              <a:ext uri="{FF2B5EF4-FFF2-40B4-BE49-F238E27FC236}">
                <a16:creationId xmlns:a16="http://schemas.microsoft.com/office/drawing/2014/main" id="{1082BAE9-0E40-2342-867C-7109FF3E3075}"/>
              </a:ext>
            </a:extLst>
          </p:cNvPr>
          <p:cNvSpPr txBox="1"/>
          <p:nvPr userDrawn="1"/>
        </p:nvSpPr>
        <p:spPr>
          <a:xfrm>
            <a:off x="5354211" y="18308"/>
            <a:ext cx="2895340" cy="471861"/>
          </a:xfrm>
          <a:prstGeom prst="rect">
            <a:avLst/>
          </a:prstGeom>
          <a:noFill/>
        </p:spPr>
        <p:txBody>
          <a:bodyPr wrap="square" lIns="0" tIns="0" rIns="0" bIns="0" rtlCol="0" anchor="ctr">
            <a:noAutofit/>
          </a:bodyPr>
          <a:lstStyle/>
          <a:p>
            <a:pPr algn="ctr"/>
            <a:r>
              <a:rPr lang="en-US" sz="3200" b="1">
                <a:solidFill>
                  <a:schemeClr val="bg1"/>
                </a:solidFill>
                <a:latin typeface="Arial"/>
                <a:cs typeface="Arial"/>
              </a:rPr>
              <a:t>BEFORE</a:t>
            </a:r>
          </a:p>
        </p:txBody>
      </p:sp>
      <p:sp>
        <p:nvSpPr>
          <p:cNvPr id="53" name="TextBox 52">
            <a:extLst>
              <a:ext uri="{FF2B5EF4-FFF2-40B4-BE49-F238E27FC236}">
                <a16:creationId xmlns:a16="http://schemas.microsoft.com/office/drawing/2014/main" id="{199F9398-429C-D841-A27D-D107FE2935B9}"/>
              </a:ext>
            </a:extLst>
          </p:cNvPr>
          <p:cNvSpPr txBox="1"/>
          <p:nvPr userDrawn="1"/>
        </p:nvSpPr>
        <p:spPr>
          <a:xfrm>
            <a:off x="8250237" y="18308"/>
            <a:ext cx="3938585" cy="471861"/>
          </a:xfrm>
          <a:prstGeom prst="rect">
            <a:avLst/>
          </a:prstGeom>
          <a:noFill/>
        </p:spPr>
        <p:txBody>
          <a:bodyPr wrap="square" lIns="0" tIns="0" rIns="0" bIns="0" rtlCol="0" anchor="ctr">
            <a:noAutofit/>
          </a:bodyPr>
          <a:lstStyle/>
          <a:p>
            <a:pPr algn="ctr"/>
            <a:r>
              <a:rPr lang="en-US" sz="3200" b="1">
                <a:solidFill>
                  <a:schemeClr val="bg2"/>
                </a:solidFill>
                <a:latin typeface="Arial"/>
                <a:cs typeface="Arial"/>
              </a:rPr>
              <a:t>AFTER</a:t>
            </a:r>
          </a:p>
        </p:txBody>
      </p:sp>
      <p:sp>
        <p:nvSpPr>
          <p:cNvPr id="99" name="Text Placeholder 6">
            <a:extLst>
              <a:ext uri="{FF2B5EF4-FFF2-40B4-BE49-F238E27FC236}">
                <a16:creationId xmlns:a16="http://schemas.microsoft.com/office/drawing/2014/main" id="{EED301D7-55FE-7A4D-BFE1-5012BEA403FC}"/>
              </a:ext>
            </a:extLst>
          </p:cNvPr>
          <p:cNvSpPr>
            <a:spLocks noGrp="1"/>
          </p:cNvSpPr>
          <p:nvPr>
            <p:ph type="body" sz="quarter" idx="83"/>
          </p:nvPr>
        </p:nvSpPr>
        <p:spPr>
          <a:xfrm>
            <a:off x="5604906" y="2031473"/>
            <a:ext cx="2393950" cy="355350"/>
          </a:xfrm>
        </p:spPr>
        <p:txBody>
          <a:bodyPr anchor="t"/>
          <a:lstStyle>
            <a:lvl1pPr marL="0" indent="0" algn="ctr">
              <a:spcBef>
                <a:spcPts val="0"/>
              </a:spcBef>
              <a:buFont typeface="Arial" panose="020B0604020202020204" pitchFamily="34" charset="0"/>
              <a:buNone/>
              <a:defRPr sz="1200" b="1">
                <a:solidFill>
                  <a:schemeClr val="accent2"/>
                </a:solidFill>
              </a:defRPr>
            </a:lvl1pPr>
            <a:lvl2pPr marL="0" indent="0" algn="ctr">
              <a:spcBef>
                <a:spcPts val="0"/>
              </a:spcBef>
              <a:buNone/>
              <a:defRPr sz="1000"/>
            </a:lvl2pPr>
            <a:lvl3pPr marL="174625" indent="0" algn="ctr">
              <a:buNone/>
              <a:defRPr/>
            </a:lvl3pPr>
            <a:lvl4pPr marL="339725" indent="0" algn="ctr">
              <a:buNone/>
              <a:defRPr/>
            </a:lvl4pPr>
            <a:lvl5pPr marL="512763" indent="0" algn="ctr">
              <a:buNone/>
              <a:defRPr/>
            </a:lvl5pPr>
          </a:lstStyle>
          <a:p>
            <a:pPr lvl="0"/>
            <a:endParaRPr lang="en-US"/>
          </a:p>
        </p:txBody>
      </p:sp>
      <p:cxnSp>
        <p:nvCxnSpPr>
          <p:cNvPr id="101" name="Straight Arrow Connector 100">
            <a:extLst>
              <a:ext uri="{FF2B5EF4-FFF2-40B4-BE49-F238E27FC236}">
                <a16:creationId xmlns:a16="http://schemas.microsoft.com/office/drawing/2014/main" id="{5E5E5342-11A3-CF41-863A-4F39517D697D}"/>
              </a:ext>
            </a:extLst>
          </p:cNvPr>
          <p:cNvCxnSpPr>
            <a:cxnSpLocks/>
            <a:endCxn id="49" idx="0"/>
          </p:cNvCxnSpPr>
          <p:nvPr userDrawn="1"/>
        </p:nvCxnSpPr>
        <p:spPr>
          <a:xfrm flipH="1">
            <a:off x="6801880" y="2528640"/>
            <a:ext cx="2" cy="3507235"/>
          </a:xfrm>
          <a:prstGeom prst="straightConnector1">
            <a:avLst/>
          </a:prstGeom>
          <a:ln>
            <a:solidFill>
              <a:schemeClr val="accent2"/>
            </a:solidFill>
            <a:headEnd type="oval" w="lg" len="lg"/>
            <a:tailEnd type="none"/>
          </a:ln>
        </p:spPr>
        <p:style>
          <a:lnRef idx="1">
            <a:schemeClr val="accent1"/>
          </a:lnRef>
          <a:fillRef idx="0">
            <a:schemeClr val="accent1"/>
          </a:fillRef>
          <a:effectRef idx="0">
            <a:schemeClr val="accent1"/>
          </a:effectRef>
          <a:fontRef idx="minor">
            <a:schemeClr val="tx1"/>
          </a:fontRef>
        </p:style>
      </p:cxnSp>
      <p:sp>
        <p:nvSpPr>
          <p:cNvPr id="102" name="Text Placeholder 99">
            <a:extLst>
              <a:ext uri="{FF2B5EF4-FFF2-40B4-BE49-F238E27FC236}">
                <a16:creationId xmlns:a16="http://schemas.microsoft.com/office/drawing/2014/main" id="{EC9A829B-DCEE-574F-9EB2-756C00856688}"/>
              </a:ext>
            </a:extLst>
          </p:cNvPr>
          <p:cNvSpPr>
            <a:spLocks noGrp="1"/>
          </p:cNvSpPr>
          <p:nvPr>
            <p:ph type="body" sz="quarter" idx="84"/>
          </p:nvPr>
        </p:nvSpPr>
        <p:spPr>
          <a:xfrm>
            <a:off x="5604931" y="2830194"/>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03" name="TextBox 102">
            <a:extLst>
              <a:ext uri="{FF2B5EF4-FFF2-40B4-BE49-F238E27FC236}">
                <a16:creationId xmlns:a16="http://schemas.microsoft.com/office/drawing/2014/main" id="{0ADBE20E-E88C-724F-A5D6-E978152F49D6}"/>
              </a:ext>
            </a:extLst>
          </p:cNvPr>
          <p:cNvSpPr txBox="1"/>
          <p:nvPr userDrawn="1"/>
        </p:nvSpPr>
        <p:spPr>
          <a:xfrm>
            <a:off x="6924517" y="2640541"/>
            <a:ext cx="381515" cy="123111"/>
          </a:xfrm>
          <a:prstGeom prst="rect">
            <a:avLst/>
          </a:prstGeom>
          <a:noFill/>
        </p:spPr>
        <p:txBody>
          <a:bodyPr wrap="none" lIns="0" tIns="0" rIns="0" bIns="0" rtlCol="0" anchor="ctr">
            <a:spAutoFit/>
          </a:bodyPr>
          <a:lstStyle/>
          <a:p>
            <a:pPr algn="ctr"/>
            <a:r>
              <a:rPr lang="en-US" sz="800" b="0" i="0">
                <a:solidFill>
                  <a:schemeClr val="accent2"/>
                </a:solidFill>
                <a:latin typeface="+mj-lt"/>
              </a:rPr>
              <a:t>HUMAN</a:t>
            </a:r>
          </a:p>
        </p:txBody>
      </p:sp>
      <p:sp>
        <p:nvSpPr>
          <p:cNvPr id="104" name="Triangle 103">
            <a:extLst>
              <a:ext uri="{FF2B5EF4-FFF2-40B4-BE49-F238E27FC236}">
                <a16:creationId xmlns:a16="http://schemas.microsoft.com/office/drawing/2014/main" id="{F28FE4DA-DC6C-094B-A57A-30124162F4C2}"/>
              </a:ext>
            </a:extLst>
          </p:cNvPr>
          <p:cNvSpPr>
            <a:spLocks noChangeAspect="1"/>
          </p:cNvSpPr>
          <p:nvPr userDrawn="1"/>
        </p:nvSpPr>
        <p:spPr>
          <a:xfrm flipV="1">
            <a:off x="6754149" y="2664813"/>
            <a:ext cx="95464" cy="8229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7" name="Text Placeholder 99">
            <a:extLst>
              <a:ext uri="{FF2B5EF4-FFF2-40B4-BE49-F238E27FC236}">
                <a16:creationId xmlns:a16="http://schemas.microsoft.com/office/drawing/2014/main" id="{C6AA5DBE-A711-904F-B860-D88E97DFE1DF}"/>
              </a:ext>
            </a:extLst>
          </p:cNvPr>
          <p:cNvSpPr>
            <a:spLocks noGrp="1"/>
          </p:cNvSpPr>
          <p:nvPr>
            <p:ph type="body" sz="quarter" idx="85"/>
          </p:nvPr>
        </p:nvSpPr>
        <p:spPr>
          <a:xfrm>
            <a:off x="5604931" y="3134555"/>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08" name="Text Placeholder 99">
            <a:extLst>
              <a:ext uri="{FF2B5EF4-FFF2-40B4-BE49-F238E27FC236}">
                <a16:creationId xmlns:a16="http://schemas.microsoft.com/office/drawing/2014/main" id="{5430A494-1E90-7549-84BA-DF5329CC6AD9}"/>
              </a:ext>
            </a:extLst>
          </p:cNvPr>
          <p:cNvSpPr>
            <a:spLocks noGrp="1"/>
          </p:cNvSpPr>
          <p:nvPr>
            <p:ph type="body" sz="quarter" idx="86"/>
          </p:nvPr>
        </p:nvSpPr>
        <p:spPr>
          <a:xfrm>
            <a:off x="5604931" y="3438916"/>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09" name="Text Placeholder 99">
            <a:extLst>
              <a:ext uri="{FF2B5EF4-FFF2-40B4-BE49-F238E27FC236}">
                <a16:creationId xmlns:a16="http://schemas.microsoft.com/office/drawing/2014/main" id="{09504B2D-916D-D448-821E-7C82439C1B9D}"/>
              </a:ext>
            </a:extLst>
          </p:cNvPr>
          <p:cNvSpPr>
            <a:spLocks noGrp="1"/>
          </p:cNvSpPr>
          <p:nvPr>
            <p:ph type="body" sz="quarter" idx="87"/>
          </p:nvPr>
        </p:nvSpPr>
        <p:spPr>
          <a:xfrm>
            <a:off x="5604931" y="4047638"/>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0" name="Text Placeholder 99">
            <a:extLst>
              <a:ext uri="{FF2B5EF4-FFF2-40B4-BE49-F238E27FC236}">
                <a16:creationId xmlns:a16="http://schemas.microsoft.com/office/drawing/2014/main" id="{EE30CA6D-F48E-0745-8B38-907439D05D62}"/>
              </a:ext>
            </a:extLst>
          </p:cNvPr>
          <p:cNvSpPr>
            <a:spLocks noGrp="1"/>
          </p:cNvSpPr>
          <p:nvPr>
            <p:ph type="body" sz="quarter" idx="88"/>
          </p:nvPr>
        </p:nvSpPr>
        <p:spPr>
          <a:xfrm>
            <a:off x="5604931" y="4351999"/>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1" name="Text Placeholder 99">
            <a:extLst>
              <a:ext uri="{FF2B5EF4-FFF2-40B4-BE49-F238E27FC236}">
                <a16:creationId xmlns:a16="http://schemas.microsoft.com/office/drawing/2014/main" id="{5C9A31FB-10C6-6145-A214-800F3DE470F7}"/>
              </a:ext>
            </a:extLst>
          </p:cNvPr>
          <p:cNvSpPr>
            <a:spLocks noGrp="1"/>
          </p:cNvSpPr>
          <p:nvPr>
            <p:ph type="body" sz="quarter" idx="89"/>
          </p:nvPr>
        </p:nvSpPr>
        <p:spPr>
          <a:xfrm>
            <a:off x="5604931" y="4656360"/>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2" name="Text Placeholder 99">
            <a:extLst>
              <a:ext uri="{FF2B5EF4-FFF2-40B4-BE49-F238E27FC236}">
                <a16:creationId xmlns:a16="http://schemas.microsoft.com/office/drawing/2014/main" id="{5AF7DAB6-A8F4-AB46-8A28-162AAA63BB30}"/>
              </a:ext>
            </a:extLst>
          </p:cNvPr>
          <p:cNvSpPr>
            <a:spLocks noGrp="1"/>
          </p:cNvSpPr>
          <p:nvPr>
            <p:ph type="body" sz="quarter" idx="90"/>
          </p:nvPr>
        </p:nvSpPr>
        <p:spPr>
          <a:xfrm>
            <a:off x="5604931" y="4960721"/>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13" name="Text Placeholder 99">
            <a:extLst>
              <a:ext uri="{FF2B5EF4-FFF2-40B4-BE49-F238E27FC236}">
                <a16:creationId xmlns:a16="http://schemas.microsoft.com/office/drawing/2014/main" id="{F651B7F8-8E9D-2B4B-BA0E-39F5BE469EA3}"/>
              </a:ext>
            </a:extLst>
          </p:cNvPr>
          <p:cNvSpPr>
            <a:spLocks noGrp="1"/>
          </p:cNvSpPr>
          <p:nvPr>
            <p:ph type="body" sz="quarter" idx="91"/>
          </p:nvPr>
        </p:nvSpPr>
        <p:spPr>
          <a:xfrm>
            <a:off x="5604931" y="5265082"/>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52" name="Text Placeholder 99">
            <a:extLst>
              <a:ext uri="{FF2B5EF4-FFF2-40B4-BE49-F238E27FC236}">
                <a16:creationId xmlns:a16="http://schemas.microsoft.com/office/drawing/2014/main" id="{3735CBD5-2F06-D641-AC4D-C83511593DC9}"/>
              </a:ext>
            </a:extLst>
          </p:cNvPr>
          <p:cNvSpPr>
            <a:spLocks noGrp="1"/>
          </p:cNvSpPr>
          <p:nvPr>
            <p:ph type="body" sz="quarter" idx="92"/>
          </p:nvPr>
        </p:nvSpPr>
        <p:spPr>
          <a:xfrm>
            <a:off x="5604931" y="5569445"/>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53" name="Text Placeholder 99">
            <a:extLst>
              <a:ext uri="{FF2B5EF4-FFF2-40B4-BE49-F238E27FC236}">
                <a16:creationId xmlns:a16="http://schemas.microsoft.com/office/drawing/2014/main" id="{D05D1F34-3810-1943-BF40-85232D5650C5}"/>
              </a:ext>
            </a:extLst>
          </p:cNvPr>
          <p:cNvSpPr>
            <a:spLocks noGrp="1"/>
          </p:cNvSpPr>
          <p:nvPr>
            <p:ph type="body" sz="quarter" idx="93"/>
          </p:nvPr>
        </p:nvSpPr>
        <p:spPr>
          <a:xfrm>
            <a:off x="5604931" y="3743277"/>
            <a:ext cx="2393900" cy="215444"/>
          </a:xfrm>
          <a:prstGeom prst="rect">
            <a:avLst/>
          </a:prstGeom>
          <a:solidFill>
            <a:schemeClr val="bg1"/>
          </a:solidFill>
          <a:ln>
            <a:noFill/>
          </a:ln>
        </p:spPr>
        <p:txBody>
          <a:bodyPr wrap="square" lIns="109728" tIns="45720" rIns="109728" bIns="45720" anchor="t" anchorCtr="0">
            <a:spAutoFit/>
          </a:bodyPr>
          <a:lstStyle>
            <a:lvl1pPr algn="ctr">
              <a:lnSpc>
                <a:spcPct val="100000"/>
              </a:lnSpc>
              <a:defRPr sz="800" b="0" i="0">
                <a:solidFill>
                  <a:schemeClr val="accent2"/>
                </a:solidFill>
                <a:latin typeface="+mj-lt"/>
              </a:defRPr>
            </a:lvl1pPr>
            <a:lvl2pPr>
              <a:defRPr sz="1200"/>
            </a:lvl2pPr>
            <a:lvl3pPr>
              <a:defRPr sz="1200"/>
            </a:lvl3pPr>
            <a:lvl4pPr>
              <a:defRPr sz="1200"/>
            </a:lvl4pPr>
            <a:lvl5pPr>
              <a:defRPr sz="1200"/>
            </a:lvl5pPr>
          </a:lstStyle>
          <a:p>
            <a:pPr lvl="0"/>
            <a:endParaRPr lang="en-US"/>
          </a:p>
        </p:txBody>
      </p:sp>
      <p:sp>
        <p:nvSpPr>
          <p:cNvPr id="154" name="Triangle 153">
            <a:extLst>
              <a:ext uri="{FF2B5EF4-FFF2-40B4-BE49-F238E27FC236}">
                <a16:creationId xmlns:a16="http://schemas.microsoft.com/office/drawing/2014/main" id="{43A9725E-EF8F-2842-9B90-67A5E08D259C}"/>
              </a:ext>
            </a:extLst>
          </p:cNvPr>
          <p:cNvSpPr>
            <a:spLocks noChangeAspect="1"/>
          </p:cNvSpPr>
          <p:nvPr userDrawn="1"/>
        </p:nvSpPr>
        <p:spPr>
          <a:xfrm flipV="1">
            <a:off x="6754149" y="5921093"/>
            <a:ext cx="95464" cy="8229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6" name="TextBox 105">
            <a:extLst>
              <a:ext uri="{FF2B5EF4-FFF2-40B4-BE49-F238E27FC236}">
                <a16:creationId xmlns:a16="http://schemas.microsoft.com/office/drawing/2014/main" id="{8368A7E0-AEA9-4B4C-965E-08312CFED32E}"/>
              </a:ext>
            </a:extLst>
          </p:cNvPr>
          <p:cNvSpPr txBox="1"/>
          <p:nvPr userDrawn="1"/>
        </p:nvSpPr>
        <p:spPr>
          <a:xfrm>
            <a:off x="6435986" y="6096848"/>
            <a:ext cx="724325" cy="472426"/>
          </a:xfrm>
          <a:prstGeom prst="rect">
            <a:avLst/>
          </a:prstGeom>
          <a:noFill/>
        </p:spPr>
        <p:txBody>
          <a:bodyPr wrap="square" lIns="0" tIns="0" rIns="0" bIns="0" rtlCol="0" anchor="ctr">
            <a:noAutofit/>
          </a:bodyPr>
          <a:lstStyle/>
          <a:p>
            <a:pPr algn="ctr"/>
            <a:r>
              <a:rPr lang="en-US" sz="700">
                <a:solidFill>
                  <a:schemeClr val="bg1"/>
                </a:solidFill>
                <a:latin typeface="Arial"/>
                <a:cs typeface="Arial"/>
              </a:rPr>
              <a:t>TASK</a:t>
            </a:r>
          </a:p>
          <a:p>
            <a:pPr algn="ctr"/>
            <a:r>
              <a:rPr lang="en-US" sz="700">
                <a:solidFill>
                  <a:schemeClr val="bg1"/>
                </a:solidFill>
                <a:latin typeface="Arial"/>
                <a:cs typeface="Arial"/>
              </a:rPr>
              <a:t>COMPLETED</a:t>
            </a:r>
          </a:p>
        </p:txBody>
      </p:sp>
      <p:sp>
        <p:nvSpPr>
          <p:cNvPr id="76" name="Freeform: Shape 41">
            <a:extLst>
              <a:ext uri="{FF2B5EF4-FFF2-40B4-BE49-F238E27FC236}">
                <a16:creationId xmlns:a16="http://schemas.microsoft.com/office/drawing/2014/main" id="{A322D1C6-0AE7-2A4F-AD3A-EAF7E776E9EF}"/>
              </a:ext>
            </a:extLst>
          </p:cNvPr>
          <p:cNvSpPr txBox="1">
            <a:spLocks/>
          </p:cNvSpPr>
          <p:nvPr userDrawn="1"/>
        </p:nvSpPr>
        <p:spPr>
          <a:xfrm rot="16200000">
            <a:off x="2521657"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40000"/>
              <a:lumOff val="60000"/>
              <a:alpha val="28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77" name="TextBox 76">
            <a:extLst>
              <a:ext uri="{FF2B5EF4-FFF2-40B4-BE49-F238E27FC236}">
                <a16:creationId xmlns:a16="http://schemas.microsoft.com/office/drawing/2014/main" id="{A30A9E43-4EF4-F542-8512-5930CCACAB51}"/>
              </a:ext>
            </a:extLst>
          </p:cNvPr>
          <p:cNvSpPr txBox="1">
            <a:spLocks/>
          </p:cNvSpPr>
          <p:nvPr userDrawn="1"/>
        </p:nvSpPr>
        <p:spPr>
          <a:xfrm>
            <a:off x="214209"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chemeClr val="accent1">
              <a:lumMod val="40000"/>
              <a:lumOff val="60000"/>
              <a:alpha val="28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78" name="Freeform: Shape 19">
            <a:extLst>
              <a:ext uri="{FF2B5EF4-FFF2-40B4-BE49-F238E27FC236}">
                <a16:creationId xmlns:a16="http://schemas.microsoft.com/office/drawing/2014/main" id="{A0694AAE-CF40-7A42-B792-ED906010BFEF}"/>
              </a:ext>
            </a:extLst>
          </p:cNvPr>
          <p:cNvSpPr/>
          <p:nvPr userDrawn="1"/>
        </p:nvSpPr>
        <p:spPr>
          <a:xfrm rot="5400000">
            <a:off x="4195870"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pPr lvl="0"/>
            <a:endParaRPr lang="en-US"/>
          </a:p>
        </p:txBody>
      </p:sp>
      <p:sp>
        <p:nvSpPr>
          <p:cNvPr id="79" name="Freeform: Shape 23">
            <a:extLst>
              <a:ext uri="{FF2B5EF4-FFF2-40B4-BE49-F238E27FC236}">
                <a16:creationId xmlns:a16="http://schemas.microsoft.com/office/drawing/2014/main" id="{B7569D3B-97DF-B244-ACE7-263217C8C906}"/>
              </a:ext>
            </a:extLst>
          </p:cNvPr>
          <p:cNvSpPr/>
          <p:nvPr userDrawn="1"/>
        </p:nvSpPr>
        <p:spPr>
          <a:xfrm rot="5400000">
            <a:off x="554370"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endParaRPr lang="en-US"/>
          </a:p>
        </p:txBody>
      </p:sp>
      <p:sp>
        <p:nvSpPr>
          <p:cNvPr id="80" name="Freeform: Shape 24">
            <a:extLst>
              <a:ext uri="{FF2B5EF4-FFF2-40B4-BE49-F238E27FC236}">
                <a16:creationId xmlns:a16="http://schemas.microsoft.com/office/drawing/2014/main" id="{E7BE56B3-0041-8045-B001-A4C351E21E20}"/>
              </a:ext>
            </a:extLst>
          </p:cNvPr>
          <p:cNvSpPr/>
          <p:nvPr userDrawn="1"/>
        </p:nvSpPr>
        <p:spPr>
          <a:xfrm rot="5400000">
            <a:off x="2115136"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endParaRPr lang="en-US"/>
          </a:p>
        </p:txBody>
      </p:sp>
      <p:sp>
        <p:nvSpPr>
          <p:cNvPr id="81" name="Freeform: Shape 25">
            <a:extLst>
              <a:ext uri="{FF2B5EF4-FFF2-40B4-BE49-F238E27FC236}">
                <a16:creationId xmlns:a16="http://schemas.microsoft.com/office/drawing/2014/main" id="{BC2CB261-A0DB-4E42-A255-4038F07C7ED5}"/>
              </a:ext>
            </a:extLst>
          </p:cNvPr>
          <p:cNvSpPr/>
          <p:nvPr userDrawn="1"/>
        </p:nvSpPr>
        <p:spPr>
          <a:xfrm rot="5400000">
            <a:off x="3155503" y="374704"/>
            <a:ext cx="549346" cy="289153"/>
          </a:xfrm>
          <a:custGeom>
            <a:avLst/>
            <a:gdLst>
              <a:gd name="connsiteX0" fmla="*/ 520400 w 549346"/>
              <a:gd name="connsiteY0" fmla="*/ 28953 h 289153"/>
              <a:gd name="connsiteX1" fmla="*/ 520400 w 549346"/>
              <a:gd name="connsiteY1" fmla="*/ 9 h 289153"/>
              <a:gd name="connsiteX2" fmla="*/ 549346 w 549346"/>
              <a:gd name="connsiteY2" fmla="*/ 9 h 289153"/>
              <a:gd name="connsiteX3" fmla="*/ 549346 w 549346"/>
              <a:gd name="connsiteY3" fmla="*/ 28953 h 289153"/>
              <a:gd name="connsiteX4" fmla="*/ 520400 w 549346"/>
              <a:gd name="connsiteY4" fmla="*/ 289153 h 289153"/>
              <a:gd name="connsiteX5" fmla="*/ 520400 w 549346"/>
              <a:gd name="connsiteY5" fmla="*/ 260209 h 289153"/>
              <a:gd name="connsiteX6" fmla="*/ 549346 w 549346"/>
              <a:gd name="connsiteY6" fmla="*/ 260209 h 289153"/>
              <a:gd name="connsiteX7" fmla="*/ 549346 w 549346"/>
              <a:gd name="connsiteY7" fmla="*/ 289153 h 289153"/>
              <a:gd name="connsiteX8" fmla="*/ 260201 w 549346"/>
              <a:gd name="connsiteY8" fmla="*/ 289151 h 289153"/>
              <a:gd name="connsiteX9" fmla="*/ 260201 w 549346"/>
              <a:gd name="connsiteY9" fmla="*/ 260207 h 289153"/>
              <a:gd name="connsiteX10" fmla="*/ 289145 w 549346"/>
              <a:gd name="connsiteY10" fmla="*/ 260207 h 289153"/>
              <a:gd name="connsiteX11" fmla="*/ 289145 w 549346"/>
              <a:gd name="connsiteY11" fmla="*/ 289151 h 289153"/>
              <a:gd name="connsiteX12" fmla="*/ 0 w 549346"/>
              <a:gd name="connsiteY12" fmla="*/ 28949 h 289153"/>
              <a:gd name="connsiteX13" fmla="*/ 0 w 549346"/>
              <a:gd name="connsiteY13" fmla="*/ 0 h 289153"/>
              <a:gd name="connsiteX14" fmla="*/ 28944 w 549346"/>
              <a:gd name="connsiteY14" fmla="*/ 0 h 289153"/>
              <a:gd name="connsiteX15" fmla="*/ 28944 w 549346"/>
              <a:gd name="connsiteY15" fmla="*/ 28949 h 289153"/>
              <a:gd name="connsiteX16" fmla="*/ 0 w 549346"/>
              <a:gd name="connsiteY16" fmla="*/ 289149 h 289153"/>
              <a:gd name="connsiteX17" fmla="*/ 0 w 549346"/>
              <a:gd name="connsiteY17" fmla="*/ 260205 h 289153"/>
              <a:gd name="connsiteX18" fmla="*/ 28944 w 549346"/>
              <a:gd name="connsiteY18" fmla="*/ 260205 h 289153"/>
              <a:gd name="connsiteX19" fmla="*/ 28944 w 549346"/>
              <a:gd name="connsiteY19" fmla="*/ 289149 h 28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9346" h="289153">
                <a:moveTo>
                  <a:pt x="520400" y="28953"/>
                </a:moveTo>
                <a:lnTo>
                  <a:pt x="520400" y="9"/>
                </a:lnTo>
                <a:lnTo>
                  <a:pt x="549346" y="9"/>
                </a:lnTo>
                <a:lnTo>
                  <a:pt x="549346" y="28953"/>
                </a:lnTo>
                <a:close/>
                <a:moveTo>
                  <a:pt x="520400" y="289153"/>
                </a:moveTo>
                <a:lnTo>
                  <a:pt x="520400" y="260209"/>
                </a:lnTo>
                <a:lnTo>
                  <a:pt x="549346" y="260209"/>
                </a:lnTo>
                <a:lnTo>
                  <a:pt x="549346" y="289153"/>
                </a:lnTo>
                <a:close/>
                <a:moveTo>
                  <a:pt x="260201" y="289151"/>
                </a:moveTo>
                <a:lnTo>
                  <a:pt x="260201" y="260207"/>
                </a:lnTo>
                <a:lnTo>
                  <a:pt x="289145" y="260207"/>
                </a:lnTo>
                <a:lnTo>
                  <a:pt x="289145" y="289151"/>
                </a:lnTo>
                <a:close/>
                <a:moveTo>
                  <a:pt x="0" y="28949"/>
                </a:moveTo>
                <a:lnTo>
                  <a:pt x="0" y="0"/>
                </a:lnTo>
                <a:lnTo>
                  <a:pt x="28944" y="0"/>
                </a:lnTo>
                <a:lnTo>
                  <a:pt x="28944" y="28949"/>
                </a:lnTo>
                <a:close/>
                <a:moveTo>
                  <a:pt x="0" y="289149"/>
                </a:moveTo>
                <a:lnTo>
                  <a:pt x="0" y="260205"/>
                </a:lnTo>
                <a:lnTo>
                  <a:pt x="28944" y="260205"/>
                </a:lnTo>
                <a:lnTo>
                  <a:pt x="28944" y="289149"/>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endParaRPr lang="en-US"/>
          </a:p>
        </p:txBody>
      </p:sp>
      <p:sp>
        <p:nvSpPr>
          <p:cNvPr id="87" name="Freeform: Shape 23">
            <a:extLst>
              <a:ext uri="{FF2B5EF4-FFF2-40B4-BE49-F238E27FC236}">
                <a16:creationId xmlns:a16="http://schemas.microsoft.com/office/drawing/2014/main" id="{37CBD28F-3B75-C749-A372-A1790A185A3E}"/>
              </a:ext>
            </a:extLst>
          </p:cNvPr>
          <p:cNvSpPr/>
          <p:nvPr userDrawn="1"/>
        </p:nvSpPr>
        <p:spPr>
          <a:xfrm rot="5400000">
            <a:off x="3934654"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accent1">
              <a:lumMod val="60000"/>
              <a:lumOff val="40000"/>
              <a:alpha val="76000"/>
            </a:schemeClr>
          </a:solidFill>
          <a:ln w="1029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931596347"/>
      </p:ext>
    </p:extLst>
  </p:cSld>
  <p:clrMapOvr>
    <a:masterClrMapping/>
  </p:clrMapOvr>
  <p:extLst>
    <p:ext uri="{DCECCB84-F9BA-43D5-87BE-67443E8EF086}">
      <p15:sldGuideLst xmlns:p15="http://schemas.microsoft.com/office/powerpoint/2012/main">
        <p15:guide id="1" pos="2567" userDrawn="1">
          <p15:clr>
            <a:srgbClr val="FBAE40"/>
          </p15:clr>
        </p15:guide>
        <p15:guide id="2" pos="5111"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1" y="1783536"/>
            <a:ext cx="11428412" cy="44267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02" y="1169974"/>
            <a:ext cx="11427050"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C3FE43D3-4731-4F4C-A5C3-356B2EE894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39114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3" name="Content Placeholder 2"/>
          <p:cNvSpPr>
            <a:spLocks noGrp="1"/>
          </p:cNvSpPr>
          <p:nvPr>
            <p:ph idx="1"/>
          </p:nvPr>
        </p:nvSpPr>
        <p:spPr>
          <a:xfrm>
            <a:off x="381002" y="1781173"/>
            <a:ext cx="5341141" cy="4429127"/>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83" y="1171575"/>
            <a:ext cx="5340398"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4CFEC3F1-CFF8-4AA4-BEA2-C7220A4A3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986643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Bkgrd Fill 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3" name="Graphic 32">
            <a:extLst>
              <a:ext uri="{FF2B5EF4-FFF2-40B4-BE49-F238E27FC236}">
                <a16:creationId xmlns:a16="http://schemas.microsoft.com/office/drawing/2014/main" id="{5EDD7DE1-19E3-4DB0-B56F-BC9ECB594C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068650" y="986"/>
            <a:ext cx="6147164" cy="6860192"/>
          </a:xfrm>
          <a:prstGeom prst="rect">
            <a:avLst/>
          </a:prstGeom>
        </p:spPr>
      </p:pic>
      <p:sp>
        <p:nvSpPr>
          <p:cNvPr id="2" name="Rectangle 1">
            <a:extLst>
              <a:ext uri="{FF2B5EF4-FFF2-40B4-BE49-F238E27FC236}">
                <a16:creationId xmlns:a16="http://schemas.microsoft.com/office/drawing/2014/main" id="{922B0458-E72E-4D51-B452-0B9416404821}"/>
              </a:ext>
            </a:extLst>
          </p:cNvPr>
          <p:cNvSpPr/>
          <p:nvPr userDrawn="1"/>
        </p:nvSpPr>
        <p:spPr>
          <a:xfrm>
            <a:off x="0" y="0"/>
            <a:ext cx="6094413"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9" name="Subtitle 2">
            <a:extLst>
              <a:ext uri="{FF2B5EF4-FFF2-40B4-BE49-F238E27FC236}">
                <a16:creationId xmlns:a16="http://schemas.microsoft.com/office/drawing/2014/main" id="{AFFC2B96-DB9F-4E96-9BA2-A52D2687B368}"/>
              </a:ext>
            </a:extLst>
          </p:cNvPr>
          <p:cNvSpPr>
            <a:spLocks noGrp="1"/>
          </p:cNvSpPr>
          <p:nvPr>
            <p:ph type="subTitle" idx="1" hasCustomPrompt="1"/>
          </p:nvPr>
        </p:nvSpPr>
        <p:spPr>
          <a:xfrm>
            <a:off x="382972" y="3646288"/>
            <a:ext cx="5285422" cy="1623798"/>
          </a:xfrm>
        </p:spPr>
        <p:txBody>
          <a:bodyPr lIns="0" tIns="0" rIns="0" bIns="0" anchor="t" anchorCtr="0">
            <a:normAutofit/>
          </a:bodyPr>
          <a:lstStyle>
            <a:lvl1pPr marL="0" indent="0" algn="l">
              <a:lnSpc>
                <a:spcPct val="80000"/>
              </a:lnSpc>
              <a:spcBef>
                <a:spcPts val="0"/>
              </a:spcBef>
              <a:buNone/>
              <a:defRPr sz="5000" b="1" i="0" spc="-10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0" name="Text Placeholder 4">
            <a:extLst>
              <a:ext uri="{FF2B5EF4-FFF2-40B4-BE49-F238E27FC236}">
                <a16:creationId xmlns:a16="http://schemas.microsoft.com/office/drawing/2014/main" id="{BE6E51BF-7D83-4DE3-8AE5-5983CC7D6205}"/>
              </a:ext>
            </a:extLst>
          </p:cNvPr>
          <p:cNvSpPr>
            <a:spLocks noGrp="1"/>
          </p:cNvSpPr>
          <p:nvPr>
            <p:ph type="body" sz="quarter" idx="12" hasCustomPrompt="1"/>
          </p:nvPr>
        </p:nvSpPr>
        <p:spPr>
          <a:xfrm>
            <a:off x="386021" y="3003840"/>
            <a:ext cx="5285422" cy="510040"/>
          </a:xfrm>
        </p:spPr>
        <p:txBody>
          <a:bodyPr anchor="ctr" anchorCtr="0"/>
          <a:lstStyle>
            <a:lvl1pPr>
              <a:defRPr sz="5000" b="1" spc="-100" baseline="0">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834C5100-AB81-46B2-8F88-5CE3F132546E}"/>
              </a:ext>
            </a:extLst>
          </p:cNvPr>
          <p:cNvSpPr>
            <a:spLocks noGrp="1"/>
          </p:cNvSpPr>
          <p:nvPr>
            <p:ph type="ctrTitle"/>
          </p:nvPr>
        </p:nvSpPr>
        <p:spPr>
          <a:xfrm>
            <a:off x="382972" y="880649"/>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22" name="Freeform: Shape 17">
            <a:extLst>
              <a:ext uri="{FF2B5EF4-FFF2-40B4-BE49-F238E27FC236}">
                <a16:creationId xmlns:a16="http://schemas.microsoft.com/office/drawing/2014/main" id="{6284F828-E354-CE4E-9CB0-211291DA241B}"/>
              </a:ext>
            </a:extLst>
          </p:cNvPr>
          <p:cNvSpPr txBox="1">
            <a:spLocks/>
          </p:cNvSpPr>
          <p:nvPr userDrawn="1"/>
        </p:nvSpPr>
        <p:spPr>
          <a:xfrm>
            <a:off x="7415115" y="-16223"/>
            <a:ext cx="1059710" cy="1030447"/>
          </a:xfrm>
          <a:custGeom>
            <a:avLst/>
            <a:gdLst>
              <a:gd name="connsiteX0" fmla="*/ 0 w 1059710"/>
              <a:gd name="connsiteY0" fmla="*/ 0 h 1030447"/>
              <a:gd name="connsiteX1" fmla="*/ 530730 w 1059710"/>
              <a:gd name="connsiteY1" fmla="*/ 0 h 1030447"/>
              <a:gd name="connsiteX2" fmla="*/ 538263 w 1059710"/>
              <a:gd name="connsiteY2" fmla="*/ 74726 h 1030447"/>
              <a:gd name="connsiteX3" fmla="*/ 1059710 w 1059710"/>
              <a:gd name="connsiteY3" fmla="*/ 499718 h 1030447"/>
              <a:gd name="connsiteX4" fmla="*/ 1059710 w 1059710"/>
              <a:gd name="connsiteY4" fmla="*/ 1030447 h 1030447"/>
              <a:gd name="connsiteX5" fmla="*/ 18316 w 1059710"/>
              <a:gd name="connsiteY5" fmla="*/ 181687 h 103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9710" h="1030447">
                <a:moveTo>
                  <a:pt x="0" y="0"/>
                </a:moveTo>
                <a:lnTo>
                  <a:pt x="530730" y="0"/>
                </a:lnTo>
                <a:lnTo>
                  <a:pt x="538263" y="74726"/>
                </a:lnTo>
                <a:cubicBezTo>
                  <a:pt x="587894" y="317268"/>
                  <a:pt x="802496" y="499718"/>
                  <a:pt x="1059710" y="499718"/>
                </a:cubicBezTo>
                <a:lnTo>
                  <a:pt x="1059710" y="1030447"/>
                </a:lnTo>
                <a:cubicBezTo>
                  <a:pt x="546021" y="1030447"/>
                  <a:pt x="117435" y="666073"/>
                  <a:pt x="18316" y="181687"/>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3" name="Freeform: Shape 21">
            <a:extLst>
              <a:ext uri="{FF2B5EF4-FFF2-40B4-BE49-F238E27FC236}">
                <a16:creationId xmlns:a16="http://schemas.microsoft.com/office/drawing/2014/main" id="{AED2A114-799D-2247-A965-9C465130ACD3}"/>
              </a:ext>
            </a:extLst>
          </p:cNvPr>
          <p:cNvSpPr txBox="1">
            <a:spLocks/>
          </p:cNvSpPr>
          <p:nvPr userDrawn="1"/>
        </p:nvSpPr>
        <p:spPr>
          <a:xfrm>
            <a:off x="6333155" y="482789"/>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4" name="Freeform: Shape 22">
            <a:extLst>
              <a:ext uri="{FF2B5EF4-FFF2-40B4-BE49-F238E27FC236}">
                <a16:creationId xmlns:a16="http://schemas.microsoft.com/office/drawing/2014/main" id="{E266C99E-2668-6E4E-BB19-A243A95B412B}"/>
              </a:ext>
            </a:extLst>
          </p:cNvPr>
          <p:cNvSpPr txBox="1">
            <a:spLocks/>
          </p:cNvSpPr>
          <p:nvPr userDrawn="1"/>
        </p:nvSpPr>
        <p:spPr>
          <a:xfrm>
            <a:off x="9015845" y="-16225"/>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5" name="Freeform: Shape 23">
            <a:extLst>
              <a:ext uri="{FF2B5EF4-FFF2-40B4-BE49-F238E27FC236}">
                <a16:creationId xmlns:a16="http://schemas.microsoft.com/office/drawing/2014/main" id="{29D97337-E9D6-7442-8C5D-33A342B4F026}"/>
              </a:ext>
            </a:extLst>
          </p:cNvPr>
          <p:cNvSpPr txBox="1">
            <a:spLocks/>
          </p:cNvSpPr>
          <p:nvPr userDrawn="1"/>
        </p:nvSpPr>
        <p:spPr>
          <a:xfrm>
            <a:off x="10362964" y="-16226"/>
            <a:ext cx="1825857" cy="1030511"/>
          </a:xfrm>
          <a:custGeom>
            <a:avLst/>
            <a:gdLst>
              <a:gd name="connsiteX0" fmla="*/ 0 w 1825857"/>
              <a:gd name="connsiteY0" fmla="*/ 0 h 1030511"/>
              <a:gd name="connsiteX1" fmla="*/ 530728 w 1825857"/>
              <a:gd name="connsiteY1" fmla="*/ 0 h 1030511"/>
              <a:gd name="connsiteX2" fmla="*/ 538268 w 1825857"/>
              <a:gd name="connsiteY2" fmla="*/ 74789 h 1030511"/>
              <a:gd name="connsiteX3" fmla="*/ 1059716 w 1825857"/>
              <a:gd name="connsiteY3" fmla="*/ 499781 h 1030511"/>
              <a:gd name="connsiteX4" fmla="*/ 1581162 w 1825857"/>
              <a:gd name="connsiteY4" fmla="*/ 74789 h 1030511"/>
              <a:gd name="connsiteX5" fmla="*/ 1588702 w 1825857"/>
              <a:gd name="connsiteY5" fmla="*/ 0 h 1030511"/>
              <a:gd name="connsiteX6" fmla="*/ 1825857 w 1825857"/>
              <a:gd name="connsiteY6" fmla="*/ 0 h 1030511"/>
              <a:gd name="connsiteX7" fmla="*/ 1825857 w 1825857"/>
              <a:gd name="connsiteY7" fmla="*/ 703222 h 1030511"/>
              <a:gd name="connsiteX8" fmla="*/ 1811362 w 1825857"/>
              <a:gd name="connsiteY8" fmla="*/ 719168 h 1030511"/>
              <a:gd name="connsiteX9" fmla="*/ 1059716 w 1825857"/>
              <a:gd name="connsiteY9" fmla="*/ 1030511 h 1030511"/>
              <a:gd name="connsiteX10" fmla="*/ 18322 w 1825857"/>
              <a:gd name="connsiteY10" fmla="*/ 181750 h 103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5857" h="1030511">
                <a:moveTo>
                  <a:pt x="0" y="0"/>
                </a:moveTo>
                <a:lnTo>
                  <a:pt x="530728" y="0"/>
                </a:lnTo>
                <a:lnTo>
                  <a:pt x="538268" y="74789"/>
                </a:lnTo>
                <a:cubicBezTo>
                  <a:pt x="587899" y="317331"/>
                  <a:pt x="802501" y="499781"/>
                  <a:pt x="1059716" y="499781"/>
                </a:cubicBezTo>
                <a:cubicBezTo>
                  <a:pt x="1316929" y="499781"/>
                  <a:pt x="1531531" y="317331"/>
                  <a:pt x="1581162" y="74789"/>
                </a:cubicBezTo>
                <a:lnTo>
                  <a:pt x="1588702" y="0"/>
                </a:lnTo>
                <a:lnTo>
                  <a:pt x="1825857" y="0"/>
                </a:lnTo>
                <a:lnTo>
                  <a:pt x="1825857" y="703222"/>
                </a:lnTo>
                <a:lnTo>
                  <a:pt x="1811362" y="719168"/>
                </a:lnTo>
                <a:cubicBezTo>
                  <a:pt x="1619000" y="911532"/>
                  <a:pt x="1353252" y="1030511"/>
                  <a:pt x="1059716" y="1030511"/>
                </a:cubicBezTo>
                <a:cubicBezTo>
                  <a:pt x="546026" y="1030511"/>
                  <a:pt x="117442" y="666137"/>
                  <a:pt x="18322" y="181750"/>
                </a:cubicBezTo>
                <a:close/>
              </a:path>
            </a:pathLst>
          </a:custGeom>
          <a:solidFill>
            <a:schemeClr val="bg1">
              <a:alpha val="20000"/>
            </a:schemeClr>
          </a:solidFill>
        </p:spPr>
        <p:txBody>
          <a:bodyPr vert="horz" wrap="square" lIns="0" tIns="0" rIns="0" bIns="0" rtlCol="0" anchor="b" anchorCtr="0">
            <a:noAutofit/>
          </a:bodyPr>
          <a:lstStyle>
            <a:lvl1pPr marL="0" indent="0" algn="l" defTabSz="457200" rtl="0" eaLnBrk="1" latinLnBrk="0" hangingPunct="1">
              <a:lnSpc>
                <a:spcPct val="90000"/>
              </a:lnSpc>
              <a:spcBef>
                <a:spcPts val="500"/>
              </a:spcBef>
              <a:buFont typeface="Arial"/>
              <a:buNone/>
              <a:defRPr sz="1500" b="1" kern="1200" spc="-30" baseline="0">
                <a:solidFill>
                  <a:schemeClr val="bg1">
                    <a:alpha val="0"/>
                  </a:schemeClr>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0" name="Freeform: Shape 24">
            <a:extLst>
              <a:ext uri="{FF2B5EF4-FFF2-40B4-BE49-F238E27FC236}">
                <a16:creationId xmlns:a16="http://schemas.microsoft.com/office/drawing/2014/main" id="{461EF73E-9C5A-B844-8405-9A3CADA54541}"/>
              </a:ext>
            </a:extLst>
          </p:cNvPr>
          <p:cNvSpPr txBox="1">
            <a:spLocks/>
          </p:cNvSpPr>
          <p:nvPr userDrawn="1"/>
        </p:nvSpPr>
        <p:spPr>
          <a:xfrm>
            <a:off x="6348844" y="1548009"/>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baseline="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1" name="Freeform: Shape 25">
            <a:extLst>
              <a:ext uri="{FF2B5EF4-FFF2-40B4-BE49-F238E27FC236}">
                <a16:creationId xmlns:a16="http://schemas.microsoft.com/office/drawing/2014/main" id="{6BCC1889-3A6E-4942-A67D-21D9B334192D}"/>
              </a:ext>
            </a:extLst>
          </p:cNvPr>
          <p:cNvSpPr txBox="1">
            <a:spLocks/>
          </p:cNvSpPr>
          <p:nvPr userDrawn="1"/>
        </p:nvSpPr>
        <p:spPr>
          <a:xfrm>
            <a:off x="11657947" y="1548009"/>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alpha val="20000"/>
            </a:schemeClr>
          </a:solidFill>
        </p:spPr>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baseline="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2" name="Freeform: Shape 26">
            <a:extLst>
              <a:ext uri="{FF2B5EF4-FFF2-40B4-BE49-F238E27FC236}">
                <a16:creationId xmlns:a16="http://schemas.microsoft.com/office/drawing/2014/main" id="{86354278-A8EE-8C4B-88E3-8D853197A73A}"/>
              </a:ext>
            </a:extLst>
          </p:cNvPr>
          <p:cNvSpPr txBox="1">
            <a:spLocks/>
          </p:cNvSpPr>
          <p:nvPr userDrawn="1"/>
        </p:nvSpPr>
        <p:spPr>
          <a:xfrm>
            <a:off x="11657948" y="4209699"/>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5" name="Freeform: Shape 27">
            <a:extLst>
              <a:ext uri="{FF2B5EF4-FFF2-40B4-BE49-F238E27FC236}">
                <a16:creationId xmlns:a16="http://schemas.microsoft.com/office/drawing/2014/main" id="{F492A1DC-9903-DF46-8D50-29E677D54D58}"/>
              </a:ext>
            </a:extLst>
          </p:cNvPr>
          <p:cNvSpPr txBox="1">
            <a:spLocks/>
          </p:cNvSpPr>
          <p:nvPr userDrawn="1"/>
        </p:nvSpPr>
        <p:spPr>
          <a:xfrm>
            <a:off x="8738227" y="5823862"/>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6" name="Freeform: Shape 28">
            <a:extLst>
              <a:ext uri="{FF2B5EF4-FFF2-40B4-BE49-F238E27FC236}">
                <a16:creationId xmlns:a16="http://schemas.microsoft.com/office/drawing/2014/main" id="{3A40C94B-C8CE-2E43-AB70-1D31688C6BDE}"/>
              </a:ext>
            </a:extLst>
          </p:cNvPr>
          <p:cNvSpPr txBox="1">
            <a:spLocks/>
          </p:cNvSpPr>
          <p:nvPr userDrawn="1"/>
        </p:nvSpPr>
        <p:spPr>
          <a:xfrm>
            <a:off x="10612869" y="4738654"/>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7" name="Freeform: Shape 29">
            <a:extLst>
              <a:ext uri="{FF2B5EF4-FFF2-40B4-BE49-F238E27FC236}">
                <a16:creationId xmlns:a16="http://schemas.microsoft.com/office/drawing/2014/main" id="{31ACE15E-79D9-9141-AEF0-C4BAB9794B89}"/>
              </a:ext>
            </a:extLst>
          </p:cNvPr>
          <p:cNvSpPr txBox="1">
            <a:spLocks/>
          </p:cNvSpPr>
          <p:nvPr userDrawn="1"/>
        </p:nvSpPr>
        <p:spPr>
          <a:xfrm>
            <a:off x="6642711" y="2873006"/>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8" name="Freeform: Shape 30">
            <a:extLst>
              <a:ext uri="{FF2B5EF4-FFF2-40B4-BE49-F238E27FC236}">
                <a16:creationId xmlns:a16="http://schemas.microsoft.com/office/drawing/2014/main" id="{4CA4340C-2952-BD43-AE4F-16EA5BE50AC5}"/>
              </a:ext>
            </a:extLst>
          </p:cNvPr>
          <p:cNvSpPr txBox="1">
            <a:spLocks/>
          </p:cNvSpPr>
          <p:nvPr userDrawn="1"/>
        </p:nvSpPr>
        <p:spPr>
          <a:xfrm>
            <a:off x="6355705" y="5004370"/>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9" name="Freeform: Shape 31">
            <a:extLst>
              <a:ext uri="{FF2B5EF4-FFF2-40B4-BE49-F238E27FC236}">
                <a16:creationId xmlns:a16="http://schemas.microsoft.com/office/drawing/2014/main" id="{AB4FD552-2008-4C46-A4BD-4DB61E3A3347}"/>
              </a:ext>
            </a:extLst>
          </p:cNvPr>
          <p:cNvSpPr txBox="1">
            <a:spLocks/>
          </p:cNvSpPr>
          <p:nvPr userDrawn="1"/>
        </p:nvSpPr>
        <p:spPr>
          <a:xfrm flipV="1">
            <a:off x="7944970" y="2898405"/>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40" name="Freeform: Shape 32">
            <a:extLst>
              <a:ext uri="{FF2B5EF4-FFF2-40B4-BE49-F238E27FC236}">
                <a16:creationId xmlns:a16="http://schemas.microsoft.com/office/drawing/2014/main" id="{CFD25107-091C-024B-9FDB-2B2BB5293343}"/>
              </a:ext>
            </a:extLst>
          </p:cNvPr>
          <p:cNvSpPr txBox="1">
            <a:spLocks/>
          </p:cNvSpPr>
          <p:nvPr userDrawn="1"/>
        </p:nvSpPr>
        <p:spPr>
          <a:xfrm>
            <a:off x="10347151" y="2086894"/>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pic>
        <p:nvPicPr>
          <p:cNvPr id="27" name="Picture 26" descr="A close up of a sign&#10;&#10;Description automatically generated">
            <a:extLst>
              <a:ext uri="{FF2B5EF4-FFF2-40B4-BE49-F238E27FC236}">
                <a16:creationId xmlns:a16="http://schemas.microsoft.com/office/drawing/2014/main" id="{753ADD2E-2463-49B0-B4BC-038AF184F24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30212" y="6081015"/>
            <a:ext cx="2448162" cy="560909"/>
          </a:xfrm>
          <a:prstGeom prst="rect">
            <a:avLst/>
          </a:prstGeom>
        </p:spPr>
      </p:pic>
    </p:spTree>
    <p:extLst>
      <p:ext uri="{BB962C8B-B14F-4D97-AF65-F5344CB8AC3E}">
        <p14:creationId xmlns:p14="http://schemas.microsoft.com/office/powerpoint/2010/main" val="32613083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79414" y="1322388"/>
            <a:ext cx="11430668" cy="4895532"/>
          </a:xfrm>
        </p:spPr>
        <p:txBody>
          <a:bodyPr numCol="2"/>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4251835"/>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9_Title – Grid Light">
    <p:bg>
      <p:bgPr>
        <a:solidFill>
          <a:schemeClr val="accent2"/>
        </a:soli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4FE2AA10-9D33-4410-A2F8-160018E84594}"/>
              </a:ext>
            </a:extLst>
          </p:cNvPr>
          <p:cNvSpPr txBox="1">
            <a:spLocks/>
          </p:cNvSpPr>
          <p:nvPr userDrawn="1"/>
        </p:nvSpPr>
        <p:spPr>
          <a:xfrm>
            <a:off x="6094412" y="5674866"/>
            <a:ext cx="1594964" cy="1183133"/>
          </a:xfrm>
          <a:custGeom>
            <a:avLst/>
            <a:gdLst>
              <a:gd name="connsiteX0" fmla="*/ 797482 w 1594964"/>
              <a:gd name="connsiteY0" fmla="*/ 0 h 1183133"/>
              <a:gd name="connsiteX1" fmla="*/ 1594964 w 1594964"/>
              <a:gd name="connsiteY1" fmla="*/ 797476 h 1183133"/>
              <a:gd name="connsiteX2" fmla="*/ 1532294 w 1594964"/>
              <a:gd name="connsiteY2" fmla="*/ 1107889 h 1183133"/>
              <a:gd name="connsiteX3" fmla="*/ 1491453 w 1594964"/>
              <a:gd name="connsiteY3" fmla="*/ 1183133 h 1183133"/>
              <a:gd name="connsiteX4" fmla="*/ 103512 w 1594964"/>
              <a:gd name="connsiteY4" fmla="*/ 1183133 h 1183133"/>
              <a:gd name="connsiteX5" fmla="*/ 62671 w 1594964"/>
              <a:gd name="connsiteY5" fmla="*/ 1107889 h 1183133"/>
              <a:gd name="connsiteX6" fmla="*/ 0 w 1594964"/>
              <a:gd name="connsiteY6" fmla="*/ 797476 h 1183133"/>
              <a:gd name="connsiteX7" fmla="*/ 797482 w 1594964"/>
              <a:gd name="connsiteY7" fmla="*/ 0 h 118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964" h="1183133">
                <a:moveTo>
                  <a:pt x="797482" y="0"/>
                </a:moveTo>
                <a:cubicBezTo>
                  <a:pt x="1237919" y="0"/>
                  <a:pt x="1594964" y="357042"/>
                  <a:pt x="1594964" y="797476"/>
                </a:cubicBezTo>
                <a:cubicBezTo>
                  <a:pt x="1594964" y="907584"/>
                  <a:pt x="1572649" y="1012481"/>
                  <a:pt x="1532294" y="1107889"/>
                </a:cubicBezTo>
                <a:lnTo>
                  <a:pt x="1491453" y="1183133"/>
                </a:lnTo>
                <a:lnTo>
                  <a:pt x="103512" y="1183133"/>
                </a:lnTo>
                <a:lnTo>
                  <a:pt x="62671" y="1107889"/>
                </a:lnTo>
                <a:cubicBezTo>
                  <a:pt x="22316" y="1012481"/>
                  <a:pt x="0" y="907584"/>
                  <a:pt x="0" y="797476"/>
                </a:cubicBezTo>
                <a:cubicBezTo>
                  <a:pt x="0" y="357042"/>
                  <a:pt x="357045" y="0"/>
                  <a:pt x="797482"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rot="16200000">
            <a:off x="9901665" y="3923141"/>
            <a:ext cx="1595707" cy="297861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1" y="2350042"/>
            <a:ext cx="5711441" cy="2157916"/>
          </a:xfrm>
        </p:spPr>
        <p:txBody>
          <a:bodyPr lIns="0" tIns="0" rIns="0" bIns="0" anchor="ctr" anchorCtr="0">
            <a:no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
        <p:nvSpPr>
          <p:cNvPr id="18" name="Freeform: Shape 17">
            <a:extLst>
              <a:ext uri="{FF2B5EF4-FFF2-40B4-BE49-F238E27FC236}">
                <a16:creationId xmlns:a16="http://schemas.microsoft.com/office/drawing/2014/main" id="{83BFAE12-AAE0-4AF1-91F9-6A8EBB22D4A9}"/>
              </a:ext>
            </a:extLst>
          </p:cNvPr>
          <p:cNvSpPr/>
          <p:nvPr userDrawn="1"/>
        </p:nvSpPr>
        <p:spPr>
          <a:xfrm>
            <a:off x="5150065" y="1"/>
            <a:ext cx="6562439" cy="2598057"/>
          </a:xfrm>
          <a:custGeom>
            <a:avLst/>
            <a:gdLst>
              <a:gd name="connsiteX0" fmla="*/ 0 w 6562439"/>
              <a:gd name="connsiteY0" fmla="*/ 0 h 2598057"/>
              <a:gd name="connsiteX1" fmla="*/ 1693279 w 6562439"/>
              <a:gd name="connsiteY1" fmla="*/ 0 h 2598057"/>
              <a:gd name="connsiteX2" fmla="*/ 1725475 w 6562439"/>
              <a:gd name="connsiteY2" fmla="*/ 66834 h 2598057"/>
              <a:gd name="connsiteX3" fmla="*/ 3281219 w 6562439"/>
              <a:gd name="connsiteY3" fmla="*/ 992774 h 2598057"/>
              <a:gd name="connsiteX4" fmla="*/ 4836964 w 6562439"/>
              <a:gd name="connsiteY4" fmla="*/ 66834 h 2598057"/>
              <a:gd name="connsiteX5" fmla="*/ 4869159 w 6562439"/>
              <a:gd name="connsiteY5" fmla="*/ 0 h 2598057"/>
              <a:gd name="connsiteX6" fmla="*/ 6562439 w 6562439"/>
              <a:gd name="connsiteY6" fmla="*/ 0 h 2598057"/>
              <a:gd name="connsiteX7" fmla="*/ 6504076 w 6562439"/>
              <a:gd name="connsiteY7" fmla="*/ 226980 h 2598057"/>
              <a:gd name="connsiteX8" fmla="*/ 3281219 w 6562439"/>
              <a:gd name="connsiteY8" fmla="*/ 2598057 h 2598057"/>
              <a:gd name="connsiteX9" fmla="*/ 58362 w 6562439"/>
              <a:gd name="connsiteY9" fmla="*/ 226980 h 259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2439" h="2598057">
                <a:moveTo>
                  <a:pt x="0" y="0"/>
                </a:moveTo>
                <a:lnTo>
                  <a:pt x="1693279" y="0"/>
                </a:lnTo>
                <a:lnTo>
                  <a:pt x="1725475" y="66834"/>
                </a:lnTo>
                <a:cubicBezTo>
                  <a:pt x="2025085" y="618366"/>
                  <a:pt x="2609428" y="992774"/>
                  <a:pt x="3281219" y="992774"/>
                </a:cubicBezTo>
                <a:cubicBezTo>
                  <a:pt x="3953010" y="992774"/>
                  <a:pt x="4537354" y="618366"/>
                  <a:pt x="4836964" y="66834"/>
                </a:cubicBezTo>
                <a:lnTo>
                  <a:pt x="4869159" y="0"/>
                </a:lnTo>
                <a:lnTo>
                  <a:pt x="6562439" y="0"/>
                </a:lnTo>
                <a:lnTo>
                  <a:pt x="6504076" y="226980"/>
                </a:lnTo>
                <a:cubicBezTo>
                  <a:pt x="6076817" y="1600662"/>
                  <a:pt x="4795495" y="2598057"/>
                  <a:pt x="3281219" y="2598057"/>
                </a:cubicBezTo>
                <a:cubicBezTo>
                  <a:pt x="1766944" y="2598057"/>
                  <a:pt x="485622" y="1600662"/>
                  <a:pt x="58362" y="226980"/>
                </a:cubicBezTo>
                <a:close/>
              </a:path>
            </a:pathLst>
          </a:custGeom>
          <a:solidFill>
            <a:schemeClr val="bg1">
              <a:alpha val="25000"/>
            </a:schemeClr>
          </a:solidFill>
        </p:spPr>
        <p:txBody>
          <a:bodyPr wrap="square">
            <a:noAutofit/>
          </a:bodyPr>
          <a:lstStyle/>
          <a:p>
            <a:pPr lvl="0" indent="0">
              <a:spcBef>
                <a:spcPts val="1000"/>
              </a:spcBef>
              <a:buFont typeface="Arial"/>
              <a:buNone/>
            </a:pPr>
            <a:endParaRPr lang="en-US" sz="2000" err="1">
              <a:solidFill>
                <a:schemeClr val="bg1">
                  <a:alpha val="0"/>
                </a:schemeClr>
              </a:solidFill>
              <a:latin typeface="Arial"/>
              <a:cs typeface="Arial"/>
            </a:endParaRPr>
          </a:p>
        </p:txBody>
      </p:sp>
      <p:sp>
        <p:nvSpPr>
          <p:cNvPr id="14" name="Text Placeholder 4">
            <a:extLst>
              <a:ext uri="{FF2B5EF4-FFF2-40B4-BE49-F238E27FC236}">
                <a16:creationId xmlns:a16="http://schemas.microsoft.com/office/drawing/2014/main" id="{49228C13-D9FB-49C9-BA4B-0101BFA9AC26}"/>
              </a:ext>
            </a:extLst>
          </p:cNvPr>
          <p:cNvSpPr>
            <a:spLocks noGrp="1"/>
          </p:cNvSpPr>
          <p:nvPr>
            <p:ph type="body" sz="quarter" idx="12" hasCustomPrompt="1"/>
          </p:nvPr>
        </p:nvSpPr>
        <p:spPr>
          <a:xfrm>
            <a:off x="386020" y="953068"/>
            <a:ext cx="5708393" cy="510040"/>
          </a:xfrm>
        </p:spPr>
        <p:txBody>
          <a:bodyPr anchor="ctr" anchorCtr="0"/>
          <a:lstStyle>
            <a:lvl1pPr>
              <a:defRPr sz="3200" b="0" spc="-150" baseline="0">
                <a:solidFill>
                  <a:schemeClr val="bg1"/>
                </a:solidFill>
                <a:latin typeface="+mj-lt"/>
              </a:defRPr>
            </a:lvl1pPr>
            <a:lvl2pPr marL="0" indent="0">
              <a:buNone/>
              <a:defRPr/>
            </a:lvl2pPr>
          </a:lstStyle>
          <a:p>
            <a:pPr lvl="0"/>
            <a:r>
              <a:rPr lang="en-US"/>
              <a:t>00</a:t>
            </a:r>
          </a:p>
        </p:txBody>
      </p:sp>
      <p:pic>
        <p:nvPicPr>
          <p:cNvPr id="9" name="Picture 8" descr="Icon&#10;&#10;Description automatically generated">
            <a:extLst>
              <a:ext uri="{FF2B5EF4-FFF2-40B4-BE49-F238E27FC236}">
                <a16:creationId xmlns:a16="http://schemas.microsoft.com/office/drawing/2014/main" id="{4AE19345-9B08-4310-88E4-B19323F17CB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882743" y="3281980"/>
            <a:ext cx="1752304" cy="1345339"/>
          </a:xfrm>
          <a:prstGeom prst="rect">
            <a:avLst/>
          </a:prstGeom>
        </p:spPr>
      </p:pic>
    </p:spTree>
    <p:extLst>
      <p:ext uri="{BB962C8B-B14F-4D97-AF65-F5344CB8AC3E}">
        <p14:creationId xmlns:p14="http://schemas.microsoft.com/office/powerpoint/2010/main" val="392769837"/>
      </p:ext>
    </p:extLst>
  </p:cSld>
  <p:clrMapOvr>
    <a:masterClrMapping/>
  </p:clrMapOvr>
  <p:extLst>
    <p:ext uri="{DCECCB84-F9BA-43D5-87BE-67443E8EF086}">
      <p15:sldGuideLst xmlns:p15="http://schemas.microsoft.com/office/powerpoint/2012/main">
        <p15:guide id="1" pos="383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8D5FED81-674F-4D86-8DB8-9089C11C1D75}"/>
              </a:ext>
            </a:extLst>
          </p:cNvPr>
          <p:cNvSpPr>
            <a:spLocks noGrp="1"/>
          </p:cNvSpPr>
          <p:nvPr userDrawn="1">
            <p:ph type="pic" sz="quarter" idx="10"/>
          </p:nvPr>
        </p:nvSpPr>
        <p:spPr>
          <a:xfrm>
            <a:off x="394083" y="546499"/>
            <a:ext cx="1695973" cy="1695973"/>
          </a:xfrm>
          <a:prstGeom prst="ellipse">
            <a:avLst/>
          </a:prstGeom>
          <a:solidFill>
            <a:schemeClr val="bg2"/>
          </a:solidFill>
          <a:ln w="34925">
            <a:noFill/>
          </a:ln>
        </p:spPr>
        <p:txBody>
          <a:bodyPr/>
          <a:lstStyle/>
          <a:p>
            <a:endParaRPr lang="en-US"/>
          </a:p>
        </p:txBody>
      </p:sp>
      <p:sp>
        <p:nvSpPr>
          <p:cNvPr id="16" name="Text Placeholder 15">
            <a:extLst>
              <a:ext uri="{FF2B5EF4-FFF2-40B4-BE49-F238E27FC236}">
                <a16:creationId xmlns:a16="http://schemas.microsoft.com/office/drawing/2014/main" id="{02259C69-40AB-413B-A191-25145B793D6E}"/>
              </a:ext>
            </a:extLst>
          </p:cNvPr>
          <p:cNvSpPr>
            <a:spLocks noGrp="1"/>
          </p:cNvSpPr>
          <p:nvPr userDrawn="1">
            <p:ph type="body" sz="quarter" idx="11"/>
          </p:nvPr>
        </p:nvSpPr>
        <p:spPr>
          <a:xfrm>
            <a:off x="2634208" y="1179042"/>
            <a:ext cx="5533479" cy="430887"/>
          </a:xfrm>
          <a:noFill/>
        </p:spPr>
        <p:txBody>
          <a:bodyPr wrap="square" lIns="0" anchor="ctr">
            <a:spAutoFit/>
          </a:bodyPr>
          <a:lstStyle>
            <a:lvl1pPr>
              <a:defRPr lang="en-US" sz="2800" b="1" dirty="0" smtClean="0">
                <a:latin typeface="+mn-lt"/>
                <a:cs typeface="+mn-cs"/>
              </a:defRPr>
            </a:lvl1pPr>
            <a:lvl2pPr>
              <a:defRPr lang="en-US" sz="1800" dirty="0" smtClean="0">
                <a:latin typeface="+mn-lt"/>
                <a:cs typeface="+mn-cs"/>
              </a:defRPr>
            </a:lvl2pPr>
            <a:lvl3pPr>
              <a:defRPr lang="en-US" sz="1800" dirty="0" smtClean="0">
                <a:latin typeface="+mn-lt"/>
                <a:cs typeface="+mn-cs"/>
              </a:defRPr>
            </a:lvl3pPr>
            <a:lvl4pPr>
              <a:defRPr lang="en-US" sz="1800" dirty="0" smtClean="0">
                <a:latin typeface="+mn-lt"/>
                <a:cs typeface="+mn-cs"/>
              </a:defRPr>
            </a:lvl4pPr>
            <a:lvl5pPr>
              <a:defRPr lang="en-US" sz="1800" dirty="0">
                <a:latin typeface="+mn-lt"/>
                <a:cs typeface="+mn-cs"/>
              </a:defRPr>
            </a:lvl5pPr>
          </a:lstStyle>
          <a:p>
            <a:pPr lvl="0"/>
            <a:r>
              <a:rPr lang="en-US"/>
              <a:t>Click to edit Master text styles</a:t>
            </a:r>
          </a:p>
        </p:txBody>
      </p:sp>
    </p:spTree>
    <p:extLst>
      <p:ext uri="{BB962C8B-B14F-4D97-AF65-F5344CB8AC3E}">
        <p14:creationId xmlns:p14="http://schemas.microsoft.com/office/powerpoint/2010/main" val="955672287"/>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1_Title – Grid Light">
    <p:bg>
      <p:bgPr>
        <a:solidFill>
          <a:schemeClr val="accent4"/>
        </a:soli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4FE2AA10-9D33-4410-A2F8-160018E84594}"/>
              </a:ext>
            </a:extLst>
          </p:cNvPr>
          <p:cNvSpPr txBox="1">
            <a:spLocks/>
          </p:cNvSpPr>
          <p:nvPr userDrawn="1"/>
        </p:nvSpPr>
        <p:spPr>
          <a:xfrm>
            <a:off x="6094412" y="5674866"/>
            <a:ext cx="1594964" cy="1183133"/>
          </a:xfrm>
          <a:custGeom>
            <a:avLst/>
            <a:gdLst>
              <a:gd name="connsiteX0" fmla="*/ 797482 w 1594964"/>
              <a:gd name="connsiteY0" fmla="*/ 0 h 1183133"/>
              <a:gd name="connsiteX1" fmla="*/ 1594964 w 1594964"/>
              <a:gd name="connsiteY1" fmla="*/ 797476 h 1183133"/>
              <a:gd name="connsiteX2" fmla="*/ 1532294 w 1594964"/>
              <a:gd name="connsiteY2" fmla="*/ 1107889 h 1183133"/>
              <a:gd name="connsiteX3" fmla="*/ 1491453 w 1594964"/>
              <a:gd name="connsiteY3" fmla="*/ 1183133 h 1183133"/>
              <a:gd name="connsiteX4" fmla="*/ 103512 w 1594964"/>
              <a:gd name="connsiteY4" fmla="*/ 1183133 h 1183133"/>
              <a:gd name="connsiteX5" fmla="*/ 62671 w 1594964"/>
              <a:gd name="connsiteY5" fmla="*/ 1107889 h 1183133"/>
              <a:gd name="connsiteX6" fmla="*/ 0 w 1594964"/>
              <a:gd name="connsiteY6" fmla="*/ 797476 h 1183133"/>
              <a:gd name="connsiteX7" fmla="*/ 797482 w 1594964"/>
              <a:gd name="connsiteY7" fmla="*/ 0 h 118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964" h="1183133">
                <a:moveTo>
                  <a:pt x="797482" y="0"/>
                </a:moveTo>
                <a:cubicBezTo>
                  <a:pt x="1237919" y="0"/>
                  <a:pt x="1594964" y="357042"/>
                  <a:pt x="1594964" y="797476"/>
                </a:cubicBezTo>
                <a:cubicBezTo>
                  <a:pt x="1594964" y="907584"/>
                  <a:pt x="1572649" y="1012481"/>
                  <a:pt x="1532294" y="1107889"/>
                </a:cubicBezTo>
                <a:lnTo>
                  <a:pt x="1491453" y="1183133"/>
                </a:lnTo>
                <a:lnTo>
                  <a:pt x="103512" y="1183133"/>
                </a:lnTo>
                <a:lnTo>
                  <a:pt x="62671" y="1107889"/>
                </a:lnTo>
                <a:cubicBezTo>
                  <a:pt x="22316" y="1012481"/>
                  <a:pt x="0" y="907584"/>
                  <a:pt x="0" y="797476"/>
                </a:cubicBezTo>
                <a:cubicBezTo>
                  <a:pt x="0" y="357042"/>
                  <a:pt x="357045" y="0"/>
                  <a:pt x="797482"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rot="16200000">
            <a:off x="9901665" y="3923141"/>
            <a:ext cx="1595707" cy="297861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1" y="2616742"/>
            <a:ext cx="5711441" cy="2157916"/>
          </a:xfrm>
        </p:spPr>
        <p:txBody>
          <a:bodyPr lIns="0" tIns="0" rIns="0" bIns="0" anchor="ctr" anchorCtr="0">
            <a:no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5"/>
            <a:ext cx="2444830" cy="560909"/>
          </a:xfrm>
          <a:prstGeom prst="rect">
            <a:avLst/>
          </a:prstGeom>
        </p:spPr>
      </p:pic>
      <p:sp>
        <p:nvSpPr>
          <p:cNvPr id="18" name="Freeform: Shape 17">
            <a:extLst>
              <a:ext uri="{FF2B5EF4-FFF2-40B4-BE49-F238E27FC236}">
                <a16:creationId xmlns:a16="http://schemas.microsoft.com/office/drawing/2014/main" id="{83BFAE12-AAE0-4AF1-91F9-6A8EBB22D4A9}"/>
              </a:ext>
            </a:extLst>
          </p:cNvPr>
          <p:cNvSpPr/>
          <p:nvPr userDrawn="1"/>
        </p:nvSpPr>
        <p:spPr>
          <a:xfrm>
            <a:off x="5150065" y="1"/>
            <a:ext cx="6562439" cy="2598057"/>
          </a:xfrm>
          <a:custGeom>
            <a:avLst/>
            <a:gdLst>
              <a:gd name="connsiteX0" fmla="*/ 0 w 6562439"/>
              <a:gd name="connsiteY0" fmla="*/ 0 h 2598057"/>
              <a:gd name="connsiteX1" fmla="*/ 1693279 w 6562439"/>
              <a:gd name="connsiteY1" fmla="*/ 0 h 2598057"/>
              <a:gd name="connsiteX2" fmla="*/ 1725475 w 6562439"/>
              <a:gd name="connsiteY2" fmla="*/ 66834 h 2598057"/>
              <a:gd name="connsiteX3" fmla="*/ 3281219 w 6562439"/>
              <a:gd name="connsiteY3" fmla="*/ 992774 h 2598057"/>
              <a:gd name="connsiteX4" fmla="*/ 4836964 w 6562439"/>
              <a:gd name="connsiteY4" fmla="*/ 66834 h 2598057"/>
              <a:gd name="connsiteX5" fmla="*/ 4869159 w 6562439"/>
              <a:gd name="connsiteY5" fmla="*/ 0 h 2598057"/>
              <a:gd name="connsiteX6" fmla="*/ 6562439 w 6562439"/>
              <a:gd name="connsiteY6" fmla="*/ 0 h 2598057"/>
              <a:gd name="connsiteX7" fmla="*/ 6504076 w 6562439"/>
              <a:gd name="connsiteY7" fmla="*/ 226980 h 2598057"/>
              <a:gd name="connsiteX8" fmla="*/ 3281219 w 6562439"/>
              <a:gd name="connsiteY8" fmla="*/ 2598057 h 2598057"/>
              <a:gd name="connsiteX9" fmla="*/ 58362 w 6562439"/>
              <a:gd name="connsiteY9" fmla="*/ 226980 h 259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2439" h="2598057">
                <a:moveTo>
                  <a:pt x="0" y="0"/>
                </a:moveTo>
                <a:lnTo>
                  <a:pt x="1693279" y="0"/>
                </a:lnTo>
                <a:lnTo>
                  <a:pt x="1725475" y="66834"/>
                </a:lnTo>
                <a:cubicBezTo>
                  <a:pt x="2025085" y="618366"/>
                  <a:pt x="2609428" y="992774"/>
                  <a:pt x="3281219" y="992774"/>
                </a:cubicBezTo>
                <a:cubicBezTo>
                  <a:pt x="3953010" y="992774"/>
                  <a:pt x="4537354" y="618366"/>
                  <a:pt x="4836964" y="66834"/>
                </a:cubicBezTo>
                <a:lnTo>
                  <a:pt x="4869159" y="0"/>
                </a:lnTo>
                <a:lnTo>
                  <a:pt x="6562439" y="0"/>
                </a:lnTo>
                <a:lnTo>
                  <a:pt x="6504076" y="226980"/>
                </a:lnTo>
                <a:cubicBezTo>
                  <a:pt x="6076817" y="1600662"/>
                  <a:pt x="4795495" y="2598057"/>
                  <a:pt x="3281219" y="2598057"/>
                </a:cubicBezTo>
                <a:cubicBezTo>
                  <a:pt x="1766944" y="2598057"/>
                  <a:pt x="485622" y="1600662"/>
                  <a:pt x="58362" y="226980"/>
                </a:cubicBezTo>
                <a:close/>
              </a:path>
            </a:pathLst>
          </a:custGeom>
          <a:solidFill>
            <a:schemeClr val="bg1">
              <a:alpha val="25000"/>
            </a:schemeClr>
          </a:solidFill>
        </p:spPr>
        <p:txBody>
          <a:bodyPr wrap="square">
            <a:noAutofit/>
          </a:bodyPr>
          <a:lstStyle/>
          <a:p>
            <a:pPr lvl="0" indent="0">
              <a:spcBef>
                <a:spcPts val="1000"/>
              </a:spcBef>
              <a:buFont typeface="Arial"/>
              <a:buNone/>
            </a:pPr>
            <a:endParaRPr lang="en-US" sz="2000" err="1">
              <a:solidFill>
                <a:schemeClr val="bg1">
                  <a:alpha val="0"/>
                </a:schemeClr>
              </a:solidFill>
              <a:latin typeface="Arial"/>
              <a:cs typeface="Arial"/>
            </a:endParaRPr>
          </a:p>
        </p:txBody>
      </p:sp>
      <p:sp>
        <p:nvSpPr>
          <p:cNvPr id="14" name="Text Placeholder 4">
            <a:extLst>
              <a:ext uri="{FF2B5EF4-FFF2-40B4-BE49-F238E27FC236}">
                <a16:creationId xmlns:a16="http://schemas.microsoft.com/office/drawing/2014/main" id="{49228C13-D9FB-49C9-BA4B-0101BFA9AC26}"/>
              </a:ext>
            </a:extLst>
          </p:cNvPr>
          <p:cNvSpPr>
            <a:spLocks noGrp="1"/>
          </p:cNvSpPr>
          <p:nvPr>
            <p:ph type="body" sz="quarter" idx="12" hasCustomPrompt="1"/>
          </p:nvPr>
        </p:nvSpPr>
        <p:spPr>
          <a:xfrm>
            <a:off x="386020" y="953068"/>
            <a:ext cx="5708393" cy="510040"/>
          </a:xfrm>
        </p:spPr>
        <p:txBody>
          <a:bodyPr anchor="ctr" anchorCtr="0"/>
          <a:lstStyle>
            <a:lvl1pPr>
              <a:defRPr sz="3200" b="0" spc="-150" baseline="0">
                <a:solidFill>
                  <a:schemeClr val="bg1"/>
                </a:solidFill>
                <a:latin typeface="+mj-lt"/>
              </a:defRPr>
            </a:lvl1pPr>
            <a:lvl2pPr marL="0" indent="0">
              <a:buNone/>
              <a:defRPr/>
            </a:lvl2pPr>
          </a:lstStyle>
          <a:p>
            <a:pPr lvl="0"/>
            <a:r>
              <a:rPr lang="en-US"/>
              <a:t>00</a:t>
            </a:r>
          </a:p>
        </p:txBody>
      </p:sp>
      <p:pic>
        <p:nvPicPr>
          <p:cNvPr id="13" name="Picture 12">
            <a:extLst>
              <a:ext uri="{FF2B5EF4-FFF2-40B4-BE49-F238E27FC236}">
                <a16:creationId xmlns:a16="http://schemas.microsoft.com/office/drawing/2014/main" id="{F913EAAE-870D-4991-B0A1-0A6B3CF3B1E5}"/>
              </a:ext>
            </a:extLst>
          </p:cNvPr>
          <p:cNvPicPr>
            <a:picLocks noChangeAspect="1"/>
          </p:cNvPicPr>
          <p:nvPr userDrawn="1"/>
        </p:nvPicPr>
        <p:blipFill rotWithShape="1">
          <a:blip r:embed="rId3"/>
          <a:srcRect l="2204" t="15370" r="12120" b="13897"/>
          <a:stretch/>
        </p:blipFill>
        <p:spPr>
          <a:xfrm>
            <a:off x="8338472" y="3037620"/>
            <a:ext cx="3015328" cy="1610798"/>
          </a:xfrm>
          <a:prstGeom prst="rect">
            <a:avLst/>
          </a:prstGeom>
        </p:spPr>
      </p:pic>
    </p:spTree>
    <p:extLst>
      <p:ext uri="{BB962C8B-B14F-4D97-AF65-F5344CB8AC3E}">
        <p14:creationId xmlns:p14="http://schemas.microsoft.com/office/powerpoint/2010/main" val="427098067"/>
      </p:ext>
    </p:extLst>
  </p:cSld>
  <p:clrMapOvr>
    <a:masterClrMapping/>
  </p:clrMapOvr>
  <p:extLst>
    <p:ext uri="{DCECCB84-F9BA-43D5-87BE-67443E8EF086}">
      <p15:sldGuideLst xmlns:p15="http://schemas.microsoft.com/office/powerpoint/2012/main">
        <p15:guide id="1" pos="383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331264" y="3155082"/>
            <a:ext cx="8478818" cy="1951736"/>
          </a:xfrm>
        </p:spPr>
        <p:txBody>
          <a:bodyPr numCol="1"/>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p>
            <a:r>
              <a:rPr lang="en-US"/>
              <a:t>Click to edit Master title style</a:t>
            </a:r>
          </a:p>
        </p:txBody>
      </p:sp>
      <p:sp>
        <p:nvSpPr>
          <p:cNvPr id="11" name="Rectangle 10">
            <a:extLst>
              <a:ext uri="{FF2B5EF4-FFF2-40B4-BE49-F238E27FC236}">
                <a16:creationId xmlns:a16="http://schemas.microsoft.com/office/drawing/2014/main" id="{3E0A1D18-0030-48F8-A12B-8701CC4E4C21}"/>
              </a:ext>
            </a:extLst>
          </p:cNvPr>
          <p:cNvSpPr/>
          <p:nvPr userDrawn="1"/>
        </p:nvSpPr>
        <p:spPr>
          <a:xfrm>
            <a:off x="3331264" y="2012417"/>
            <a:ext cx="8478149" cy="69002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0" tIns="0" rIns="0" bIns="0" rtlCol="0" anchor="ctr" anchorCtr="0"/>
          <a:lstStyle/>
          <a:p>
            <a:pPr algn="l"/>
            <a:r>
              <a:rPr lang="en-US" sz="2400" b="1" i="0">
                <a:latin typeface="Arial"/>
                <a:cs typeface="Arial"/>
              </a:rPr>
              <a:t>Your Objectives</a:t>
            </a:r>
          </a:p>
        </p:txBody>
      </p:sp>
      <p:pic>
        <p:nvPicPr>
          <p:cNvPr id="12" name="Picture 11">
            <a:extLst>
              <a:ext uri="{FF2B5EF4-FFF2-40B4-BE49-F238E27FC236}">
                <a16:creationId xmlns:a16="http://schemas.microsoft.com/office/drawing/2014/main" id="{98CFA442-B29B-4330-9553-C0BDC4D2C6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73966" y="2021115"/>
            <a:ext cx="2924187" cy="2799753"/>
          </a:xfrm>
          <a:prstGeom prst="rect">
            <a:avLst/>
          </a:prstGeom>
        </p:spPr>
      </p:pic>
      <p:pic>
        <p:nvPicPr>
          <p:cNvPr id="14" name="Graphic 13">
            <a:extLst>
              <a:ext uri="{FF2B5EF4-FFF2-40B4-BE49-F238E27FC236}">
                <a16:creationId xmlns:a16="http://schemas.microsoft.com/office/drawing/2014/main" id="{A4B7FA0E-8755-4E92-951C-365A763F2B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18360" y="2168861"/>
            <a:ext cx="377141" cy="377141"/>
          </a:xfrm>
          <a:prstGeom prst="rect">
            <a:avLst/>
          </a:prstGeom>
        </p:spPr>
      </p:pic>
    </p:spTree>
    <p:extLst>
      <p:ext uri="{BB962C8B-B14F-4D97-AF65-F5344CB8AC3E}">
        <p14:creationId xmlns:p14="http://schemas.microsoft.com/office/powerpoint/2010/main" val="425071313"/>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end slide">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AB1F4D-E99E-4014-B2AE-2DFFBC0F1E5B}"/>
              </a:ext>
            </a:extLst>
          </p:cNvPr>
          <p:cNvPicPr/>
          <p:nvPr userDrawn="1"/>
        </p:nvPicPr>
        <p:blipFill>
          <a:blip r:embed="rId2"/>
          <a:srcRect/>
          <a:stretch/>
        </p:blipFill>
        <p:spPr bwMode="auto">
          <a:xfrm>
            <a:off x="0" y="1"/>
            <a:ext cx="12188822" cy="6857999"/>
          </a:xfrm>
          <a:prstGeom prst="rect">
            <a:avLst/>
          </a:prstGeom>
          <a:noFill/>
          <a:ln>
            <a:noFill/>
          </a:ln>
        </p:spPr>
      </p:pic>
      <p:sp>
        <p:nvSpPr>
          <p:cNvPr id="7" name="Rectangle 6">
            <a:extLst>
              <a:ext uri="{FF2B5EF4-FFF2-40B4-BE49-F238E27FC236}">
                <a16:creationId xmlns:a16="http://schemas.microsoft.com/office/drawing/2014/main" id="{45C43271-9245-463F-9E85-2ADCC847317F}"/>
              </a:ext>
            </a:extLst>
          </p:cNvPr>
          <p:cNvSpPr/>
          <p:nvPr userDrawn="1"/>
        </p:nvSpPr>
        <p:spPr bwMode="auto">
          <a:xfrm>
            <a:off x="-6991" y="6420090"/>
            <a:ext cx="12202809" cy="437911"/>
          </a:xfrm>
          <a:prstGeom prst="rect">
            <a:avLst/>
          </a:prstGeom>
          <a:solidFill>
            <a:srgbClr val="333333"/>
          </a:solidFill>
          <a:ln w="19050" cap="flat" cmpd="sng" algn="ctr">
            <a:noFill/>
            <a:prstDash val="solid"/>
            <a:round/>
            <a:headEnd type="none" w="med" len="med"/>
            <a:tailEnd type="none" w="med" len="med"/>
          </a:ln>
          <a:effectLst/>
        </p:spPr>
        <p:txBody>
          <a:bodyPr vert="horz" wrap="square" lIns="121888" tIns="60944" rIns="121888" bIns="60944" numCol="1" rtlCol="0" anchor="t" anchorCtr="0" compatLnSpc="1">
            <a:prstTxWarp prst="textNoShape">
              <a:avLst/>
            </a:prstTxWarp>
          </a:bodyPr>
          <a:lstStyle>
            <a:defPPr>
              <a:defRPr lang="en-US"/>
            </a:defPPr>
            <a:lvl1pPr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1pPr>
            <a:lvl2pPr marL="4572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2pPr>
            <a:lvl3pPr marL="9144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3pPr>
            <a:lvl4pPr marL="13716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4pPr>
            <a:lvl5pPr marL="18288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5pPr>
            <a:lvl6pPr marL="22860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6pPr>
            <a:lvl7pPr marL="27432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7pPr>
            <a:lvl8pPr marL="32004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8pPr>
            <a:lvl9pPr marL="36576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9pPr>
          </a:lstStyle>
          <a:p>
            <a:pPr marL="0" marR="0" indent="0" algn="l" defTabSz="1218895" rtl="0" eaLnBrk="0" fontAlgn="base" latinLnBrk="0" hangingPunct="0">
              <a:lnSpc>
                <a:spcPct val="100000"/>
              </a:lnSpc>
              <a:spcBef>
                <a:spcPct val="0"/>
              </a:spcBef>
              <a:spcAft>
                <a:spcPct val="0"/>
              </a:spcAft>
              <a:buClrTx/>
              <a:buSzTx/>
              <a:buFontTx/>
              <a:buNone/>
              <a:tabLst/>
            </a:pPr>
            <a:endParaRPr kumimoji="0" lang="en-US" sz="3732" b="1" i="0" u="none" strike="noStrike" cap="none" normalizeH="0" baseline="0" dirty="0">
              <a:ln>
                <a:noFill/>
              </a:ln>
              <a:solidFill>
                <a:srgbClr val="FDE000"/>
              </a:solidFill>
              <a:effectLst>
                <a:outerShdw blurRad="38100" dist="38100" dir="2700000" algn="tl">
                  <a:srgbClr val="000000">
                    <a:alpha val="43137"/>
                  </a:srgbClr>
                </a:outerShdw>
              </a:effectLst>
              <a:latin typeface="Arial" charset="0"/>
            </a:endParaRPr>
          </a:p>
        </p:txBody>
      </p:sp>
      <p:sp>
        <p:nvSpPr>
          <p:cNvPr id="9" name="Rectangle 8">
            <a:extLst>
              <a:ext uri="{FF2B5EF4-FFF2-40B4-BE49-F238E27FC236}">
                <a16:creationId xmlns:a16="http://schemas.microsoft.com/office/drawing/2014/main" id="{7318DEFE-5A3E-4DE9-B44A-FAE80EA3DE28}"/>
              </a:ext>
            </a:extLst>
          </p:cNvPr>
          <p:cNvSpPr>
            <a:spLocks noChangeArrowheads="1"/>
          </p:cNvSpPr>
          <p:nvPr userDrawn="1"/>
        </p:nvSpPr>
        <p:spPr bwMode="auto">
          <a:xfrm>
            <a:off x="236962" y="6591377"/>
            <a:ext cx="6772688" cy="143565"/>
          </a:xfrm>
          <a:prstGeom prst="rect">
            <a:avLst/>
          </a:prstGeom>
          <a:noFill/>
          <a:ln w="9525">
            <a:noFill/>
            <a:miter lim="800000"/>
            <a:headEnd/>
            <a:tailEnd/>
          </a:ln>
        </p:spPr>
        <p:txBody>
          <a:bodyPr wrap="none" lIns="0" tIns="0" rIns="0" bIns="0">
            <a:spAutoFit/>
          </a:bodyPr>
          <a:lstStyle>
            <a:defPPr>
              <a:defRPr lang="en-US"/>
            </a:defPPr>
            <a:lvl1pPr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1pPr>
            <a:lvl2pPr marL="4572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2pPr>
            <a:lvl3pPr marL="9144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3pPr>
            <a:lvl4pPr marL="13716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4pPr>
            <a:lvl5pPr marL="1828800" algn="l" rtl="0" eaLnBrk="0" fontAlgn="base" hangingPunct="0">
              <a:spcBef>
                <a:spcPct val="0"/>
              </a:spcBef>
              <a:spcAft>
                <a:spcPct val="0"/>
              </a:spcAft>
              <a:defRPr sz="2800" b="1" kern="1200">
                <a:solidFill>
                  <a:srgbClr val="FDE000"/>
                </a:solidFill>
                <a:effectLst>
                  <a:outerShdw blurRad="38100" dist="38100" dir="2700000" algn="tl">
                    <a:srgbClr val="000000">
                      <a:alpha val="43137"/>
                    </a:srgbClr>
                  </a:outerShdw>
                </a:effectLst>
                <a:latin typeface="Arial" charset="0"/>
                <a:ea typeface="+mn-ea"/>
                <a:cs typeface="+mn-cs"/>
              </a:defRPr>
            </a:lvl5pPr>
            <a:lvl6pPr marL="22860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6pPr>
            <a:lvl7pPr marL="27432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7pPr>
            <a:lvl8pPr marL="32004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8pPr>
            <a:lvl9pPr marL="3657600" algn="l" defTabSz="914400" rtl="0" eaLnBrk="1" latinLnBrk="0" hangingPunct="1">
              <a:defRPr sz="2800" b="1" kern="1200">
                <a:solidFill>
                  <a:srgbClr val="FDE000"/>
                </a:solidFill>
                <a:effectLst>
                  <a:outerShdw blurRad="38100" dist="38100" dir="2700000" algn="tl">
                    <a:srgbClr val="000000">
                      <a:alpha val="43137"/>
                    </a:srgbClr>
                  </a:outerShdw>
                </a:effectLst>
                <a:latin typeface="Arial" charset="0"/>
                <a:ea typeface="+mn-ea"/>
                <a:cs typeface="+mn-cs"/>
              </a:defRPr>
            </a:lvl9pPr>
          </a:lstStyle>
          <a:p>
            <a:r>
              <a:rPr lang="en-US" sz="933" b="0" dirty="0">
                <a:solidFill>
                  <a:schemeClr val="bg1"/>
                </a:solidFill>
                <a:effectLst/>
              </a:rPr>
              <a:t>Proprietary information of Ingram Micro Inc. — Do not distribute or duplicate without Ingram Micro's express written permission.</a:t>
            </a:r>
            <a:endParaRPr lang="en-US" sz="933" dirty="0">
              <a:solidFill>
                <a:schemeClr val="bg1"/>
              </a:solidFill>
              <a:effectLst>
                <a:outerShdw blurRad="38100" dist="38100" dir="2700000" algn="tl">
                  <a:srgbClr val="C0C0C0"/>
                </a:outerShdw>
              </a:effectLst>
            </a:endParaRPr>
          </a:p>
        </p:txBody>
      </p:sp>
      <p:pic>
        <p:nvPicPr>
          <p:cNvPr id="10" name="Picture 9">
            <a:extLst>
              <a:ext uri="{FF2B5EF4-FFF2-40B4-BE49-F238E27FC236}">
                <a16:creationId xmlns:a16="http://schemas.microsoft.com/office/drawing/2014/main" id="{9CFBA3A9-F1C3-4215-A0FB-B24E894F812C}"/>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white">
          <a:xfrm>
            <a:off x="3464787" y="2569340"/>
            <a:ext cx="5259417" cy="963779"/>
          </a:xfrm>
          <a:prstGeom prst="rect">
            <a:avLst/>
          </a:prstGeom>
          <a:effectLst>
            <a:glow rad="139700">
              <a:schemeClr val="tx1">
                <a:alpha val="40000"/>
              </a:schemeClr>
            </a:glow>
            <a:outerShdw blurRad="50800" dist="38100" dir="2700000" algn="tl" rotWithShape="0">
              <a:prstClr val="black">
                <a:alpha val="40000"/>
              </a:prstClr>
            </a:outerShdw>
          </a:effectLst>
        </p:spPr>
      </p:pic>
      <p:sp>
        <p:nvSpPr>
          <p:cNvPr id="2" name="TextBox 1">
            <a:extLst>
              <a:ext uri="{FF2B5EF4-FFF2-40B4-BE49-F238E27FC236}">
                <a16:creationId xmlns:a16="http://schemas.microsoft.com/office/drawing/2014/main" id="{A305D2DA-77BF-468B-8861-C79D08937911}"/>
              </a:ext>
            </a:extLst>
          </p:cNvPr>
          <p:cNvSpPr txBox="1"/>
          <p:nvPr userDrawn="1"/>
        </p:nvSpPr>
        <p:spPr>
          <a:xfrm>
            <a:off x="3323447" y="3704405"/>
            <a:ext cx="5412636" cy="471796"/>
          </a:xfrm>
          <a:prstGeom prst="rect">
            <a:avLst/>
          </a:prstGeom>
          <a:noFill/>
          <a:effectLst>
            <a:glow rad="139700">
              <a:schemeClr val="tx1">
                <a:alpha val="40000"/>
              </a:schemeClr>
            </a:glow>
            <a:outerShdw blurRad="50800" dist="38100" dir="2700000" algn="tl" rotWithShape="0">
              <a:prstClr val="black">
                <a:alpha val="40000"/>
              </a:prstClr>
            </a:outerShdw>
          </a:effectLst>
        </p:spPr>
        <p:txBody>
          <a:bodyPr wrap="none" rtlCol="0">
            <a:spAutoFit/>
          </a:bodyPr>
          <a:lstStyle/>
          <a:p>
            <a:pPr algn="l"/>
            <a:r>
              <a:rPr lang="en-US" sz="2466" b="1" i="0" baseline="0" dirty="0">
                <a:solidFill>
                  <a:srgbClr val="2375BB"/>
                </a:solidFill>
                <a:effectLst/>
              </a:rPr>
              <a:t>Realize the Promise of Technology</a:t>
            </a:r>
          </a:p>
        </p:txBody>
      </p:sp>
    </p:spTree>
    <p:extLst>
      <p:ext uri="{BB962C8B-B14F-4D97-AF65-F5344CB8AC3E}">
        <p14:creationId xmlns:p14="http://schemas.microsoft.com/office/powerpoint/2010/main" val="4030542573"/>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04C22-D44C-41A9-AAFB-C8BC9F54E6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485792"/>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79414" y="1322388"/>
            <a:ext cx="11430668" cy="4895532"/>
          </a:xfrm>
        </p:spPr>
        <p:txBody>
          <a:bodyPr numCol="2"/>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173890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4C30CE9-D26C-43F4-8C71-DDC8B8D2AEC5}"/>
              </a:ext>
            </a:extLst>
          </p:cNvPr>
          <p:cNvSpPr>
            <a:spLocks noGrp="1"/>
          </p:cNvSpPr>
          <p:nvPr>
            <p:ph idx="1"/>
          </p:nvPr>
        </p:nvSpPr>
        <p:spPr>
          <a:xfrm>
            <a:off x="379414" y="1322388"/>
            <a:ext cx="11430000" cy="4895532"/>
          </a:xfrm>
        </p:spPr>
        <p:txBody>
          <a:bodyPr tIns="0"/>
          <a:lstStyle>
            <a:lvl1pPr>
              <a:defRPr sz="2000"/>
            </a:lvl1pPr>
            <a:lvl2pPr>
              <a:buClr>
                <a:schemeClr val="accent1"/>
              </a:buClr>
              <a:defRPr sz="2000" baseline="0"/>
            </a:lvl2pPr>
            <a:lvl3pPr>
              <a:buClr>
                <a:schemeClr val="accent1"/>
              </a:buClr>
              <a:defRPr sz="2000"/>
            </a:lvl3pPr>
            <a:lvl4pPr>
              <a:buClr>
                <a:schemeClr val="accent1"/>
              </a:buClr>
              <a:defRPr sz="2000"/>
            </a:lvl4pPr>
            <a:lvl5pPr>
              <a:buClr>
                <a:schemeClr val="accent1"/>
              </a:buCl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FDA7E3-68DA-4728-93BB-9346E0541E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284641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1" y="1783536"/>
            <a:ext cx="11428412" cy="44267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02" y="1169974"/>
            <a:ext cx="11427050"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C3FE43D3-4731-4F4C-A5C3-356B2EE894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937748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White">
    <p:bg>
      <p:bgPr>
        <a:solidFill>
          <a:schemeClr val="bg1"/>
        </a:solidFill>
        <a:effectLst/>
      </p:bgPr>
    </p:bg>
    <p:spTree>
      <p:nvGrpSpPr>
        <p:cNvPr id="1" name=""/>
        <p:cNvGrpSpPr/>
        <p:nvPr/>
      </p:nvGrpSpPr>
      <p:grpSpPr>
        <a:xfrm>
          <a:off x="0" y="0"/>
          <a:ext cx="0" cy="0"/>
          <a:chOff x="0" y="0"/>
          <a:chExt cx="0" cy="0"/>
        </a:xfrm>
      </p:grpSpPr>
      <p:sp>
        <p:nvSpPr>
          <p:cNvPr id="117" name="Rectangle 116">
            <a:extLst>
              <a:ext uri="{FF2B5EF4-FFF2-40B4-BE49-F238E27FC236}">
                <a16:creationId xmlns:a16="http://schemas.microsoft.com/office/drawing/2014/main" id="{95ABDA0C-92B8-4A97-ABC8-1E261B6AD89B}"/>
              </a:ext>
            </a:extLst>
          </p:cNvPr>
          <p:cNvSpPr/>
          <p:nvPr userDrawn="1"/>
        </p:nvSpPr>
        <p:spPr>
          <a:xfrm>
            <a:off x="6094412" y="0"/>
            <a:ext cx="6094413" cy="686117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pic>
        <p:nvPicPr>
          <p:cNvPr id="118" name="Graphic 117">
            <a:extLst>
              <a:ext uri="{FF2B5EF4-FFF2-40B4-BE49-F238E27FC236}">
                <a16:creationId xmlns:a16="http://schemas.microsoft.com/office/drawing/2014/main" id="{E3190E8D-1110-48D1-8547-685703185F35}"/>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 r="440"/>
          <a:stretch/>
        </p:blipFill>
        <p:spPr>
          <a:xfrm>
            <a:off x="6068649" y="986"/>
            <a:ext cx="6120172" cy="6860192"/>
          </a:xfrm>
          <a:prstGeom prst="rect">
            <a:avLst/>
          </a:prstGeom>
        </p:spPr>
      </p:pic>
      <p:sp>
        <p:nvSpPr>
          <p:cNvPr id="2" name="Rectangle 1">
            <a:extLst>
              <a:ext uri="{FF2B5EF4-FFF2-40B4-BE49-F238E27FC236}">
                <a16:creationId xmlns:a16="http://schemas.microsoft.com/office/drawing/2014/main" id="{922B0458-E72E-4D51-B452-0B9416404821}"/>
              </a:ext>
            </a:extLst>
          </p:cNvPr>
          <p:cNvSpPr/>
          <p:nvPr userDrawn="1"/>
        </p:nvSpPr>
        <p:spPr>
          <a:xfrm>
            <a:off x="0" y="0"/>
            <a:ext cx="6094413"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9" name="Subtitle 2">
            <a:extLst>
              <a:ext uri="{FF2B5EF4-FFF2-40B4-BE49-F238E27FC236}">
                <a16:creationId xmlns:a16="http://schemas.microsoft.com/office/drawing/2014/main" id="{4A8B7EED-C136-4A00-8762-726BBC937B9A}"/>
              </a:ext>
            </a:extLst>
          </p:cNvPr>
          <p:cNvSpPr>
            <a:spLocks noGrp="1"/>
          </p:cNvSpPr>
          <p:nvPr userDrawn="1">
            <p:ph type="subTitle" idx="1" hasCustomPrompt="1"/>
          </p:nvPr>
        </p:nvSpPr>
        <p:spPr>
          <a:xfrm>
            <a:off x="382972" y="3641526"/>
            <a:ext cx="5285422" cy="1623798"/>
          </a:xfrm>
        </p:spPr>
        <p:txBody>
          <a:bodyPr lIns="0" tIns="0" rIns="0" bIns="0" anchor="t" anchorCtr="0">
            <a:normAutofit/>
          </a:bodyPr>
          <a:lstStyle>
            <a:lvl1pPr marL="0" indent="0" algn="l">
              <a:lnSpc>
                <a:spcPct val="80000"/>
              </a:lnSpc>
              <a:spcBef>
                <a:spcPts val="0"/>
              </a:spcBef>
              <a:buNone/>
              <a:defRPr sz="5000" b="1" i="0" spc="-10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1" name="Text Placeholder 4">
            <a:extLst>
              <a:ext uri="{FF2B5EF4-FFF2-40B4-BE49-F238E27FC236}">
                <a16:creationId xmlns:a16="http://schemas.microsoft.com/office/drawing/2014/main" id="{CF524615-CFD0-4853-BE83-2B290C77870C}"/>
              </a:ext>
            </a:extLst>
          </p:cNvPr>
          <p:cNvSpPr>
            <a:spLocks noGrp="1"/>
          </p:cNvSpPr>
          <p:nvPr userDrawn="1">
            <p:ph type="body" sz="quarter" idx="12" hasCustomPrompt="1"/>
          </p:nvPr>
        </p:nvSpPr>
        <p:spPr>
          <a:xfrm>
            <a:off x="386021" y="2999078"/>
            <a:ext cx="5285422" cy="510040"/>
          </a:xfrm>
        </p:spPr>
        <p:txBody>
          <a:bodyPr anchor="ctr" anchorCtr="0"/>
          <a:lstStyle>
            <a:lvl1pPr>
              <a:defRPr sz="5000" b="1" spc="-100" baseline="0">
                <a:latin typeface="+mj-lt"/>
              </a:defRPr>
            </a:lvl1pPr>
            <a:lvl2pPr marL="0" indent="0">
              <a:buNone/>
              <a:defRPr/>
            </a:lvl2pPr>
          </a:lstStyle>
          <a:p>
            <a:pPr lvl="0"/>
            <a:r>
              <a:rPr lang="en-US"/>
              <a:t>Insert Section #</a:t>
            </a:r>
          </a:p>
        </p:txBody>
      </p:sp>
      <p:sp>
        <p:nvSpPr>
          <p:cNvPr id="12" name="Title 1">
            <a:extLst>
              <a:ext uri="{FF2B5EF4-FFF2-40B4-BE49-F238E27FC236}">
                <a16:creationId xmlns:a16="http://schemas.microsoft.com/office/drawing/2014/main" id="{3060976F-13CD-47F3-B02E-00BEE5B125D0}"/>
              </a:ext>
            </a:extLst>
          </p:cNvPr>
          <p:cNvSpPr>
            <a:spLocks noGrp="1"/>
          </p:cNvSpPr>
          <p:nvPr userDrawn="1">
            <p:ph type="ctrTitle"/>
          </p:nvPr>
        </p:nvSpPr>
        <p:spPr>
          <a:xfrm>
            <a:off x="382972" y="875887"/>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32" name="Freeform: Shape 31">
            <a:extLst>
              <a:ext uri="{FF2B5EF4-FFF2-40B4-BE49-F238E27FC236}">
                <a16:creationId xmlns:a16="http://schemas.microsoft.com/office/drawing/2014/main" id="{61690839-ABAF-48C2-9DE8-A3B80F22930C}"/>
              </a:ext>
            </a:extLst>
          </p:cNvPr>
          <p:cNvSpPr>
            <a:spLocks noGrp="1"/>
          </p:cNvSpPr>
          <p:nvPr userDrawn="1"/>
        </p:nvSpPr>
        <p:spPr>
          <a:xfrm>
            <a:off x="6352384" y="5299086"/>
            <a:ext cx="530877" cy="1558914"/>
          </a:xfrm>
          <a:custGeom>
            <a:avLst/>
            <a:gdLst>
              <a:gd name="connsiteX0" fmla="*/ 0 w 530877"/>
              <a:gd name="connsiteY0" fmla="*/ 0 h 1558914"/>
              <a:gd name="connsiteX1" fmla="*/ 530877 w 530877"/>
              <a:gd name="connsiteY1" fmla="*/ 0 h 1558914"/>
              <a:gd name="connsiteX2" fmla="*/ 530877 w 530877"/>
              <a:gd name="connsiteY2" fmla="*/ 1558914 h 1558914"/>
              <a:gd name="connsiteX3" fmla="*/ 0 w 530877"/>
              <a:gd name="connsiteY3" fmla="*/ 1558914 h 1558914"/>
            </a:gdLst>
            <a:ahLst/>
            <a:cxnLst>
              <a:cxn ang="0">
                <a:pos x="connsiteX0" y="connsiteY0"/>
              </a:cxn>
              <a:cxn ang="0">
                <a:pos x="connsiteX1" y="connsiteY1"/>
              </a:cxn>
              <a:cxn ang="0">
                <a:pos x="connsiteX2" y="connsiteY2"/>
              </a:cxn>
              <a:cxn ang="0">
                <a:pos x="connsiteX3" y="connsiteY3"/>
              </a:cxn>
            </a:cxnLst>
            <a:rect l="l" t="t" r="r" b="b"/>
            <a:pathLst>
              <a:path w="530877" h="1558914">
                <a:moveTo>
                  <a:pt x="0" y="0"/>
                </a:moveTo>
                <a:lnTo>
                  <a:pt x="530877" y="0"/>
                </a:lnTo>
                <a:lnTo>
                  <a:pt x="530877" y="1558914"/>
                </a:lnTo>
                <a:lnTo>
                  <a:pt x="0" y="1558914"/>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42" name="Text Placeholder 21">
            <a:extLst>
              <a:ext uri="{FF2B5EF4-FFF2-40B4-BE49-F238E27FC236}">
                <a16:creationId xmlns:a16="http://schemas.microsoft.com/office/drawing/2014/main" id="{38A1AB8A-62C1-4776-8CE8-513E29B95EC3}"/>
              </a:ext>
            </a:extLst>
          </p:cNvPr>
          <p:cNvSpPr>
            <a:spLocks noGrp="1"/>
          </p:cNvSpPr>
          <p:nvPr userDrawn="1"/>
        </p:nvSpPr>
        <p:spPr>
          <a:xfrm rot="5400000" flipV="1">
            <a:off x="5815315" y="2902659"/>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43" name="Text Placeholder 5">
            <a:extLst>
              <a:ext uri="{FF2B5EF4-FFF2-40B4-BE49-F238E27FC236}">
                <a16:creationId xmlns:a16="http://schemas.microsoft.com/office/drawing/2014/main" id="{EC763731-F544-44A8-A807-475FBAEE9A99}"/>
              </a:ext>
            </a:extLst>
          </p:cNvPr>
          <p:cNvSpPr>
            <a:spLocks noGrp="1"/>
          </p:cNvSpPr>
          <p:nvPr userDrawn="1"/>
        </p:nvSpPr>
        <p:spPr>
          <a:xfrm>
            <a:off x="6348852" y="1036127"/>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0" name="Freeform: Shape 29">
            <a:extLst>
              <a:ext uri="{FF2B5EF4-FFF2-40B4-BE49-F238E27FC236}">
                <a16:creationId xmlns:a16="http://schemas.microsoft.com/office/drawing/2014/main" id="{F995B76A-ECB4-43E0-B4E8-6E000B9B2B3D}"/>
              </a:ext>
            </a:extLst>
          </p:cNvPr>
          <p:cNvSpPr>
            <a:spLocks noGrp="1"/>
          </p:cNvSpPr>
          <p:nvPr userDrawn="1"/>
        </p:nvSpPr>
        <p:spPr>
          <a:xfrm>
            <a:off x="6356472" y="1"/>
            <a:ext cx="1044394" cy="505980"/>
          </a:xfrm>
          <a:custGeom>
            <a:avLst/>
            <a:gdLst>
              <a:gd name="connsiteX0" fmla="*/ 0 w 1044394"/>
              <a:gd name="connsiteY0" fmla="*/ 0 h 505980"/>
              <a:gd name="connsiteX1" fmla="*/ 1044394 w 1044394"/>
              <a:gd name="connsiteY1" fmla="*/ 0 h 505980"/>
              <a:gd name="connsiteX2" fmla="*/ 1044394 w 1044394"/>
              <a:gd name="connsiteY2" fmla="*/ 505980 h 505980"/>
              <a:gd name="connsiteX3" fmla="*/ 0 w 1044394"/>
              <a:gd name="connsiteY3" fmla="*/ 505980 h 505980"/>
            </a:gdLst>
            <a:ahLst/>
            <a:cxnLst>
              <a:cxn ang="0">
                <a:pos x="connsiteX0" y="connsiteY0"/>
              </a:cxn>
              <a:cxn ang="0">
                <a:pos x="connsiteX1" y="connsiteY1"/>
              </a:cxn>
              <a:cxn ang="0">
                <a:pos x="connsiteX2" y="connsiteY2"/>
              </a:cxn>
              <a:cxn ang="0">
                <a:pos x="connsiteX3" y="connsiteY3"/>
              </a:cxn>
            </a:cxnLst>
            <a:rect l="l" t="t" r="r" b="b"/>
            <a:pathLst>
              <a:path w="1044394" h="505980">
                <a:moveTo>
                  <a:pt x="0" y="0"/>
                </a:moveTo>
                <a:lnTo>
                  <a:pt x="1044394" y="0"/>
                </a:lnTo>
                <a:lnTo>
                  <a:pt x="1044394" y="505980"/>
                </a:lnTo>
                <a:lnTo>
                  <a:pt x="0" y="505980"/>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28" name="Freeform: Shape 27">
            <a:extLst>
              <a:ext uri="{FF2B5EF4-FFF2-40B4-BE49-F238E27FC236}">
                <a16:creationId xmlns:a16="http://schemas.microsoft.com/office/drawing/2014/main" id="{A1C720C6-26A0-47B2-9447-5FAAB8A91A60}"/>
              </a:ext>
            </a:extLst>
          </p:cNvPr>
          <p:cNvSpPr>
            <a:spLocks noGrp="1"/>
          </p:cNvSpPr>
          <p:nvPr userDrawn="1"/>
        </p:nvSpPr>
        <p:spPr>
          <a:xfrm>
            <a:off x="7995789" y="1"/>
            <a:ext cx="1016519" cy="765006"/>
          </a:xfrm>
          <a:custGeom>
            <a:avLst/>
            <a:gdLst>
              <a:gd name="connsiteX0" fmla="*/ 0 w 1016519"/>
              <a:gd name="connsiteY0" fmla="*/ 0 h 765006"/>
              <a:gd name="connsiteX1" fmla="*/ 577347 w 1016519"/>
              <a:gd name="connsiteY1" fmla="*/ 0 h 765006"/>
              <a:gd name="connsiteX2" fmla="*/ 614051 w 1016519"/>
              <a:gd name="connsiteY2" fmla="*/ 50341 h 765006"/>
              <a:gd name="connsiteX3" fmla="*/ 1016519 w 1016519"/>
              <a:gd name="connsiteY3" fmla="*/ 234277 h 765006"/>
              <a:gd name="connsiteX4" fmla="*/ 1016519 w 1016519"/>
              <a:gd name="connsiteY4" fmla="*/ 765006 h 765006"/>
              <a:gd name="connsiteX5" fmla="*/ 27262 w 1016519"/>
              <a:gd name="connsiteY5" fmla="*/ 91788 h 76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6519" h="765006">
                <a:moveTo>
                  <a:pt x="0" y="0"/>
                </a:moveTo>
                <a:lnTo>
                  <a:pt x="577347" y="0"/>
                </a:lnTo>
                <a:lnTo>
                  <a:pt x="614051" y="50341"/>
                </a:lnTo>
                <a:cubicBezTo>
                  <a:pt x="711647" y="163007"/>
                  <a:pt x="855760" y="234277"/>
                  <a:pt x="1016519" y="234277"/>
                </a:cubicBezTo>
                <a:lnTo>
                  <a:pt x="1016519" y="765006"/>
                </a:lnTo>
                <a:cubicBezTo>
                  <a:pt x="567041" y="765006"/>
                  <a:pt x="182721" y="486032"/>
                  <a:pt x="27262" y="91788"/>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46" name="Text Placeholder 6">
            <a:extLst>
              <a:ext uri="{FF2B5EF4-FFF2-40B4-BE49-F238E27FC236}">
                <a16:creationId xmlns:a16="http://schemas.microsoft.com/office/drawing/2014/main" id="{FB97864D-B1F8-4CD5-8F37-36E883906A66}"/>
              </a:ext>
            </a:extLst>
          </p:cNvPr>
          <p:cNvSpPr>
            <a:spLocks noGrp="1"/>
          </p:cNvSpPr>
          <p:nvPr userDrawn="1"/>
        </p:nvSpPr>
        <p:spPr>
          <a:xfrm>
            <a:off x="9539028" y="-2465"/>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accent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27" name="Freeform: Shape 26">
            <a:extLst>
              <a:ext uri="{FF2B5EF4-FFF2-40B4-BE49-F238E27FC236}">
                <a16:creationId xmlns:a16="http://schemas.microsoft.com/office/drawing/2014/main" id="{AE45DB0B-F5C4-48A8-BD8A-937C28F57D3D}"/>
              </a:ext>
            </a:extLst>
          </p:cNvPr>
          <p:cNvSpPr>
            <a:spLocks noGrp="1"/>
          </p:cNvSpPr>
          <p:nvPr userDrawn="1"/>
        </p:nvSpPr>
        <p:spPr>
          <a:xfrm>
            <a:off x="10878527" y="-2466"/>
            <a:ext cx="1310298" cy="1030511"/>
          </a:xfrm>
          <a:custGeom>
            <a:avLst/>
            <a:gdLst>
              <a:gd name="connsiteX0" fmla="*/ 0 w 1310298"/>
              <a:gd name="connsiteY0" fmla="*/ 0 h 1030511"/>
              <a:gd name="connsiteX1" fmla="*/ 530728 w 1310298"/>
              <a:gd name="connsiteY1" fmla="*/ 0 h 1030511"/>
              <a:gd name="connsiteX2" fmla="*/ 538268 w 1310298"/>
              <a:gd name="connsiteY2" fmla="*/ 74789 h 1030511"/>
              <a:gd name="connsiteX3" fmla="*/ 1059716 w 1310298"/>
              <a:gd name="connsiteY3" fmla="*/ 499781 h 1030511"/>
              <a:gd name="connsiteX4" fmla="*/ 1242724 w 1310298"/>
              <a:gd name="connsiteY4" fmla="*/ 467484 h 1030511"/>
              <a:gd name="connsiteX5" fmla="*/ 1310298 w 1310298"/>
              <a:gd name="connsiteY5" fmla="*/ 435959 h 1030511"/>
              <a:gd name="connsiteX6" fmla="*/ 1310298 w 1310298"/>
              <a:gd name="connsiteY6" fmla="*/ 997630 h 1030511"/>
              <a:gd name="connsiteX7" fmla="*/ 1273945 w 1310298"/>
              <a:gd name="connsiteY7" fmla="*/ 1008915 h 1030511"/>
              <a:gd name="connsiteX8" fmla="*/ 1059716 w 1310298"/>
              <a:gd name="connsiteY8" fmla="*/ 1030511 h 1030511"/>
              <a:gd name="connsiteX9" fmla="*/ 18322 w 1310298"/>
              <a:gd name="connsiteY9" fmla="*/ 181750 h 103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298" h="1030511">
                <a:moveTo>
                  <a:pt x="0" y="0"/>
                </a:moveTo>
                <a:lnTo>
                  <a:pt x="530728" y="0"/>
                </a:lnTo>
                <a:lnTo>
                  <a:pt x="538268" y="74789"/>
                </a:lnTo>
                <a:cubicBezTo>
                  <a:pt x="587899" y="317331"/>
                  <a:pt x="802501" y="499781"/>
                  <a:pt x="1059716" y="499781"/>
                </a:cubicBezTo>
                <a:cubicBezTo>
                  <a:pt x="1124019" y="499781"/>
                  <a:pt x="1185659" y="488378"/>
                  <a:pt x="1242724" y="467484"/>
                </a:cubicBezTo>
                <a:lnTo>
                  <a:pt x="1310298" y="435959"/>
                </a:lnTo>
                <a:lnTo>
                  <a:pt x="1310298" y="997630"/>
                </a:lnTo>
                <a:lnTo>
                  <a:pt x="1273945" y="1008915"/>
                </a:lnTo>
                <a:cubicBezTo>
                  <a:pt x="1204747" y="1023075"/>
                  <a:pt x="1133100" y="1030511"/>
                  <a:pt x="1059716" y="1030511"/>
                </a:cubicBezTo>
                <a:cubicBezTo>
                  <a:pt x="546026" y="1030511"/>
                  <a:pt x="117442" y="666137"/>
                  <a:pt x="18322" y="18175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48" name="Text Placeholder 24">
            <a:extLst>
              <a:ext uri="{FF2B5EF4-FFF2-40B4-BE49-F238E27FC236}">
                <a16:creationId xmlns:a16="http://schemas.microsoft.com/office/drawing/2014/main" id="{B2E8C2CE-2CA4-4104-A15C-F6F2F11E032C}"/>
              </a:ext>
            </a:extLst>
          </p:cNvPr>
          <p:cNvSpPr>
            <a:spLocks noGrp="1"/>
          </p:cNvSpPr>
          <p:nvPr userDrawn="1"/>
        </p:nvSpPr>
        <p:spPr>
          <a:xfrm>
            <a:off x="10870320" y="1567158"/>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49" name="Text Placeholder 12">
            <a:extLst>
              <a:ext uri="{FF2B5EF4-FFF2-40B4-BE49-F238E27FC236}">
                <a16:creationId xmlns:a16="http://schemas.microsoft.com/office/drawing/2014/main" id="{1034C7D3-D8BA-4036-8007-E3D2CC55A472}"/>
              </a:ext>
            </a:extLst>
          </p:cNvPr>
          <p:cNvSpPr>
            <a:spLocks noGrp="1"/>
          </p:cNvSpPr>
          <p:nvPr userDrawn="1"/>
        </p:nvSpPr>
        <p:spPr>
          <a:xfrm>
            <a:off x="7673544" y="1567559"/>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50" name="Text Placeholder 18">
            <a:extLst>
              <a:ext uri="{FF2B5EF4-FFF2-40B4-BE49-F238E27FC236}">
                <a16:creationId xmlns:a16="http://schemas.microsoft.com/office/drawing/2014/main" id="{552A74B7-D7F8-4400-9BBB-416F7A034DB1}"/>
              </a:ext>
            </a:extLst>
          </p:cNvPr>
          <p:cNvSpPr>
            <a:spLocks noGrp="1"/>
          </p:cNvSpPr>
          <p:nvPr userDrawn="1"/>
        </p:nvSpPr>
        <p:spPr>
          <a:xfrm>
            <a:off x="8481611" y="2625242"/>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51" name="Text Placeholder 20">
            <a:extLst>
              <a:ext uri="{FF2B5EF4-FFF2-40B4-BE49-F238E27FC236}">
                <a16:creationId xmlns:a16="http://schemas.microsoft.com/office/drawing/2014/main" id="{34C76497-DFDC-46E6-9F2B-27D9EEC51829}"/>
              </a:ext>
            </a:extLst>
          </p:cNvPr>
          <p:cNvSpPr>
            <a:spLocks noGrp="1"/>
          </p:cNvSpPr>
          <p:nvPr userDrawn="1"/>
        </p:nvSpPr>
        <p:spPr>
          <a:xfrm flipV="1">
            <a:off x="9547405" y="2627453"/>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52" name="Text Placeholder 16">
            <a:extLst>
              <a:ext uri="{FF2B5EF4-FFF2-40B4-BE49-F238E27FC236}">
                <a16:creationId xmlns:a16="http://schemas.microsoft.com/office/drawing/2014/main" id="{75E6801B-CDB1-456C-902C-D3F304A0EE36}"/>
              </a:ext>
            </a:extLst>
          </p:cNvPr>
          <p:cNvSpPr>
            <a:spLocks noGrp="1"/>
          </p:cNvSpPr>
          <p:nvPr userDrawn="1"/>
        </p:nvSpPr>
        <p:spPr>
          <a:xfrm>
            <a:off x="11143672" y="4760034"/>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4" name="Freeform: Shape 33">
            <a:extLst>
              <a:ext uri="{FF2B5EF4-FFF2-40B4-BE49-F238E27FC236}">
                <a16:creationId xmlns:a16="http://schemas.microsoft.com/office/drawing/2014/main" id="{729366A6-CBD0-44DD-94B6-970D294A3465}"/>
              </a:ext>
            </a:extLst>
          </p:cNvPr>
          <p:cNvSpPr>
            <a:spLocks noGrp="1"/>
          </p:cNvSpPr>
          <p:nvPr userDrawn="1"/>
        </p:nvSpPr>
        <p:spPr>
          <a:xfrm>
            <a:off x="10070876" y="6347517"/>
            <a:ext cx="1597025" cy="510483"/>
          </a:xfrm>
          <a:custGeom>
            <a:avLst/>
            <a:gdLst>
              <a:gd name="connsiteX0" fmla="*/ 0 w 1597025"/>
              <a:gd name="connsiteY0" fmla="*/ 0 h 510483"/>
              <a:gd name="connsiteX1" fmla="*/ 1597025 w 1597025"/>
              <a:gd name="connsiteY1" fmla="*/ 0 h 510483"/>
              <a:gd name="connsiteX2" fmla="*/ 1597025 w 1597025"/>
              <a:gd name="connsiteY2" fmla="*/ 510483 h 510483"/>
              <a:gd name="connsiteX3" fmla="*/ 0 w 1597025"/>
              <a:gd name="connsiteY3" fmla="*/ 510483 h 510483"/>
            </a:gdLst>
            <a:ahLst/>
            <a:cxnLst>
              <a:cxn ang="0">
                <a:pos x="connsiteX0" y="connsiteY0"/>
              </a:cxn>
              <a:cxn ang="0">
                <a:pos x="connsiteX1" y="connsiteY1"/>
              </a:cxn>
              <a:cxn ang="0">
                <a:pos x="connsiteX2" y="connsiteY2"/>
              </a:cxn>
              <a:cxn ang="0">
                <a:pos x="connsiteX3" y="connsiteY3"/>
              </a:cxn>
            </a:cxnLst>
            <a:rect l="l" t="t" r="r" b="b"/>
            <a:pathLst>
              <a:path w="1597025" h="510483">
                <a:moveTo>
                  <a:pt x="0" y="0"/>
                </a:moveTo>
                <a:lnTo>
                  <a:pt x="1597025" y="0"/>
                </a:lnTo>
                <a:lnTo>
                  <a:pt x="1597025" y="510483"/>
                </a:lnTo>
                <a:lnTo>
                  <a:pt x="0" y="510483"/>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54" name="Text Placeholder 17">
            <a:extLst>
              <a:ext uri="{FF2B5EF4-FFF2-40B4-BE49-F238E27FC236}">
                <a16:creationId xmlns:a16="http://schemas.microsoft.com/office/drawing/2014/main" id="{DCE59840-7619-46C7-A9EE-FD3901684D66}"/>
              </a:ext>
            </a:extLst>
          </p:cNvPr>
          <p:cNvSpPr>
            <a:spLocks noGrp="1"/>
          </p:cNvSpPr>
          <p:nvPr userDrawn="1"/>
        </p:nvSpPr>
        <p:spPr>
          <a:xfrm>
            <a:off x="7671828" y="607277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55" name="Text Placeholder 19">
            <a:extLst>
              <a:ext uri="{FF2B5EF4-FFF2-40B4-BE49-F238E27FC236}">
                <a16:creationId xmlns:a16="http://schemas.microsoft.com/office/drawing/2014/main" id="{08F330DC-A7F4-4F39-AF2B-13315099CA6A}"/>
              </a:ext>
            </a:extLst>
          </p:cNvPr>
          <p:cNvSpPr>
            <a:spLocks noGrp="1"/>
          </p:cNvSpPr>
          <p:nvPr userDrawn="1"/>
        </p:nvSpPr>
        <p:spPr>
          <a:xfrm>
            <a:off x="7936305" y="4757989"/>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accent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21" name="Picture Placeholder 13">
            <a:extLst>
              <a:ext uri="{FF2B5EF4-FFF2-40B4-BE49-F238E27FC236}">
                <a16:creationId xmlns:a16="http://schemas.microsoft.com/office/drawing/2014/main" id="{6F194272-52AE-4807-9F07-9890CAB69DBC}"/>
              </a:ext>
            </a:extLst>
          </p:cNvPr>
          <p:cNvSpPr>
            <a:spLocks noGrp="1"/>
          </p:cNvSpPr>
          <p:nvPr userDrawn="1">
            <p:ph type="pic" sz="quarter" idx="14" hasCustomPrompt="1"/>
          </p:nvPr>
        </p:nvSpPr>
        <p:spPr>
          <a:xfrm>
            <a:off x="6098922" y="0"/>
            <a:ext cx="6094412" cy="6858000"/>
          </a:xfrm>
          <a:noFill/>
        </p:spPr>
        <p:txBody>
          <a:bodyPr anchor="ctr"/>
          <a:lstStyle>
            <a:lvl1pPr algn="ctr">
              <a:defRPr baseline="0"/>
            </a:lvl1pPr>
          </a:lstStyle>
          <a:p>
            <a:r>
              <a:rPr lang="en-US"/>
              <a:t>Click icon or drag to insert image</a:t>
            </a:r>
          </a:p>
        </p:txBody>
      </p:sp>
      <p:pic>
        <p:nvPicPr>
          <p:cNvPr id="26" name="Picture 25" descr="A close up of a sign&#10;&#10;Description automatically generated">
            <a:extLst>
              <a:ext uri="{FF2B5EF4-FFF2-40B4-BE49-F238E27FC236}">
                <a16:creationId xmlns:a16="http://schemas.microsoft.com/office/drawing/2014/main" id="{6647E913-2631-4B0F-9769-282AA27D296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30212" y="6081015"/>
            <a:ext cx="2448162" cy="560909"/>
          </a:xfrm>
          <a:prstGeom prst="rect">
            <a:avLst/>
          </a:prstGeom>
        </p:spPr>
      </p:pic>
    </p:spTree>
    <p:extLst>
      <p:ext uri="{BB962C8B-B14F-4D97-AF65-F5344CB8AC3E}">
        <p14:creationId xmlns:p14="http://schemas.microsoft.com/office/powerpoint/2010/main" val="15800054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B26C9-C562-4C9E-9D7E-52E44652AF23}"/>
              </a:ext>
            </a:extLst>
          </p:cNvPr>
          <p:cNvSpPr>
            <a:spLocks noGrp="1"/>
          </p:cNvSpPr>
          <p:nvPr>
            <p:ph type="title"/>
          </p:nvPr>
        </p:nvSpPr>
        <p:spPr/>
        <p:txBody>
          <a:bodyPr/>
          <a:lstStyle/>
          <a:p>
            <a:r>
              <a:rPr lang="en-US"/>
              <a:t>Click to edit Master title style</a:t>
            </a:r>
          </a:p>
        </p:txBody>
      </p:sp>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171575"/>
            <a:ext cx="549783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312553" y="1171575"/>
            <a:ext cx="549783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5498484"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6311901" y="1781174"/>
            <a:ext cx="5498484"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41854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36270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3632832"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79550" y="1171575"/>
            <a:ext cx="36270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4276272" y="1781174"/>
            <a:ext cx="3632832"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78099" y="1171575"/>
            <a:ext cx="36270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8171544" y="1781174"/>
            <a:ext cx="3632832"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27AFD46-0A5D-43AC-A0F5-91BC9C4AE60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96509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171575"/>
            <a:ext cx="27369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381001" y="1781174"/>
            <a:ext cx="274132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5DED9890-AE6A-4175-A2D3-94CD8046DE11}"/>
              </a:ext>
            </a:extLst>
          </p:cNvPr>
          <p:cNvSpPr>
            <a:spLocks noGrp="1"/>
          </p:cNvSpPr>
          <p:nvPr>
            <p:ph type="body" sz="quarter" idx="21" hasCustomPrompt="1"/>
          </p:nvPr>
        </p:nvSpPr>
        <p:spPr>
          <a:xfrm>
            <a:off x="3278242" y="1171575"/>
            <a:ext cx="27369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BB3C3060-27A6-4548-B724-025333818485}"/>
              </a:ext>
            </a:extLst>
          </p:cNvPr>
          <p:cNvSpPr>
            <a:spLocks noGrp="1"/>
          </p:cNvSpPr>
          <p:nvPr>
            <p:ph idx="22"/>
          </p:nvPr>
        </p:nvSpPr>
        <p:spPr>
          <a:xfrm>
            <a:off x="3276601" y="1781174"/>
            <a:ext cx="274132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4">
            <a:extLst>
              <a:ext uri="{FF2B5EF4-FFF2-40B4-BE49-F238E27FC236}">
                <a16:creationId xmlns:a16="http://schemas.microsoft.com/office/drawing/2014/main" id="{85B79AD3-9CCE-4AA6-A9B4-5F9A43BC7813}"/>
              </a:ext>
            </a:extLst>
          </p:cNvPr>
          <p:cNvSpPr>
            <a:spLocks noGrp="1"/>
          </p:cNvSpPr>
          <p:nvPr>
            <p:ph type="body" sz="quarter" idx="23" hasCustomPrompt="1"/>
          </p:nvPr>
        </p:nvSpPr>
        <p:spPr>
          <a:xfrm>
            <a:off x="6175483" y="1171575"/>
            <a:ext cx="27369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8" name="Content Placeholder 2">
            <a:extLst>
              <a:ext uri="{FF2B5EF4-FFF2-40B4-BE49-F238E27FC236}">
                <a16:creationId xmlns:a16="http://schemas.microsoft.com/office/drawing/2014/main" id="{4C5F5AA9-D133-46A4-A522-544F77D1A78B}"/>
              </a:ext>
            </a:extLst>
          </p:cNvPr>
          <p:cNvSpPr>
            <a:spLocks noGrp="1"/>
          </p:cNvSpPr>
          <p:nvPr>
            <p:ph idx="24"/>
          </p:nvPr>
        </p:nvSpPr>
        <p:spPr>
          <a:xfrm>
            <a:off x="6172201" y="1781174"/>
            <a:ext cx="274132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2AD1F5CB-9325-407F-A82E-AD63D7DB55BC}"/>
              </a:ext>
            </a:extLst>
          </p:cNvPr>
          <p:cNvSpPr>
            <a:spLocks noGrp="1"/>
          </p:cNvSpPr>
          <p:nvPr>
            <p:ph type="body" sz="quarter" idx="25" hasCustomPrompt="1"/>
          </p:nvPr>
        </p:nvSpPr>
        <p:spPr>
          <a:xfrm>
            <a:off x="9072725" y="1171575"/>
            <a:ext cx="27369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0" name="Content Placeholder 2">
            <a:extLst>
              <a:ext uri="{FF2B5EF4-FFF2-40B4-BE49-F238E27FC236}">
                <a16:creationId xmlns:a16="http://schemas.microsoft.com/office/drawing/2014/main" id="{D422D8ED-8DB0-4D9F-8593-51376DCEC52C}"/>
              </a:ext>
            </a:extLst>
          </p:cNvPr>
          <p:cNvSpPr>
            <a:spLocks noGrp="1"/>
          </p:cNvSpPr>
          <p:nvPr>
            <p:ph idx="26"/>
          </p:nvPr>
        </p:nvSpPr>
        <p:spPr>
          <a:xfrm>
            <a:off x="9067801" y="1781174"/>
            <a:ext cx="274132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9A4D9F3-C7D9-43F2-953A-454ACDC677E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84274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38100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4">
            <a:extLst>
              <a:ext uri="{FF2B5EF4-FFF2-40B4-BE49-F238E27FC236}">
                <a16:creationId xmlns:a16="http://schemas.microsoft.com/office/drawing/2014/main" id="{2472D317-8C7C-4435-97B7-AD733CBE008E}"/>
              </a:ext>
            </a:extLst>
          </p:cNvPr>
          <p:cNvSpPr>
            <a:spLocks noGrp="1"/>
          </p:cNvSpPr>
          <p:nvPr>
            <p:ph type="body" sz="quarter" idx="21" hasCustomPrompt="1"/>
          </p:nvPr>
        </p:nvSpPr>
        <p:spPr>
          <a:xfrm>
            <a:off x="2701609"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Content Placeholder 2">
            <a:extLst>
              <a:ext uri="{FF2B5EF4-FFF2-40B4-BE49-F238E27FC236}">
                <a16:creationId xmlns:a16="http://schemas.microsoft.com/office/drawing/2014/main" id="{E4D2D360-EEE9-4391-80AA-F3022B2E44BA}"/>
              </a:ext>
            </a:extLst>
          </p:cNvPr>
          <p:cNvSpPr>
            <a:spLocks noGrp="1"/>
          </p:cNvSpPr>
          <p:nvPr>
            <p:ph idx="22"/>
          </p:nvPr>
        </p:nvSpPr>
        <p:spPr>
          <a:xfrm>
            <a:off x="270146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4">
            <a:extLst>
              <a:ext uri="{FF2B5EF4-FFF2-40B4-BE49-F238E27FC236}">
                <a16:creationId xmlns:a16="http://schemas.microsoft.com/office/drawing/2014/main" id="{7C950CA8-931F-42EC-8D1C-684B10BA33DF}"/>
              </a:ext>
            </a:extLst>
          </p:cNvPr>
          <p:cNvSpPr>
            <a:spLocks noGrp="1"/>
          </p:cNvSpPr>
          <p:nvPr>
            <p:ph type="body" sz="quarter" idx="23" hasCustomPrompt="1"/>
          </p:nvPr>
        </p:nvSpPr>
        <p:spPr>
          <a:xfrm>
            <a:off x="5022217"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424531BF-7D09-4306-9D8E-78BAF0CD5048}"/>
              </a:ext>
            </a:extLst>
          </p:cNvPr>
          <p:cNvSpPr>
            <a:spLocks noGrp="1"/>
          </p:cNvSpPr>
          <p:nvPr>
            <p:ph idx="24"/>
          </p:nvPr>
        </p:nvSpPr>
        <p:spPr>
          <a:xfrm>
            <a:off x="502192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4">
            <a:extLst>
              <a:ext uri="{FF2B5EF4-FFF2-40B4-BE49-F238E27FC236}">
                <a16:creationId xmlns:a16="http://schemas.microsoft.com/office/drawing/2014/main" id="{CFB36ED7-BBFD-4DB9-9421-F9BE8CD07C55}"/>
              </a:ext>
            </a:extLst>
          </p:cNvPr>
          <p:cNvSpPr>
            <a:spLocks noGrp="1"/>
          </p:cNvSpPr>
          <p:nvPr>
            <p:ph type="body" sz="quarter" idx="25" hasCustomPrompt="1"/>
          </p:nvPr>
        </p:nvSpPr>
        <p:spPr>
          <a:xfrm>
            <a:off x="7342825"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Content Placeholder 2">
            <a:extLst>
              <a:ext uri="{FF2B5EF4-FFF2-40B4-BE49-F238E27FC236}">
                <a16:creationId xmlns:a16="http://schemas.microsoft.com/office/drawing/2014/main" id="{BBEA8CD3-8F3D-4C64-8375-1733B126A69B}"/>
              </a:ext>
            </a:extLst>
          </p:cNvPr>
          <p:cNvSpPr>
            <a:spLocks noGrp="1"/>
          </p:cNvSpPr>
          <p:nvPr>
            <p:ph idx="26"/>
          </p:nvPr>
        </p:nvSpPr>
        <p:spPr>
          <a:xfrm>
            <a:off x="734238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14">
            <a:extLst>
              <a:ext uri="{FF2B5EF4-FFF2-40B4-BE49-F238E27FC236}">
                <a16:creationId xmlns:a16="http://schemas.microsoft.com/office/drawing/2014/main" id="{D6519DA7-2099-4BBE-BC01-9482B3B54131}"/>
              </a:ext>
            </a:extLst>
          </p:cNvPr>
          <p:cNvSpPr>
            <a:spLocks noGrp="1"/>
          </p:cNvSpPr>
          <p:nvPr>
            <p:ph type="body" sz="quarter" idx="27" hasCustomPrompt="1"/>
          </p:nvPr>
        </p:nvSpPr>
        <p:spPr>
          <a:xfrm>
            <a:off x="9663434"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4" name="Content Placeholder 2">
            <a:extLst>
              <a:ext uri="{FF2B5EF4-FFF2-40B4-BE49-F238E27FC236}">
                <a16:creationId xmlns:a16="http://schemas.microsoft.com/office/drawing/2014/main" id="{18DDB658-7F30-450F-B746-304E5B393DA7}"/>
              </a:ext>
            </a:extLst>
          </p:cNvPr>
          <p:cNvSpPr>
            <a:spLocks noGrp="1"/>
          </p:cNvSpPr>
          <p:nvPr>
            <p:ph idx="28"/>
          </p:nvPr>
        </p:nvSpPr>
        <p:spPr>
          <a:xfrm>
            <a:off x="966284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BDFC327-60D5-4420-B53E-212D6DE488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76579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hasCustomPrompt="1"/>
          </p:nvPr>
        </p:nvSpPr>
        <p:spPr>
          <a:xfrm>
            <a:off x="381001"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88273" y="1171575"/>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hasCustomPrompt="1"/>
          </p:nvPr>
        </p:nvSpPr>
        <p:spPr>
          <a:xfrm>
            <a:off x="4285005"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95545" y="1171575"/>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hasCustomPrompt="1"/>
          </p:nvPr>
        </p:nvSpPr>
        <p:spPr>
          <a:xfrm>
            <a:off x="8189009"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381001" y="3831313"/>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Content Placeholder 2">
            <a:extLst>
              <a:ext uri="{FF2B5EF4-FFF2-40B4-BE49-F238E27FC236}">
                <a16:creationId xmlns:a16="http://schemas.microsoft.com/office/drawing/2014/main" id="{641F7901-0058-4543-B156-041351228BF3}"/>
              </a:ext>
            </a:extLst>
          </p:cNvPr>
          <p:cNvSpPr>
            <a:spLocks noGrp="1"/>
          </p:cNvSpPr>
          <p:nvPr>
            <p:ph idx="26" hasCustomPrompt="1"/>
          </p:nvPr>
        </p:nvSpPr>
        <p:spPr>
          <a:xfrm>
            <a:off x="381001"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288273" y="3831313"/>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4" name="Content Placeholder 2">
            <a:extLst>
              <a:ext uri="{FF2B5EF4-FFF2-40B4-BE49-F238E27FC236}">
                <a16:creationId xmlns:a16="http://schemas.microsoft.com/office/drawing/2014/main" id="{C9E62CC6-7DD7-4F2C-92A7-592426B1F84C}"/>
              </a:ext>
            </a:extLst>
          </p:cNvPr>
          <p:cNvSpPr>
            <a:spLocks noGrp="1"/>
          </p:cNvSpPr>
          <p:nvPr>
            <p:ph idx="28" hasCustomPrompt="1"/>
          </p:nvPr>
        </p:nvSpPr>
        <p:spPr>
          <a:xfrm>
            <a:off x="4285005"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195545" y="3831313"/>
            <a:ext cx="3614674"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Content Placeholder 2">
            <a:extLst>
              <a:ext uri="{FF2B5EF4-FFF2-40B4-BE49-F238E27FC236}">
                <a16:creationId xmlns:a16="http://schemas.microsoft.com/office/drawing/2014/main" id="{62DFB085-0C55-4FCF-A2C8-2D229DB955D0}"/>
              </a:ext>
            </a:extLst>
          </p:cNvPr>
          <p:cNvSpPr>
            <a:spLocks noGrp="1"/>
          </p:cNvSpPr>
          <p:nvPr>
            <p:ph idx="30" hasCustomPrompt="1"/>
          </p:nvPr>
        </p:nvSpPr>
        <p:spPr>
          <a:xfrm>
            <a:off x="8189009"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a:extLst>
              <a:ext uri="{FF2B5EF4-FFF2-40B4-BE49-F238E27FC236}">
                <a16:creationId xmlns:a16="http://schemas.microsoft.com/office/drawing/2014/main" id="{6CE697B4-F430-4CA7-935A-2F894B6230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76368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3" name="Content Placeholder 2"/>
          <p:cNvSpPr>
            <a:spLocks noGrp="1"/>
          </p:cNvSpPr>
          <p:nvPr>
            <p:ph idx="1"/>
          </p:nvPr>
        </p:nvSpPr>
        <p:spPr>
          <a:xfrm>
            <a:off x="381002" y="1781173"/>
            <a:ext cx="5341141" cy="4429127"/>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83" y="1171575"/>
            <a:ext cx="5340398"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4CFEC3F1-CFF8-4AA4-BEA2-C7220A4A3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12731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3811993"/>
            <a:ext cx="2710314"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Text Placeholder 4">
            <a:extLst>
              <a:ext uri="{FF2B5EF4-FFF2-40B4-BE49-F238E27FC236}">
                <a16:creationId xmlns:a16="http://schemas.microsoft.com/office/drawing/2014/main" id="{B5A77170-A9FD-45D4-8584-19D45A2A8F9B}"/>
              </a:ext>
            </a:extLst>
          </p:cNvPr>
          <p:cNvSpPr>
            <a:spLocks noGrp="1"/>
          </p:cNvSpPr>
          <p:nvPr>
            <p:ph type="body" sz="quarter" idx="15"/>
          </p:nvPr>
        </p:nvSpPr>
        <p:spPr>
          <a:xfrm>
            <a:off x="381001" y="4421592"/>
            <a:ext cx="2710691" cy="1141008"/>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833665" y="1737114"/>
            <a:ext cx="1804987" cy="1804988"/>
          </a:xfrm>
          <a:prstGeom prst="ellipse">
            <a:avLst/>
          </a:prstGeom>
        </p:spPr>
        <p:txBody>
          <a:bodyPr anchor="ctr"/>
          <a:lstStyle>
            <a:lvl1pPr algn="ctr">
              <a:defRPr/>
            </a:lvl1pPr>
          </a:lstStyle>
          <a:p>
            <a:endParaRPr lang="en-US"/>
          </a:p>
        </p:txBody>
      </p:sp>
      <p:sp>
        <p:nvSpPr>
          <p:cNvPr id="11" name="Text Placeholder 14">
            <a:extLst>
              <a:ext uri="{FF2B5EF4-FFF2-40B4-BE49-F238E27FC236}">
                <a16:creationId xmlns:a16="http://schemas.microsoft.com/office/drawing/2014/main" id="{5B70EEE1-61F9-44E3-AE83-70A2FCDE4726}"/>
              </a:ext>
            </a:extLst>
          </p:cNvPr>
          <p:cNvSpPr>
            <a:spLocks noGrp="1"/>
          </p:cNvSpPr>
          <p:nvPr>
            <p:ph type="body" sz="quarter" idx="17" hasCustomPrompt="1"/>
          </p:nvPr>
        </p:nvSpPr>
        <p:spPr>
          <a:xfrm>
            <a:off x="3286454" y="3811993"/>
            <a:ext cx="2710314"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Text Placeholder 4">
            <a:extLst>
              <a:ext uri="{FF2B5EF4-FFF2-40B4-BE49-F238E27FC236}">
                <a16:creationId xmlns:a16="http://schemas.microsoft.com/office/drawing/2014/main" id="{CBF3F0D4-7BA6-430E-8092-94251D51115F}"/>
              </a:ext>
            </a:extLst>
          </p:cNvPr>
          <p:cNvSpPr>
            <a:spLocks noGrp="1"/>
          </p:cNvSpPr>
          <p:nvPr>
            <p:ph type="body" sz="quarter" idx="18"/>
          </p:nvPr>
        </p:nvSpPr>
        <p:spPr>
          <a:xfrm>
            <a:off x="3286379" y="4421592"/>
            <a:ext cx="2710691" cy="1141008"/>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739118" y="1737114"/>
            <a:ext cx="1804987" cy="1804988"/>
          </a:xfrm>
          <a:prstGeom prst="ellipse">
            <a:avLst/>
          </a:prstGeom>
        </p:spPr>
        <p:txBody>
          <a:bodyPr anchor="ctr"/>
          <a:lstStyle>
            <a:lvl1pPr algn="ctr">
              <a:defRPr/>
            </a:lvl1pPr>
          </a:lstStyle>
          <a:p>
            <a:endParaRPr lang="en-US"/>
          </a:p>
        </p:txBody>
      </p:sp>
      <p:sp>
        <p:nvSpPr>
          <p:cNvPr id="14" name="Text Placeholder 14">
            <a:extLst>
              <a:ext uri="{FF2B5EF4-FFF2-40B4-BE49-F238E27FC236}">
                <a16:creationId xmlns:a16="http://schemas.microsoft.com/office/drawing/2014/main" id="{178182FC-A485-4780-8095-1090C2B8ED14}"/>
              </a:ext>
            </a:extLst>
          </p:cNvPr>
          <p:cNvSpPr>
            <a:spLocks noGrp="1"/>
          </p:cNvSpPr>
          <p:nvPr>
            <p:ph type="body" sz="quarter" idx="20" hasCustomPrompt="1"/>
          </p:nvPr>
        </p:nvSpPr>
        <p:spPr>
          <a:xfrm>
            <a:off x="6191907" y="3811993"/>
            <a:ext cx="2710314"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Text Placeholder 4">
            <a:extLst>
              <a:ext uri="{FF2B5EF4-FFF2-40B4-BE49-F238E27FC236}">
                <a16:creationId xmlns:a16="http://schemas.microsoft.com/office/drawing/2014/main" id="{B467F341-791E-49E5-84A8-2C48795FE71D}"/>
              </a:ext>
            </a:extLst>
          </p:cNvPr>
          <p:cNvSpPr>
            <a:spLocks noGrp="1"/>
          </p:cNvSpPr>
          <p:nvPr>
            <p:ph type="body" sz="quarter" idx="21"/>
          </p:nvPr>
        </p:nvSpPr>
        <p:spPr>
          <a:xfrm>
            <a:off x="6191757" y="4421592"/>
            <a:ext cx="2710691" cy="1141008"/>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644571" y="1737114"/>
            <a:ext cx="1804987" cy="1804988"/>
          </a:xfrm>
          <a:prstGeom prst="ellipse">
            <a:avLst/>
          </a:prstGeom>
        </p:spPr>
        <p:txBody>
          <a:bodyPr anchor="ctr"/>
          <a:lstStyle>
            <a:lvl1pPr algn="ctr">
              <a:defRPr/>
            </a:lvl1pPr>
          </a:lstStyle>
          <a:p>
            <a:endParaRPr lang="en-US"/>
          </a:p>
        </p:txBody>
      </p:sp>
      <p:sp>
        <p:nvSpPr>
          <p:cNvPr id="19" name="Text Placeholder 14">
            <a:extLst>
              <a:ext uri="{FF2B5EF4-FFF2-40B4-BE49-F238E27FC236}">
                <a16:creationId xmlns:a16="http://schemas.microsoft.com/office/drawing/2014/main" id="{6666DD00-9E5D-4272-9205-D57612EE559E}"/>
              </a:ext>
            </a:extLst>
          </p:cNvPr>
          <p:cNvSpPr>
            <a:spLocks noGrp="1"/>
          </p:cNvSpPr>
          <p:nvPr>
            <p:ph type="body" sz="quarter" idx="23" hasCustomPrompt="1"/>
          </p:nvPr>
        </p:nvSpPr>
        <p:spPr>
          <a:xfrm>
            <a:off x="9097361" y="3811993"/>
            <a:ext cx="2710314" cy="489737"/>
          </a:xfrm>
        </p:spPr>
        <p:txBody>
          <a:bodyPr tIns="0" anchor="b" anchorCtr="1"/>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Text Placeholder 4">
            <a:extLst>
              <a:ext uri="{FF2B5EF4-FFF2-40B4-BE49-F238E27FC236}">
                <a16:creationId xmlns:a16="http://schemas.microsoft.com/office/drawing/2014/main" id="{3A0CC58B-4150-475B-A65A-9286B8F46A89}"/>
              </a:ext>
            </a:extLst>
          </p:cNvPr>
          <p:cNvSpPr>
            <a:spLocks noGrp="1"/>
          </p:cNvSpPr>
          <p:nvPr>
            <p:ph type="body" sz="quarter" idx="24"/>
          </p:nvPr>
        </p:nvSpPr>
        <p:spPr>
          <a:xfrm>
            <a:off x="9097134" y="4421592"/>
            <a:ext cx="2710691" cy="1141008"/>
          </a:xfrm>
        </p:spPr>
        <p:txBody>
          <a:bodyPr anchor="t" anchorCtr="1"/>
          <a:lstStyle>
            <a:lvl1pPr>
              <a:defRPr sz="1600"/>
            </a:lvl1pPr>
            <a:lvl2pPr>
              <a:defRPr sz="1600"/>
            </a:lvl2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9550025" y="1737114"/>
            <a:ext cx="1804987" cy="1804988"/>
          </a:xfrm>
          <a:prstGeom prst="ellipse">
            <a:avLst/>
          </a:prstGeom>
        </p:spPr>
        <p:txBody>
          <a:bodyPr anchor="ctr"/>
          <a:lstStyle>
            <a:lvl1pPr algn="ctr">
              <a:defRPr/>
            </a:lvl1pPr>
          </a:lstStyle>
          <a:p>
            <a:endParaRPr lang="en-US"/>
          </a:p>
        </p:txBody>
      </p:sp>
      <p:sp>
        <p:nvSpPr>
          <p:cNvPr id="2" name="Title 1">
            <a:extLst>
              <a:ext uri="{FF2B5EF4-FFF2-40B4-BE49-F238E27FC236}">
                <a16:creationId xmlns:a16="http://schemas.microsoft.com/office/drawing/2014/main" id="{ED7CC241-9D6F-48F3-989A-87A4641E972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1487831"/>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11426823" cy="4887912"/>
          </a:xfrm>
        </p:spPr>
        <p:txBody>
          <a:bodyPr anchor="ctr"/>
          <a:lstStyle>
            <a:lvl1pPr algn="ctr">
              <a:defRPr/>
            </a:lvl1pPr>
          </a:lstStyle>
          <a:p>
            <a:endParaRPr lang="en-US"/>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64236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 Contacts">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2392071"/>
            <a:ext cx="2068454" cy="55410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381001" y="3024574"/>
            <a:ext cx="2068211" cy="974383"/>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0" name="Text Placeholder 29"/>
          <p:cNvSpPr>
            <a:spLocks noGrp="1"/>
          </p:cNvSpPr>
          <p:nvPr>
            <p:ph type="body" sz="quarter" idx="28" hasCustomPrompt="1"/>
          </p:nvPr>
        </p:nvSpPr>
        <p:spPr>
          <a:xfrm>
            <a:off x="381002" y="4077353"/>
            <a:ext cx="8788398" cy="1061529"/>
          </a:xfrm>
        </p:spPr>
        <p:txBody>
          <a:bodyPr/>
          <a:lstStyle>
            <a:lvl1pPr>
              <a:defRPr sz="900"/>
            </a:lvl1pPr>
            <a:lvl2pPr marL="114300" indent="-114300">
              <a:spcBef>
                <a:spcPts val="100"/>
              </a:spcBef>
              <a:buClr>
                <a:schemeClr val="accent1"/>
              </a:buClr>
              <a:tabLst/>
              <a:defRPr sz="900"/>
            </a:lvl2pPr>
            <a:lvl3pPr marL="230188" indent="-115888">
              <a:spcBef>
                <a:spcPts val="100"/>
              </a:spcBef>
              <a:buClr>
                <a:schemeClr val="accent1"/>
              </a:buClr>
              <a:tabLst/>
              <a:defRPr sz="900"/>
            </a:lvl3pPr>
            <a:lvl4pPr marL="346075" indent="-115888">
              <a:spcBef>
                <a:spcPts val="100"/>
              </a:spcBef>
              <a:buClr>
                <a:schemeClr val="accent1"/>
              </a:buClr>
              <a:tabLst/>
              <a:defRPr sz="900"/>
            </a:lvl4pPr>
            <a:lvl5pPr marL="460375" indent="-114300">
              <a:spcBef>
                <a:spcPts val="100"/>
              </a:spcBef>
              <a:buClr>
                <a:schemeClr val="accent1"/>
              </a:buClr>
              <a:tabLst/>
              <a:defRPr sz="900"/>
            </a:lvl5pPr>
          </a:lstStyle>
          <a:p>
            <a:pPr lvl="0"/>
            <a:r>
              <a:rPr lang="en-US"/>
              <a:t>Insert Legal Copy</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E338DBE-2C15-4F70-8277-DDD730F975BE}"/>
              </a:ext>
            </a:extLst>
          </p:cNvPr>
          <p:cNvSpPr>
            <a:spLocks noGrp="1"/>
          </p:cNvSpPr>
          <p:nvPr>
            <p:ph type="title"/>
          </p:nvPr>
        </p:nvSpPr>
        <p:spPr/>
        <p:txBody>
          <a:bodyPr/>
          <a:lstStyle/>
          <a:p>
            <a:r>
              <a:rPr lang="en-US"/>
              <a:t>Click to edit Master title style</a:t>
            </a:r>
          </a:p>
        </p:txBody>
      </p:sp>
      <p:sp>
        <p:nvSpPr>
          <p:cNvPr id="29" name="Text Placeholder 14">
            <a:extLst>
              <a:ext uri="{FF2B5EF4-FFF2-40B4-BE49-F238E27FC236}">
                <a16:creationId xmlns:a16="http://schemas.microsoft.com/office/drawing/2014/main" id="{AC53361B-5856-4302-8CF7-6BF7C17066C3}"/>
              </a:ext>
            </a:extLst>
          </p:cNvPr>
          <p:cNvSpPr>
            <a:spLocks noGrp="1"/>
          </p:cNvSpPr>
          <p:nvPr>
            <p:ph type="body" sz="quarter" idx="29" hasCustomPrompt="1"/>
          </p:nvPr>
        </p:nvSpPr>
        <p:spPr>
          <a:xfrm>
            <a:off x="2620983" y="2392071"/>
            <a:ext cx="2068454" cy="55410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1" name="Text Placeholder 20">
            <a:extLst>
              <a:ext uri="{FF2B5EF4-FFF2-40B4-BE49-F238E27FC236}">
                <a16:creationId xmlns:a16="http://schemas.microsoft.com/office/drawing/2014/main" id="{95A3F7CB-6CED-43C7-A382-F2A8F2EBD76B}"/>
              </a:ext>
            </a:extLst>
          </p:cNvPr>
          <p:cNvSpPr>
            <a:spLocks noGrp="1"/>
          </p:cNvSpPr>
          <p:nvPr>
            <p:ph type="body" sz="quarter" idx="30" hasCustomPrompt="1"/>
          </p:nvPr>
        </p:nvSpPr>
        <p:spPr>
          <a:xfrm>
            <a:off x="2621064" y="3024574"/>
            <a:ext cx="2068211" cy="974383"/>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2" name="Text Placeholder 14">
            <a:extLst>
              <a:ext uri="{FF2B5EF4-FFF2-40B4-BE49-F238E27FC236}">
                <a16:creationId xmlns:a16="http://schemas.microsoft.com/office/drawing/2014/main" id="{A59C17CE-8E20-47E7-9745-BD8DF5D69E9F}"/>
              </a:ext>
            </a:extLst>
          </p:cNvPr>
          <p:cNvSpPr>
            <a:spLocks noGrp="1"/>
          </p:cNvSpPr>
          <p:nvPr>
            <p:ph type="body" sz="quarter" idx="31" hasCustomPrompt="1"/>
          </p:nvPr>
        </p:nvSpPr>
        <p:spPr>
          <a:xfrm>
            <a:off x="4860965" y="2392071"/>
            <a:ext cx="2068454" cy="55410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3" name="Text Placeholder 20">
            <a:extLst>
              <a:ext uri="{FF2B5EF4-FFF2-40B4-BE49-F238E27FC236}">
                <a16:creationId xmlns:a16="http://schemas.microsoft.com/office/drawing/2014/main" id="{0231F24C-AA35-4993-B9E0-BBEE487530C5}"/>
              </a:ext>
            </a:extLst>
          </p:cNvPr>
          <p:cNvSpPr>
            <a:spLocks noGrp="1"/>
          </p:cNvSpPr>
          <p:nvPr>
            <p:ph type="body" sz="quarter" idx="32" hasCustomPrompt="1"/>
          </p:nvPr>
        </p:nvSpPr>
        <p:spPr>
          <a:xfrm>
            <a:off x="4861127" y="3024574"/>
            <a:ext cx="2068211" cy="974383"/>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4" name="Text Placeholder 14">
            <a:extLst>
              <a:ext uri="{FF2B5EF4-FFF2-40B4-BE49-F238E27FC236}">
                <a16:creationId xmlns:a16="http://schemas.microsoft.com/office/drawing/2014/main" id="{4A5AC34E-3B4C-469E-B9C4-C085D8EC0272}"/>
              </a:ext>
            </a:extLst>
          </p:cNvPr>
          <p:cNvSpPr>
            <a:spLocks noGrp="1"/>
          </p:cNvSpPr>
          <p:nvPr>
            <p:ph type="body" sz="quarter" idx="33" hasCustomPrompt="1"/>
          </p:nvPr>
        </p:nvSpPr>
        <p:spPr>
          <a:xfrm>
            <a:off x="7100946" y="2392071"/>
            <a:ext cx="2068454" cy="55410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5" name="Text Placeholder 20">
            <a:extLst>
              <a:ext uri="{FF2B5EF4-FFF2-40B4-BE49-F238E27FC236}">
                <a16:creationId xmlns:a16="http://schemas.microsoft.com/office/drawing/2014/main" id="{A0A6254F-A341-4409-90BD-661FAACB8D44}"/>
              </a:ext>
            </a:extLst>
          </p:cNvPr>
          <p:cNvSpPr>
            <a:spLocks noGrp="1"/>
          </p:cNvSpPr>
          <p:nvPr>
            <p:ph type="body" sz="quarter" idx="34" hasCustomPrompt="1"/>
          </p:nvPr>
        </p:nvSpPr>
        <p:spPr>
          <a:xfrm>
            <a:off x="7101189" y="3024574"/>
            <a:ext cx="2068211" cy="974383"/>
          </a:xfrm>
        </p:spPr>
        <p:txBody>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Tree>
    <p:extLst>
      <p:ext uri="{BB962C8B-B14F-4D97-AF65-F5344CB8AC3E}">
        <p14:creationId xmlns:p14="http://schemas.microsoft.com/office/powerpoint/2010/main" val="39162066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2_Title – Grid Light">
    <p:bg>
      <p:bgPr>
        <a:solidFill>
          <a:schemeClr val="accent1"/>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rcRect/>
          <a:stretch/>
        </p:blipFill>
        <p:spPr>
          <a:xfrm>
            <a:off x="431878" y="6081015"/>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p:ph type="subTitle" idx="1" hasCustomPrompt="1"/>
          </p:nvPr>
        </p:nvSpPr>
        <p:spPr>
          <a:xfrm>
            <a:off x="382971" y="3759200"/>
            <a:ext cx="7648381" cy="1510886"/>
          </a:xfrm>
        </p:spPr>
        <p:txBody>
          <a:bodyPr lIns="0" tIns="0" rIns="0" bIns="0" anchor="t" anchorCtr="0">
            <a:normAutofit/>
          </a:bodyPr>
          <a:lstStyle>
            <a:lvl1pPr marL="0" indent="0" algn="l">
              <a:lnSpc>
                <a:spcPct val="100000"/>
              </a:lnSpc>
              <a:spcBef>
                <a:spcPts val="0"/>
              </a:spcBef>
              <a:buNone/>
              <a:defRPr sz="6000" b="1" i="0" spc="-10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p:ph type="body" sz="quarter" idx="12" hasCustomPrompt="1"/>
          </p:nvPr>
        </p:nvSpPr>
        <p:spPr>
          <a:xfrm>
            <a:off x="386020" y="3078730"/>
            <a:ext cx="7648381" cy="510040"/>
          </a:xfrm>
        </p:spPr>
        <p:txBody>
          <a:bodyPr anchor="ctr" anchorCtr="0"/>
          <a:lstStyle>
            <a:lvl1pPr>
              <a:defRPr sz="6000" b="1" spc="-100" baseline="0">
                <a:solidFill>
                  <a:schemeClr val="bg1"/>
                </a:solidFill>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p:ph type="ctrTitle" hasCustomPrompt="1"/>
          </p:nvPr>
        </p:nvSpPr>
        <p:spPr>
          <a:xfrm>
            <a:off x="382971" y="880649"/>
            <a:ext cx="7657943" cy="2027651"/>
          </a:xfrm>
        </p:spPr>
        <p:txBody>
          <a:bodyPr lIns="0" tIns="0" rIns="0" bIns="0" anchor="b" anchorCtr="0">
            <a:noAutofit/>
          </a:bodyPr>
          <a:lstStyle>
            <a:lvl1pPr algn="l">
              <a:lnSpc>
                <a:spcPct val="100000"/>
              </a:lnSpc>
              <a:defRPr sz="6000" b="1" i="0" spc="-100">
                <a:solidFill>
                  <a:schemeClr val="bg1"/>
                </a:solidFill>
                <a:latin typeface="Arial"/>
                <a:cs typeface="Arial"/>
              </a:defRPr>
            </a:lvl1pPr>
          </a:lstStyle>
          <a:p>
            <a:r>
              <a:rPr lang="en-US"/>
              <a:t>Click to edit </a:t>
            </a:r>
            <a:br>
              <a:rPr lang="en-US"/>
            </a:br>
            <a:r>
              <a:rPr lang="en-US"/>
              <a:t>Master title style</a:t>
            </a:r>
          </a:p>
        </p:txBody>
      </p:sp>
      <p:grpSp>
        <p:nvGrpSpPr>
          <p:cNvPr id="6" name="Group 5">
            <a:extLst>
              <a:ext uri="{FF2B5EF4-FFF2-40B4-BE49-F238E27FC236}">
                <a16:creationId xmlns:a16="http://schemas.microsoft.com/office/drawing/2014/main" id="{13C630F6-5777-4826-A8BA-A5E5F67ED8DE}"/>
              </a:ext>
            </a:extLst>
          </p:cNvPr>
          <p:cNvGrpSpPr/>
          <p:nvPr userDrawn="1"/>
        </p:nvGrpSpPr>
        <p:grpSpPr>
          <a:xfrm>
            <a:off x="9346573" y="258374"/>
            <a:ext cx="2592719" cy="6341252"/>
            <a:chOff x="9346573" y="258374"/>
            <a:chExt cx="2592719" cy="6341252"/>
          </a:xfrm>
          <a:solidFill>
            <a:schemeClr val="accent1">
              <a:lumMod val="75000"/>
            </a:schemeClr>
          </a:solidFill>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a:grpFill/>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a:p>
          </p:txBody>
        </p:sp>
        <p:sp>
          <p:nvSpPr>
            <p:cNvPr id="30" name="Freeform: Shape 29">
              <a:extLst>
                <a:ext uri="{FF2B5EF4-FFF2-40B4-BE49-F238E27FC236}">
                  <a16:creationId xmlns:a16="http://schemas.microsoft.com/office/drawing/2014/main" id="{01610C87-FCDE-46C3-9E2E-739916D61405}"/>
                </a:ext>
              </a:extLst>
            </p:cNvPr>
            <p:cNvSpPr/>
            <p:nvPr userDrawn="1"/>
          </p:nvSpPr>
          <p:spPr>
            <a:xfrm>
              <a:off x="9346573"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a:p>
          </p:txBody>
        </p:sp>
      </p:gr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2700000" flipH="1" flipV="1">
            <a:off x="9044758" y="5894614"/>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rot="16200000" flipV="1">
            <a:off x="10498451" y="1143711"/>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rot="16200000">
            <a:off x="9917919" y="3148489"/>
            <a:ext cx="574904" cy="1706308"/>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a:off x="9935038" y="2296382"/>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a:off x="10878327" y="5270086"/>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a:off x="10198402" y="0"/>
            <a:ext cx="574904" cy="851154"/>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1965863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Gray">
    <p:bg>
      <p:bgPr>
        <a:solidFill>
          <a:schemeClr val="bg2"/>
        </a:solidFill>
        <a:effectLst/>
      </p:bgPr>
    </p:bg>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48A2446E-B208-4478-A1A0-DBEF75ACF070}"/>
              </a:ext>
            </a:extLst>
          </p:cNvPr>
          <p:cNvSpPr>
            <a:spLocks noGrp="1"/>
          </p:cNvSpPr>
          <p:nvPr>
            <p:ph type="subTitle" idx="1" hasCustomPrompt="1"/>
          </p:nvPr>
        </p:nvSpPr>
        <p:spPr>
          <a:xfrm>
            <a:off x="382972" y="3646288"/>
            <a:ext cx="5285422" cy="1623798"/>
          </a:xfrm>
        </p:spPr>
        <p:txBody>
          <a:bodyPr lIns="0" tIns="0" rIns="0" bIns="0" anchor="t" anchorCtr="0">
            <a:normAutofit/>
          </a:bodyPr>
          <a:lstStyle>
            <a:lvl1pPr marL="0" indent="0" algn="l">
              <a:lnSpc>
                <a:spcPct val="80000"/>
              </a:lnSpc>
              <a:spcBef>
                <a:spcPts val="0"/>
              </a:spcBef>
              <a:buNone/>
              <a:defRPr sz="5000" b="1" i="0" spc="-10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0" name="Text Placeholder 4">
            <a:extLst>
              <a:ext uri="{FF2B5EF4-FFF2-40B4-BE49-F238E27FC236}">
                <a16:creationId xmlns:a16="http://schemas.microsoft.com/office/drawing/2014/main" id="{94CEEEF1-957E-44FF-BA9A-034888D3AE62}"/>
              </a:ext>
            </a:extLst>
          </p:cNvPr>
          <p:cNvSpPr>
            <a:spLocks noGrp="1"/>
          </p:cNvSpPr>
          <p:nvPr>
            <p:ph type="body" sz="quarter" idx="12" hasCustomPrompt="1"/>
          </p:nvPr>
        </p:nvSpPr>
        <p:spPr>
          <a:xfrm>
            <a:off x="386021" y="3003840"/>
            <a:ext cx="5285422" cy="510040"/>
          </a:xfrm>
        </p:spPr>
        <p:txBody>
          <a:bodyPr anchor="ctr" anchorCtr="0"/>
          <a:lstStyle>
            <a:lvl1pPr>
              <a:defRPr sz="5000" b="1" spc="-100" baseline="0">
                <a:latin typeface="+mj-lt"/>
              </a:defRPr>
            </a:lvl1pPr>
            <a:lvl2pPr marL="0" indent="0">
              <a:buNone/>
              <a:defRPr/>
            </a:lvl2pPr>
          </a:lstStyle>
          <a:p>
            <a:pPr lvl="0"/>
            <a:r>
              <a:rPr lang="en-US"/>
              <a:t>Insert Section #</a:t>
            </a:r>
          </a:p>
        </p:txBody>
      </p:sp>
      <p:sp>
        <p:nvSpPr>
          <p:cNvPr id="12" name="Title 1">
            <a:extLst>
              <a:ext uri="{FF2B5EF4-FFF2-40B4-BE49-F238E27FC236}">
                <a16:creationId xmlns:a16="http://schemas.microsoft.com/office/drawing/2014/main" id="{9169A570-E0A9-49FC-90C4-03DB6820E1DC}"/>
              </a:ext>
            </a:extLst>
          </p:cNvPr>
          <p:cNvSpPr>
            <a:spLocks noGrp="1"/>
          </p:cNvSpPr>
          <p:nvPr>
            <p:ph type="ctrTitle"/>
          </p:nvPr>
        </p:nvSpPr>
        <p:spPr>
          <a:xfrm>
            <a:off x="382972" y="880649"/>
            <a:ext cx="5292030" cy="2157916"/>
          </a:xfrm>
        </p:spPr>
        <p:txBody>
          <a:bodyPr lIns="0" tIns="0" rIns="0" bIns="0" anchor="b" anchorCtr="0">
            <a:no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33" name="Rectangle 32">
            <a:extLst>
              <a:ext uri="{FF2B5EF4-FFF2-40B4-BE49-F238E27FC236}">
                <a16:creationId xmlns:a16="http://schemas.microsoft.com/office/drawing/2014/main" id="{D5250643-E01B-4127-83F5-DBCB7BE2EE71}"/>
              </a:ext>
            </a:extLst>
          </p:cNvPr>
          <p:cNvSpPr/>
          <p:nvPr userDrawn="1"/>
        </p:nvSpPr>
        <p:spPr>
          <a:xfrm>
            <a:off x="6094412" y="0"/>
            <a:ext cx="6094413" cy="686117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pic>
        <p:nvPicPr>
          <p:cNvPr id="34" name="Graphic 33">
            <a:extLst>
              <a:ext uri="{FF2B5EF4-FFF2-40B4-BE49-F238E27FC236}">
                <a16:creationId xmlns:a16="http://schemas.microsoft.com/office/drawing/2014/main" id="{23DE813C-0023-4832-9136-372C718BBD6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 r="440"/>
          <a:stretch/>
        </p:blipFill>
        <p:spPr>
          <a:xfrm>
            <a:off x="6068649" y="986"/>
            <a:ext cx="6120172" cy="6860192"/>
          </a:xfrm>
          <a:prstGeom prst="rect">
            <a:avLst/>
          </a:prstGeom>
        </p:spPr>
      </p:pic>
      <p:pic>
        <p:nvPicPr>
          <p:cNvPr id="26" name="Picture 25" descr="A close up of a sign&#10;&#10;Description automatically generated">
            <a:extLst>
              <a:ext uri="{FF2B5EF4-FFF2-40B4-BE49-F238E27FC236}">
                <a16:creationId xmlns:a16="http://schemas.microsoft.com/office/drawing/2014/main" id="{346D45FA-D7F4-4DBC-AAC8-073744DDC8D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30212" y="6081015"/>
            <a:ext cx="2448162" cy="560909"/>
          </a:xfrm>
          <a:prstGeom prst="rect">
            <a:avLst/>
          </a:prstGeom>
        </p:spPr>
      </p:pic>
      <p:sp>
        <p:nvSpPr>
          <p:cNvPr id="24" name="Freeform: Shape 23">
            <a:extLst>
              <a:ext uri="{FF2B5EF4-FFF2-40B4-BE49-F238E27FC236}">
                <a16:creationId xmlns:a16="http://schemas.microsoft.com/office/drawing/2014/main" id="{1BF79ED5-D148-4190-BA7E-72B634117FC8}"/>
              </a:ext>
            </a:extLst>
          </p:cNvPr>
          <p:cNvSpPr>
            <a:spLocks noGrp="1"/>
          </p:cNvSpPr>
          <p:nvPr userDrawn="1"/>
        </p:nvSpPr>
        <p:spPr>
          <a:xfrm>
            <a:off x="6352384" y="5299086"/>
            <a:ext cx="530877" cy="1558914"/>
          </a:xfrm>
          <a:custGeom>
            <a:avLst/>
            <a:gdLst>
              <a:gd name="connsiteX0" fmla="*/ 0 w 530877"/>
              <a:gd name="connsiteY0" fmla="*/ 0 h 1558914"/>
              <a:gd name="connsiteX1" fmla="*/ 530877 w 530877"/>
              <a:gd name="connsiteY1" fmla="*/ 0 h 1558914"/>
              <a:gd name="connsiteX2" fmla="*/ 530877 w 530877"/>
              <a:gd name="connsiteY2" fmla="*/ 1558914 h 1558914"/>
              <a:gd name="connsiteX3" fmla="*/ 0 w 530877"/>
              <a:gd name="connsiteY3" fmla="*/ 1558914 h 1558914"/>
            </a:gdLst>
            <a:ahLst/>
            <a:cxnLst>
              <a:cxn ang="0">
                <a:pos x="connsiteX0" y="connsiteY0"/>
              </a:cxn>
              <a:cxn ang="0">
                <a:pos x="connsiteX1" y="connsiteY1"/>
              </a:cxn>
              <a:cxn ang="0">
                <a:pos x="connsiteX2" y="connsiteY2"/>
              </a:cxn>
              <a:cxn ang="0">
                <a:pos x="connsiteX3" y="connsiteY3"/>
              </a:cxn>
            </a:cxnLst>
            <a:rect l="l" t="t" r="r" b="b"/>
            <a:pathLst>
              <a:path w="530877" h="1558914">
                <a:moveTo>
                  <a:pt x="0" y="0"/>
                </a:moveTo>
                <a:lnTo>
                  <a:pt x="530877" y="0"/>
                </a:lnTo>
                <a:lnTo>
                  <a:pt x="530877" y="1558914"/>
                </a:lnTo>
                <a:lnTo>
                  <a:pt x="0" y="1558914"/>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25" name="Text Placeholder 21">
            <a:extLst>
              <a:ext uri="{FF2B5EF4-FFF2-40B4-BE49-F238E27FC236}">
                <a16:creationId xmlns:a16="http://schemas.microsoft.com/office/drawing/2014/main" id="{929E596E-9D4A-4927-8059-BF9D92ADF72B}"/>
              </a:ext>
            </a:extLst>
          </p:cNvPr>
          <p:cNvSpPr>
            <a:spLocks noGrp="1"/>
          </p:cNvSpPr>
          <p:nvPr userDrawn="1"/>
        </p:nvSpPr>
        <p:spPr>
          <a:xfrm rot="5400000" flipV="1">
            <a:off x="5815315" y="2902659"/>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27" name="Text Placeholder 5">
            <a:extLst>
              <a:ext uri="{FF2B5EF4-FFF2-40B4-BE49-F238E27FC236}">
                <a16:creationId xmlns:a16="http://schemas.microsoft.com/office/drawing/2014/main" id="{4C4A52F9-A29E-4A0D-89A1-276C41BD6FA4}"/>
              </a:ext>
            </a:extLst>
          </p:cNvPr>
          <p:cNvSpPr>
            <a:spLocks noGrp="1"/>
          </p:cNvSpPr>
          <p:nvPr userDrawn="1"/>
        </p:nvSpPr>
        <p:spPr>
          <a:xfrm>
            <a:off x="6348852" y="1036127"/>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28" name="Freeform: Shape 27">
            <a:extLst>
              <a:ext uri="{FF2B5EF4-FFF2-40B4-BE49-F238E27FC236}">
                <a16:creationId xmlns:a16="http://schemas.microsoft.com/office/drawing/2014/main" id="{1648B656-C6EF-4558-AA84-8E370B3ED97F}"/>
              </a:ext>
            </a:extLst>
          </p:cNvPr>
          <p:cNvSpPr>
            <a:spLocks noGrp="1"/>
          </p:cNvSpPr>
          <p:nvPr userDrawn="1"/>
        </p:nvSpPr>
        <p:spPr>
          <a:xfrm>
            <a:off x="6356472" y="1"/>
            <a:ext cx="1044394" cy="505980"/>
          </a:xfrm>
          <a:custGeom>
            <a:avLst/>
            <a:gdLst>
              <a:gd name="connsiteX0" fmla="*/ 0 w 1044394"/>
              <a:gd name="connsiteY0" fmla="*/ 0 h 505980"/>
              <a:gd name="connsiteX1" fmla="*/ 1044394 w 1044394"/>
              <a:gd name="connsiteY1" fmla="*/ 0 h 505980"/>
              <a:gd name="connsiteX2" fmla="*/ 1044394 w 1044394"/>
              <a:gd name="connsiteY2" fmla="*/ 505980 h 505980"/>
              <a:gd name="connsiteX3" fmla="*/ 0 w 1044394"/>
              <a:gd name="connsiteY3" fmla="*/ 505980 h 505980"/>
            </a:gdLst>
            <a:ahLst/>
            <a:cxnLst>
              <a:cxn ang="0">
                <a:pos x="connsiteX0" y="connsiteY0"/>
              </a:cxn>
              <a:cxn ang="0">
                <a:pos x="connsiteX1" y="connsiteY1"/>
              </a:cxn>
              <a:cxn ang="0">
                <a:pos x="connsiteX2" y="connsiteY2"/>
              </a:cxn>
              <a:cxn ang="0">
                <a:pos x="connsiteX3" y="connsiteY3"/>
              </a:cxn>
            </a:cxnLst>
            <a:rect l="l" t="t" r="r" b="b"/>
            <a:pathLst>
              <a:path w="1044394" h="505980">
                <a:moveTo>
                  <a:pt x="0" y="0"/>
                </a:moveTo>
                <a:lnTo>
                  <a:pt x="1044394" y="0"/>
                </a:lnTo>
                <a:lnTo>
                  <a:pt x="1044394" y="505980"/>
                </a:lnTo>
                <a:lnTo>
                  <a:pt x="0" y="505980"/>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29" name="Freeform: Shape 28">
            <a:extLst>
              <a:ext uri="{FF2B5EF4-FFF2-40B4-BE49-F238E27FC236}">
                <a16:creationId xmlns:a16="http://schemas.microsoft.com/office/drawing/2014/main" id="{55DEF12C-1536-44DA-A2EA-16BA57A220EE}"/>
              </a:ext>
            </a:extLst>
          </p:cNvPr>
          <p:cNvSpPr>
            <a:spLocks noGrp="1"/>
          </p:cNvSpPr>
          <p:nvPr userDrawn="1"/>
        </p:nvSpPr>
        <p:spPr>
          <a:xfrm>
            <a:off x="7995789" y="1"/>
            <a:ext cx="1016519" cy="765006"/>
          </a:xfrm>
          <a:custGeom>
            <a:avLst/>
            <a:gdLst>
              <a:gd name="connsiteX0" fmla="*/ 0 w 1016519"/>
              <a:gd name="connsiteY0" fmla="*/ 0 h 765006"/>
              <a:gd name="connsiteX1" fmla="*/ 577347 w 1016519"/>
              <a:gd name="connsiteY1" fmla="*/ 0 h 765006"/>
              <a:gd name="connsiteX2" fmla="*/ 614051 w 1016519"/>
              <a:gd name="connsiteY2" fmla="*/ 50341 h 765006"/>
              <a:gd name="connsiteX3" fmla="*/ 1016519 w 1016519"/>
              <a:gd name="connsiteY3" fmla="*/ 234277 h 765006"/>
              <a:gd name="connsiteX4" fmla="*/ 1016519 w 1016519"/>
              <a:gd name="connsiteY4" fmla="*/ 765006 h 765006"/>
              <a:gd name="connsiteX5" fmla="*/ 27262 w 1016519"/>
              <a:gd name="connsiteY5" fmla="*/ 91788 h 76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6519" h="765006">
                <a:moveTo>
                  <a:pt x="0" y="0"/>
                </a:moveTo>
                <a:lnTo>
                  <a:pt x="577347" y="0"/>
                </a:lnTo>
                <a:lnTo>
                  <a:pt x="614051" y="50341"/>
                </a:lnTo>
                <a:cubicBezTo>
                  <a:pt x="711647" y="163007"/>
                  <a:pt x="855760" y="234277"/>
                  <a:pt x="1016519" y="234277"/>
                </a:cubicBezTo>
                <a:lnTo>
                  <a:pt x="1016519" y="765006"/>
                </a:lnTo>
                <a:cubicBezTo>
                  <a:pt x="567041" y="765006"/>
                  <a:pt x="182721" y="486032"/>
                  <a:pt x="27262" y="91788"/>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0" name="Text Placeholder 6">
            <a:extLst>
              <a:ext uri="{FF2B5EF4-FFF2-40B4-BE49-F238E27FC236}">
                <a16:creationId xmlns:a16="http://schemas.microsoft.com/office/drawing/2014/main" id="{14D814FC-9F02-4D1D-9970-5CAD0BFF327A}"/>
              </a:ext>
            </a:extLst>
          </p:cNvPr>
          <p:cNvSpPr>
            <a:spLocks noGrp="1"/>
          </p:cNvSpPr>
          <p:nvPr userDrawn="1"/>
        </p:nvSpPr>
        <p:spPr>
          <a:xfrm>
            <a:off x="9539028" y="-2465"/>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accent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1" name="Freeform: Shape 30">
            <a:extLst>
              <a:ext uri="{FF2B5EF4-FFF2-40B4-BE49-F238E27FC236}">
                <a16:creationId xmlns:a16="http://schemas.microsoft.com/office/drawing/2014/main" id="{24523502-4068-40E8-AAFA-A101BA8FA531}"/>
              </a:ext>
            </a:extLst>
          </p:cNvPr>
          <p:cNvSpPr>
            <a:spLocks noGrp="1"/>
          </p:cNvSpPr>
          <p:nvPr userDrawn="1"/>
        </p:nvSpPr>
        <p:spPr>
          <a:xfrm>
            <a:off x="10878527" y="-2466"/>
            <a:ext cx="1310298" cy="1030511"/>
          </a:xfrm>
          <a:custGeom>
            <a:avLst/>
            <a:gdLst>
              <a:gd name="connsiteX0" fmla="*/ 0 w 1310298"/>
              <a:gd name="connsiteY0" fmla="*/ 0 h 1030511"/>
              <a:gd name="connsiteX1" fmla="*/ 530728 w 1310298"/>
              <a:gd name="connsiteY1" fmla="*/ 0 h 1030511"/>
              <a:gd name="connsiteX2" fmla="*/ 538268 w 1310298"/>
              <a:gd name="connsiteY2" fmla="*/ 74789 h 1030511"/>
              <a:gd name="connsiteX3" fmla="*/ 1059716 w 1310298"/>
              <a:gd name="connsiteY3" fmla="*/ 499781 h 1030511"/>
              <a:gd name="connsiteX4" fmla="*/ 1242724 w 1310298"/>
              <a:gd name="connsiteY4" fmla="*/ 467484 h 1030511"/>
              <a:gd name="connsiteX5" fmla="*/ 1310298 w 1310298"/>
              <a:gd name="connsiteY5" fmla="*/ 435959 h 1030511"/>
              <a:gd name="connsiteX6" fmla="*/ 1310298 w 1310298"/>
              <a:gd name="connsiteY6" fmla="*/ 997630 h 1030511"/>
              <a:gd name="connsiteX7" fmla="*/ 1273945 w 1310298"/>
              <a:gd name="connsiteY7" fmla="*/ 1008915 h 1030511"/>
              <a:gd name="connsiteX8" fmla="*/ 1059716 w 1310298"/>
              <a:gd name="connsiteY8" fmla="*/ 1030511 h 1030511"/>
              <a:gd name="connsiteX9" fmla="*/ 18322 w 1310298"/>
              <a:gd name="connsiteY9" fmla="*/ 181750 h 103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0298" h="1030511">
                <a:moveTo>
                  <a:pt x="0" y="0"/>
                </a:moveTo>
                <a:lnTo>
                  <a:pt x="530728" y="0"/>
                </a:lnTo>
                <a:lnTo>
                  <a:pt x="538268" y="74789"/>
                </a:lnTo>
                <a:cubicBezTo>
                  <a:pt x="587899" y="317331"/>
                  <a:pt x="802501" y="499781"/>
                  <a:pt x="1059716" y="499781"/>
                </a:cubicBezTo>
                <a:cubicBezTo>
                  <a:pt x="1124019" y="499781"/>
                  <a:pt x="1185659" y="488378"/>
                  <a:pt x="1242724" y="467484"/>
                </a:cubicBezTo>
                <a:lnTo>
                  <a:pt x="1310298" y="435959"/>
                </a:lnTo>
                <a:lnTo>
                  <a:pt x="1310298" y="997630"/>
                </a:lnTo>
                <a:lnTo>
                  <a:pt x="1273945" y="1008915"/>
                </a:lnTo>
                <a:cubicBezTo>
                  <a:pt x="1204747" y="1023075"/>
                  <a:pt x="1133100" y="1030511"/>
                  <a:pt x="1059716" y="1030511"/>
                </a:cubicBezTo>
                <a:cubicBezTo>
                  <a:pt x="546026" y="1030511"/>
                  <a:pt x="117442" y="666137"/>
                  <a:pt x="18322" y="18175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2" name="Text Placeholder 24">
            <a:extLst>
              <a:ext uri="{FF2B5EF4-FFF2-40B4-BE49-F238E27FC236}">
                <a16:creationId xmlns:a16="http://schemas.microsoft.com/office/drawing/2014/main" id="{39BB82C8-87BE-48EE-8E19-7CBAAC7321C9}"/>
              </a:ext>
            </a:extLst>
          </p:cNvPr>
          <p:cNvSpPr>
            <a:spLocks noGrp="1"/>
          </p:cNvSpPr>
          <p:nvPr userDrawn="1"/>
        </p:nvSpPr>
        <p:spPr>
          <a:xfrm>
            <a:off x="10870320" y="1567158"/>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5" name="Text Placeholder 12">
            <a:extLst>
              <a:ext uri="{FF2B5EF4-FFF2-40B4-BE49-F238E27FC236}">
                <a16:creationId xmlns:a16="http://schemas.microsoft.com/office/drawing/2014/main" id="{35F67A35-4C46-4673-B923-E4FA6E92471D}"/>
              </a:ext>
            </a:extLst>
          </p:cNvPr>
          <p:cNvSpPr>
            <a:spLocks noGrp="1"/>
          </p:cNvSpPr>
          <p:nvPr userDrawn="1"/>
        </p:nvSpPr>
        <p:spPr>
          <a:xfrm>
            <a:off x="7673544" y="1567559"/>
            <a:ext cx="1597025" cy="530877"/>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6" name="Text Placeholder 18">
            <a:extLst>
              <a:ext uri="{FF2B5EF4-FFF2-40B4-BE49-F238E27FC236}">
                <a16:creationId xmlns:a16="http://schemas.microsoft.com/office/drawing/2014/main" id="{4F397503-802B-4939-889C-71192A03ECC8}"/>
              </a:ext>
            </a:extLst>
          </p:cNvPr>
          <p:cNvSpPr>
            <a:spLocks noGrp="1"/>
          </p:cNvSpPr>
          <p:nvPr userDrawn="1"/>
        </p:nvSpPr>
        <p:spPr>
          <a:xfrm>
            <a:off x="8481611" y="2625242"/>
            <a:ext cx="530877" cy="1597025"/>
          </a:xfrm>
          <a:custGeom>
            <a:avLst/>
            <a:gdLst>
              <a:gd name="connsiteX0" fmla="*/ 0 w 530877"/>
              <a:gd name="connsiteY0" fmla="*/ 0 h 1597025"/>
              <a:gd name="connsiteX1" fmla="*/ 530877 w 530877"/>
              <a:gd name="connsiteY1" fmla="*/ 0 h 1597025"/>
              <a:gd name="connsiteX2" fmla="*/ 530877 w 530877"/>
              <a:gd name="connsiteY2" fmla="*/ 1597025 h 1597025"/>
              <a:gd name="connsiteX3" fmla="*/ 0 w 530877"/>
              <a:gd name="connsiteY3" fmla="*/ 1597025 h 1597025"/>
            </a:gdLst>
            <a:ahLst/>
            <a:cxnLst>
              <a:cxn ang="0">
                <a:pos x="connsiteX0" y="connsiteY0"/>
              </a:cxn>
              <a:cxn ang="0">
                <a:pos x="connsiteX1" y="connsiteY1"/>
              </a:cxn>
              <a:cxn ang="0">
                <a:pos x="connsiteX2" y="connsiteY2"/>
              </a:cxn>
              <a:cxn ang="0">
                <a:pos x="connsiteX3" y="connsiteY3"/>
              </a:cxn>
            </a:cxnLst>
            <a:rect l="l" t="t" r="r" b="b"/>
            <a:pathLst>
              <a:path w="530877" h="1597025">
                <a:moveTo>
                  <a:pt x="0" y="0"/>
                </a:moveTo>
                <a:lnTo>
                  <a:pt x="530877" y="0"/>
                </a:lnTo>
                <a:lnTo>
                  <a:pt x="530877" y="1597025"/>
                </a:lnTo>
                <a:lnTo>
                  <a:pt x="0" y="1597025"/>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7" name="Text Placeholder 20">
            <a:extLst>
              <a:ext uri="{FF2B5EF4-FFF2-40B4-BE49-F238E27FC236}">
                <a16:creationId xmlns:a16="http://schemas.microsoft.com/office/drawing/2014/main" id="{CBC3BF40-74EE-4C39-846A-558AC3055374}"/>
              </a:ext>
            </a:extLst>
          </p:cNvPr>
          <p:cNvSpPr>
            <a:spLocks noGrp="1"/>
          </p:cNvSpPr>
          <p:nvPr userDrawn="1"/>
        </p:nvSpPr>
        <p:spPr>
          <a:xfrm flipV="1">
            <a:off x="9547405" y="2627453"/>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8" name="Text Placeholder 16">
            <a:extLst>
              <a:ext uri="{FF2B5EF4-FFF2-40B4-BE49-F238E27FC236}">
                <a16:creationId xmlns:a16="http://schemas.microsoft.com/office/drawing/2014/main" id="{56B70A15-65E6-4AC4-A9ED-D83D11FBAAA5}"/>
              </a:ext>
            </a:extLst>
          </p:cNvPr>
          <p:cNvSpPr>
            <a:spLocks noGrp="1"/>
          </p:cNvSpPr>
          <p:nvPr userDrawn="1"/>
        </p:nvSpPr>
        <p:spPr>
          <a:xfrm>
            <a:off x="11143672" y="4760034"/>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39" name="Freeform: Shape 38">
            <a:extLst>
              <a:ext uri="{FF2B5EF4-FFF2-40B4-BE49-F238E27FC236}">
                <a16:creationId xmlns:a16="http://schemas.microsoft.com/office/drawing/2014/main" id="{F54E1E84-5201-4D6C-97D7-E2A083A4413C}"/>
              </a:ext>
            </a:extLst>
          </p:cNvPr>
          <p:cNvSpPr>
            <a:spLocks noGrp="1"/>
          </p:cNvSpPr>
          <p:nvPr userDrawn="1"/>
        </p:nvSpPr>
        <p:spPr>
          <a:xfrm>
            <a:off x="10070876" y="6347517"/>
            <a:ext cx="1597025" cy="510483"/>
          </a:xfrm>
          <a:custGeom>
            <a:avLst/>
            <a:gdLst>
              <a:gd name="connsiteX0" fmla="*/ 0 w 1597025"/>
              <a:gd name="connsiteY0" fmla="*/ 0 h 510483"/>
              <a:gd name="connsiteX1" fmla="*/ 1597025 w 1597025"/>
              <a:gd name="connsiteY1" fmla="*/ 0 h 510483"/>
              <a:gd name="connsiteX2" fmla="*/ 1597025 w 1597025"/>
              <a:gd name="connsiteY2" fmla="*/ 510483 h 510483"/>
              <a:gd name="connsiteX3" fmla="*/ 0 w 1597025"/>
              <a:gd name="connsiteY3" fmla="*/ 510483 h 510483"/>
            </a:gdLst>
            <a:ahLst/>
            <a:cxnLst>
              <a:cxn ang="0">
                <a:pos x="connsiteX0" y="connsiteY0"/>
              </a:cxn>
              <a:cxn ang="0">
                <a:pos x="connsiteX1" y="connsiteY1"/>
              </a:cxn>
              <a:cxn ang="0">
                <a:pos x="connsiteX2" y="connsiteY2"/>
              </a:cxn>
              <a:cxn ang="0">
                <a:pos x="connsiteX3" y="connsiteY3"/>
              </a:cxn>
            </a:cxnLst>
            <a:rect l="l" t="t" r="r" b="b"/>
            <a:pathLst>
              <a:path w="1597025" h="510483">
                <a:moveTo>
                  <a:pt x="0" y="0"/>
                </a:moveTo>
                <a:lnTo>
                  <a:pt x="1597025" y="0"/>
                </a:lnTo>
                <a:lnTo>
                  <a:pt x="1597025" y="510483"/>
                </a:lnTo>
                <a:lnTo>
                  <a:pt x="0" y="510483"/>
                </a:ln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40" name="Text Placeholder 17">
            <a:extLst>
              <a:ext uri="{FF2B5EF4-FFF2-40B4-BE49-F238E27FC236}">
                <a16:creationId xmlns:a16="http://schemas.microsoft.com/office/drawing/2014/main" id="{B3F6BA1E-DA7F-4AFF-A2F8-7EE6BF93270A}"/>
              </a:ext>
            </a:extLst>
          </p:cNvPr>
          <p:cNvSpPr>
            <a:spLocks noGrp="1"/>
          </p:cNvSpPr>
          <p:nvPr userDrawn="1"/>
        </p:nvSpPr>
        <p:spPr>
          <a:xfrm>
            <a:off x="7671828" y="607277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41" name="Text Placeholder 19">
            <a:extLst>
              <a:ext uri="{FF2B5EF4-FFF2-40B4-BE49-F238E27FC236}">
                <a16:creationId xmlns:a16="http://schemas.microsoft.com/office/drawing/2014/main" id="{A550B339-9D72-4A59-A1EB-8A7D733AD421}"/>
              </a:ext>
            </a:extLst>
          </p:cNvPr>
          <p:cNvSpPr>
            <a:spLocks noGrp="1"/>
          </p:cNvSpPr>
          <p:nvPr userDrawn="1"/>
        </p:nvSpPr>
        <p:spPr>
          <a:xfrm>
            <a:off x="7936305" y="4757989"/>
            <a:ext cx="2125980" cy="1062991"/>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accent1"/>
          </a:solidFill>
        </p:spPr>
        <p:style>
          <a:lnRef idx="0">
            <a:scrgbClr r="0" g="0" b="0"/>
          </a:lnRef>
          <a:fillRef idx="0">
            <a:scrgbClr r="0" g="0" b="0"/>
          </a:fillRef>
          <a:effectRef idx="0">
            <a:scrgbClr r="0" g="0" b="0"/>
          </a:effectRef>
          <a:fontRef idx="major"/>
        </p:style>
        <p:txBody>
          <a:bodyPr vert="horz" wrap="square" lIns="0" tIns="0" rIns="0" bIns="0" rtlCol="0" anchor="t" anchorCtr="0">
            <a:noAutofit/>
          </a:bodyPr>
          <a:lstStyle>
            <a:lvl1pPr marL="0" indent="0" algn="l" defTabSz="457200" rtl="0" eaLnBrk="1" latinLnBrk="0" hangingPunct="1">
              <a:spcBef>
                <a:spcPts val="1000"/>
              </a:spcBef>
              <a:buFont typeface="Arial"/>
              <a:buNone/>
              <a:defRPr sz="2000" kern="1200">
                <a:solidFill>
                  <a:schemeClr val="bg1">
                    <a:alpha val="0"/>
                  </a:schemeClr>
                </a:solidFill>
                <a:latin typeface="+mj-lt"/>
                <a:ea typeface="+mj-ea"/>
                <a:cs typeface="+mj-cs"/>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mj-lt"/>
                <a:ea typeface="+mj-ea"/>
                <a:cs typeface="+mj-cs"/>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mj-lt"/>
                <a:ea typeface="+mj-ea"/>
                <a:cs typeface="+mj-cs"/>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mj-lt"/>
                <a:ea typeface="+mj-ea"/>
                <a:cs typeface="+mj-cs"/>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mj-lt"/>
                <a:ea typeface="+mj-ea"/>
                <a:cs typeface="+mj-cs"/>
              </a:defRPr>
            </a:lvl5pPr>
            <a:lvl6pPr marL="2514600" indent="-228600" algn="l" defTabSz="457200" rtl="0" eaLnBrk="1" latinLnBrk="0" hangingPunct="1">
              <a:spcBef>
                <a:spcPct val="20000"/>
              </a:spcBef>
              <a:buFont typeface="Arial"/>
              <a:buChar char="•"/>
              <a:defRPr sz="2000" kern="1200">
                <a:solidFill>
                  <a:schemeClr val="tx1"/>
                </a:solidFill>
                <a:latin typeface="+mj-lt"/>
                <a:ea typeface="+mj-ea"/>
                <a:cs typeface="+mj-cs"/>
              </a:defRPr>
            </a:lvl6pPr>
            <a:lvl7pPr marL="2971800" indent="-228600" algn="l" defTabSz="457200" rtl="0" eaLnBrk="1" latinLnBrk="0" hangingPunct="1">
              <a:spcBef>
                <a:spcPct val="20000"/>
              </a:spcBef>
              <a:buFont typeface="Arial"/>
              <a:buChar char="•"/>
              <a:defRPr sz="2000" kern="1200">
                <a:solidFill>
                  <a:schemeClr val="tx1"/>
                </a:solidFill>
                <a:latin typeface="+mj-lt"/>
                <a:ea typeface="+mj-ea"/>
                <a:cs typeface="+mj-cs"/>
              </a:defRPr>
            </a:lvl7pPr>
            <a:lvl8pPr marL="3429000" indent="-228600" algn="l" defTabSz="457200" rtl="0" eaLnBrk="1" latinLnBrk="0" hangingPunct="1">
              <a:spcBef>
                <a:spcPct val="20000"/>
              </a:spcBef>
              <a:buFont typeface="Arial"/>
              <a:buChar char="•"/>
              <a:defRPr sz="2000" kern="1200">
                <a:solidFill>
                  <a:schemeClr val="tx1"/>
                </a:solidFill>
                <a:latin typeface="+mj-lt"/>
                <a:ea typeface="+mj-ea"/>
                <a:cs typeface="+mj-cs"/>
              </a:defRPr>
            </a:lvl8pPr>
            <a:lvl9pPr marL="3886200" indent="-228600" algn="l" defTabSz="457200" rtl="0" eaLnBrk="1" latinLnBrk="0" hangingPunct="1">
              <a:spcBef>
                <a:spcPct val="20000"/>
              </a:spcBef>
              <a:buFont typeface="Arial"/>
              <a:buChar char="•"/>
              <a:defRPr sz="2000" kern="1200">
                <a:solidFill>
                  <a:schemeClr val="tx1"/>
                </a:solidFill>
                <a:latin typeface="+mj-lt"/>
                <a:ea typeface="+mj-ea"/>
                <a:cs typeface="+mj-cs"/>
              </a:defRPr>
            </a:lvl9pPr>
          </a:lstStyle>
          <a:p>
            <a:endParaRPr lang="en-US"/>
          </a:p>
        </p:txBody>
      </p:sp>
      <p:sp>
        <p:nvSpPr>
          <p:cNvPr id="42" name="Picture Placeholder 13">
            <a:extLst>
              <a:ext uri="{FF2B5EF4-FFF2-40B4-BE49-F238E27FC236}">
                <a16:creationId xmlns:a16="http://schemas.microsoft.com/office/drawing/2014/main" id="{D18C085A-0BB1-42CF-8563-D9F50B874EB3}"/>
              </a:ext>
            </a:extLst>
          </p:cNvPr>
          <p:cNvSpPr>
            <a:spLocks noGrp="1"/>
          </p:cNvSpPr>
          <p:nvPr>
            <p:ph type="pic" sz="quarter" idx="14" hasCustomPrompt="1"/>
          </p:nvPr>
        </p:nvSpPr>
        <p:spPr>
          <a:xfrm>
            <a:off x="6098922" y="0"/>
            <a:ext cx="6094412" cy="6858000"/>
          </a:xfrm>
          <a:noFill/>
        </p:spPr>
        <p:txBody>
          <a:bodyPr anchor="ctr"/>
          <a:lstStyle>
            <a:lvl1pPr algn="ctr">
              <a:defRPr baseline="0"/>
            </a:lvl1pPr>
          </a:lstStyle>
          <a:p>
            <a:r>
              <a:rPr lang="en-US"/>
              <a:t>Click icon or drag to insert image</a:t>
            </a:r>
          </a:p>
        </p:txBody>
      </p:sp>
    </p:spTree>
    <p:extLst>
      <p:ext uri="{BB962C8B-B14F-4D97-AF65-F5344CB8AC3E}">
        <p14:creationId xmlns:p14="http://schemas.microsoft.com/office/powerpoint/2010/main" val="37343811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Title – Grid Light Custom">
    <p:bg>
      <p:bgPr>
        <a:solidFill>
          <a:schemeClr val="tx2"/>
        </a:solidFill>
        <a:effectLst/>
      </p:bgPr>
    </p:bg>
    <p:spTree>
      <p:nvGrpSpPr>
        <p:cNvPr id="1" name=""/>
        <p:cNvGrpSpPr/>
        <p:nvPr/>
      </p:nvGrpSpPr>
      <p:grpSpPr>
        <a:xfrm>
          <a:off x="0" y="0"/>
          <a:ext cx="0" cy="0"/>
          <a:chOff x="0" y="0"/>
          <a:chExt cx="0" cy="0"/>
        </a:xfrm>
      </p:grpSpPr>
      <p:sp>
        <p:nvSpPr>
          <p:cNvPr id="65" name="Text Placeholder 49">
            <a:extLst>
              <a:ext uri="{FF2B5EF4-FFF2-40B4-BE49-F238E27FC236}">
                <a16:creationId xmlns:a16="http://schemas.microsoft.com/office/drawing/2014/main" id="{18A4A4F2-9AB2-4B24-87E6-2B75F59E8506}"/>
              </a:ext>
            </a:extLst>
          </p:cNvPr>
          <p:cNvSpPr>
            <a:spLocks noGrp="1"/>
          </p:cNvSpPr>
          <p:nvPr>
            <p:ph type="body" sz="quarter" idx="17" hasCustomPrompt="1"/>
          </p:nvPr>
        </p:nvSpPr>
        <p:spPr>
          <a:xfrm>
            <a:off x="2780505" y="4315834"/>
            <a:ext cx="2120056" cy="2120040"/>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8" name="Text Placeholder 64">
            <a:extLst>
              <a:ext uri="{FF2B5EF4-FFF2-40B4-BE49-F238E27FC236}">
                <a16:creationId xmlns:a16="http://schemas.microsoft.com/office/drawing/2014/main" id="{59ED8ACD-8533-448B-B246-0F6A58967FE6}"/>
              </a:ext>
            </a:extLst>
          </p:cNvPr>
          <p:cNvSpPr>
            <a:spLocks noGrp="1"/>
          </p:cNvSpPr>
          <p:nvPr>
            <p:ph type="body" sz="quarter" idx="22" hasCustomPrompt="1"/>
          </p:nvPr>
        </p:nvSpPr>
        <p:spPr>
          <a:xfrm rot="5400000">
            <a:off x="5594421" y="285679"/>
            <a:ext cx="2692400" cy="2121043"/>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p:ph type="ctrTitle" hasCustomPrompt="1"/>
          </p:nvPr>
        </p:nvSpPr>
        <p:spPr>
          <a:xfrm>
            <a:off x="382972" y="2743200"/>
            <a:ext cx="5292030" cy="786317"/>
          </a:xfrm>
          <a:solidFill>
            <a:schemeClr val="bg1">
              <a:alpha val="65000"/>
            </a:schemeClr>
          </a:solidFill>
        </p:spPr>
        <p:txBody>
          <a:bodyPr lIns="91440" tIns="91440" rIns="91440" bIns="0" anchor="t" anchorCtr="0">
            <a:noAutofit/>
          </a:bodyPr>
          <a:lstStyle>
            <a:lvl1pPr algn="l">
              <a:lnSpc>
                <a:spcPct val="80000"/>
              </a:lnSpc>
              <a:defRPr sz="5000" b="1" i="0" spc="-100">
                <a:solidFill>
                  <a:schemeClr val="tx1"/>
                </a:solidFill>
                <a:latin typeface="Arial"/>
                <a:cs typeface="Arial"/>
              </a:defRPr>
            </a:lvl1pPr>
          </a:lstStyle>
          <a:p>
            <a:r>
              <a:rPr lang="en-US"/>
              <a:t>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p:ph type="subTitle" idx="1" hasCustomPrompt="1"/>
          </p:nvPr>
        </p:nvSpPr>
        <p:spPr>
          <a:xfrm>
            <a:off x="382972" y="3796115"/>
            <a:ext cx="5292030" cy="560910"/>
          </a:xfrm>
          <a:solidFill>
            <a:schemeClr val="bg1">
              <a:alpha val="65000"/>
            </a:schemeClr>
          </a:solidFill>
        </p:spPr>
        <p:txBody>
          <a:bodyPr lIns="91440" tIns="91440" rIns="91440" bIns="91440" anchor="ctr" anchorCtr="0">
            <a:normAutofit/>
          </a:bodyPr>
          <a:lstStyle>
            <a:lvl1pPr marL="0" indent="0" algn="l">
              <a:lnSpc>
                <a:spcPct val="100000"/>
              </a:lnSpc>
              <a:spcBef>
                <a:spcPts val="800"/>
              </a:spcBef>
              <a:spcAft>
                <a:spcPts val="0"/>
              </a:spcAft>
              <a:buNone/>
              <a:defRPr sz="2800" b="1" i="0" spc="-5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30" name="Text Placeholder 29">
            <a:extLst>
              <a:ext uri="{FF2B5EF4-FFF2-40B4-BE49-F238E27FC236}">
                <a16:creationId xmlns:a16="http://schemas.microsoft.com/office/drawing/2014/main" id="{2EED798B-CFA5-40A5-80EA-22AC8E89F137}"/>
              </a:ext>
            </a:extLst>
          </p:cNvPr>
          <p:cNvSpPr>
            <a:spLocks noGrp="1"/>
          </p:cNvSpPr>
          <p:nvPr>
            <p:ph type="body" sz="quarter" idx="32" hasCustomPrompt="1"/>
          </p:nvPr>
        </p:nvSpPr>
        <p:spPr>
          <a:xfrm rot="18900000" flipV="1">
            <a:off x="7240529" y="3127407"/>
            <a:ext cx="6149993" cy="3076598"/>
          </a:xfrm>
          <a:custGeom>
            <a:avLst/>
            <a:gdLst>
              <a:gd name="connsiteX0" fmla="*/ 6149993 w 6149993"/>
              <a:gd name="connsiteY0" fmla="*/ 1964049 h 3076598"/>
              <a:gd name="connsiteX1" fmla="*/ 4650148 w 6149993"/>
              <a:gd name="connsiteY1" fmla="*/ 464204 h 3076598"/>
              <a:gd name="connsiteX2" fmla="*/ 4638007 w 6149993"/>
              <a:gd name="connsiteY2" fmla="*/ 475238 h 3076598"/>
              <a:gd name="connsiteX3" fmla="*/ 3287753 w 6149993"/>
              <a:gd name="connsiteY3" fmla="*/ 959968 h 3076598"/>
              <a:gd name="connsiteX4" fmla="*/ 1527548 w 6149993"/>
              <a:gd name="connsiteY4" fmla="*/ 24073 h 3076598"/>
              <a:gd name="connsiteX5" fmla="*/ 1512923 w 6149993"/>
              <a:gd name="connsiteY5" fmla="*/ 0 h 3076598"/>
              <a:gd name="connsiteX6" fmla="*/ 0 w 6149993"/>
              <a:gd name="connsiteY6" fmla="*/ 1512924 h 3076598"/>
              <a:gd name="connsiteX7" fmla="*/ 16454 w 6149993"/>
              <a:gd name="connsiteY7" fmla="*/ 1533863 h 3076598"/>
              <a:gd name="connsiteX8" fmla="*/ 3287753 w 6149993"/>
              <a:gd name="connsiteY8" fmla="*/ 3076598 h 3076598"/>
              <a:gd name="connsiteX9" fmla="*/ 6138204 w 6149993"/>
              <a:gd name="connsiteY9" fmla="*/ 1975288 h 30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993" h="3076598">
                <a:moveTo>
                  <a:pt x="6149993" y="1964049"/>
                </a:moveTo>
                <a:lnTo>
                  <a:pt x="4650148" y="464204"/>
                </a:lnTo>
                <a:lnTo>
                  <a:pt x="4638007" y="475238"/>
                </a:lnTo>
                <a:cubicBezTo>
                  <a:pt x="4271074" y="778058"/>
                  <a:pt x="3800657" y="959968"/>
                  <a:pt x="3287753" y="959968"/>
                </a:cubicBezTo>
                <a:cubicBezTo>
                  <a:pt x="2555033" y="959968"/>
                  <a:pt x="1909019" y="588724"/>
                  <a:pt x="1527548" y="24073"/>
                </a:cubicBezTo>
                <a:lnTo>
                  <a:pt x="1512923" y="0"/>
                </a:lnTo>
                <a:lnTo>
                  <a:pt x="0" y="1512924"/>
                </a:lnTo>
                <a:lnTo>
                  <a:pt x="16454" y="1533863"/>
                </a:lnTo>
                <a:cubicBezTo>
                  <a:pt x="794015" y="2476050"/>
                  <a:pt x="1970751" y="3076598"/>
                  <a:pt x="3287753" y="3076598"/>
                </a:cubicBezTo>
                <a:cubicBezTo>
                  <a:pt x="4385254" y="3076598"/>
                  <a:pt x="5385348" y="2659551"/>
                  <a:pt x="6138204" y="1975288"/>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pic>
        <p:nvPicPr>
          <p:cNvPr id="31" name="Picture 30">
            <a:extLst>
              <a:ext uri="{FF2B5EF4-FFF2-40B4-BE49-F238E27FC236}">
                <a16:creationId xmlns:a16="http://schemas.microsoft.com/office/drawing/2014/main" id="{CE57984F-CB83-4B8D-B078-EEEED8C2729D}"/>
              </a:ext>
            </a:extLst>
          </p:cNvPr>
          <p:cNvPicPr>
            <a:picLocks noChangeAspect="1"/>
          </p:cNvPicPr>
          <p:nvPr userDrawn="1"/>
        </p:nvPicPr>
        <p:blipFill>
          <a:blip r:embed="rId2"/>
          <a:srcRect/>
          <a:stretch/>
        </p:blipFill>
        <p:spPr>
          <a:xfrm>
            <a:off x="431876" y="6081014"/>
            <a:ext cx="2444834" cy="560910"/>
          </a:xfrm>
          <a:prstGeom prst="rect">
            <a:avLst/>
          </a:prstGeom>
        </p:spPr>
      </p:pic>
      <p:sp>
        <p:nvSpPr>
          <p:cNvPr id="5" name="Text Placeholder 4">
            <a:extLst>
              <a:ext uri="{FF2B5EF4-FFF2-40B4-BE49-F238E27FC236}">
                <a16:creationId xmlns:a16="http://schemas.microsoft.com/office/drawing/2014/main" id="{85C16F05-F084-48E8-9A69-0A717D07AF30}"/>
              </a:ext>
            </a:extLst>
          </p:cNvPr>
          <p:cNvSpPr>
            <a:spLocks noGrp="1"/>
          </p:cNvSpPr>
          <p:nvPr>
            <p:ph type="body" sz="quarter" idx="33" hasCustomPrompt="1"/>
          </p:nvPr>
        </p:nvSpPr>
        <p:spPr>
          <a:xfrm>
            <a:off x="382588" y="1169557"/>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Third line)</a:t>
            </a:r>
          </a:p>
        </p:txBody>
      </p:sp>
      <p:sp>
        <p:nvSpPr>
          <p:cNvPr id="35" name="Text Placeholder 4">
            <a:extLst>
              <a:ext uri="{FF2B5EF4-FFF2-40B4-BE49-F238E27FC236}">
                <a16:creationId xmlns:a16="http://schemas.microsoft.com/office/drawing/2014/main" id="{D2BE8780-B07C-4B86-BF28-36A7371AFC16}"/>
              </a:ext>
            </a:extLst>
          </p:cNvPr>
          <p:cNvSpPr>
            <a:spLocks noGrp="1"/>
          </p:cNvSpPr>
          <p:nvPr>
            <p:ph type="body" sz="quarter" idx="34"/>
          </p:nvPr>
        </p:nvSpPr>
        <p:spPr>
          <a:xfrm>
            <a:off x="382588" y="1956883"/>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Click to edit</a:t>
            </a:r>
          </a:p>
        </p:txBody>
      </p:sp>
    </p:spTree>
    <p:extLst>
      <p:ext uri="{BB962C8B-B14F-4D97-AF65-F5344CB8AC3E}">
        <p14:creationId xmlns:p14="http://schemas.microsoft.com/office/powerpoint/2010/main" val="5821755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hank you + Contacts">
    <p:spTree>
      <p:nvGrpSpPr>
        <p:cNvPr id="1" name=""/>
        <p:cNvGrpSpPr/>
        <p:nvPr/>
      </p:nvGrpSpPr>
      <p:grpSpPr>
        <a:xfrm>
          <a:off x="0" y="0"/>
          <a:ext cx="0" cy="0"/>
          <a:chOff x="0" y="0"/>
          <a:chExt cx="0" cy="0"/>
        </a:xfrm>
      </p:grpSpPr>
      <p:sp>
        <p:nvSpPr>
          <p:cNvPr id="2" name="Title 1"/>
          <p:cNvSpPr>
            <a:spLocks noGrp="1"/>
          </p:cNvSpPr>
          <p:nvPr>
            <p:ph type="title"/>
          </p:nvPr>
        </p:nvSpPr>
        <p:spPr>
          <a:xfrm>
            <a:off x="388112" y="912311"/>
            <a:ext cx="11428413" cy="916491"/>
          </a:xfrm>
        </p:spPr>
        <p:txBody>
          <a:bodyPr/>
          <a:lstStyle/>
          <a:p>
            <a:r>
              <a:rPr lang="en-US"/>
              <a:t>Click to edit Master title style</a:t>
            </a:r>
          </a:p>
        </p:txBody>
      </p:sp>
      <p:sp>
        <p:nvSpPr>
          <p:cNvPr id="15" name="Text Placeholder 14"/>
          <p:cNvSpPr>
            <a:spLocks noGrp="1"/>
          </p:cNvSpPr>
          <p:nvPr>
            <p:ph type="body" sz="quarter" idx="14" hasCustomPrompt="1"/>
          </p:nvPr>
        </p:nvSpPr>
        <p:spPr>
          <a:xfrm>
            <a:off x="391918" y="3087148"/>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392114" y="3592650"/>
            <a:ext cx="1663699" cy="861191"/>
          </a:xfrm>
        </p:spPr>
        <p:txBody>
          <a:bodyPr/>
          <a:lstStyle>
            <a:lvl1pPr>
              <a:lnSpc>
                <a:spcPct val="110000"/>
              </a:lnSpc>
              <a:spcBef>
                <a:spcPts val="0"/>
              </a:spcBef>
              <a:defRPr sz="1200" baseline="0"/>
            </a:lvl1pPr>
            <a:lvl2pPr marL="112679" indent="-112679">
              <a:lnSpc>
                <a:spcPct val="110000"/>
              </a:lnSpc>
              <a:spcBef>
                <a:spcPts val="0"/>
              </a:spcBef>
              <a:defRPr sz="1200"/>
            </a:lvl2pPr>
            <a:lvl3pPr marL="225357" indent="-112679">
              <a:lnSpc>
                <a:spcPct val="110000"/>
              </a:lnSpc>
              <a:spcBef>
                <a:spcPts val="0"/>
              </a:spcBef>
              <a:defRPr sz="1200"/>
            </a:lvl3pPr>
            <a:lvl4pPr marL="339623" indent="-114266">
              <a:lnSpc>
                <a:spcPct val="110000"/>
              </a:lnSpc>
              <a:spcBef>
                <a:spcPts val="0"/>
              </a:spcBef>
              <a:defRPr sz="1200"/>
            </a:lvl4pPr>
            <a:lvl5pPr marL="460237" indent="-120614">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22" name="Text Placeholder 14"/>
          <p:cNvSpPr>
            <a:spLocks noGrp="1"/>
          </p:cNvSpPr>
          <p:nvPr>
            <p:ph type="body" sz="quarter" idx="22" hasCustomPrompt="1"/>
          </p:nvPr>
        </p:nvSpPr>
        <p:spPr>
          <a:xfrm>
            <a:off x="2297788" y="3087148"/>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3" name="Text Placeholder 20"/>
          <p:cNvSpPr>
            <a:spLocks noGrp="1"/>
          </p:cNvSpPr>
          <p:nvPr>
            <p:ph type="body" sz="quarter" idx="23" hasCustomPrompt="1"/>
          </p:nvPr>
        </p:nvSpPr>
        <p:spPr>
          <a:xfrm>
            <a:off x="2297982" y="3592650"/>
            <a:ext cx="1663699" cy="861191"/>
          </a:xfrm>
        </p:spPr>
        <p:txBody>
          <a:bodyPr/>
          <a:lstStyle>
            <a:lvl1pPr>
              <a:lnSpc>
                <a:spcPct val="110000"/>
              </a:lnSpc>
              <a:spcBef>
                <a:spcPts val="0"/>
              </a:spcBef>
              <a:defRPr sz="1200" baseline="0"/>
            </a:lvl1pPr>
            <a:lvl2pPr marL="112679" indent="-112679">
              <a:lnSpc>
                <a:spcPct val="110000"/>
              </a:lnSpc>
              <a:spcBef>
                <a:spcPts val="0"/>
              </a:spcBef>
              <a:defRPr sz="1200"/>
            </a:lvl2pPr>
            <a:lvl3pPr marL="225357" indent="-112679">
              <a:lnSpc>
                <a:spcPct val="110000"/>
              </a:lnSpc>
              <a:spcBef>
                <a:spcPts val="0"/>
              </a:spcBef>
              <a:defRPr sz="1200"/>
            </a:lvl3pPr>
            <a:lvl4pPr marL="339623" indent="-114266">
              <a:lnSpc>
                <a:spcPct val="110000"/>
              </a:lnSpc>
              <a:spcBef>
                <a:spcPts val="0"/>
              </a:spcBef>
              <a:defRPr sz="1200"/>
            </a:lvl4pPr>
            <a:lvl5pPr marL="460237" indent="-120614">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24" name="Text Placeholder 14"/>
          <p:cNvSpPr>
            <a:spLocks noGrp="1"/>
          </p:cNvSpPr>
          <p:nvPr>
            <p:ph type="body" sz="quarter" idx="24" hasCustomPrompt="1"/>
          </p:nvPr>
        </p:nvSpPr>
        <p:spPr>
          <a:xfrm>
            <a:off x="4203656" y="3087148"/>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5" name="Text Placeholder 20"/>
          <p:cNvSpPr>
            <a:spLocks noGrp="1"/>
          </p:cNvSpPr>
          <p:nvPr>
            <p:ph type="body" sz="quarter" idx="25" hasCustomPrompt="1"/>
          </p:nvPr>
        </p:nvSpPr>
        <p:spPr>
          <a:xfrm>
            <a:off x="4203852" y="3592650"/>
            <a:ext cx="1663699" cy="861191"/>
          </a:xfrm>
        </p:spPr>
        <p:txBody>
          <a:bodyPr/>
          <a:lstStyle>
            <a:lvl1pPr>
              <a:lnSpc>
                <a:spcPct val="110000"/>
              </a:lnSpc>
              <a:spcBef>
                <a:spcPts val="0"/>
              </a:spcBef>
              <a:defRPr sz="1200" baseline="0"/>
            </a:lvl1pPr>
            <a:lvl2pPr marL="112679" indent="-112679">
              <a:lnSpc>
                <a:spcPct val="110000"/>
              </a:lnSpc>
              <a:spcBef>
                <a:spcPts val="0"/>
              </a:spcBef>
              <a:defRPr sz="1200"/>
            </a:lvl2pPr>
            <a:lvl3pPr marL="225357" indent="-112679">
              <a:lnSpc>
                <a:spcPct val="110000"/>
              </a:lnSpc>
              <a:spcBef>
                <a:spcPts val="0"/>
              </a:spcBef>
              <a:defRPr sz="1200"/>
            </a:lvl3pPr>
            <a:lvl4pPr marL="339623" indent="-114266">
              <a:lnSpc>
                <a:spcPct val="110000"/>
              </a:lnSpc>
              <a:spcBef>
                <a:spcPts val="0"/>
              </a:spcBef>
              <a:defRPr sz="1200"/>
            </a:lvl4pPr>
            <a:lvl5pPr marL="460237" indent="-120614">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26" name="Text Placeholder 14"/>
          <p:cNvSpPr>
            <a:spLocks noGrp="1"/>
          </p:cNvSpPr>
          <p:nvPr>
            <p:ph type="body" sz="quarter" idx="26" hasCustomPrompt="1"/>
          </p:nvPr>
        </p:nvSpPr>
        <p:spPr>
          <a:xfrm>
            <a:off x="6109525" y="3087148"/>
            <a:ext cx="1663894" cy="489737"/>
          </a:xfrm>
        </p:spPr>
        <p:txBody>
          <a:bodyPr tIns="0" anchor="b" anchorCtr="0"/>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7" name="Text Placeholder 20"/>
          <p:cNvSpPr>
            <a:spLocks noGrp="1"/>
          </p:cNvSpPr>
          <p:nvPr>
            <p:ph type="body" sz="quarter" idx="27" hasCustomPrompt="1"/>
          </p:nvPr>
        </p:nvSpPr>
        <p:spPr>
          <a:xfrm>
            <a:off x="6109719" y="3592650"/>
            <a:ext cx="1663699" cy="861191"/>
          </a:xfrm>
        </p:spPr>
        <p:txBody>
          <a:bodyPr/>
          <a:lstStyle>
            <a:lvl1pPr>
              <a:lnSpc>
                <a:spcPct val="110000"/>
              </a:lnSpc>
              <a:spcBef>
                <a:spcPts val="0"/>
              </a:spcBef>
              <a:defRPr sz="1200" baseline="0"/>
            </a:lvl1pPr>
            <a:lvl2pPr marL="112679" indent="-112679">
              <a:lnSpc>
                <a:spcPct val="110000"/>
              </a:lnSpc>
              <a:spcBef>
                <a:spcPts val="0"/>
              </a:spcBef>
              <a:defRPr sz="1200"/>
            </a:lvl2pPr>
            <a:lvl3pPr marL="225357" indent="-112679">
              <a:lnSpc>
                <a:spcPct val="110000"/>
              </a:lnSpc>
              <a:spcBef>
                <a:spcPts val="0"/>
              </a:spcBef>
              <a:defRPr sz="1200"/>
            </a:lvl3pPr>
            <a:lvl4pPr marL="339623" indent="-114266">
              <a:lnSpc>
                <a:spcPct val="110000"/>
              </a:lnSpc>
              <a:spcBef>
                <a:spcPts val="0"/>
              </a:spcBef>
              <a:defRPr sz="1200"/>
            </a:lvl4pPr>
            <a:lvl5pPr marL="460237" indent="-120614">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Tree>
    <p:extLst>
      <p:ext uri="{BB962C8B-B14F-4D97-AF65-F5344CB8AC3E}">
        <p14:creationId xmlns:p14="http://schemas.microsoft.com/office/powerpoint/2010/main" val="39688970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04C22-D44C-41A9-AAFB-C8BC9F54E6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897990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79414" y="1322388"/>
            <a:ext cx="11430668" cy="4895532"/>
          </a:xfrm>
        </p:spPr>
        <p:txBody>
          <a:bodyPr numCol="2"/>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4208710"/>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4C30CE9-D26C-43F4-8C71-DDC8B8D2AEC5}"/>
              </a:ext>
            </a:extLst>
          </p:cNvPr>
          <p:cNvSpPr>
            <a:spLocks noGrp="1"/>
          </p:cNvSpPr>
          <p:nvPr>
            <p:ph idx="1"/>
          </p:nvPr>
        </p:nvSpPr>
        <p:spPr>
          <a:xfrm>
            <a:off x="379414" y="1322388"/>
            <a:ext cx="11430000" cy="4895532"/>
          </a:xfrm>
        </p:spPr>
        <p:txBody>
          <a:bodyPr tIns="0"/>
          <a:lstStyle>
            <a:lvl1pPr>
              <a:defRPr sz="2000"/>
            </a:lvl1pPr>
            <a:lvl2pPr>
              <a:buClr>
                <a:schemeClr val="accent1"/>
              </a:buClr>
              <a:defRPr sz="2000" baseline="0"/>
            </a:lvl2pPr>
            <a:lvl3pPr>
              <a:buClr>
                <a:schemeClr val="accent1"/>
              </a:buClr>
              <a:defRPr sz="2000"/>
            </a:lvl3pPr>
            <a:lvl4pPr>
              <a:buClr>
                <a:schemeClr val="accent1"/>
              </a:buClr>
              <a:defRPr sz="2000"/>
            </a:lvl4pPr>
            <a:lvl5pPr>
              <a:buClr>
                <a:schemeClr val="accent1"/>
              </a:buCl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FDA7E3-68DA-4728-93BB-9346E0541E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3918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1" y="1783536"/>
            <a:ext cx="11428412" cy="44267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02" y="1169974"/>
            <a:ext cx="11427050"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C3FE43D3-4731-4F4C-A5C3-356B2EE894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7411102"/>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B26C9-C562-4C9E-9D7E-52E44652AF23}"/>
              </a:ext>
            </a:extLst>
          </p:cNvPr>
          <p:cNvSpPr>
            <a:spLocks noGrp="1"/>
          </p:cNvSpPr>
          <p:nvPr>
            <p:ph type="title"/>
          </p:nvPr>
        </p:nvSpPr>
        <p:spPr/>
        <p:txBody>
          <a:bodyPr/>
          <a:lstStyle/>
          <a:p>
            <a:r>
              <a:rPr lang="en-US"/>
              <a:t>Click to edit Master title style</a:t>
            </a:r>
          </a:p>
        </p:txBody>
      </p:sp>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171575"/>
            <a:ext cx="549783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312553" y="1171575"/>
            <a:ext cx="549783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5498484"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6311901" y="1781174"/>
            <a:ext cx="5498484"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759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36270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3632832"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79550" y="1171575"/>
            <a:ext cx="36270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4276272" y="1781174"/>
            <a:ext cx="3632832"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78099" y="1171575"/>
            <a:ext cx="36270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8171544" y="1781174"/>
            <a:ext cx="3632832"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27AFD46-0A5D-43AC-A0F5-91BC9C4AE60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72972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171575"/>
            <a:ext cx="27369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381001" y="1781174"/>
            <a:ext cx="274132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5DED9890-AE6A-4175-A2D3-94CD8046DE11}"/>
              </a:ext>
            </a:extLst>
          </p:cNvPr>
          <p:cNvSpPr>
            <a:spLocks noGrp="1"/>
          </p:cNvSpPr>
          <p:nvPr>
            <p:ph type="body" sz="quarter" idx="21" hasCustomPrompt="1"/>
          </p:nvPr>
        </p:nvSpPr>
        <p:spPr>
          <a:xfrm>
            <a:off x="3278242" y="1171575"/>
            <a:ext cx="27369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BB3C3060-27A6-4548-B724-025333818485}"/>
              </a:ext>
            </a:extLst>
          </p:cNvPr>
          <p:cNvSpPr>
            <a:spLocks noGrp="1"/>
          </p:cNvSpPr>
          <p:nvPr>
            <p:ph idx="22"/>
          </p:nvPr>
        </p:nvSpPr>
        <p:spPr>
          <a:xfrm>
            <a:off x="3276601" y="1781174"/>
            <a:ext cx="274132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4">
            <a:extLst>
              <a:ext uri="{FF2B5EF4-FFF2-40B4-BE49-F238E27FC236}">
                <a16:creationId xmlns:a16="http://schemas.microsoft.com/office/drawing/2014/main" id="{85B79AD3-9CCE-4AA6-A9B4-5F9A43BC7813}"/>
              </a:ext>
            </a:extLst>
          </p:cNvPr>
          <p:cNvSpPr>
            <a:spLocks noGrp="1"/>
          </p:cNvSpPr>
          <p:nvPr>
            <p:ph type="body" sz="quarter" idx="23" hasCustomPrompt="1"/>
          </p:nvPr>
        </p:nvSpPr>
        <p:spPr>
          <a:xfrm>
            <a:off x="6175483" y="1171575"/>
            <a:ext cx="27369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8" name="Content Placeholder 2">
            <a:extLst>
              <a:ext uri="{FF2B5EF4-FFF2-40B4-BE49-F238E27FC236}">
                <a16:creationId xmlns:a16="http://schemas.microsoft.com/office/drawing/2014/main" id="{4C5F5AA9-D133-46A4-A522-544F77D1A78B}"/>
              </a:ext>
            </a:extLst>
          </p:cNvPr>
          <p:cNvSpPr>
            <a:spLocks noGrp="1"/>
          </p:cNvSpPr>
          <p:nvPr>
            <p:ph idx="24"/>
          </p:nvPr>
        </p:nvSpPr>
        <p:spPr>
          <a:xfrm>
            <a:off x="6172201" y="1781174"/>
            <a:ext cx="274132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2AD1F5CB-9325-407F-A82E-AD63D7DB55BC}"/>
              </a:ext>
            </a:extLst>
          </p:cNvPr>
          <p:cNvSpPr>
            <a:spLocks noGrp="1"/>
          </p:cNvSpPr>
          <p:nvPr>
            <p:ph type="body" sz="quarter" idx="25" hasCustomPrompt="1"/>
          </p:nvPr>
        </p:nvSpPr>
        <p:spPr>
          <a:xfrm>
            <a:off x="9072725" y="1171575"/>
            <a:ext cx="2736982"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0" name="Content Placeholder 2">
            <a:extLst>
              <a:ext uri="{FF2B5EF4-FFF2-40B4-BE49-F238E27FC236}">
                <a16:creationId xmlns:a16="http://schemas.microsoft.com/office/drawing/2014/main" id="{D422D8ED-8DB0-4D9F-8593-51376DCEC52C}"/>
              </a:ext>
            </a:extLst>
          </p:cNvPr>
          <p:cNvSpPr>
            <a:spLocks noGrp="1"/>
          </p:cNvSpPr>
          <p:nvPr>
            <p:ph idx="26"/>
          </p:nvPr>
        </p:nvSpPr>
        <p:spPr>
          <a:xfrm>
            <a:off x="9067801" y="1781174"/>
            <a:ext cx="274132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9A4D9F3-C7D9-43F2-953A-454ACDC677E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61931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38100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4">
            <a:extLst>
              <a:ext uri="{FF2B5EF4-FFF2-40B4-BE49-F238E27FC236}">
                <a16:creationId xmlns:a16="http://schemas.microsoft.com/office/drawing/2014/main" id="{2472D317-8C7C-4435-97B7-AD733CBE008E}"/>
              </a:ext>
            </a:extLst>
          </p:cNvPr>
          <p:cNvSpPr>
            <a:spLocks noGrp="1"/>
          </p:cNvSpPr>
          <p:nvPr>
            <p:ph type="body" sz="quarter" idx="21" hasCustomPrompt="1"/>
          </p:nvPr>
        </p:nvSpPr>
        <p:spPr>
          <a:xfrm>
            <a:off x="2701609"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Content Placeholder 2">
            <a:extLst>
              <a:ext uri="{FF2B5EF4-FFF2-40B4-BE49-F238E27FC236}">
                <a16:creationId xmlns:a16="http://schemas.microsoft.com/office/drawing/2014/main" id="{E4D2D360-EEE9-4391-80AA-F3022B2E44BA}"/>
              </a:ext>
            </a:extLst>
          </p:cNvPr>
          <p:cNvSpPr>
            <a:spLocks noGrp="1"/>
          </p:cNvSpPr>
          <p:nvPr>
            <p:ph idx="22"/>
          </p:nvPr>
        </p:nvSpPr>
        <p:spPr>
          <a:xfrm>
            <a:off x="270146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4">
            <a:extLst>
              <a:ext uri="{FF2B5EF4-FFF2-40B4-BE49-F238E27FC236}">
                <a16:creationId xmlns:a16="http://schemas.microsoft.com/office/drawing/2014/main" id="{7C950CA8-931F-42EC-8D1C-684B10BA33DF}"/>
              </a:ext>
            </a:extLst>
          </p:cNvPr>
          <p:cNvSpPr>
            <a:spLocks noGrp="1"/>
          </p:cNvSpPr>
          <p:nvPr>
            <p:ph type="body" sz="quarter" idx="23" hasCustomPrompt="1"/>
          </p:nvPr>
        </p:nvSpPr>
        <p:spPr>
          <a:xfrm>
            <a:off x="5022217"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424531BF-7D09-4306-9D8E-78BAF0CD5048}"/>
              </a:ext>
            </a:extLst>
          </p:cNvPr>
          <p:cNvSpPr>
            <a:spLocks noGrp="1"/>
          </p:cNvSpPr>
          <p:nvPr>
            <p:ph idx="24"/>
          </p:nvPr>
        </p:nvSpPr>
        <p:spPr>
          <a:xfrm>
            <a:off x="502192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4">
            <a:extLst>
              <a:ext uri="{FF2B5EF4-FFF2-40B4-BE49-F238E27FC236}">
                <a16:creationId xmlns:a16="http://schemas.microsoft.com/office/drawing/2014/main" id="{CFB36ED7-BBFD-4DB9-9421-F9BE8CD07C55}"/>
              </a:ext>
            </a:extLst>
          </p:cNvPr>
          <p:cNvSpPr>
            <a:spLocks noGrp="1"/>
          </p:cNvSpPr>
          <p:nvPr>
            <p:ph type="body" sz="quarter" idx="25" hasCustomPrompt="1"/>
          </p:nvPr>
        </p:nvSpPr>
        <p:spPr>
          <a:xfrm>
            <a:off x="7342825"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Content Placeholder 2">
            <a:extLst>
              <a:ext uri="{FF2B5EF4-FFF2-40B4-BE49-F238E27FC236}">
                <a16:creationId xmlns:a16="http://schemas.microsoft.com/office/drawing/2014/main" id="{BBEA8CD3-8F3D-4C64-8375-1733B126A69B}"/>
              </a:ext>
            </a:extLst>
          </p:cNvPr>
          <p:cNvSpPr>
            <a:spLocks noGrp="1"/>
          </p:cNvSpPr>
          <p:nvPr>
            <p:ph idx="26"/>
          </p:nvPr>
        </p:nvSpPr>
        <p:spPr>
          <a:xfrm>
            <a:off x="734238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14">
            <a:extLst>
              <a:ext uri="{FF2B5EF4-FFF2-40B4-BE49-F238E27FC236}">
                <a16:creationId xmlns:a16="http://schemas.microsoft.com/office/drawing/2014/main" id="{D6519DA7-2099-4BBE-BC01-9482B3B54131}"/>
              </a:ext>
            </a:extLst>
          </p:cNvPr>
          <p:cNvSpPr>
            <a:spLocks noGrp="1"/>
          </p:cNvSpPr>
          <p:nvPr>
            <p:ph type="body" sz="quarter" idx="27" hasCustomPrompt="1"/>
          </p:nvPr>
        </p:nvSpPr>
        <p:spPr>
          <a:xfrm>
            <a:off x="9663434" y="1171575"/>
            <a:ext cx="2143176" cy="489737"/>
          </a:xfrm>
        </p:spPr>
        <p:txBody>
          <a:bodyPr tIns="0" anchor="b" anchorCtr="0"/>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4" name="Content Placeholder 2">
            <a:extLst>
              <a:ext uri="{FF2B5EF4-FFF2-40B4-BE49-F238E27FC236}">
                <a16:creationId xmlns:a16="http://schemas.microsoft.com/office/drawing/2014/main" id="{18DDB658-7F30-450F-B746-304E5B393DA7}"/>
              </a:ext>
            </a:extLst>
          </p:cNvPr>
          <p:cNvSpPr>
            <a:spLocks noGrp="1"/>
          </p:cNvSpPr>
          <p:nvPr>
            <p:ph idx="28"/>
          </p:nvPr>
        </p:nvSpPr>
        <p:spPr>
          <a:xfrm>
            <a:off x="9662841" y="1781174"/>
            <a:ext cx="2146572" cy="4429126"/>
          </a:xfrm>
        </p:spPr>
        <p:txBody>
          <a:bodyPr tIns="0"/>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BDFC327-60D5-4420-B53E-212D6DE488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64420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theme" Target="../theme/theme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image" Target="../media/image15.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vmlDrawing" Target="../drawings/vmlDrawing1.vml"/><Relationship Id="rId3" Type="http://schemas.openxmlformats.org/officeDocument/2006/relationships/slideLayout" Target="../slideLayouts/slideLayout78.xml"/><Relationship Id="rId21" Type="http://schemas.openxmlformats.org/officeDocument/2006/relationships/image" Target="../media/image31.emf"/><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theme" Target="../theme/theme4.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oleObject" Target="../embeddings/oleObject1.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tags" Target="../tags/tag1.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image" Target="../media/image3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theme" Target="../theme/theme5.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oleObject" Target="../embeddings/oleObject2.bin"/><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tags" Target="../tags/tag2.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image" Target="../media/image32.png"/><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vmlDrawing" Target="../drawings/vmlDrawing2.vml"/><Relationship Id="rId30" Type="http://schemas.openxmlformats.org/officeDocument/2006/relationships/image" Target="../media/image3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C2548BC-A55F-4B5C-81EF-56FBC3E05011}"/>
              </a:ext>
            </a:extLst>
          </p:cNvPr>
          <p:cNvSpPr/>
          <p:nvPr userDrawn="1"/>
        </p:nvSpPr>
        <p:spPr>
          <a:xfrm flipH="1">
            <a:off x="1566250" y="0"/>
            <a:ext cx="10622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942889" y="912309"/>
            <a:ext cx="9864935" cy="916491"/>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1941514" y="2438401"/>
            <a:ext cx="9866310" cy="3733799"/>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591"/>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Nr.›</a:t>
            </a:fld>
            <a:endParaRPr lang="en-US" sz="700" b="1" i="0" kern="1200" err="1">
              <a:solidFill>
                <a:schemeClr val="tx1"/>
              </a:solidFill>
              <a:latin typeface="Arial"/>
              <a:ea typeface="+mn-ea"/>
              <a:cs typeface="Arial"/>
            </a:endParaRPr>
          </a:p>
        </p:txBody>
      </p:sp>
      <p:sp>
        <p:nvSpPr>
          <p:cNvPr id="25" name="Freeform: Shape 24">
            <a:extLst>
              <a:ext uri="{FF2B5EF4-FFF2-40B4-BE49-F238E27FC236}">
                <a16:creationId xmlns:a16="http://schemas.microsoft.com/office/drawing/2014/main" id="{7023152D-C79D-42F7-9158-34A3AABE6E28}"/>
              </a:ext>
            </a:extLst>
          </p:cNvPr>
          <p:cNvSpPr/>
          <p:nvPr userDrawn="1"/>
        </p:nvSpPr>
        <p:spPr>
          <a:xfrm>
            <a:off x="252827" y="222349"/>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2657443 h 6407421"/>
              <a:gd name="connsiteX221" fmla="*/ 1064123 w 1064123"/>
              <a:gd name="connsiteY221" fmla="*/ 2657443 h 6407421"/>
              <a:gd name="connsiteX222" fmla="*/ 1064123 w 1064123"/>
              <a:gd name="connsiteY222" fmla="*/ 2687045 h 6407421"/>
              <a:gd name="connsiteX223" fmla="*/ 1034520 w 1064123"/>
              <a:gd name="connsiteY223" fmla="*/ 2687045 h 6407421"/>
              <a:gd name="connsiteX224" fmla="*/ 768327 w 1064123"/>
              <a:gd name="connsiteY224" fmla="*/ 2657440 h 6407421"/>
              <a:gd name="connsiteX225" fmla="*/ 797926 w 1064123"/>
              <a:gd name="connsiteY225" fmla="*/ 2657440 h 6407421"/>
              <a:gd name="connsiteX226" fmla="*/ 797926 w 1064123"/>
              <a:gd name="connsiteY226" fmla="*/ 2687042 h 6407421"/>
              <a:gd name="connsiteX227" fmla="*/ 768327 w 1064123"/>
              <a:gd name="connsiteY227" fmla="*/ 2687042 h 6407421"/>
              <a:gd name="connsiteX228" fmla="*/ 502236 w 1064123"/>
              <a:gd name="connsiteY228" fmla="*/ 2657437 h 6407421"/>
              <a:gd name="connsiteX229" fmla="*/ 531838 w 1064123"/>
              <a:gd name="connsiteY229" fmla="*/ 2657437 h 6407421"/>
              <a:gd name="connsiteX230" fmla="*/ 531838 w 1064123"/>
              <a:gd name="connsiteY230" fmla="*/ 2687039 h 6407421"/>
              <a:gd name="connsiteX231" fmla="*/ 502236 w 1064123"/>
              <a:gd name="connsiteY231" fmla="*/ 2687039 h 6407421"/>
              <a:gd name="connsiteX232" fmla="*/ 236037 w 1064123"/>
              <a:gd name="connsiteY232" fmla="*/ 2657434 h 6407421"/>
              <a:gd name="connsiteX233" fmla="*/ 265639 w 1064123"/>
              <a:gd name="connsiteY233" fmla="*/ 2657434 h 6407421"/>
              <a:gd name="connsiteX234" fmla="*/ 265639 w 1064123"/>
              <a:gd name="connsiteY234" fmla="*/ 2687036 h 6407421"/>
              <a:gd name="connsiteX235" fmla="*/ 236037 w 1064123"/>
              <a:gd name="connsiteY235" fmla="*/ 2687036 h 6407421"/>
              <a:gd name="connsiteX236" fmla="*/ 1 w 1064123"/>
              <a:gd name="connsiteY236" fmla="*/ 2657434 h 6407421"/>
              <a:gd name="connsiteX237" fmla="*/ 29603 w 1064123"/>
              <a:gd name="connsiteY237" fmla="*/ 2657434 h 6407421"/>
              <a:gd name="connsiteX238" fmla="*/ 29603 w 1064123"/>
              <a:gd name="connsiteY238" fmla="*/ 2687036 h 6407421"/>
              <a:gd name="connsiteX239" fmla="*/ 1 w 1064123"/>
              <a:gd name="connsiteY239" fmla="*/ 2687036 h 6407421"/>
              <a:gd name="connsiteX240" fmla="*/ 1034520 w 1064123"/>
              <a:gd name="connsiteY240" fmla="*/ 2391678 h 6407421"/>
              <a:gd name="connsiteX241" fmla="*/ 1064123 w 1064123"/>
              <a:gd name="connsiteY241" fmla="*/ 2391678 h 6407421"/>
              <a:gd name="connsiteX242" fmla="*/ 1064123 w 1064123"/>
              <a:gd name="connsiteY242" fmla="*/ 2421288 h 6407421"/>
              <a:gd name="connsiteX243" fmla="*/ 1034520 w 1064123"/>
              <a:gd name="connsiteY243" fmla="*/ 2421288 h 6407421"/>
              <a:gd name="connsiteX244" fmla="*/ 768327 w 1064123"/>
              <a:gd name="connsiteY244" fmla="*/ 2391675 h 6407421"/>
              <a:gd name="connsiteX245" fmla="*/ 797926 w 1064123"/>
              <a:gd name="connsiteY245" fmla="*/ 2391675 h 6407421"/>
              <a:gd name="connsiteX246" fmla="*/ 797926 w 1064123"/>
              <a:gd name="connsiteY246" fmla="*/ 2421283 h 6407421"/>
              <a:gd name="connsiteX247" fmla="*/ 768327 w 1064123"/>
              <a:gd name="connsiteY247" fmla="*/ 2421283 h 6407421"/>
              <a:gd name="connsiteX248" fmla="*/ 502236 w 1064123"/>
              <a:gd name="connsiteY248" fmla="*/ 2391672 h 6407421"/>
              <a:gd name="connsiteX249" fmla="*/ 531838 w 1064123"/>
              <a:gd name="connsiteY249" fmla="*/ 2391672 h 6407421"/>
              <a:gd name="connsiteX250" fmla="*/ 531838 w 1064123"/>
              <a:gd name="connsiteY250" fmla="*/ 2421278 h 6407421"/>
              <a:gd name="connsiteX251" fmla="*/ 502236 w 1064123"/>
              <a:gd name="connsiteY251" fmla="*/ 2421278 h 6407421"/>
              <a:gd name="connsiteX252" fmla="*/ 236037 w 1064123"/>
              <a:gd name="connsiteY252" fmla="*/ 2391669 h 6407421"/>
              <a:gd name="connsiteX253" fmla="*/ 265639 w 1064123"/>
              <a:gd name="connsiteY253" fmla="*/ 2391669 h 6407421"/>
              <a:gd name="connsiteX254" fmla="*/ 265639 w 1064123"/>
              <a:gd name="connsiteY254" fmla="*/ 2421272 h 6407421"/>
              <a:gd name="connsiteX255" fmla="*/ 236037 w 1064123"/>
              <a:gd name="connsiteY255" fmla="*/ 2421272 h 6407421"/>
              <a:gd name="connsiteX256" fmla="*/ 1 w 1064123"/>
              <a:gd name="connsiteY256" fmla="*/ 2391669 h 6407421"/>
              <a:gd name="connsiteX257" fmla="*/ 29603 w 1064123"/>
              <a:gd name="connsiteY257" fmla="*/ 2391669 h 6407421"/>
              <a:gd name="connsiteX258" fmla="*/ 29603 w 1064123"/>
              <a:gd name="connsiteY258" fmla="*/ 2421272 h 6407421"/>
              <a:gd name="connsiteX259" fmla="*/ 1 w 1064123"/>
              <a:gd name="connsiteY259" fmla="*/ 2421272 h 6407421"/>
              <a:gd name="connsiteX260" fmla="*/ 1034520 w 1064123"/>
              <a:gd name="connsiteY260" fmla="*/ 2126020 h 6407421"/>
              <a:gd name="connsiteX261" fmla="*/ 1064123 w 1064123"/>
              <a:gd name="connsiteY261" fmla="*/ 2126020 h 6407421"/>
              <a:gd name="connsiteX262" fmla="*/ 1064123 w 1064123"/>
              <a:gd name="connsiteY262" fmla="*/ 2155517 h 6407421"/>
              <a:gd name="connsiteX263" fmla="*/ 1034520 w 1064123"/>
              <a:gd name="connsiteY263" fmla="*/ 2155517 h 6407421"/>
              <a:gd name="connsiteX264" fmla="*/ 768327 w 1064123"/>
              <a:gd name="connsiteY264" fmla="*/ 2126017 h 6407421"/>
              <a:gd name="connsiteX265" fmla="*/ 797926 w 1064123"/>
              <a:gd name="connsiteY265" fmla="*/ 2126017 h 6407421"/>
              <a:gd name="connsiteX266" fmla="*/ 797926 w 1064123"/>
              <a:gd name="connsiteY266" fmla="*/ 2155513 h 6407421"/>
              <a:gd name="connsiteX267" fmla="*/ 768327 w 1064123"/>
              <a:gd name="connsiteY267" fmla="*/ 2155513 h 6407421"/>
              <a:gd name="connsiteX268" fmla="*/ 502236 w 1064123"/>
              <a:gd name="connsiteY268" fmla="*/ 2126014 h 6407421"/>
              <a:gd name="connsiteX269" fmla="*/ 531838 w 1064123"/>
              <a:gd name="connsiteY269" fmla="*/ 2126014 h 6407421"/>
              <a:gd name="connsiteX270" fmla="*/ 531838 w 1064123"/>
              <a:gd name="connsiteY270" fmla="*/ 2155510 h 6407421"/>
              <a:gd name="connsiteX271" fmla="*/ 502236 w 1064123"/>
              <a:gd name="connsiteY271" fmla="*/ 2155510 h 6407421"/>
              <a:gd name="connsiteX272" fmla="*/ 236037 w 1064123"/>
              <a:gd name="connsiteY272" fmla="*/ 2126012 h 6407421"/>
              <a:gd name="connsiteX273" fmla="*/ 265639 w 1064123"/>
              <a:gd name="connsiteY273" fmla="*/ 2126012 h 6407421"/>
              <a:gd name="connsiteX274" fmla="*/ 265639 w 1064123"/>
              <a:gd name="connsiteY274" fmla="*/ 2155506 h 6407421"/>
              <a:gd name="connsiteX275" fmla="*/ 236037 w 1064123"/>
              <a:gd name="connsiteY275" fmla="*/ 2155506 h 6407421"/>
              <a:gd name="connsiteX276" fmla="*/ 1 w 1064123"/>
              <a:gd name="connsiteY276" fmla="*/ 2126012 h 6407421"/>
              <a:gd name="connsiteX277" fmla="*/ 29603 w 1064123"/>
              <a:gd name="connsiteY277" fmla="*/ 2126012 h 6407421"/>
              <a:gd name="connsiteX278" fmla="*/ 29603 w 1064123"/>
              <a:gd name="connsiteY278" fmla="*/ 2155506 h 6407421"/>
              <a:gd name="connsiteX279" fmla="*/ 1 w 1064123"/>
              <a:gd name="connsiteY279" fmla="*/ 2155506 h 6407421"/>
              <a:gd name="connsiteX280" fmla="*/ 1034520 w 1064123"/>
              <a:gd name="connsiteY280" fmla="*/ 1860254 h 6407421"/>
              <a:gd name="connsiteX281" fmla="*/ 1064123 w 1064123"/>
              <a:gd name="connsiteY281" fmla="*/ 1860254 h 6407421"/>
              <a:gd name="connsiteX282" fmla="*/ 1064123 w 1064123"/>
              <a:gd name="connsiteY282" fmla="*/ 1889747 h 6407421"/>
              <a:gd name="connsiteX283" fmla="*/ 1034520 w 1064123"/>
              <a:gd name="connsiteY283" fmla="*/ 1889747 h 6407421"/>
              <a:gd name="connsiteX284" fmla="*/ 768327 w 1064123"/>
              <a:gd name="connsiteY284" fmla="*/ 1860252 h 6407421"/>
              <a:gd name="connsiteX285" fmla="*/ 797926 w 1064123"/>
              <a:gd name="connsiteY285" fmla="*/ 1860252 h 6407421"/>
              <a:gd name="connsiteX286" fmla="*/ 797926 w 1064123"/>
              <a:gd name="connsiteY286" fmla="*/ 1889745 h 6407421"/>
              <a:gd name="connsiteX287" fmla="*/ 768327 w 1064123"/>
              <a:gd name="connsiteY287" fmla="*/ 1889745 h 6407421"/>
              <a:gd name="connsiteX288" fmla="*/ 502236 w 1064123"/>
              <a:gd name="connsiteY288" fmla="*/ 1860249 h 6407421"/>
              <a:gd name="connsiteX289" fmla="*/ 531838 w 1064123"/>
              <a:gd name="connsiteY289" fmla="*/ 1860249 h 6407421"/>
              <a:gd name="connsiteX290" fmla="*/ 531838 w 1064123"/>
              <a:gd name="connsiteY290" fmla="*/ 1889744 h 6407421"/>
              <a:gd name="connsiteX291" fmla="*/ 502236 w 1064123"/>
              <a:gd name="connsiteY291" fmla="*/ 1889744 h 6407421"/>
              <a:gd name="connsiteX292" fmla="*/ 236037 w 1064123"/>
              <a:gd name="connsiteY292" fmla="*/ 1860247 h 6407421"/>
              <a:gd name="connsiteX293" fmla="*/ 265639 w 1064123"/>
              <a:gd name="connsiteY293" fmla="*/ 1860247 h 6407421"/>
              <a:gd name="connsiteX294" fmla="*/ 265639 w 1064123"/>
              <a:gd name="connsiteY294" fmla="*/ 1889742 h 6407421"/>
              <a:gd name="connsiteX295" fmla="*/ 236037 w 1064123"/>
              <a:gd name="connsiteY295" fmla="*/ 1889742 h 6407421"/>
              <a:gd name="connsiteX296" fmla="*/ 1 w 1064123"/>
              <a:gd name="connsiteY296" fmla="*/ 1860247 h 6407421"/>
              <a:gd name="connsiteX297" fmla="*/ 29603 w 1064123"/>
              <a:gd name="connsiteY297" fmla="*/ 1860247 h 6407421"/>
              <a:gd name="connsiteX298" fmla="*/ 29603 w 1064123"/>
              <a:gd name="connsiteY298" fmla="*/ 1889742 h 6407421"/>
              <a:gd name="connsiteX299" fmla="*/ 1 w 1064123"/>
              <a:gd name="connsiteY299" fmla="*/ 1889742 h 6407421"/>
              <a:gd name="connsiteX300" fmla="*/ 1034520 w 1064123"/>
              <a:gd name="connsiteY300" fmla="*/ 1594489 h 6407421"/>
              <a:gd name="connsiteX301" fmla="*/ 1064123 w 1064123"/>
              <a:gd name="connsiteY301" fmla="*/ 1594489 h 6407421"/>
              <a:gd name="connsiteX302" fmla="*/ 1064123 w 1064123"/>
              <a:gd name="connsiteY302" fmla="*/ 1624092 h 6407421"/>
              <a:gd name="connsiteX303" fmla="*/ 1034520 w 1064123"/>
              <a:gd name="connsiteY303" fmla="*/ 1624092 h 6407421"/>
              <a:gd name="connsiteX304" fmla="*/ 768327 w 1064123"/>
              <a:gd name="connsiteY304" fmla="*/ 1594486 h 6407421"/>
              <a:gd name="connsiteX305" fmla="*/ 797926 w 1064123"/>
              <a:gd name="connsiteY305" fmla="*/ 1594486 h 6407421"/>
              <a:gd name="connsiteX306" fmla="*/ 797926 w 1064123"/>
              <a:gd name="connsiteY306" fmla="*/ 1624090 h 6407421"/>
              <a:gd name="connsiteX307" fmla="*/ 768327 w 1064123"/>
              <a:gd name="connsiteY307" fmla="*/ 1624090 h 6407421"/>
              <a:gd name="connsiteX308" fmla="*/ 502236 w 1064123"/>
              <a:gd name="connsiteY308" fmla="*/ 1594484 h 6407421"/>
              <a:gd name="connsiteX309" fmla="*/ 531838 w 1064123"/>
              <a:gd name="connsiteY309" fmla="*/ 1594484 h 6407421"/>
              <a:gd name="connsiteX310" fmla="*/ 531838 w 1064123"/>
              <a:gd name="connsiteY310" fmla="*/ 1624087 h 6407421"/>
              <a:gd name="connsiteX311" fmla="*/ 502236 w 1064123"/>
              <a:gd name="connsiteY311" fmla="*/ 1624087 h 6407421"/>
              <a:gd name="connsiteX312" fmla="*/ 236037 w 1064123"/>
              <a:gd name="connsiteY312" fmla="*/ 1594482 h 6407421"/>
              <a:gd name="connsiteX313" fmla="*/ 265639 w 1064123"/>
              <a:gd name="connsiteY313" fmla="*/ 1594482 h 6407421"/>
              <a:gd name="connsiteX314" fmla="*/ 265639 w 1064123"/>
              <a:gd name="connsiteY314" fmla="*/ 1624085 h 6407421"/>
              <a:gd name="connsiteX315" fmla="*/ 236037 w 1064123"/>
              <a:gd name="connsiteY315" fmla="*/ 1624085 h 6407421"/>
              <a:gd name="connsiteX316" fmla="*/ 1 w 1064123"/>
              <a:gd name="connsiteY316" fmla="*/ 1594482 h 6407421"/>
              <a:gd name="connsiteX317" fmla="*/ 29603 w 1064123"/>
              <a:gd name="connsiteY317" fmla="*/ 1594482 h 6407421"/>
              <a:gd name="connsiteX318" fmla="*/ 29603 w 1064123"/>
              <a:gd name="connsiteY318" fmla="*/ 1624085 h 6407421"/>
              <a:gd name="connsiteX319" fmla="*/ 1 w 1064123"/>
              <a:gd name="connsiteY319" fmla="*/ 1624085 h 6407421"/>
              <a:gd name="connsiteX320" fmla="*/ 1034520 w 1064123"/>
              <a:gd name="connsiteY320" fmla="*/ 1328724 h 6407421"/>
              <a:gd name="connsiteX321" fmla="*/ 1064123 w 1064123"/>
              <a:gd name="connsiteY321" fmla="*/ 1328724 h 6407421"/>
              <a:gd name="connsiteX322" fmla="*/ 1064123 w 1064123"/>
              <a:gd name="connsiteY322" fmla="*/ 1358328 h 6407421"/>
              <a:gd name="connsiteX323" fmla="*/ 1034520 w 1064123"/>
              <a:gd name="connsiteY323" fmla="*/ 1358328 h 6407421"/>
              <a:gd name="connsiteX324" fmla="*/ 768327 w 1064123"/>
              <a:gd name="connsiteY324" fmla="*/ 1328722 h 6407421"/>
              <a:gd name="connsiteX325" fmla="*/ 797926 w 1064123"/>
              <a:gd name="connsiteY325" fmla="*/ 1328722 h 6407421"/>
              <a:gd name="connsiteX326" fmla="*/ 797926 w 1064123"/>
              <a:gd name="connsiteY326" fmla="*/ 1358325 h 6407421"/>
              <a:gd name="connsiteX327" fmla="*/ 768327 w 1064123"/>
              <a:gd name="connsiteY327" fmla="*/ 1358325 h 6407421"/>
              <a:gd name="connsiteX328" fmla="*/ 502236 w 1064123"/>
              <a:gd name="connsiteY328" fmla="*/ 1328719 h 6407421"/>
              <a:gd name="connsiteX329" fmla="*/ 531838 w 1064123"/>
              <a:gd name="connsiteY329" fmla="*/ 1328719 h 6407421"/>
              <a:gd name="connsiteX330" fmla="*/ 531838 w 1064123"/>
              <a:gd name="connsiteY330" fmla="*/ 1358323 h 6407421"/>
              <a:gd name="connsiteX331" fmla="*/ 502236 w 1064123"/>
              <a:gd name="connsiteY331" fmla="*/ 1358323 h 6407421"/>
              <a:gd name="connsiteX332" fmla="*/ 236036 w 1064123"/>
              <a:gd name="connsiteY332" fmla="*/ 1328717 h 6407421"/>
              <a:gd name="connsiteX333" fmla="*/ 265639 w 1064123"/>
              <a:gd name="connsiteY333" fmla="*/ 1328717 h 6407421"/>
              <a:gd name="connsiteX334" fmla="*/ 265639 w 1064123"/>
              <a:gd name="connsiteY334" fmla="*/ 1358320 h 6407421"/>
              <a:gd name="connsiteX335" fmla="*/ 236036 w 1064123"/>
              <a:gd name="connsiteY335" fmla="*/ 1358320 h 6407421"/>
              <a:gd name="connsiteX336" fmla="*/ 1 w 1064123"/>
              <a:gd name="connsiteY336" fmla="*/ 1328717 h 6407421"/>
              <a:gd name="connsiteX337" fmla="*/ 29602 w 1064123"/>
              <a:gd name="connsiteY337" fmla="*/ 1328717 h 6407421"/>
              <a:gd name="connsiteX338" fmla="*/ 29602 w 1064123"/>
              <a:gd name="connsiteY338" fmla="*/ 1358320 h 6407421"/>
              <a:gd name="connsiteX339" fmla="*/ 1 w 1064123"/>
              <a:gd name="connsiteY339" fmla="*/ 1358320 h 6407421"/>
              <a:gd name="connsiteX340" fmla="*/ 1034520 w 1064123"/>
              <a:gd name="connsiteY340" fmla="*/ 1063069 h 6407421"/>
              <a:gd name="connsiteX341" fmla="*/ 1064123 w 1064123"/>
              <a:gd name="connsiteY341" fmla="*/ 1063069 h 6407421"/>
              <a:gd name="connsiteX342" fmla="*/ 1064123 w 1064123"/>
              <a:gd name="connsiteY342" fmla="*/ 1092563 h 6407421"/>
              <a:gd name="connsiteX343" fmla="*/ 1034520 w 1064123"/>
              <a:gd name="connsiteY343" fmla="*/ 1092563 h 6407421"/>
              <a:gd name="connsiteX344" fmla="*/ 768326 w 1064123"/>
              <a:gd name="connsiteY344" fmla="*/ 1063066 h 6407421"/>
              <a:gd name="connsiteX345" fmla="*/ 797926 w 1064123"/>
              <a:gd name="connsiteY345" fmla="*/ 1063066 h 6407421"/>
              <a:gd name="connsiteX346" fmla="*/ 797926 w 1064123"/>
              <a:gd name="connsiteY346" fmla="*/ 1092560 h 6407421"/>
              <a:gd name="connsiteX347" fmla="*/ 768326 w 1064123"/>
              <a:gd name="connsiteY347" fmla="*/ 1092560 h 6407421"/>
              <a:gd name="connsiteX348" fmla="*/ 502235 w 1064123"/>
              <a:gd name="connsiteY348" fmla="*/ 1063063 h 6407421"/>
              <a:gd name="connsiteX349" fmla="*/ 531838 w 1064123"/>
              <a:gd name="connsiteY349" fmla="*/ 1063063 h 6407421"/>
              <a:gd name="connsiteX350" fmla="*/ 531838 w 1064123"/>
              <a:gd name="connsiteY350" fmla="*/ 1092557 h 6407421"/>
              <a:gd name="connsiteX351" fmla="*/ 502235 w 1064123"/>
              <a:gd name="connsiteY351" fmla="*/ 1092557 h 6407421"/>
              <a:gd name="connsiteX352" fmla="*/ 236036 w 1064123"/>
              <a:gd name="connsiteY352" fmla="*/ 1063059 h 6407421"/>
              <a:gd name="connsiteX353" fmla="*/ 265639 w 1064123"/>
              <a:gd name="connsiteY353" fmla="*/ 1063059 h 6407421"/>
              <a:gd name="connsiteX354" fmla="*/ 265639 w 1064123"/>
              <a:gd name="connsiteY354" fmla="*/ 1092554 h 6407421"/>
              <a:gd name="connsiteX355" fmla="*/ 236036 w 1064123"/>
              <a:gd name="connsiteY355" fmla="*/ 1092554 h 6407421"/>
              <a:gd name="connsiteX356" fmla="*/ 0 w 1064123"/>
              <a:gd name="connsiteY356" fmla="*/ 1063059 h 6407421"/>
              <a:gd name="connsiteX357" fmla="*/ 29602 w 1064123"/>
              <a:gd name="connsiteY357" fmla="*/ 1063059 h 6407421"/>
              <a:gd name="connsiteX358" fmla="*/ 29602 w 1064123"/>
              <a:gd name="connsiteY358" fmla="*/ 1092554 h 6407421"/>
              <a:gd name="connsiteX359" fmla="*/ 0 w 1064123"/>
              <a:gd name="connsiteY359" fmla="*/ 1092554 h 6407421"/>
              <a:gd name="connsiteX360" fmla="*/ 1034520 w 1064123"/>
              <a:gd name="connsiteY360" fmla="*/ 797300 h 6407421"/>
              <a:gd name="connsiteX361" fmla="*/ 1064123 w 1064123"/>
              <a:gd name="connsiteY361" fmla="*/ 797300 h 6407421"/>
              <a:gd name="connsiteX362" fmla="*/ 1064123 w 1064123"/>
              <a:gd name="connsiteY362" fmla="*/ 826797 h 6407421"/>
              <a:gd name="connsiteX363" fmla="*/ 1034520 w 1064123"/>
              <a:gd name="connsiteY363" fmla="*/ 826797 h 6407421"/>
              <a:gd name="connsiteX364" fmla="*/ 768326 w 1064123"/>
              <a:gd name="connsiteY364" fmla="*/ 797298 h 6407421"/>
              <a:gd name="connsiteX365" fmla="*/ 797926 w 1064123"/>
              <a:gd name="connsiteY365" fmla="*/ 797298 h 6407421"/>
              <a:gd name="connsiteX366" fmla="*/ 797926 w 1064123"/>
              <a:gd name="connsiteY366" fmla="*/ 826794 h 6407421"/>
              <a:gd name="connsiteX367" fmla="*/ 768326 w 1064123"/>
              <a:gd name="connsiteY367" fmla="*/ 826794 h 6407421"/>
              <a:gd name="connsiteX368" fmla="*/ 502235 w 1064123"/>
              <a:gd name="connsiteY368" fmla="*/ 797296 h 6407421"/>
              <a:gd name="connsiteX369" fmla="*/ 531838 w 1064123"/>
              <a:gd name="connsiteY369" fmla="*/ 797296 h 6407421"/>
              <a:gd name="connsiteX370" fmla="*/ 531838 w 1064123"/>
              <a:gd name="connsiteY370" fmla="*/ 826792 h 6407421"/>
              <a:gd name="connsiteX371" fmla="*/ 502235 w 1064123"/>
              <a:gd name="connsiteY371" fmla="*/ 826792 h 6407421"/>
              <a:gd name="connsiteX372" fmla="*/ 236036 w 1064123"/>
              <a:gd name="connsiteY372" fmla="*/ 797294 h 6407421"/>
              <a:gd name="connsiteX373" fmla="*/ 265639 w 1064123"/>
              <a:gd name="connsiteY373" fmla="*/ 797294 h 6407421"/>
              <a:gd name="connsiteX374" fmla="*/ 265639 w 1064123"/>
              <a:gd name="connsiteY374" fmla="*/ 826789 h 6407421"/>
              <a:gd name="connsiteX375" fmla="*/ 236036 w 1064123"/>
              <a:gd name="connsiteY375" fmla="*/ 826789 h 6407421"/>
              <a:gd name="connsiteX376" fmla="*/ 0 w 1064123"/>
              <a:gd name="connsiteY376" fmla="*/ 797294 h 6407421"/>
              <a:gd name="connsiteX377" fmla="*/ 29602 w 1064123"/>
              <a:gd name="connsiteY377" fmla="*/ 797294 h 6407421"/>
              <a:gd name="connsiteX378" fmla="*/ 29602 w 1064123"/>
              <a:gd name="connsiteY378" fmla="*/ 826789 h 6407421"/>
              <a:gd name="connsiteX379" fmla="*/ 0 w 1064123"/>
              <a:gd name="connsiteY379" fmla="*/ 826789 h 6407421"/>
              <a:gd name="connsiteX380" fmla="*/ 1034520 w 1064123"/>
              <a:gd name="connsiteY380" fmla="*/ 531537 h 6407421"/>
              <a:gd name="connsiteX381" fmla="*/ 1064123 w 1064123"/>
              <a:gd name="connsiteY381" fmla="*/ 531537 h 6407421"/>
              <a:gd name="connsiteX382" fmla="*/ 1064123 w 1064123"/>
              <a:gd name="connsiteY382" fmla="*/ 561139 h 6407421"/>
              <a:gd name="connsiteX383" fmla="*/ 1034520 w 1064123"/>
              <a:gd name="connsiteY383" fmla="*/ 561139 h 6407421"/>
              <a:gd name="connsiteX384" fmla="*/ 768326 w 1064123"/>
              <a:gd name="connsiteY384" fmla="*/ 531534 h 6407421"/>
              <a:gd name="connsiteX385" fmla="*/ 797926 w 1064123"/>
              <a:gd name="connsiteY385" fmla="*/ 531534 h 6407421"/>
              <a:gd name="connsiteX386" fmla="*/ 797926 w 1064123"/>
              <a:gd name="connsiteY386" fmla="*/ 561137 h 6407421"/>
              <a:gd name="connsiteX387" fmla="*/ 768326 w 1064123"/>
              <a:gd name="connsiteY387" fmla="*/ 561137 h 6407421"/>
              <a:gd name="connsiteX388" fmla="*/ 502235 w 1064123"/>
              <a:gd name="connsiteY388" fmla="*/ 531532 h 6407421"/>
              <a:gd name="connsiteX389" fmla="*/ 531838 w 1064123"/>
              <a:gd name="connsiteY389" fmla="*/ 531532 h 6407421"/>
              <a:gd name="connsiteX390" fmla="*/ 531838 w 1064123"/>
              <a:gd name="connsiteY390" fmla="*/ 561135 h 6407421"/>
              <a:gd name="connsiteX391" fmla="*/ 502235 w 1064123"/>
              <a:gd name="connsiteY391" fmla="*/ 561135 h 6407421"/>
              <a:gd name="connsiteX392" fmla="*/ 236036 w 1064123"/>
              <a:gd name="connsiteY392" fmla="*/ 531530 h 6407421"/>
              <a:gd name="connsiteX393" fmla="*/ 265639 w 1064123"/>
              <a:gd name="connsiteY393" fmla="*/ 531530 h 6407421"/>
              <a:gd name="connsiteX394" fmla="*/ 265639 w 1064123"/>
              <a:gd name="connsiteY394" fmla="*/ 561133 h 6407421"/>
              <a:gd name="connsiteX395" fmla="*/ 236036 w 1064123"/>
              <a:gd name="connsiteY395" fmla="*/ 561133 h 6407421"/>
              <a:gd name="connsiteX396" fmla="*/ 0 w 1064123"/>
              <a:gd name="connsiteY396" fmla="*/ 531530 h 6407421"/>
              <a:gd name="connsiteX397" fmla="*/ 29602 w 1064123"/>
              <a:gd name="connsiteY397" fmla="*/ 531530 h 6407421"/>
              <a:gd name="connsiteX398" fmla="*/ 29602 w 1064123"/>
              <a:gd name="connsiteY398" fmla="*/ 561133 h 6407421"/>
              <a:gd name="connsiteX399" fmla="*/ 0 w 1064123"/>
              <a:gd name="connsiteY399" fmla="*/ 561133 h 6407421"/>
              <a:gd name="connsiteX400" fmla="*/ 1034520 w 1064123"/>
              <a:gd name="connsiteY400" fmla="*/ 265772 h 6407421"/>
              <a:gd name="connsiteX401" fmla="*/ 1064123 w 1064123"/>
              <a:gd name="connsiteY401" fmla="*/ 265772 h 6407421"/>
              <a:gd name="connsiteX402" fmla="*/ 1064123 w 1064123"/>
              <a:gd name="connsiteY402" fmla="*/ 295374 h 6407421"/>
              <a:gd name="connsiteX403" fmla="*/ 1034520 w 1064123"/>
              <a:gd name="connsiteY403" fmla="*/ 295374 h 6407421"/>
              <a:gd name="connsiteX404" fmla="*/ 768326 w 1064123"/>
              <a:gd name="connsiteY404" fmla="*/ 265770 h 6407421"/>
              <a:gd name="connsiteX405" fmla="*/ 797926 w 1064123"/>
              <a:gd name="connsiteY405" fmla="*/ 265770 h 6407421"/>
              <a:gd name="connsiteX406" fmla="*/ 797926 w 1064123"/>
              <a:gd name="connsiteY406" fmla="*/ 295372 h 6407421"/>
              <a:gd name="connsiteX407" fmla="*/ 768326 w 1064123"/>
              <a:gd name="connsiteY407" fmla="*/ 295372 h 6407421"/>
              <a:gd name="connsiteX408" fmla="*/ 502235 w 1064123"/>
              <a:gd name="connsiteY408" fmla="*/ 265767 h 6407421"/>
              <a:gd name="connsiteX409" fmla="*/ 531838 w 1064123"/>
              <a:gd name="connsiteY409" fmla="*/ 265767 h 6407421"/>
              <a:gd name="connsiteX410" fmla="*/ 531838 w 1064123"/>
              <a:gd name="connsiteY410" fmla="*/ 295370 h 6407421"/>
              <a:gd name="connsiteX411" fmla="*/ 502235 w 1064123"/>
              <a:gd name="connsiteY411" fmla="*/ 295370 h 6407421"/>
              <a:gd name="connsiteX412" fmla="*/ 236036 w 1064123"/>
              <a:gd name="connsiteY412" fmla="*/ 265765 h 6407421"/>
              <a:gd name="connsiteX413" fmla="*/ 265639 w 1064123"/>
              <a:gd name="connsiteY413" fmla="*/ 265765 h 6407421"/>
              <a:gd name="connsiteX414" fmla="*/ 265639 w 1064123"/>
              <a:gd name="connsiteY414" fmla="*/ 295368 h 6407421"/>
              <a:gd name="connsiteX415" fmla="*/ 236036 w 1064123"/>
              <a:gd name="connsiteY415" fmla="*/ 295368 h 6407421"/>
              <a:gd name="connsiteX416" fmla="*/ 0 w 1064123"/>
              <a:gd name="connsiteY416" fmla="*/ 265765 h 6407421"/>
              <a:gd name="connsiteX417" fmla="*/ 29602 w 1064123"/>
              <a:gd name="connsiteY417" fmla="*/ 265765 h 6407421"/>
              <a:gd name="connsiteX418" fmla="*/ 29602 w 1064123"/>
              <a:gd name="connsiteY418" fmla="*/ 295368 h 6407421"/>
              <a:gd name="connsiteX419" fmla="*/ 0 w 1064123"/>
              <a:gd name="connsiteY419" fmla="*/ 295368 h 6407421"/>
              <a:gd name="connsiteX420" fmla="*/ 1034520 w 1064123"/>
              <a:gd name="connsiteY420" fmla="*/ 7 h 6407421"/>
              <a:gd name="connsiteX421" fmla="*/ 1064123 w 1064123"/>
              <a:gd name="connsiteY421" fmla="*/ 7 h 6407421"/>
              <a:gd name="connsiteX422" fmla="*/ 1064123 w 1064123"/>
              <a:gd name="connsiteY422" fmla="*/ 29609 h 6407421"/>
              <a:gd name="connsiteX423" fmla="*/ 1034520 w 1064123"/>
              <a:gd name="connsiteY423" fmla="*/ 29609 h 6407421"/>
              <a:gd name="connsiteX424" fmla="*/ 768326 w 1064123"/>
              <a:gd name="connsiteY424" fmla="*/ 5 h 6407421"/>
              <a:gd name="connsiteX425" fmla="*/ 797926 w 1064123"/>
              <a:gd name="connsiteY425" fmla="*/ 5 h 6407421"/>
              <a:gd name="connsiteX426" fmla="*/ 797926 w 1064123"/>
              <a:gd name="connsiteY426" fmla="*/ 29607 h 6407421"/>
              <a:gd name="connsiteX427" fmla="*/ 768326 w 1064123"/>
              <a:gd name="connsiteY427" fmla="*/ 29607 h 6407421"/>
              <a:gd name="connsiteX428" fmla="*/ 502235 w 1064123"/>
              <a:gd name="connsiteY428" fmla="*/ 2 h 6407421"/>
              <a:gd name="connsiteX429" fmla="*/ 531838 w 1064123"/>
              <a:gd name="connsiteY429" fmla="*/ 2 h 6407421"/>
              <a:gd name="connsiteX430" fmla="*/ 531838 w 1064123"/>
              <a:gd name="connsiteY430" fmla="*/ 29605 h 6407421"/>
              <a:gd name="connsiteX431" fmla="*/ 502235 w 1064123"/>
              <a:gd name="connsiteY431" fmla="*/ 29605 h 6407421"/>
              <a:gd name="connsiteX432" fmla="*/ 236036 w 1064123"/>
              <a:gd name="connsiteY432" fmla="*/ 0 h 6407421"/>
              <a:gd name="connsiteX433" fmla="*/ 265638 w 1064123"/>
              <a:gd name="connsiteY433" fmla="*/ 0 h 6407421"/>
              <a:gd name="connsiteX434" fmla="*/ 265638 w 1064123"/>
              <a:gd name="connsiteY434" fmla="*/ 29602 h 6407421"/>
              <a:gd name="connsiteX435" fmla="*/ 236036 w 1064123"/>
              <a:gd name="connsiteY435" fmla="*/ 29602 h 6407421"/>
              <a:gd name="connsiteX436" fmla="*/ 0 w 1064123"/>
              <a:gd name="connsiteY436" fmla="*/ 0 h 6407421"/>
              <a:gd name="connsiteX437" fmla="*/ 29602 w 1064123"/>
              <a:gd name="connsiteY437" fmla="*/ 0 h 6407421"/>
              <a:gd name="connsiteX438" fmla="*/ 29602 w 1064123"/>
              <a:gd name="connsiteY438" fmla="*/ 29602 h 6407421"/>
              <a:gd name="connsiteX439" fmla="*/ 0 w 1064123"/>
              <a:gd name="connsiteY43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40000"/>
            </a:schemeClr>
          </a:solidFill>
          <a:ln w="10797" cap="flat">
            <a:noFill/>
            <a:prstDash val="solid"/>
            <a:miter/>
          </a:ln>
        </p:spPr>
        <p:txBody>
          <a:bodyPr wrap="square" rtlCol="0" anchor="ctr">
            <a:noAutofit/>
          </a:bodyPr>
          <a:lstStyle/>
          <a:p>
            <a:endParaRPr lang="en-US"/>
          </a:p>
        </p:txBody>
      </p:sp>
      <p:grpSp>
        <p:nvGrpSpPr>
          <p:cNvPr id="8" name="Group 7">
            <a:extLst>
              <a:ext uri="{FF2B5EF4-FFF2-40B4-BE49-F238E27FC236}">
                <a16:creationId xmlns:a16="http://schemas.microsoft.com/office/drawing/2014/main" id="{BD3C4F0B-931C-4765-AFA4-8D5C719B04FD}"/>
              </a:ext>
            </a:extLst>
          </p:cNvPr>
          <p:cNvGrpSpPr/>
          <p:nvPr userDrawn="1"/>
        </p:nvGrpSpPr>
        <p:grpSpPr>
          <a:xfrm>
            <a:off x="-3221" y="0"/>
            <a:ext cx="1570603" cy="6342667"/>
            <a:chOff x="-3221" y="0"/>
            <a:chExt cx="1570603" cy="6342667"/>
          </a:xfrm>
        </p:grpSpPr>
        <p:sp>
          <p:nvSpPr>
            <p:cNvPr id="9" name="Freeform: Shape 41">
              <a:extLst>
                <a:ext uri="{FF2B5EF4-FFF2-40B4-BE49-F238E27FC236}">
                  <a16:creationId xmlns:a16="http://schemas.microsoft.com/office/drawing/2014/main" id="{E1B23546-AAF6-4855-9B85-02DBDBA87870}"/>
                </a:ext>
              </a:extLst>
            </p:cNvPr>
            <p:cNvSpPr txBox="1">
              <a:spLocks/>
            </p:cNvSpPr>
            <p:nvPr/>
          </p:nvSpPr>
          <p:spPr>
            <a:xfrm>
              <a:off x="771720" y="1305465"/>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0" name="Freeform: Shape 42">
              <a:extLst>
                <a:ext uri="{FF2B5EF4-FFF2-40B4-BE49-F238E27FC236}">
                  <a16:creationId xmlns:a16="http://schemas.microsoft.com/office/drawing/2014/main" id="{99863198-1139-419E-BEF7-7691D7DA3984}"/>
                </a:ext>
              </a:extLst>
            </p:cNvPr>
            <p:cNvSpPr txBox="1">
              <a:spLocks/>
            </p:cNvSpPr>
            <p:nvPr/>
          </p:nvSpPr>
          <p:spPr>
            <a:xfrm rot="16200000">
              <a:off x="653257" y="1982983"/>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1" name="Freeform: Shape 81">
              <a:extLst>
                <a:ext uri="{FF2B5EF4-FFF2-40B4-BE49-F238E27FC236}">
                  <a16:creationId xmlns:a16="http://schemas.microsoft.com/office/drawing/2014/main" id="{A5B1BDFB-9488-456D-BADD-5A8C923D5275}"/>
                </a:ext>
              </a:extLst>
            </p:cNvPr>
            <p:cNvSpPr txBox="1">
              <a:spLocks/>
            </p:cNvSpPr>
            <p:nvPr/>
          </p:nvSpPr>
          <p:spPr>
            <a:xfrm rot="5400000">
              <a:off x="522214" y="5297589"/>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2" name="Freeform: Shape 41">
              <a:extLst>
                <a:ext uri="{FF2B5EF4-FFF2-40B4-BE49-F238E27FC236}">
                  <a16:creationId xmlns:a16="http://schemas.microsoft.com/office/drawing/2014/main" id="{2F724403-7846-42FC-A2F9-72844DC96D67}"/>
                </a:ext>
              </a:extLst>
            </p:cNvPr>
            <p:cNvSpPr txBox="1">
              <a:spLocks/>
            </p:cNvSpPr>
            <p:nvPr/>
          </p:nvSpPr>
          <p:spPr>
            <a:xfrm>
              <a:off x="253539" y="422329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 name="Freeform: Shape 81">
              <a:extLst>
                <a:ext uri="{FF2B5EF4-FFF2-40B4-BE49-F238E27FC236}">
                  <a16:creationId xmlns:a16="http://schemas.microsoft.com/office/drawing/2014/main" id="{A4FB881B-65A5-40CF-99A9-ACC0B5674305}"/>
                </a:ext>
              </a:extLst>
            </p:cNvPr>
            <p:cNvSpPr txBox="1">
              <a:spLocks/>
            </p:cNvSpPr>
            <p:nvPr/>
          </p:nvSpPr>
          <p:spPr>
            <a:xfrm rot="16200000">
              <a:off x="11410" y="-14631"/>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pic>
        <p:nvPicPr>
          <p:cNvPr id="13" name="Picture 12">
            <a:extLst>
              <a:ext uri="{FF2B5EF4-FFF2-40B4-BE49-F238E27FC236}">
                <a16:creationId xmlns:a16="http://schemas.microsoft.com/office/drawing/2014/main" id="{6469489A-B735-4651-9E81-0632F754C889}"/>
              </a:ext>
            </a:extLst>
          </p:cNvPr>
          <p:cNvPicPr>
            <a:picLocks noChangeAspect="1"/>
          </p:cNvPicPr>
          <p:nvPr userDrawn="1"/>
        </p:nvPicPr>
        <p:blipFill>
          <a:blip r:embed="rId26" cstate="screen">
            <a:extLst>
              <a:ext uri="{28A0092B-C50C-407E-A947-70E740481C1C}">
                <a14:useLocalDpi xmlns:a14="http://schemas.microsoft.com/office/drawing/2010/main"/>
              </a:ext>
            </a:extLst>
          </a:blip>
          <a:srcRect/>
          <a:stretch/>
        </p:blipFill>
        <p:spPr>
          <a:xfrm>
            <a:off x="260488" y="3149791"/>
            <a:ext cx="1053564" cy="546736"/>
          </a:xfrm>
          <a:prstGeom prst="rect">
            <a:avLst/>
          </a:prstGeom>
        </p:spPr>
      </p:pic>
    </p:spTree>
    <p:extLst>
      <p:ext uri="{BB962C8B-B14F-4D97-AF65-F5344CB8AC3E}">
        <p14:creationId xmlns:p14="http://schemas.microsoft.com/office/powerpoint/2010/main" val="116578497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89"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88" r:id="rId24"/>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1223">
          <p15:clr>
            <a:srgbClr val="F26B43"/>
          </p15:clr>
        </p15:guide>
        <p15:guide id="3" pos="7439">
          <p15:clr>
            <a:srgbClr val="F26B43"/>
          </p15:clr>
        </p15:guide>
        <p15:guide id="4" orient="horz" pos="115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C9C7B27-5BF5-440F-9A83-A8DB36E1786D}"/>
              </a:ext>
            </a:extLst>
          </p:cNvPr>
          <p:cNvSpPr/>
          <p:nvPr userDrawn="1"/>
        </p:nvSpPr>
        <p:spPr>
          <a:xfrm flipH="1">
            <a:off x="1566250" y="1"/>
            <a:ext cx="10622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941513" y="912309"/>
            <a:ext cx="9866311" cy="916491"/>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1941513" y="2438401"/>
            <a:ext cx="9866311" cy="3733799"/>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591"/>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Nr.›</a:t>
            </a:fld>
            <a:endParaRPr lang="en-US" sz="700" b="1" i="0" kern="1200" err="1">
              <a:solidFill>
                <a:schemeClr val="tx1"/>
              </a:solidFill>
              <a:latin typeface="Arial"/>
              <a:ea typeface="+mn-ea"/>
              <a:cs typeface="Arial"/>
            </a:endParaRPr>
          </a:p>
        </p:txBody>
      </p:sp>
      <p:grpSp>
        <p:nvGrpSpPr>
          <p:cNvPr id="22" name="Group 21">
            <a:extLst>
              <a:ext uri="{FF2B5EF4-FFF2-40B4-BE49-F238E27FC236}">
                <a16:creationId xmlns:a16="http://schemas.microsoft.com/office/drawing/2014/main" id="{0FE0D3F9-7773-4715-A77B-1AC7A209100D}"/>
              </a:ext>
            </a:extLst>
          </p:cNvPr>
          <p:cNvGrpSpPr/>
          <p:nvPr userDrawn="1"/>
        </p:nvGrpSpPr>
        <p:grpSpPr>
          <a:xfrm>
            <a:off x="-3221" y="0"/>
            <a:ext cx="1570603" cy="6342667"/>
            <a:chOff x="-3221" y="0"/>
            <a:chExt cx="1570603" cy="6342667"/>
          </a:xfrm>
        </p:grpSpPr>
        <p:sp>
          <p:nvSpPr>
            <p:cNvPr id="23" name="Freeform: Shape 41">
              <a:extLst>
                <a:ext uri="{FF2B5EF4-FFF2-40B4-BE49-F238E27FC236}">
                  <a16:creationId xmlns:a16="http://schemas.microsoft.com/office/drawing/2014/main" id="{9A138F7C-88E3-48B9-9812-C76047E91D8F}"/>
                </a:ext>
              </a:extLst>
            </p:cNvPr>
            <p:cNvSpPr txBox="1">
              <a:spLocks/>
            </p:cNvSpPr>
            <p:nvPr/>
          </p:nvSpPr>
          <p:spPr>
            <a:xfrm>
              <a:off x="771720" y="1305465"/>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4" name="Freeform: Shape 42">
              <a:extLst>
                <a:ext uri="{FF2B5EF4-FFF2-40B4-BE49-F238E27FC236}">
                  <a16:creationId xmlns:a16="http://schemas.microsoft.com/office/drawing/2014/main" id="{A0C5DB22-0FC4-449D-A168-936EDC0D1D7B}"/>
                </a:ext>
              </a:extLst>
            </p:cNvPr>
            <p:cNvSpPr txBox="1">
              <a:spLocks/>
            </p:cNvSpPr>
            <p:nvPr/>
          </p:nvSpPr>
          <p:spPr>
            <a:xfrm rot="16200000">
              <a:off x="653257" y="1982983"/>
              <a:ext cx="530877" cy="1297373"/>
            </a:xfrm>
            <a:custGeom>
              <a:avLst/>
              <a:gdLst>
                <a:gd name="connsiteX0" fmla="*/ 0 w 530877"/>
                <a:gd name="connsiteY0" fmla="*/ 0 h 1297373"/>
                <a:gd name="connsiteX1" fmla="*/ 530877 w 530877"/>
                <a:gd name="connsiteY1" fmla="*/ 0 h 1297373"/>
                <a:gd name="connsiteX2" fmla="*/ 530877 w 530877"/>
                <a:gd name="connsiteY2" fmla="*/ 1297373 h 1297373"/>
                <a:gd name="connsiteX3" fmla="*/ 0 w 530877"/>
                <a:gd name="connsiteY3" fmla="*/ 1297373 h 1297373"/>
              </a:gdLst>
              <a:ahLst/>
              <a:cxnLst>
                <a:cxn ang="0">
                  <a:pos x="connsiteX0" y="connsiteY0"/>
                </a:cxn>
                <a:cxn ang="0">
                  <a:pos x="connsiteX1" y="connsiteY1"/>
                </a:cxn>
                <a:cxn ang="0">
                  <a:pos x="connsiteX2" y="connsiteY2"/>
                </a:cxn>
                <a:cxn ang="0">
                  <a:pos x="connsiteX3" y="connsiteY3"/>
                </a:cxn>
              </a:cxnLst>
              <a:rect l="l" t="t" r="r" b="b"/>
              <a:pathLst>
                <a:path w="530877" h="1297373">
                  <a:moveTo>
                    <a:pt x="0" y="0"/>
                  </a:moveTo>
                  <a:lnTo>
                    <a:pt x="530877" y="0"/>
                  </a:lnTo>
                  <a:lnTo>
                    <a:pt x="530877" y="1297373"/>
                  </a:lnTo>
                  <a:lnTo>
                    <a:pt x="0" y="1297373"/>
                  </a:ln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5" name="Freeform: Shape 81">
              <a:extLst>
                <a:ext uri="{FF2B5EF4-FFF2-40B4-BE49-F238E27FC236}">
                  <a16:creationId xmlns:a16="http://schemas.microsoft.com/office/drawing/2014/main" id="{F192D701-EC8B-482F-8389-3325FBFD8096}"/>
                </a:ext>
              </a:extLst>
            </p:cNvPr>
            <p:cNvSpPr txBox="1">
              <a:spLocks/>
            </p:cNvSpPr>
            <p:nvPr/>
          </p:nvSpPr>
          <p:spPr>
            <a:xfrm rot="5400000">
              <a:off x="522214" y="5297589"/>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6" name="Freeform: Shape 41">
              <a:extLst>
                <a:ext uri="{FF2B5EF4-FFF2-40B4-BE49-F238E27FC236}">
                  <a16:creationId xmlns:a16="http://schemas.microsoft.com/office/drawing/2014/main" id="{1FA64084-53BB-406B-9AEC-B7EF057CF5AE}"/>
                </a:ext>
              </a:extLst>
            </p:cNvPr>
            <p:cNvSpPr txBox="1">
              <a:spLocks/>
            </p:cNvSpPr>
            <p:nvPr/>
          </p:nvSpPr>
          <p:spPr>
            <a:xfrm>
              <a:off x="253539" y="4223290"/>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7" name="Freeform: Shape 81">
              <a:extLst>
                <a:ext uri="{FF2B5EF4-FFF2-40B4-BE49-F238E27FC236}">
                  <a16:creationId xmlns:a16="http://schemas.microsoft.com/office/drawing/2014/main" id="{96C77B25-B318-49E6-BC74-724FBE35F27F}"/>
                </a:ext>
              </a:extLst>
            </p:cNvPr>
            <p:cNvSpPr txBox="1">
              <a:spLocks/>
            </p:cNvSpPr>
            <p:nvPr/>
          </p:nvSpPr>
          <p:spPr>
            <a:xfrm rot="16200000">
              <a:off x="11410" y="-14631"/>
              <a:ext cx="1030447" cy="1059710"/>
            </a:xfrm>
            <a:custGeom>
              <a:avLst/>
              <a:gdLst>
                <a:gd name="connsiteX0" fmla="*/ 0 w 1030447"/>
                <a:gd name="connsiteY0" fmla="*/ 0 h 1059710"/>
                <a:gd name="connsiteX1" fmla="*/ 530729 w 1030447"/>
                <a:gd name="connsiteY1" fmla="*/ 0 h 1059710"/>
                <a:gd name="connsiteX2" fmla="*/ 955721 w 1030447"/>
                <a:gd name="connsiteY2" fmla="*/ 521447 h 1059710"/>
                <a:gd name="connsiteX3" fmla="*/ 1030447 w 1030447"/>
                <a:gd name="connsiteY3" fmla="*/ 528980 h 1059710"/>
                <a:gd name="connsiteX4" fmla="*/ 1030447 w 1030447"/>
                <a:gd name="connsiteY4" fmla="*/ 1059710 h 1059710"/>
                <a:gd name="connsiteX5" fmla="*/ 848760 w 1030447"/>
                <a:gd name="connsiteY5" fmla="*/ 1041394 h 1059710"/>
                <a:gd name="connsiteX6" fmla="*/ 0 w 1030447"/>
                <a:gd name="connsiteY6" fmla="*/ 0 h 10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47" h="1059710">
                  <a:moveTo>
                    <a:pt x="0" y="0"/>
                  </a:moveTo>
                  <a:lnTo>
                    <a:pt x="530729" y="0"/>
                  </a:lnTo>
                  <a:cubicBezTo>
                    <a:pt x="530729" y="257214"/>
                    <a:pt x="713179" y="471816"/>
                    <a:pt x="955721" y="521447"/>
                  </a:cubicBezTo>
                  <a:lnTo>
                    <a:pt x="1030447" y="528980"/>
                  </a:lnTo>
                  <a:lnTo>
                    <a:pt x="1030447" y="1059710"/>
                  </a:lnTo>
                  <a:lnTo>
                    <a:pt x="848760" y="1041394"/>
                  </a:lnTo>
                  <a:cubicBezTo>
                    <a:pt x="364374" y="942275"/>
                    <a:pt x="0" y="513689"/>
                    <a:pt x="0" y="0"/>
                  </a:cubicBezTo>
                  <a:close/>
                </a:path>
              </a:pathLst>
            </a:custGeom>
            <a:solidFill>
              <a:schemeClr val="bg1">
                <a:alpha val="2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sp>
        <p:nvSpPr>
          <p:cNvPr id="13" name="Freeform: Shape 12">
            <a:extLst>
              <a:ext uri="{FF2B5EF4-FFF2-40B4-BE49-F238E27FC236}">
                <a16:creationId xmlns:a16="http://schemas.microsoft.com/office/drawing/2014/main" id="{AD96A1DF-E4E1-4657-BB6D-2E14BCB2092E}"/>
              </a:ext>
            </a:extLst>
          </p:cNvPr>
          <p:cNvSpPr/>
          <p:nvPr userDrawn="1"/>
        </p:nvSpPr>
        <p:spPr>
          <a:xfrm>
            <a:off x="252827" y="222349"/>
            <a:ext cx="1064123" cy="6407421"/>
          </a:xfrm>
          <a:custGeom>
            <a:avLst/>
            <a:gdLst>
              <a:gd name="connsiteX0" fmla="*/ 1034520 w 1064123"/>
              <a:gd name="connsiteY0" fmla="*/ 6377925 h 6407421"/>
              <a:gd name="connsiteX1" fmla="*/ 1064123 w 1064123"/>
              <a:gd name="connsiteY1" fmla="*/ 6377925 h 6407421"/>
              <a:gd name="connsiteX2" fmla="*/ 1064123 w 1064123"/>
              <a:gd name="connsiteY2" fmla="*/ 6407421 h 6407421"/>
              <a:gd name="connsiteX3" fmla="*/ 1034520 w 1064123"/>
              <a:gd name="connsiteY3" fmla="*/ 6407421 h 6407421"/>
              <a:gd name="connsiteX4" fmla="*/ 768328 w 1064123"/>
              <a:gd name="connsiteY4" fmla="*/ 6377925 h 6407421"/>
              <a:gd name="connsiteX5" fmla="*/ 797926 w 1064123"/>
              <a:gd name="connsiteY5" fmla="*/ 6377925 h 6407421"/>
              <a:gd name="connsiteX6" fmla="*/ 797926 w 1064123"/>
              <a:gd name="connsiteY6" fmla="*/ 6407421 h 6407421"/>
              <a:gd name="connsiteX7" fmla="*/ 768328 w 1064123"/>
              <a:gd name="connsiteY7" fmla="*/ 6407421 h 6407421"/>
              <a:gd name="connsiteX8" fmla="*/ 502237 w 1064123"/>
              <a:gd name="connsiteY8" fmla="*/ 6377925 h 6407421"/>
              <a:gd name="connsiteX9" fmla="*/ 531839 w 1064123"/>
              <a:gd name="connsiteY9" fmla="*/ 6377925 h 6407421"/>
              <a:gd name="connsiteX10" fmla="*/ 531839 w 1064123"/>
              <a:gd name="connsiteY10" fmla="*/ 6407421 h 6407421"/>
              <a:gd name="connsiteX11" fmla="*/ 502237 w 1064123"/>
              <a:gd name="connsiteY11" fmla="*/ 6407421 h 6407421"/>
              <a:gd name="connsiteX12" fmla="*/ 236038 w 1064123"/>
              <a:gd name="connsiteY12" fmla="*/ 6377925 h 6407421"/>
              <a:gd name="connsiteX13" fmla="*/ 265640 w 1064123"/>
              <a:gd name="connsiteY13" fmla="*/ 6377925 h 6407421"/>
              <a:gd name="connsiteX14" fmla="*/ 265640 w 1064123"/>
              <a:gd name="connsiteY14" fmla="*/ 6407421 h 6407421"/>
              <a:gd name="connsiteX15" fmla="*/ 236038 w 1064123"/>
              <a:gd name="connsiteY15" fmla="*/ 6407421 h 6407421"/>
              <a:gd name="connsiteX16" fmla="*/ 2 w 1064123"/>
              <a:gd name="connsiteY16" fmla="*/ 6377925 h 6407421"/>
              <a:gd name="connsiteX17" fmla="*/ 29604 w 1064123"/>
              <a:gd name="connsiteY17" fmla="*/ 6377925 h 6407421"/>
              <a:gd name="connsiteX18" fmla="*/ 29604 w 1064123"/>
              <a:gd name="connsiteY18" fmla="*/ 6407421 h 6407421"/>
              <a:gd name="connsiteX19" fmla="*/ 2 w 1064123"/>
              <a:gd name="connsiteY19" fmla="*/ 6407421 h 6407421"/>
              <a:gd name="connsiteX20" fmla="*/ 1034520 w 1064123"/>
              <a:gd name="connsiteY20" fmla="*/ 6112161 h 6407421"/>
              <a:gd name="connsiteX21" fmla="*/ 1064123 w 1064123"/>
              <a:gd name="connsiteY21" fmla="*/ 6112161 h 6407421"/>
              <a:gd name="connsiteX22" fmla="*/ 1064123 w 1064123"/>
              <a:gd name="connsiteY22" fmla="*/ 6141763 h 6407421"/>
              <a:gd name="connsiteX23" fmla="*/ 1034520 w 1064123"/>
              <a:gd name="connsiteY23" fmla="*/ 6141763 h 6407421"/>
              <a:gd name="connsiteX24" fmla="*/ 768328 w 1064123"/>
              <a:gd name="connsiteY24" fmla="*/ 6112161 h 6407421"/>
              <a:gd name="connsiteX25" fmla="*/ 797926 w 1064123"/>
              <a:gd name="connsiteY25" fmla="*/ 6112161 h 6407421"/>
              <a:gd name="connsiteX26" fmla="*/ 797926 w 1064123"/>
              <a:gd name="connsiteY26" fmla="*/ 6141763 h 6407421"/>
              <a:gd name="connsiteX27" fmla="*/ 768328 w 1064123"/>
              <a:gd name="connsiteY27" fmla="*/ 6141763 h 6407421"/>
              <a:gd name="connsiteX28" fmla="*/ 502237 w 1064123"/>
              <a:gd name="connsiteY28" fmla="*/ 6112161 h 6407421"/>
              <a:gd name="connsiteX29" fmla="*/ 531839 w 1064123"/>
              <a:gd name="connsiteY29" fmla="*/ 6112161 h 6407421"/>
              <a:gd name="connsiteX30" fmla="*/ 531839 w 1064123"/>
              <a:gd name="connsiteY30" fmla="*/ 6141763 h 6407421"/>
              <a:gd name="connsiteX31" fmla="*/ 502237 w 1064123"/>
              <a:gd name="connsiteY31" fmla="*/ 6141763 h 6407421"/>
              <a:gd name="connsiteX32" fmla="*/ 236038 w 1064123"/>
              <a:gd name="connsiteY32" fmla="*/ 6112161 h 6407421"/>
              <a:gd name="connsiteX33" fmla="*/ 265640 w 1064123"/>
              <a:gd name="connsiteY33" fmla="*/ 6112161 h 6407421"/>
              <a:gd name="connsiteX34" fmla="*/ 265640 w 1064123"/>
              <a:gd name="connsiteY34" fmla="*/ 6141763 h 6407421"/>
              <a:gd name="connsiteX35" fmla="*/ 236038 w 1064123"/>
              <a:gd name="connsiteY35" fmla="*/ 6141763 h 6407421"/>
              <a:gd name="connsiteX36" fmla="*/ 2 w 1064123"/>
              <a:gd name="connsiteY36" fmla="*/ 6112161 h 6407421"/>
              <a:gd name="connsiteX37" fmla="*/ 29604 w 1064123"/>
              <a:gd name="connsiteY37" fmla="*/ 6112161 h 6407421"/>
              <a:gd name="connsiteX38" fmla="*/ 29604 w 1064123"/>
              <a:gd name="connsiteY38" fmla="*/ 6141763 h 6407421"/>
              <a:gd name="connsiteX39" fmla="*/ 2 w 1064123"/>
              <a:gd name="connsiteY39" fmla="*/ 6141763 h 6407421"/>
              <a:gd name="connsiteX40" fmla="*/ 1034520 w 1064123"/>
              <a:gd name="connsiteY40" fmla="*/ 5846396 h 6407421"/>
              <a:gd name="connsiteX41" fmla="*/ 1064123 w 1064123"/>
              <a:gd name="connsiteY41" fmla="*/ 5846396 h 6407421"/>
              <a:gd name="connsiteX42" fmla="*/ 1064123 w 1064123"/>
              <a:gd name="connsiteY42" fmla="*/ 5875998 h 6407421"/>
              <a:gd name="connsiteX43" fmla="*/ 1034520 w 1064123"/>
              <a:gd name="connsiteY43" fmla="*/ 5875998 h 6407421"/>
              <a:gd name="connsiteX44" fmla="*/ 768328 w 1064123"/>
              <a:gd name="connsiteY44" fmla="*/ 5846396 h 6407421"/>
              <a:gd name="connsiteX45" fmla="*/ 797926 w 1064123"/>
              <a:gd name="connsiteY45" fmla="*/ 5846396 h 6407421"/>
              <a:gd name="connsiteX46" fmla="*/ 797926 w 1064123"/>
              <a:gd name="connsiteY46" fmla="*/ 5875998 h 6407421"/>
              <a:gd name="connsiteX47" fmla="*/ 768328 w 1064123"/>
              <a:gd name="connsiteY47" fmla="*/ 5875998 h 6407421"/>
              <a:gd name="connsiteX48" fmla="*/ 502237 w 1064123"/>
              <a:gd name="connsiteY48" fmla="*/ 5846396 h 6407421"/>
              <a:gd name="connsiteX49" fmla="*/ 531839 w 1064123"/>
              <a:gd name="connsiteY49" fmla="*/ 5846396 h 6407421"/>
              <a:gd name="connsiteX50" fmla="*/ 531839 w 1064123"/>
              <a:gd name="connsiteY50" fmla="*/ 5875998 h 6407421"/>
              <a:gd name="connsiteX51" fmla="*/ 502237 w 1064123"/>
              <a:gd name="connsiteY51" fmla="*/ 5875998 h 6407421"/>
              <a:gd name="connsiteX52" fmla="*/ 236038 w 1064123"/>
              <a:gd name="connsiteY52" fmla="*/ 5846396 h 6407421"/>
              <a:gd name="connsiteX53" fmla="*/ 265640 w 1064123"/>
              <a:gd name="connsiteY53" fmla="*/ 5846396 h 6407421"/>
              <a:gd name="connsiteX54" fmla="*/ 265640 w 1064123"/>
              <a:gd name="connsiteY54" fmla="*/ 5875998 h 6407421"/>
              <a:gd name="connsiteX55" fmla="*/ 236038 w 1064123"/>
              <a:gd name="connsiteY55" fmla="*/ 5875998 h 6407421"/>
              <a:gd name="connsiteX56" fmla="*/ 2 w 1064123"/>
              <a:gd name="connsiteY56" fmla="*/ 5846396 h 6407421"/>
              <a:gd name="connsiteX57" fmla="*/ 29604 w 1064123"/>
              <a:gd name="connsiteY57" fmla="*/ 5846396 h 6407421"/>
              <a:gd name="connsiteX58" fmla="*/ 29604 w 1064123"/>
              <a:gd name="connsiteY58" fmla="*/ 5875998 h 6407421"/>
              <a:gd name="connsiteX59" fmla="*/ 2 w 1064123"/>
              <a:gd name="connsiteY59" fmla="*/ 5875998 h 6407421"/>
              <a:gd name="connsiteX60" fmla="*/ 1034520 w 1064123"/>
              <a:gd name="connsiteY60" fmla="*/ 5580631 h 6407421"/>
              <a:gd name="connsiteX61" fmla="*/ 1064123 w 1064123"/>
              <a:gd name="connsiteY61" fmla="*/ 5580631 h 6407421"/>
              <a:gd name="connsiteX62" fmla="*/ 1064123 w 1064123"/>
              <a:gd name="connsiteY62" fmla="*/ 5610233 h 6407421"/>
              <a:gd name="connsiteX63" fmla="*/ 1034520 w 1064123"/>
              <a:gd name="connsiteY63" fmla="*/ 5610233 h 6407421"/>
              <a:gd name="connsiteX64" fmla="*/ 768328 w 1064123"/>
              <a:gd name="connsiteY64" fmla="*/ 5580631 h 6407421"/>
              <a:gd name="connsiteX65" fmla="*/ 797926 w 1064123"/>
              <a:gd name="connsiteY65" fmla="*/ 5580631 h 6407421"/>
              <a:gd name="connsiteX66" fmla="*/ 797926 w 1064123"/>
              <a:gd name="connsiteY66" fmla="*/ 5610233 h 6407421"/>
              <a:gd name="connsiteX67" fmla="*/ 768328 w 1064123"/>
              <a:gd name="connsiteY67" fmla="*/ 5610233 h 6407421"/>
              <a:gd name="connsiteX68" fmla="*/ 502237 w 1064123"/>
              <a:gd name="connsiteY68" fmla="*/ 5580631 h 6407421"/>
              <a:gd name="connsiteX69" fmla="*/ 531839 w 1064123"/>
              <a:gd name="connsiteY69" fmla="*/ 5580631 h 6407421"/>
              <a:gd name="connsiteX70" fmla="*/ 531839 w 1064123"/>
              <a:gd name="connsiteY70" fmla="*/ 5610233 h 6407421"/>
              <a:gd name="connsiteX71" fmla="*/ 502237 w 1064123"/>
              <a:gd name="connsiteY71" fmla="*/ 5610233 h 6407421"/>
              <a:gd name="connsiteX72" fmla="*/ 236038 w 1064123"/>
              <a:gd name="connsiteY72" fmla="*/ 5580631 h 6407421"/>
              <a:gd name="connsiteX73" fmla="*/ 265640 w 1064123"/>
              <a:gd name="connsiteY73" fmla="*/ 5580631 h 6407421"/>
              <a:gd name="connsiteX74" fmla="*/ 265640 w 1064123"/>
              <a:gd name="connsiteY74" fmla="*/ 5610233 h 6407421"/>
              <a:gd name="connsiteX75" fmla="*/ 236038 w 1064123"/>
              <a:gd name="connsiteY75" fmla="*/ 5610233 h 6407421"/>
              <a:gd name="connsiteX76" fmla="*/ 2 w 1064123"/>
              <a:gd name="connsiteY76" fmla="*/ 5580631 h 6407421"/>
              <a:gd name="connsiteX77" fmla="*/ 29604 w 1064123"/>
              <a:gd name="connsiteY77" fmla="*/ 5580631 h 6407421"/>
              <a:gd name="connsiteX78" fmla="*/ 29604 w 1064123"/>
              <a:gd name="connsiteY78" fmla="*/ 5610233 h 6407421"/>
              <a:gd name="connsiteX79" fmla="*/ 2 w 1064123"/>
              <a:gd name="connsiteY79" fmla="*/ 5610233 h 6407421"/>
              <a:gd name="connsiteX80" fmla="*/ 1034520 w 1064123"/>
              <a:gd name="connsiteY80" fmla="*/ 5314974 h 6407421"/>
              <a:gd name="connsiteX81" fmla="*/ 1064123 w 1064123"/>
              <a:gd name="connsiteY81" fmla="*/ 5314974 h 6407421"/>
              <a:gd name="connsiteX82" fmla="*/ 1064123 w 1064123"/>
              <a:gd name="connsiteY82" fmla="*/ 5344468 h 6407421"/>
              <a:gd name="connsiteX83" fmla="*/ 1034520 w 1064123"/>
              <a:gd name="connsiteY83" fmla="*/ 5344468 h 6407421"/>
              <a:gd name="connsiteX84" fmla="*/ 768328 w 1064123"/>
              <a:gd name="connsiteY84" fmla="*/ 5314974 h 6407421"/>
              <a:gd name="connsiteX85" fmla="*/ 797926 w 1064123"/>
              <a:gd name="connsiteY85" fmla="*/ 5314974 h 6407421"/>
              <a:gd name="connsiteX86" fmla="*/ 797926 w 1064123"/>
              <a:gd name="connsiteY86" fmla="*/ 5344468 h 6407421"/>
              <a:gd name="connsiteX87" fmla="*/ 768328 w 1064123"/>
              <a:gd name="connsiteY87" fmla="*/ 5344468 h 6407421"/>
              <a:gd name="connsiteX88" fmla="*/ 502237 w 1064123"/>
              <a:gd name="connsiteY88" fmla="*/ 5314974 h 6407421"/>
              <a:gd name="connsiteX89" fmla="*/ 531839 w 1064123"/>
              <a:gd name="connsiteY89" fmla="*/ 5314974 h 6407421"/>
              <a:gd name="connsiteX90" fmla="*/ 531839 w 1064123"/>
              <a:gd name="connsiteY90" fmla="*/ 5344468 h 6407421"/>
              <a:gd name="connsiteX91" fmla="*/ 502237 w 1064123"/>
              <a:gd name="connsiteY91" fmla="*/ 5344468 h 6407421"/>
              <a:gd name="connsiteX92" fmla="*/ 236038 w 1064123"/>
              <a:gd name="connsiteY92" fmla="*/ 5314974 h 6407421"/>
              <a:gd name="connsiteX93" fmla="*/ 265640 w 1064123"/>
              <a:gd name="connsiteY93" fmla="*/ 5314974 h 6407421"/>
              <a:gd name="connsiteX94" fmla="*/ 265640 w 1064123"/>
              <a:gd name="connsiteY94" fmla="*/ 5344468 h 6407421"/>
              <a:gd name="connsiteX95" fmla="*/ 236038 w 1064123"/>
              <a:gd name="connsiteY95" fmla="*/ 5344468 h 6407421"/>
              <a:gd name="connsiteX96" fmla="*/ 2 w 1064123"/>
              <a:gd name="connsiteY96" fmla="*/ 5314974 h 6407421"/>
              <a:gd name="connsiteX97" fmla="*/ 29604 w 1064123"/>
              <a:gd name="connsiteY97" fmla="*/ 5314974 h 6407421"/>
              <a:gd name="connsiteX98" fmla="*/ 29604 w 1064123"/>
              <a:gd name="connsiteY98" fmla="*/ 5344468 h 6407421"/>
              <a:gd name="connsiteX99" fmla="*/ 2 w 1064123"/>
              <a:gd name="connsiteY99" fmla="*/ 5344468 h 6407421"/>
              <a:gd name="connsiteX100" fmla="*/ 1034520 w 1064123"/>
              <a:gd name="connsiteY100" fmla="*/ 5049209 h 6407421"/>
              <a:gd name="connsiteX101" fmla="*/ 1064123 w 1064123"/>
              <a:gd name="connsiteY101" fmla="*/ 5049209 h 6407421"/>
              <a:gd name="connsiteX102" fmla="*/ 1064123 w 1064123"/>
              <a:gd name="connsiteY102" fmla="*/ 5078812 h 6407421"/>
              <a:gd name="connsiteX103" fmla="*/ 1034520 w 1064123"/>
              <a:gd name="connsiteY103" fmla="*/ 5078812 h 6407421"/>
              <a:gd name="connsiteX104" fmla="*/ 768328 w 1064123"/>
              <a:gd name="connsiteY104" fmla="*/ 5049209 h 6407421"/>
              <a:gd name="connsiteX105" fmla="*/ 797926 w 1064123"/>
              <a:gd name="connsiteY105" fmla="*/ 5049209 h 6407421"/>
              <a:gd name="connsiteX106" fmla="*/ 797926 w 1064123"/>
              <a:gd name="connsiteY106" fmla="*/ 5078812 h 6407421"/>
              <a:gd name="connsiteX107" fmla="*/ 768328 w 1064123"/>
              <a:gd name="connsiteY107" fmla="*/ 5078812 h 6407421"/>
              <a:gd name="connsiteX108" fmla="*/ 502237 w 1064123"/>
              <a:gd name="connsiteY108" fmla="*/ 5049209 h 6407421"/>
              <a:gd name="connsiteX109" fmla="*/ 531839 w 1064123"/>
              <a:gd name="connsiteY109" fmla="*/ 5049209 h 6407421"/>
              <a:gd name="connsiteX110" fmla="*/ 531839 w 1064123"/>
              <a:gd name="connsiteY110" fmla="*/ 5078812 h 6407421"/>
              <a:gd name="connsiteX111" fmla="*/ 502237 w 1064123"/>
              <a:gd name="connsiteY111" fmla="*/ 5078812 h 6407421"/>
              <a:gd name="connsiteX112" fmla="*/ 236038 w 1064123"/>
              <a:gd name="connsiteY112" fmla="*/ 5049209 h 6407421"/>
              <a:gd name="connsiteX113" fmla="*/ 265640 w 1064123"/>
              <a:gd name="connsiteY113" fmla="*/ 5049209 h 6407421"/>
              <a:gd name="connsiteX114" fmla="*/ 265640 w 1064123"/>
              <a:gd name="connsiteY114" fmla="*/ 5078812 h 6407421"/>
              <a:gd name="connsiteX115" fmla="*/ 236038 w 1064123"/>
              <a:gd name="connsiteY115" fmla="*/ 5078812 h 6407421"/>
              <a:gd name="connsiteX116" fmla="*/ 2 w 1064123"/>
              <a:gd name="connsiteY116" fmla="*/ 5049209 h 6407421"/>
              <a:gd name="connsiteX117" fmla="*/ 29604 w 1064123"/>
              <a:gd name="connsiteY117" fmla="*/ 5049209 h 6407421"/>
              <a:gd name="connsiteX118" fmla="*/ 29604 w 1064123"/>
              <a:gd name="connsiteY118" fmla="*/ 5078812 h 6407421"/>
              <a:gd name="connsiteX119" fmla="*/ 2 w 1064123"/>
              <a:gd name="connsiteY119" fmla="*/ 5078812 h 6407421"/>
              <a:gd name="connsiteX120" fmla="*/ 1034520 w 1064123"/>
              <a:gd name="connsiteY120" fmla="*/ 4783444 h 6407421"/>
              <a:gd name="connsiteX121" fmla="*/ 1064123 w 1064123"/>
              <a:gd name="connsiteY121" fmla="*/ 4783444 h 6407421"/>
              <a:gd name="connsiteX122" fmla="*/ 1064123 w 1064123"/>
              <a:gd name="connsiteY122" fmla="*/ 4813046 h 6407421"/>
              <a:gd name="connsiteX123" fmla="*/ 1034520 w 1064123"/>
              <a:gd name="connsiteY123" fmla="*/ 4813046 h 6407421"/>
              <a:gd name="connsiteX124" fmla="*/ 768327 w 1064123"/>
              <a:gd name="connsiteY124" fmla="*/ 4783444 h 6407421"/>
              <a:gd name="connsiteX125" fmla="*/ 797926 w 1064123"/>
              <a:gd name="connsiteY125" fmla="*/ 4783444 h 6407421"/>
              <a:gd name="connsiteX126" fmla="*/ 797926 w 1064123"/>
              <a:gd name="connsiteY126" fmla="*/ 4813046 h 6407421"/>
              <a:gd name="connsiteX127" fmla="*/ 768327 w 1064123"/>
              <a:gd name="connsiteY127" fmla="*/ 4813046 h 6407421"/>
              <a:gd name="connsiteX128" fmla="*/ 502237 w 1064123"/>
              <a:gd name="connsiteY128" fmla="*/ 4783444 h 6407421"/>
              <a:gd name="connsiteX129" fmla="*/ 531839 w 1064123"/>
              <a:gd name="connsiteY129" fmla="*/ 4783444 h 6407421"/>
              <a:gd name="connsiteX130" fmla="*/ 531839 w 1064123"/>
              <a:gd name="connsiteY130" fmla="*/ 4813046 h 6407421"/>
              <a:gd name="connsiteX131" fmla="*/ 502237 w 1064123"/>
              <a:gd name="connsiteY131" fmla="*/ 4813046 h 6407421"/>
              <a:gd name="connsiteX132" fmla="*/ 236038 w 1064123"/>
              <a:gd name="connsiteY132" fmla="*/ 4783444 h 6407421"/>
              <a:gd name="connsiteX133" fmla="*/ 265640 w 1064123"/>
              <a:gd name="connsiteY133" fmla="*/ 4783444 h 6407421"/>
              <a:gd name="connsiteX134" fmla="*/ 265640 w 1064123"/>
              <a:gd name="connsiteY134" fmla="*/ 4813046 h 6407421"/>
              <a:gd name="connsiteX135" fmla="*/ 236038 w 1064123"/>
              <a:gd name="connsiteY135" fmla="*/ 4813046 h 6407421"/>
              <a:gd name="connsiteX136" fmla="*/ 2 w 1064123"/>
              <a:gd name="connsiteY136" fmla="*/ 4783444 h 6407421"/>
              <a:gd name="connsiteX137" fmla="*/ 29604 w 1064123"/>
              <a:gd name="connsiteY137" fmla="*/ 4783444 h 6407421"/>
              <a:gd name="connsiteX138" fmla="*/ 29604 w 1064123"/>
              <a:gd name="connsiteY138" fmla="*/ 4813046 h 6407421"/>
              <a:gd name="connsiteX139" fmla="*/ 2 w 1064123"/>
              <a:gd name="connsiteY139" fmla="*/ 4813046 h 6407421"/>
              <a:gd name="connsiteX140" fmla="*/ 1034520 w 1064123"/>
              <a:gd name="connsiteY140" fmla="*/ 4517679 h 6407421"/>
              <a:gd name="connsiteX141" fmla="*/ 1064123 w 1064123"/>
              <a:gd name="connsiteY141" fmla="*/ 4517679 h 6407421"/>
              <a:gd name="connsiteX142" fmla="*/ 1064123 w 1064123"/>
              <a:gd name="connsiteY142" fmla="*/ 4547281 h 6407421"/>
              <a:gd name="connsiteX143" fmla="*/ 1034520 w 1064123"/>
              <a:gd name="connsiteY143" fmla="*/ 4547281 h 6407421"/>
              <a:gd name="connsiteX144" fmla="*/ 768327 w 1064123"/>
              <a:gd name="connsiteY144" fmla="*/ 4517679 h 6407421"/>
              <a:gd name="connsiteX145" fmla="*/ 797926 w 1064123"/>
              <a:gd name="connsiteY145" fmla="*/ 4517679 h 6407421"/>
              <a:gd name="connsiteX146" fmla="*/ 797926 w 1064123"/>
              <a:gd name="connsiteY146" fmla="*/ 4547281 h 6407421"/>
              <a:gd name="connsiteX147" fmla="*/ 768327 w 1064123"/>
              <a:gd name="connsiteY147" fmla="*/ 4547281 h 6407421"/>
              <a:gd name="connsiteX148" fmla="*/ 502236 w 1064123"/>
              <a:gd name="connsiteY148" fmla="*/ 4517679 h 6407421"/>
              <a:gd name="connsiteX149" fmla="*/ 531839 w 1064123"/>
              <a:gd name="connsiteY149" fmla="*/ 4517679 h 6407421"/>
              <a:gd name="connsiteX150" fmla="*/ 531839 w 1064123"/>
              <a:gd name="connsiteY150" fmla="*/ 4547281 h 6407421"/>
              <a:gd name="connsiteX151" fmla="*/ 502236 w 1064123"/>
              <a:gd name="connsiteY151" fmla="*/ 4547281 h 6407421"/>
              <a:gd name="connsiteX152" fmla="*/ 236037 w 1064123"/>
              <a:gd name="connsiteY152" fmla="*/ 4517679 h 6407421"/>
              <a:gd name="connsiteX153" fmla="*/ 265640 w 1064123"/>
              <a:gd name="connsiteY153" fmla="*/ 4517679 h 6407421"/>
              <a:gd name="connsiteX154" fmla="*/ 265640 w 1064123"/>
              <a:gd name="connsiteY154" fmla="*/ 4547281 h 6407421"/>
              <a:gd name="connsiteX155" fmla="*/ 236037 w 1064123"/>
              <a:gd name="connsiteY155" fmla="*/ 4547281 h 6407421"/>
              <a:gd name="connsiteX156" fmla="*/ 2 w 1064123"/>
              <a:gd name="connsiteY156" fmla="*/ 4517679 h 6407421"/>
              <a:gd name="connsiteX157" fmla="*/ 29603 w 1064123"/>
              <a:gd name="connsiteY157" fmla="*/ 4517679 h 6407421"/>
              <a:gd name="connsiteX158" fmla="*/ 29603 w 1064123"/>
              <a:gd name="connsiteY158" fmla="*/ 4547281 h 6407421"/>
              <a:gd name="connsiteX159" fmla="*/ 2 w 1064123"/>
              <a:gd name="connsiteY159" fmla="*/ 4547281 h 6407421"/>
              <a:gd name="connsiteX160" fmla="*/ 1034520 w 1064123"/>
              <a:gd name="connsiteY160" fmla="*/ 4252022 h 6407421"/>
              <a:gd name="connsiteX161" fmla="*/ 1064123 w 1064123"/>
              <a:gd name="connsiteY161" fmla="*/ 4252022 h 6407421"/>
              <a:gd name="connsiteX162" fmla="*/ 1064123 w 1064123"/>
              <a:gd name="connsiteY162" fmla="*/ 4281516 h 6407421"/>
              <a:gd name="connsiteX163" fmla="*/ 1034520 w 1064123"/>
              <a:gd name="connsiteY163" fmla="*/ 4281516 h 6407421"/>
              <a:gd name="connsiteX164" fmla="*/ 768327 w 1064123"/>
              <a:gd name="connsiteY164" fmla="*/ 4252022 h 6407421"/>
              <a:gd name="connsiteX165" fmla="*/ 797926 w 1064123"/>
              <a:gd name="connsiteY165" fmla="*/ 4252022 h 6407421"/>
              <a:gd name="connsiteX166" fmla="*/ 797926 w 1064123"/>
              <a:gd name="connsiteY166" fmla="*/ 4281516 h 6407421"/>
              <a:gd name="connsiteX167" fmla="*/ 768327 w 1064123"/>
              <a:gd name="connsiteY167" fmla="*/ 4281516 h 6407421"/>
              <a:gd name="connsiteX168" fmla="*/ 502236 w 1064123"/>
              <a:gd name="connsiteY168" fmla="*/ 4252022 h 6407421"/>
              <a:gd name="connsiteX169" fmla="*/ 531839 w 1064123"/>
              <a:gd name="connsiteY169" fmla="*/ 4252022 h 6407421"/>
              <a:gd name="connsiteX170" fmla="*/ 531839 w 1064123"/>
              <a:gd name="connsiteY170" fmla="*/ 4281516 h 6407421"/>
              <a:gd name="connsiteX171" fmla="*/ 502236 w 1064123"/>
              <a:gd name="connsiteY171" fmla="*/ 4281516 h 6407421"/>
              <a:gd name="connsiteX172" fmla="*/ 236037 w 1064123"/>
              <a:gd name="connsiteY172" fmla="*/ 4252022 h 6407421"/>
              <a:gd name="connsiteX173" fmla="*/ 265640 w 1064123"/>
              <a:gd name="connsiteY173" fmla="*/ 4252022 h 6407421"/>
              <a:gd name="connsiteX174" fmla="*/ 265640 w 1064123"/>
              <a:gd name="connsiteY174" fmla="*/ 4281516 h 6407421"/>
              <a:gd name="connsiteX175" fmla="*/ 236037 w 1064123"/>
              <a:gd name="connsiteY175" fmla="*/ 4281516 h 6407421"/>
              <a:gd name="connsiteX176" fmla="*/ 1 w 1064123"/>
              <a:gd name="connsiteY176" fmla="*/ 4252022 h 6407421"/>
              <a:gd name="connsiteX177" fmla="*/ 29603 w 1064123"/>
              <a:gd name="connsiteY177" fmla="*/ 4252022 h 6407421"/>
              <a:gd name="connsiteX178" fmla="*/ 29603 w 1064123"/>
              <a:gd name="connsiteY178" fmla="*/ 4281516 h 6407421"/>
              <a:gd name="connsiteX179" fmla="*/ 1 w 1064123"/>
              <a:gd name="connsiteY179" fmla="*/ 4281516 h 6407421"/>
              <a:gd name="connsiteX180" fmla="*/ 1034520 w 1064123"/>
              <a:gd name="connsiteY180" fmla="*/ 3986257 h 6407421"/>
              <a:gd name="connsiteX181" fmla="*/ 1064123 w 1064123"/>
              <a:gd name="connsiteY181" fmla="*/ 3986257 h 6407421"/>
              <a:gd name="connsiteX182" fmla="*/ 1064123 w 1064123"/>
              <a:gd name="connsiteY182" fmla="*/ 4015859 h 6407421"/>
              <a:gd name="connsiteX183" fmla="*/ 1034520 w 1064123"/>
              <a:gd name="connsiteY183" fmla="*/ 4015859 h 6407421"/>
              <a:gd name="connsiteX184" fmla="*/ 768327 w 1064123"/>
              <a:gd name="connsiteY184" fmla="*/ 3986257 h 6407421"/>
              <a:gd name="connsiteX185" fmla="*/ 797926 w 1064123"/>
              <a:gd name="connsiteY185" fmla="*/ 3986257 h 6407421"/>
              <a:gd name="connsiteX186" fmla="*/ 797926 w 1064123"/>
              <a:gd name="connsiteY186" fmla="*/ 4015859 h 6407421"/>
              <a:gd name="connsiteX187" fmla="*/ 768327 w 1064123"/>
              <a:gd name="connsiteY187" fmla="*/ 4015859 h 6407421"/>
              <a:gd name="connsiteX188" fmla="*/ 502236 w 1064123"/>
              <a:gd name="connsiteY188" fmla="*/ 3986257 h 6407421"/>
              <a:gd name="connsiteX189" fmla="*/ 531839 w 1064123"/>
              <a:gd name="connsiteY189" fmla="*/ 3986257 h 6407421"/>
              <a:gd name="connsiteX190" fmla="*/ 531839 w 1064123"/>
              <a:gd name="connsiteY190" fmla="*/ 4015859 h 6407421"/>
              <a:gd name="connsiteX191" fmla="*/ 502236 w 1064123"/>
              <a:gd name="connsiteY191" fmla="*/ 4015859 h 6407421"/>
              <a:gd name="connsiteX192" fmla="*/ 236037 w 1064123"/>
              <a:gd name="connsiteY192" fmla="*/ 3986257 h 6407421"/>
              <a:gd name="connsiteX193" fmla="*/ 265640 w 1064123"/>
              <a:gd name="connsiteY193" fmla="*/ 3986257 h 6407421"/>
              <a:gd name="connsiteX194" fmla="*/ 265640 w 1064123"/>
              <a:gd name="connsiteY194" fmla="*/ 4015859 h 6407421"/>
              <a:gd name="connsiteX195" fmla="*/ 236037 w 1064123"/>
              <a:gd name="connsiteY195" fmla="*/ 4015859 h 6407421"/>
              <a:gd name="connsiteX196" fmla="*/ 1 w 1064123"/>
              <a:gd name="connsiteY196" fmla="*/ 3986257 h 6407421"/>
              <a:gd name="connsiteX197" fmla="*/ 29603 w 1064123"/>
              <a:gd name="connsiteY197" fmla="*/ 3986257 h 6407421"/>
              <a:gd name="connsiteX198" fmla="*/ 29603 w 1064123"/>
              <a:gd name="connsiteY198" fmla="*/ 4015859 h 6407421"/>
              <a:gd name="connsiteX199" fmla="*/ 1 w 1064123"/>
              <a:gd name="connsiteY199" fmla="*/ 4015859 h 6407421"/>
              <a:gd name="connsiteX200" fmla="*/ 1034520 w 1064123"/>
              <a:gd name="connsiteY200" fmla="*/ 3720492 h 6407421"/>
              <a:gd name="connsiteX201" fmla="*/ 1064123 w 1064123"/>
              <a:gd name="connsiteY201" fmla="*/ 3720492 h 6407421"/>
              <a:gd name="connsiteX202" fmla="*/ 1064123 w 1064123"/>
              <a:gd name="connsiteY202" fmla="*/ 3750094 h 6407421"/>
              <a:gd name="connsiteX203" fmla="*/ 1034520 w 1064123"/>
              <a:gd name="connsiteY203" fmla="*/ 3750094 h 6407421"/>
              <a:gd name="connsiteX204" fmla="*/ 768327 w 1064123"/>
              <a:gd name="connsiteY204" fmla="*/ 3720492 h 6407421"/>
              <a:gd name="connsiteX205" fmla="*/ 797926 w 1064123"/>
              <a:gd name="connsiteY205" fmla="*/ 3720492 h 6407421"/>
              <a:gd name="connsiteX206" fmla="*/ 797926 w 1064123"/>
              <a:gd name="connsiteY206" fmla="*/ 3750094 h 6407421"/>
              <a:gd name="connsiteX207" fmla="*/ 768327 w 1064123"/>
              <a:gd name="connsiteY207" fmla="*/ 3750094 h 6407421"/>
              <a:gd name="connsiteX208" fmla="*/ 502236 w 1064123"/>
              <a:gd name="connsiteY208" fmla="*/ 3720492 h 6407421"/>
              <a:gd name="connsiteX209" fmla="*/ 531839 w 1064123"/>
              <a:gd name="connsiteY209" fmla="*/ 3720492 h 6407421"/>
              <a:gd name="connsiteX210" fmla="*/ 531839 w 1064123"/>
              <a:gd name="connsiteY210" fmla="*/ 3750094 h 6407421"/>
              <a:gd name="connsiteX211" fmla="*/ 502236 w 1064123"/>
              <a:gd name="connsiteY211" fmla="*/ 3750094 h 6407421"/>
              <a:gd name="connsiteX212" fmla="*/ 236037 w 1064123"/>
              <a:gd name="connsiteY212" fmla="*/ 3720492 h 6407421"/>
              <a:gd name="connsiteX213" fmla="*/ 265640 w 1064123"/>
              <a:gd name="connsiteY213" fmla="*/ 3720492 h 6407421"/>
              <a:gd name="connsiteX214" fmla="*/ 265640 w 1064123"/>
              <a:gd name="connsiteY214" fmla="*/ 3750094 h 6407421"/>
              <a:gd name="connsiteX215" fmla="*/ 236037 w 1064123"/>
              <a:gd name="connsiteY215" fmla="*/ 3750094 h 6407421"/>
              <a:gd name="connsiteX216" fmla="*/ 1 w 1064123"/>
              <a:gd name="connsiteY216" fmla="*/ 3720492 h 6407421"/>
              <a:gd name="connsiteX217" fmla="*/ 29603 w 1064123"/>
              <a:gd name="connsiteY217" fmla="*/ 3720492 h 6407421"/>
              <a:gd name="connsiteX218" fmla="*/ 29603 w 1064123"/>
              <a:gd name="connsiteY218" fmla="*/ 3750094 h 6407421"/>
              <a:gd name="connsiteX219" fmla="*/ 1 w 1064123"/>
              <a:gd name="connsiteY219" fmla="*/ 3750094 h 6407421"/>
              <a:gd name="connsiteX220" fmla="*/ 1034520 w 1064123"/>
              <a:gd name="connsiteY220" fmla="*/ 2657443 h 6407421"/>
              <a:gd name="connsiteX221" fmla="*/ 1064123 w 1064123"/>
              <a:gd name="connsiteY221" fmla="*/ 2657443 h 6407421"/>
              <a:gd name="connsiteX222" fmla="*/ 1064123 w 1064123"/>
              <a:gd name="connsiteY222" fmla="*/ 2687045 h 6407421"/>
              <a:gd name="connsiteX223" fmla="*/ 1034520 w 1064123"/>
              <a:gd name="connsiteY223" fmla="*/ 2687045 h 6407421"/>
              <a:gd name="connsiteX224" fmla="*/ 768327 w 1064123"/>
              <a:gd name="connsiteY224" fmla="*/ 2657440 h 6407421"/>
              <a:gd name="connsiteX225" fmla="*/ 797926 w 1064123"/>
              <a:gd name="connsiteY225" fmla="*/ 2657440 h 6407421"/>
              <a:gd name="connsiteX226" fmla="*/ 797926 w 1064123"/>
              <a:gd name="connsiteY226" fmla="*/ 2687042 h 6407421"/>
              <a:gd name="connsiteX227" fmla="*/ 768327 w 1064123"/>
              <a:gd name="connsiteY227" fmla="*/ 2687042 h 6407421"/>
              <a:gd name="connsiteX228" fmla="*/ 502236 w 1064123"/>
              <a:gd name="connsiteY228" fmla="*/ 2657437 h 6407421"/>
              <a:gd name="connsiteX229" fmla="*/ 531838 w 1064123"/>
              <a:gd name="connsiteY229" fmla="*/ 2657437 h 6407421"/>
              <a:gd name="connsiteX230" fmla="*/ 531838 w 1064123"/>
              <a:gd name="connsiteY230" fmla="*/ 2687039 h 6407421"/>
              <a:gd name="connsiteX231" fmla="*/ 502236 w 1064123"/>
              <a:gd name="connsiteY231" fmla="*/ 2687039 h 6407421"/>
              <a:gd name="connsiteX232" fmla="*/ 236037 w 1064123"/>
              <a:gd name="connsiteY232" fmla="*/ 2657434 h 6407421"/>
              <a:gd name="connsiteX233" fmla="*/ 265639 w 1064123"/>
              <a:gd name="connsiteY233" fmla="*/ 2657434 h 6407421"/>
              <a:gd name="connsiteX234" fmla="*/ 265639 w 1064123"/>
              <a:gd name="connsiteY234" fmla="*/ 2687036 h 6407421"/>
              <a:gd name="connsiteX235" fmla="*/ 236037 w 1064123"/>
              <a:gd name="connsiteY235" fmla="*/ 2687036 h 6407421"/>
              <a:gd name="connsiteX236" fmla="*/ 1 w 1064123"/>
              <a:gd name="connsiteY236" fmla="*/ 2657434 h 6407421"/>
              <a:gd name="connsiteX237" fmla="*/ 29603 w 1064123"/>
              <a:gd name="connsiteY237" fmla="*/ 2657434 h 6407421"/>
              <a:gd name="connsiteX238" fmla="*/ 29603 w 1064123"/>
              <a:gd name="connsiteY238" fmla="*/ 2687036 h 6407421"/>
              <a:gd name="connsiteX239" fmla="*/ 1 w 1064123"/>
              <a:gd name="connsiteY239" fmla="*/ 2687036 h 6407421"/>
              <a:gd name="connsiteX240" fmla="*/ 1034520 w 1064123"/>
              <a:gd name="connsiteY240" fmla="*/ 2391678 h 6407421"/>
              <a:gd name="connsiteX241" fmla="*/ 1064123 w 1064123"/>
              <a:gd name="connsiteY241" fmla="*/ 2391678 h 6407421"/>
              <a:gd name="connsiteX242" fmla="*/ 1064123 w 1064123"/>
              <a:gd name="connsiteY242" fmla="*/ 2421288 h 6407421"/>
              <a:gd name="connsiteX243" fmla="*/ 1034520 w 1064123"/>
              <a:gd name="connsiteY243" fmla="*/ 2421288 h 6407421"/>
              <a:gd name="connsiteX244" fmla="*/ 768327 w 1064123"/>
              <a:gd name="connsiteY244" fmla="*/ 2391675 h 6407421"/>
              <a:gd name="connsiteX245" fmla="*/ 797926 w 1064123"/>
              <a:gd name="connsiteY245" fmla="*/ 2391675 h 6407421"/>
              <a:gd name="connsiteX246" fmla="*/ 797926 w 1064123"/>
              <a:gd name="connsiteY246" fmla="*/ 2421283 h 6407421"/>
              <a:gd name="connsiteX247" fmla="*/ 768327 w 1064123"/>
              <a:gd name="connsiteY247" fmla="*/ 2421283 h 6407421"/>
              <a:gd name="connsiteX248" fmla="*/ 502236 w 1064123"/>
              <a:gd name="connsiteY248" fmla="*/ 2391672 h 6407421"/>
              <a:gd name="connsiteX249" fmla="*/ 531838 w 1064123"/>
              <a:gd name="connsiteY249" fmla="*/ 2391672 h 6407421"/>
              <a:gd name="connsiteX250" fmla="*/ 531838 w 1064123"/>
              <a:gd name="connsiteY250" fmla="*/ 2421278 h 6407421"/>
              <a:gd name="connsiteX251" fmla="*/ 502236 w 1064123"/>
              <a:gd name="connsiteY251" fmla="*/ 2421278 h 6407421"/>
              <a:gd name="connsiteX252" fmla="*/ 236037 w 1064123"/>
              <a:gd name="connsiteY252" fmla="*/ 2391669 h 6407421"/>
              <a:gd name="connsiteX253" fmla="*/ 265639 w 1064123"/>
              <a:gd name="connsiteY253" fmla="*/ 2391669 h 6407421"/>
              <a:gd name="connsiteX254" fmla="*/ 265639 w 1064123"/>
              <a:gd name="connsiteY254" fmla="*/ 2421272 h 6407421"/>
              <a:gd name="connsiteX255" fmla="*/ 236037 w 1064123"/>
              <a:gd name="connsiteY255" fmla="*/ 2421272 h 6407421"/>
              <a:gd name="connsiteX256" fmla="*/ 1 w 1064123"/>
              <a:gd name="connsiteY256" fmla="*/ 2391669 h 6407421"/>
              <a:gd name="connsiteX257" fmla="*/ 29603 w 1064123"/>
              <a:gd name="connsiteY257" fmla="*/ 2391669 h 6407421"/>
              <a:gd name="connsiteX258" fmla="*/ 29603 w 1064123"/>
              <a:gd name="connsiteY258" fmla="*/ 2421272 h 6407421"/>
              <a:gd name="connsiteX259" fmla="*/ 1 w 1064123"/>
              <a:gd name="connsiteY259" fmla="*/ 2421272 h 6407421"/>
              <a:gd name="connsiteX260" fmla="*/ 1034520 w 1064123"/>
              <a:gd name="connsiteY260" fmla="*/ 2126020 h 6407421"/>
              <a:gd name="connsiteX261" fmla="*/ 1064123 w 1064123"/>
              <a:gd name="connsiteY261" fmla="*/ 2126020 h 6407421"/>
              <a:gd name="connsiteX262" fmla="*/ 1064123 w 1064123"/>
              <a:gd name="connsiteY262" fmla="*/ 2155517 h 6407421"/>
              <a:gd name="connsiteX263" fmla="*/ 1034520 w 1064123"/>
              <a:gd name="connsiteY263" fmla="*/ 2155517 h 6407421"/>
              <a:gd name="connsiteX264" fmla="*/ 768327 w 1064123"/>
              <a:gd name="connsiteY264" fmla="*/ 2126017 h 6407421"/>
              <a:gd name="connsiteX265" fmla="*/ 797926 w 1064123"/>
              <a:gd name="connsiteY265" fmla="*/ 2126017 h 6407421"/>
              <a:gd name="connsiteX266" fmla="*/ 797926 w 1064123"/>
              <a:gd name="connsiteY266" fmla="*/ 2155513 h 6407421"/>
              <a:gd name="connsiteX267" fmla="*/ 768327 w 1064123"/>
              <a:gd name="connsiteY267" fmla="*/ 2155513 h 6407421"/>
              <a:gd name="connsiteX268" fmla="*/ 502236 w 1064123"/>
              <a:gd name="connsiteY268" fmla="*/ 2126014 h 6407421"/>
              <a:gd name="connsiteX269" fmla="*/ 531838 w 1064123"/>
              <a:gd name="connsiteY269" fmla="*/ 2126014 h 6407421"/>
              <a:gd name="connsiteX270" fmla="*/ 531838 w 1064123"/>
              <a:gd name="connsiteY270" fmla="*/ 2155510 h 6407421"/>
              <a:gd name="connsiteX271" fmla="*/ 502236 w 1064123"/>
              <a:gd name="connsiteY271" fmla="*/ 2155510 h 6407421"/>
              <a:gd name="connsiteX272" fmla="*/ 236037 w 1064123"/>
              <a:gd name="connsiteY272" fmla="*/ 2126012 h 6407421"/>
              <a:gd name="connsiteX273" fmla="*/ 265639 w 1064123"/>
              <a:gd name="connsiteY273" fmla="*/ 2126012 h 6407421"/>
              <a:gd name="connsiteX274" fmla="*/ 265639 w 1064123"/>
              <a:gd name="connsiteY274" fmla="*/ 2155506 h 6407421"/>
              <a:gd name="connsiteX275" fmla="*/ 236037 w 1064123"/>
              <a:gd name="connsiteY275" fmla="*/ 2155506 h 6407421"/>
              <a:gd name="connsiteX276" fmla="*/ 1 w 1064123"/>
              <a:gd name="connsiteY276" fmla="*/ 2126012 h 6407421"/>
              <a:gd name="connsiteX277" fmla="*/ 29603 w 1064123"/>
              <a:gd name="connsiteY277" fmla="*/ 2126012 h 6407421"/>
              <a:gd name="connsiteX278" fmla="*/ 29603 w 1064123"/>
              <a:gd name="connsiteY278" fmla="*/ 2155506 h 6407421"/>
              <a:gd name="connsiteX279" fmla="*/ 1 w 1064123"/>
              <a:gd name="connsiteY279" fmla="*/ 2155506 h 6407421"/>
              <a:gd name="connsiteX280" fmla="*/ 1034520 w 1064123"/>
              <a:gd name="connsiteY280" fmla="*/ 1860254 h 6407421"/>
              <a:gd name="connsiteX281" fmla="*/ 1064123 w 1064123"/>
              <a:gd name="connsiteY281" fmla="*/ 1860254 h 6407421"/>
              <a:gd name="connsiteX282" fmla="*/ 1064123 w 1064123"/>
              <a:gd name="connsiteY282" fmla="*/ 1889747 h 6407421"/>
              <a:gd name="connsiteX283" fmla="*/ 1034520 w 1064123"/>
              <a:gd name="connsiteY283" fmla="*/ 1889747 h 6407421"/>
              <a:gd name="connsiteX284" fmla="*/ 768327 w 1064123"/>
              <a:gd name="connsiteY284" fmla="*/ 1860252 h 6407421"/>
              <a:gd name="connsiteX285" fmla="*/ 797926 w 1064123"/>
              <a:gd name="connsiteY285" fmla="*/ 1860252 h 6407421"/>
              <a:gd name="connsiteX286" fmla="*/ 797926 w 1064123"/>
              <a:gd name="connsiteY286" fmla="*/ 1889745 h 6407421"/>
              <a:gd name="connsiteX287" fmla="*/ 768327 w 1064123"/>
              <a:gd name="connsiteY287" fmla="*/ 1889745 h 6407421"/>
              <a:gd name="connsiteX288" fmla="*/ 502236 w 1064123"/>
              <a:gd name="connsiteY288" fmla="*/ 1860249 h 6407421"/>
              <a:gd name="connsiteX289" fmla="*/ 531838 w 1064123"/>
              <a:gd name="connsiteY289" fmla="*/ 1860249 h 6407421"/>
              <a:gd name="connsiteX290" fmla="*/ 531838 w 1064123"/>
              <a:gd name="connsiteY290" fmla="*/ 1889744 h 6407421"/>
              <a:gd name="connsiteX291" fmla="*/ 502236 w 1064123"/>
              <a:gd name="connsiteY291" fmla="*/ 1889744 h 6407421"/>
              <a:gd name="connsiteX292" fmla="*/ 236037 w 1064123"/>
              <a:gd name="connsiteY292" fmla="*/ 1860247 h 6407421"/>
              <a:gd name="connsiteX293" fmla="*/ 265639 w 1064123"/>
              <a:gd name="connsiteY293" fmla="*/ 1860247 h 6407421"/>
              <a:gd name="connsiteX294" fmla="*/ 265639 w 1064123"/>
              <a:gd name="connsiteY294" fmla="*/ 1889742 h 6407421"/>
              <a:gd name="connsiteX295" fmla="*/ 236037 w 1064123"/>
              <a:gd name="connsiteY295" fmla="*/ 1889742 h 6407421"/>
              <a:gd name="connsiteX296" fmla="*/ 1 w 1064123"/>
              <a:gd name="connsiteY296" fmla="*/ 1860247 h 6407421"/>
              <a:gd name="connsiteX297" fmla="*/ 29603 w 1064123"/>
              <a:gd name="connsiteY297" fmla="*/ 1860247 h 6407421"/>
              <a:gd name="connsiteX298" fmla="*/ 29603 w 1064123"/>
              <a:gd name="connsiteY298" fmla="*/ 1889742 h 6407421"/>
              <a:gd name="connsiteX299" fmla="*/ 1 w 1064123"/>
              <a:gd name="connsiteY299" fmla="*/ 1889742 h 6407421"/>
              <a:gd name="connsiteX300" fmla="*/ 1034520 w 1064123"/>
              <a:gd name="connsiteY300" fmla="*/ 1594489 h 6407421"/>
              <a:gd name="connsiteX301" fmla="*/ 1064123 w 1064123"/>
              <a:gd name="connsiteY301" fmla="*/ 1594489 h 6407421"/>
              <a:gd name="connsiteX302" fmla="*/ 1064123 w 1064123"/>
              <a:gd name="connsiteY302" fmla="*/ 1624092 h 6407421"/>
              <a:gd name="connsiteX303" fmla="*/ 1034520 w 1064123"/>
              <a:gd name="connsiteY303" fmla="*/ 1624092 h 6407421"/>
              <a:gd name="connsiteX304" fmla="*/ 768327 w 1064123"/>
              <a:gd name="connsiteY304" fmla="*/ 1594486 h 6407421"/>
              <a:gd name="connsiteX305" fmla="*/ 797926 w 1064123"/>
              <a:gd name="connsiteY305" fmla="*/ 1594486 h 6407421"/>
              <a:gd name="connsiteX306" fmla="*/ 797926 w 1064123"/>
              <a:gd name="connsiteY306" fmla="*/ 1624090 h 6407421"/>
              <a:gd name="connsiteX307" fmla="*/ 768327 w 1064123"/>
              <a:gd name="connsiteY307" fmla="*/ 1624090 h 6407421"/>
              <a:gd name="connsiteX308" fmla="*/ 502236 w 1064123"/>
              <a:gd name="connsiteY308" fmla="*/ 1594484 h 6407421"/>
              <a:gd name="connsiteX309" fmla="*/ 531838 w 1064123"/>
              <a:gd name="connsiteY309" fmla="*/ 1594484 h 6407421"/>
              <a:gd name="connsiteX310" fmla="*/ 531838 w 1064123"/>
              <a:gd name="connsiteY310" fmla="*/ 1624087 h 6407421"/>
              <a:gd name="connsiteX311" fmla="*/ 502236 w 1064123"/>
              <a:gd name="connsiteY311" fmla="*/ 1624087 h 6407421"/>
              <a:gd name="connsiteX312" fmla="*/ 236037 w 1064123"/>
              <a:gd name="connsiteY312" fmla="*/ 1594482 h 6407421"/>
              <a:gd name="connsiteX313" fmla="*/ 265639 w 1064123"/>
              <a:gd name="connsiteY313" fmla="*/ 1594482 h 6407421"/>
              <a:gd name="connsiteX314" fmla="*/ 265639 w 1064123"/>
              <a:gd name="connsiteY314" fmla="*/ 1624085 h 6407421"/>
              <a:gd name="connsiteX315" fmla="*/ 236037 w 1064123"/>
              <a:gd name="connsiteY315" fmla="*/ 1624085 h 6407421"/>
              <a:gd name="connsiteX316" fmla="*/ 1 w 1064123"/>
              <a:gd name="connsiteY316" fmla="*/ 1594482 h 6407421"/>
              <a:gd name="connsiteX317" fmla="*/ 29603 w 1064123"/>
              <a:gd name="connsiteY317" fmla="*/ 1594482 h 6407421"/>
              <a:gd name="connsiteX318" fmla="*/ 29603 w 1064123"/>
              <a:gd name="connsiteY318" fmla="*/ 1624085 h 6407421"/>
              <a:gd name="connsiteX319" fmla="*/ 1 w 1064123"/>
              <a:gd name="connsiteY319" fmla="*/ 1624085 h 6407421"/>
              <a:gd name="connsiteX320" fmla="*/ 1034520 w 1064123"/>
              <a:gd name="connsiteY320" fmla="*/ 1328724 h 6407421"/>
              <a:gd name="connsiteX321" fmla="*/ 1064123 w 1064123"/>
              <a:gd name="connsiteY321" fmla="*/ 1328724 h 6407421"/>
              <a:gd name="connsiteX322" fmla="*/ 1064123 w 1064123"/>
              <a:gd name="connsiteY322" fmla="*/ 1358328 h 6407421"/>
              <a:gd name="connsiteX323" fmla="*/ 1034520 w 1064123"/>
              <a:gd name="connsiteY323" fmla="*/ 1358328 h 6407421"/>
              <a:gd name="connsiteX324" fmla="*/ 768327 w 1064123"/>
              <a:gd name="connsiteY324" fmla="*/ 1328722 h 6407421"/>
              <a:gd name="connsiteX325" fmla="*/ 797926 w 1064123"/>
              <a:gd name="connsiteY325" fmla="*/ 1328722 h 6407421"/>
              <a:gd name="connsiteX326" fmla="*/ 797926 w 1064123"/>
              <a:gd name="connsiteY326" fmla="*/ 1358325 h 6407421"/>
              <a:gd name="connsiteX327" fmla="*/ 768327 w 1064123"/>
              <a:gd name="connsiteY327" fmla="*/ 1358325 h 6407421"/>
              <a:gd name="connsiteX328" fmla="*/ 502236 w 1064123"/>
              <a:gd name="connsiteY328" fmla="*/ 1328719 h 6407421"/>
              <a:gd name="connsiteX329" fmla="*/ 531838 w 1064123"/>
              <a:gd name="connsiteY329" fmla="*/ 1328719 h 6407421"/>
              <a:gd name="connsiteX330" fmla="*/ 531838 w 1064123"/>
              <a:gd name="connsiteY330" fmla="*/ 1358323 h 6407421"/>
              <a:gd name="connsiteX331" fmla="*/ 502236 w 1064123"/>
              <a:gd name="connsiteY331" fmla="*/ 1358323 h 6407421"/>
              <a:gd name="connsiteX332" fmla="*/ 236036 w 1064123"/>
              <a:gd name="connsiteY332" fmla="*/ 1328717 h 6407421"/>
              <a:gd name="connsiteX333" fmla="*/ 265639 w 1064123"/>
              <a:gd name="connsiteY333" fmla="*/ 1328717 h 6407421"/>
              <a:gd name="connsiteX334" fmla="*/ 265639 w 1064123"/>
              <a:gd name="connsiteY334" fmla="*/ 1358320 h 6407421"/>
              <a:gd name="connsiteX335" fmla="*/ 236036 w 1064123"/>
              <a:gd name="connsiteY335" fmla="*/ 1358320 h 6407421"/>
              <a:gd name="connsiteX336" fmla="*/ 1 w 1064123"/>
              <a:gd name="connsiteY336" fmla="*/ 1328717 h 6407421"/>
              <a:gd name="connsiteX337" fmla="*/ 29602 w 1064123"/>
              <a:gd name="connsiteY337" fmla="*/ 1328717 h 6407421"/>
              <a:gd name="connsiteX338" fmla="*/ 29602 w 1064123"/>
              <a:gd name="connsiteY338" fmla="*/ 1358320 h 6407421"/>
              <a:gd name="connsiteX339" fmla="*/ 1 w 1064123"/>
              <a:gd name="connsiteY339" fmla="*/ 1358320 h 6407421"/>
              <a:gd name="connsiteX340" fmla="*/ 1034520 w 1064123"/>
              <a:gd name="connsiteY340" fmla="*/ 1063069 h 6407421"/>
              <a:gd name="connsiteX341" fmla="*/ 1064123 w 1064123"/>
              <a:gd name="connsiteY341" fmla="*/ 1063069 h 6407421"/>
              <a:gd name="connsiteX342" fmla="*/ 1064123 w 1064123"/>
              <a:gd name="connsiteY342" fmla="*/ 1092563 h 6407421"/>
              <a:gd name="connsiteX343" fmla="*/ 1034520 w 1064123"/>
              <a:gd name="connsiteY343" fmla="*/ 1092563 h 6407421"/>
              <a:gd name="connsiteX344" fmla="*/ 768326 w 1064123"/>
              <a:gd name="connsiteY344" fmla="*/ 1063066 h 6407421"/>
              <a:gd name="connsiteX345" fmla="*/ 797926 w 1064123"/>
              <a:gd name="connsiteY345" fmla="*/ 1063066 h 6407421"/>
              <a:gd name="connsiteX346" fmla="*/ 797926 w 1064123"/>
              <a:gd name="connsiteY346" fmla="*/ 1092560 h 6407421"/>
              <a:gd name="connsiteX347" fmla="*/ 768326 w 1064123"/>
              <a:gd name="connsiteY347" fmla="*/ 1092560 h 6407421"/>
              <a:gd name="connsiteX348" fmla="*/ 502235 w 1064123"/>
              <a:gd name="connsiteY348" fmla="*/ 1063063 h 6407421"/>
              <a:gd name="connsiteX349" fmla="*/ 531838 w 1064123"/>
              <a:gd name="connsiteY349" fmla="*/ 1063063 h 6407421"/>
              <a:gd name="connsiteX350" fmla="*/ 531838 w 1064123"/>
              <a:gd name="connsiteY350" fmla="*/ 1092557 h 6407421"/>
              <a:gd name="connsiteX351" fmla="*/ 502235 w 1064123"/>
              <a:gd name="connsiteY351" fmla="*/ 1092557 h 6407421"/>
              <a:gd name="connsiteX352" fmla="*/ 236036 w 1064123"/>
              <a:gd name="connsiteY352" fmla="*/ 1063059 h 6407421"/>
              <a:gd name="connsiteX353" fmla="*/ 265639 w 1064123"/>
              <a:gd name="connsiteY353" fmla="*/ 1063059 h 6407421"/>
              <a:gd name="connsiteX354" fmla="*/ 265639 w 1064123"/>
              <a:gd name="connsiteY354" fmla="*/ 1092554 h 6407421"/>
              <a:gd name="connsiteX355" fmla="*/ 236036 w 1064123"/>
              <a:gd name="connsiteY355" fmla="*/ 1092554 h 6407421"/>
              <a:gd name="connsiteX356" fmla="*/ 0 w 1064123"/>
              <a:gd name="connsiteY356" fmla="*/ 1063059 h 6407421"/>
              <a:gd name="connsiteX357" fmla="*/ 29602 w 1064123"/>
              <a:gd name="connsiteY357" fmla="*/ 1063059 h 6407421"/>
              <a:gd name="connsiteX358" fmla="*/ 29602 w 1064123"/>
              <a:gd name="connsiteY358" fmla="*/ 1092554 h 6407421"/>
              <a:gd name="connsiteX359" fmla="*/ 0 w 1064123"/>
              <a:gd name="connsiteY359" fmla="*/ 1092554 h 6407421"/>
              <a:gd name="connsiteX360" fmla="*/ 1034520 w 1064123"/>
              <a:gd name="connsiteY360" fmla="*/ 797300 h 6407421"/>
              <a:gd name="connsiteX361" fmla="*/ 1064123 w 1064123"/>
              <a:gd name="connsiteY361" fmla="*/ 797300 h 6407421"/>
              <a:gd name="connsiteX362" fmla="*/ 1064123 w 1064123"/>
              <a:gd name="connsiteY362" fmla="*/ 826797 h 6407421"/>
              <a:gd name="connsiteX363" fmla="*/ 1034520 w 1064123"/>
              <a:gd name="connsiteY363" fmla="*/ 826797 h 6407421"/>
              <a:gd name="connsiteX364" fmla="*/ 768326 w 1064123"/>
              <a:gd name="connsiteY364" fmla="*/ 797298 h 6407421"/>
              <a:gd name="connsiteX365" fmla="*/ 797926 w 1064123"/>
              <a:gd name="connsiteY365" fmla="*/ 797298 h 6407421"/>
              <a:gd name="connsiteX366" fmla="*/ 797926 w 1064123"/>
              <a:gd name="connsiteY366" fmla="*/ 826794 h 6407421"/>
              <a:gd name="connsiteX367" fmla="*/ 768326 w 1064123"/>
              <a:gd name="connsiteY367" fmla="*/ 826794 h 6407421"/>
              <a:gd name="connsiteX368" fmla="*/ 502235 w 1064123"/>
              <a:gd name="connsiteY368" fmla="*/ 797296 h 6407421"/>
              <a:gd name="connsiteX369" fmla="*/ 531838 w 1064123"/>
              <a:gd name="connsiteY369" fmla="*/ 797296 h 6407421"/>
              <a:gd name="connsiteX370" fmla="*/ 531838 w 1064123"/>
              <a:gd name="connsiteY370" fmla="*/ 826792 h 6407421"/>
              <a:gd name="connsiteX371" fmla="*/ 502235 w 1064123"/>
              <a:gd name="connsiteY371" fmla="*/ 826792 h 6407421"/>
              <a:gd name="connsiteX372" fmla="*/ 236036 w 1064123"/>
              <a:gd name="connsiteY372" fmla="*/ 797294 h 6407421"/>
              <a:gd name="connsiteX373" fmla="*/ 265639 w 1064123"/>
              <a:gd name="connsiteY373" fmla="*/ 797294 h 6407421"/>
              <a:gd name="connsiteX374" fmla="*/ 265639 w 1064123"/>
              <a:gd name="connsiteY374" fmla="*/ 826789 h 6407421"/>
              <a:gd name="connsiteX375" fmla="*/ 236036 w 1064123"/>
              <a:gd name="connsiteY375" fmla="*/ 826789 h 6407421"/>
              <a:gd name="connsiteX376" fmla="*/ 0 w 1064123"/>
              <a:gd name="connsiteY376" fmla="*/ 797294 h 6407421"/>
              <a:gd name="connsiteX377" fmla="*/ 29602 w 1064123"/>
              <a:gd name="connsiteY377" fmla="*/ 797294 h 6407421"/>
              <a:gd name="connsiteX378" fmla="*/ 29602 w 1064123"/>
              <a:gd name="connsiteY378" fmla="*/ 826789 h 6407421"/>
              <a:gd name="connsiteX379" fmla="*/ 0 w 1064123"/>
              <a:gd name="connsiteY379" fmla="*/ 826789 h 6407421"/>
              <a:gd name="connsiteX380" fmla="*/ 1034520 w 1064123"/>
              <a:gd name="connsiteY380" fmla="*/ 531537 h 6407421"/>
              <a:gd name="connsiteX381" fmla="*/ 1064123 w 1064123"/>
              <a:gd name="connsiteY381" fmla="*/ 531537 h 6407421"/>
              <a:gd name="connsiteX382" fmla="*/ 1064123 w 1064123"/>
              <a:gd name="connsiteY382" fmla="*/ 561139 h 6407421"/>
              <a:gd name="connsiteX383" fmla="*/ 1034520 w 1064123"/>
              <a:gd name="connsiteY383" fmla="*/ 561139 h 6407421"/>
              <a:gd name="connsiteX384" fmla="*/ 768326 w 1064123"/>
              <a:gd name="connsiteY384" fmla="*/ 531534 h 6407421"/>
              <a:gd name="connsiteX385" fmla="*/ 797926 w 1064123"/>
              <a:gd name="connsiteY385" fmla="*/ 531534 h 6407421"/>
              <a:gd name="connsiteX386" fmla="*/ 797926 w 1064123"/>
              <a:gd name="connsiteY386" fmla="*/ 561137 h 6407421"/>
              <a:gd name="connsiteX387" fmla="*/ 768326 w 1064123"/>
              <a:gd name="connsiteY387" fmla="*/ 561137 h 6407421"/>
              <a:gd name="connsiteX388" fmla="*/ 502235 w 1064123"/>
              <a:gd name="connsiteY388" fmla="*/ 531532 h 6407421"/>
              <a:gd name="connsiteX389" fmla="*/ 531838 w 1064123"/>
              <a:gd name="connsiteY389" fmla="*/ 531532 h 6407421"/>
              <a:gd name="connsiteX390" fmla="*/ 531838 w 1064123"/>
              <a:gd name="connsiteY390" fmla="*/ 561135 h 6407421"/>
              <a:gd name="connsiteX391" fmla="*/ 502235 w 1064123"/>
              <a:gd name="connsiteY391" fmla="*/ 561135 h 6407421"/>
              <a:gd name="connsiteX392" fmla="*/ 236036 w 1064123"/>
              <a:gd name="connsiteY392" fmla="*/ 531530 h 6407421"/>
              <a:gd name="connsiteX393" fmla="*/ 265639 w 1064123"/>
              <a:gd name="connsiteY393" fmla="*/ 531530 h 6407421"/>
              <a:gd name="connsiteX394" fmla="*/ 265639 w 1064123"/>
              <a:gd name="connsiteY394" fmla="*/ 561133 h 6407421"/>
              <a:gd name="connsiteX395" fmla="*/ 236036 w 1064123"/>
              <a:gd name="connsiteY395" fmla="*/ 561133 h 6407421"/>
              <a:gd name="connsiteX396" fmla="*/ 0 w 1064123"/>
              <a:gd name="connsiteY396" fmla="*/ 531530 h 6407421"/>
              <a:gd name="connsiteX397" fmla="*/ 29602 w 1064123"/>
              <a:gd name="connsiteY397" fmla="*/ 531530 h 6407421"/>
              <a:gd name="connsiteX398" fmla="*/ 29602 w 1064123"/>
              <a:gd name="connsiteY398" fmla="*/ 561133 h 6407421"/>
              <a:gd name="connsiteX399" fmla="*/ 0 w 1064123"/>
              <a:gd name="connsiteY399" fmla="*/ 561133 h 6407421"/>
              <a:gd name="connsiteX400" fmla="*/ 1034520 w 1064123"/>
              <a:gd name="connsiteY400" fmla="*/ 265772 h 6407421"/>
              <a:gd name="connsiteX401" fmla="*/ 1064123 w 1064123"/>
              <a:gd name="connsiteY401" fmla="*/ 265772 h 6407421"/>
              <a:gd name="connsiteX402" fmla="*/ 1064123 w 1064123"/>
              <a:gd name="connsiteY402" fmla="*/ 295374 h 6407421"/>
              <a:gd name="connsiteX403" fmla="*/ 1034520 w 1064123"/>
              <a:gd name="connsiteY403" fmla="*/ 295374 h 6407421"/>
              <a:gd name="connsiteX404" fmla="*/ 768326 w 1064123"/>
              <a:gd name="connsiteY404" fmla="*/ 265770 h 6407421"/>
              <a:gd name="connsiteX405" fmla="*/ 797926 w 1064123"/>
              <a:gd name="connsiteY405" fmla="*/ 265770 h 6407421"/>
              <a:gd name="connsiteX406" fmla="*/ 797926 w 1064123"/>
              <a:gd name="connsiteY406" fmla="*/ 295372 h 6407421"/>
              <a:gd name="connsiteX407" fmla="*/ 768326 w 1064123"/>
              <a:gd name="connsiteY407" fmla="*/ 295372 h 6407421"/>
              <a:gd name="connsiteX408" fmla="*/ 502235 w 1064123"/>
              <a:gd name="connsiteY408" fmla="*/ 265767 h 6407421"/>
              <a:gd name="connsiteX409" fmla="*/ 531838 w 1064123"/>
              <a:gd name="connsiteY409" fmla="*/ 265767 h 6407421"/>
              <a:gd name="connsiteX410" fmla="*/ 531838 w 1064123"/>
              <a:gd name="connsiteY410" fmla="*/ 295370 h 6407421"/>
              <a:gd name="connsiteX411" fmla="*/ 502235 w 1064123"/>
              <a:gd name="connsiteY411" fmla="*/ 295370 h 6407421"/>
              <a:gd name="connsiteX412" fmla="*/ 236036 w 1064123"/>
              <a:gd name="connsiteY412" fmla="*/ 265765 h 6407421"/>
              <a:gd name="connsiteX413" fmla="*/ 265639 w 1064123"/>
              <a:gd name="connsiteY413" fmla="*/ 265765 h 6407421"/>
              <a:gd name="connsiteX414" fmla="*/ 265639 w 1064123"/>
              <a:gd name="connsiteY414" fmla="*/ 295368 h 6407421"/>
              <a:gd name="connsiteX415" fmla="*/ 236036 w 1064123"/>
              <a:gd name="connsiteY415" fmla="*/ 295368 h 6407421"/>
              <a:gd name="connsiteX416" fmla="*/ 0 w 1064123"/>
              <a:gd name="connsiteY416" fmla="*/ 265765 h 6407421"/>
              <a:gd name="connsiteX417" fmla="*/ 29602 w 1064123"/>
              <a:gd name="connsiteY417" fmla="*/ 265765 h 6407421"/>
              <a:gd name="connsiteX418" fmla="*/ 29602 w 1064123"/>
              <a:gd name="connsiteY418" fmla="*/ 295368 h 6407421"/>
              <a:gd name="connsiteX419" fmla="*/ 0 w 1064123"/>
              <a:gd name="connsiteY419" fmla="*/ 295368 h 6407421"/>
              <a:gd name="connsiteX420" fmla="*/ 1034520 w 1064123"/>
              <a:gd name="connsiteY420" fmla="*/ 7 h 6407421"/>
              <a:gd name="connsiteX421" fmla="*/ 1064123 w 1064123"/>
              <a:gd name="connsiteY421" fmla="*/ 7 h 6407421"/>
              <a:gd name="connsiteX422" fmla="*/ 1064123 w 1064123"/>
              <a:gd name="connsiteY422" fmla="*/ 29609 h 6407421"/>
              <a:gd name="connsiteX423" fmla="*/ 1034520 w 1064123"/>
              <a:gd name="connsiteY423" fmla="*/ 29609 h 6407421"/>
              <a:gd name="connsiteX424" fmla="*/ 768326 w 1064123"/>
              <a:gd name="connsiteY424" fmla="*/ 5 h 6407421"/>
              <a:gd name="connsiteX425" fmla="*/ 797926 w 1064123"/>
              <a:gd name="connsiteY425" fmla="*/ 5 h 6407421"/>
              <a:gd name="connsiteX426" fmla="*/ 797926 w 1064123"/>
              <a:gd name="connsiteY426" fmla="*/ 29607 h 6407421"/>
              <a:gd name="connsiteX427" fmla="*/ 768326 w 1064123"/>
              <a:gd name="connsiteY427" fmla="*/ 29607 h 6407421"/>
              <a:gd name="connsiteX428" fmla="*/ 502235 w 1064123"/>
              <a:gd name="connsiteY428" fmla="*/ 2 h 6407421"/>
              <a:gd name="connsiteX429" fmla="*/ 531838 w 1064123"/>
              <a:gd name="connsiteY429" fmla="*/ 2 h 6407421"/>
              <a:gd name="connsiteX430" fmla="*/ 531838 w 1064123"/>
              <a:gd name="connsiteY430" fmla="*/ 29605 h 6407421"/>
              <a:gd name="connsiteX431" fmla="*/ 502235 w 1064123"/>
              <a:gd name="connsiteY431" fmla="*/ 29605 h 6407421"/>
              <a:gd name="connsiteX432" fmla="*/ 236036 w 1064123"/>
              <a:gd name="connsiteY432" fmla="*/ 0 h 6407421"/>
              <a:gd name="connsiteX433" fmla="*/ 265638 w 1064123"/>
              <a:gd name="connsiteY433" fmla="*/ 0 h 6407421"/>
              <a:gd name="connsiteX434" fmla="*/ 265638 w 1064123"/>
              <a:gd name="connsiteY434" fmla="*/ 29602 h 6407421"/>
              <a:gd name="connsiteX435" fmla="*/ 236036 w 1064123"/>
              <a:gd name="connsiteY435" fmla="*/ 29602 h 6407421"/>
              <a:gd name="connsiteX436" fmla="*/ 0 w 1064123"/>
              <a:gd name="connsiteY436" fmla="*/ 0 h 6407421"/>
              <a:gd name="connsiteX437" fmla="*/ 29602 w 1064123"/>
              <a:gd name="connsiteY437" fmla="*/ 0 h 6407421"/>
              <a:gd name="connsiteX438" fmla="*/ 29602 w 1064123"/>
              <a:gd name="connsiteY438" fmla="*/ 29602 h 6407421"/>
              <a:gd name="connsiteX439" fmla="*/ 0 w 1064123"/>
              <a:gd name="connsiteY439" fmla="*/ 29602 h 640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064123" h="6407421">
                <a:moveTo>
                  <a:pt x="1034520" y="6377925"/>
                </a:moveTo>
                <a:lnTo>
                  <a:pt x="1064123" y="6377925"/>
                </a:lnTo>
                <a:lnTo>
                  <a:pt x="1064123" y="6407421"/>
                </a:lnTo>
                <a:lnTo>
                  <a:pt x="1034520" y="6407421"/>
                </a:lnTo>
                <a:close/>
                <a:moveTo>
                  <a:pt x="768328" y="6377925"/>
                </a:moveTo>
                <a:lnTo>
                  <a:pt x="797926" y="6377925"/>
                </a:lnTo>
                <a:lnTo>
                  <a:pt x="797926" y="6407421"/>
                </a:lnTo>
                <a:lnTo>
                  <a:pt x="768328" y="6407421"/>
                </a:lnTo>
                <a:close/>
                <a:moveTo>
                  <a:pt x="502237" y="6377925"/>
                </a:moveTo>
                <a:lnTo>
                  <a:pt x="531839" y="6377925"/>
                </a:lnTo>
                <a:lnTo>
                  <a:pt x="531839" y="6407421"/>
                </a:lnTo>
                <a:lnTo>
                  <a:pt x="502237" y="6407421"/>
                </a:lnTo>
                <a:close/>
                <a:moveTo>
                  <a:pt x="236038" y="6377925"/>
                </a:moveTo>
                <a:lnTo>
                  <a:pt x="265640" y="6377925"/>
                </a:lnTo>
                <a:lnTo>
                  <a:pt x="265640" y="6407421"/>
                </a:lnTo>
                <a:lnTo>
                  <a:pt x="236038" y="6407421"/>
                </a:lnTo>
                <a:close/>
                <a:moveTo>
                  <a:pt x="2" y="6377925"/>
                </a:moveTo>
                <a:lnTo>
                  <a:pt x="29604" y="6377925"/>
                </a:lnTo>
                <a:lnTo>
                  <a:pt x="29604" y="6407421"/>
                </a:lnTo>
                <a:lnTo>
                  <a:pt x="2" y="6407421"/>
                </a:lnTo>
                <a:close/>
                <a:moveTo>
                  <a:pt x="1034520" y="6112161"/>
                </a:moveTo>
                <a:lnTo>
                  <a:pt x="1064123" y="6112161"/>
                </a:lnTo>
                <a:lnTo>
                  <a:pt x="1064123" y="6141763"/>
                </a:lnTo>
                <a:lnTo>
                  <a:pt x="1034520" y="6141763"/>
                </a:lnTo>
                <a:close/>
                <a:moveTo>
                  <a:pt x="768328" y="6112161"/>
                </a:moveTo>
                <a:lnTo>
                  <a:pt x="797926" y="6112161"/>
                </a:lnTo>
                <a:lnTo>
                  <a:pt x="797926" y="6141763"/>
                </a:lnTo>
                <a:lnTo>
                  <a:pt x="768328" y="6141763"/>
                </a:lnTo>
                <a:close/>
                <a:moveTo>
                  <a:pt x="502237" y="6112161"/>
                </a:moveTo>
                <a:lnTo>
                  <a:pt x="531839" y="6112161"/>
                </a:lnTo>
                <a:lnTo>
                  <a:pt x="531839" y="6141763"/>
                </a:lnTo>
                <a:lnTo>
                  <a:pt x="502237" y="6141763"/>
                </a:lnTo>
                <a:close/>
                <a:moveTo>
                  <a:pt x="236038" y="6112161"/>
                </a:moveTo>
                <a:lnTo>
                  <a:pt x="265640" y="6112161"/>
                </a:lnTo>
                <a:lnTo>
                  <a:pt x="265640" y="6141763"/>
                </a:lnTo>
                <a:lnTo>
                  <a:pt x="236038" y="6141763"/>
                </a:lnTo>
                <a:close/>
                <a:moveTo>
                  <a:pt x="2" y="6112161"/>
                </a:moveTo>
                <a:lnTo>
                  <a:pt x="29604" y="6112161"/>
                </a:lnTo>
                <a:lnTo>
                  <a:pt x="29604" y="6141763"/>
                </a:lnTo>
                <a:lnTo>
                  <a:pt x="2" y="6141763"/>
                </a:lnTo>
                <a:close/>
                <a:moveTo>
                  <a:pt x="1034520" y="5846396"/>
                </a:moveTo>
                <a:lnTo>
                  <a:pt x="1064123" y="5846396"/>
                </a:lnTo>
                <a:lnTo>
                  <a:pt x="1064123" y="5875998"/>
                </a:lnTo>
                <a:lnTo>
                  <a:pt x="1034520" y="5875998"/>
                </a:lnTo>
                <a:close/>
                <a:moveTo>
                  <a:pt x="768328" y="5846396"/>
                </a:moveTo>
                <a:lnTo>
                  <a:pt x="797926" y="5846396"/>
                </a:lnTo>
                <a:lnTo>
                  <a:pt x="797926" y="5875998"/>
                </a:lnTo>
                <a:lnTo>
                  <a:pt x="768328" y="5875998"/>
                </a:lnTo>
                <a:close/>
                <a:moveTo>
                  <a:pt x="502237" y="5846396"/>
                </a:moveTo>
                <a:lnTo>
                  <a:pt x="531839" y="5846396"/>
                </a:lnTo>
                <a:lnTo>
                  <a:pt x="531839" y="5875998"/>
                </a:lnTo>
                <a:lnTo>
                  <a:pt x="502237" y="5875998"/>
                </a:lnTo>
                <a:close/>
                <a:moveTo>
                  <a:pt x="236038" y="5846396"/>
                </a:moveTo>
                <a:lnTo>
                  <a:pt x="265640" y="5846396"/>
                </a:lnTo>
                <a:lnTo>
                  <a:pt x="265640" y="5875998"/>
                </a:lnTo>
                <a:lnTo>
                  <a:pt x="236038" y="5875998"/>
                </a:lnTo>
                <a:close/>
                <a:moveTo>
                  <a:pt x="2" y="5846396"/>
                </a:moveTo>
                <a:lnTo>
                  <a:pt x="29604" y="5846396"/>
                </a:lnTo>
                <a:lnTo>
                  <a:pt x="29604" y="5875998"/>
                </a:lnTo>
                <a:lnTo>
                  <a:pt x="2" y="5875998"/>
                </a:lnTo>
                <a:close/>
                <a:moveTo>
                  <a:pt x="1034520" y="5580631"/>
                </a:moveTo>
                <a:lnTo>
                  <a:pt x="1064123" y="5580631"/>
                </a:lnTo>
                <a:lnTo>
                  <a:pt x="1064123" y="5610233"/>
                </a:lnTo>
                <a:lnTo>
                  <a:pt x="1034520" y="5610233"/>
                </a:lnTo>
                <a:close/>
                <a:moveTo>
                  <a:pt x="768328" y="5580631"/>
                </a:moveTo>
                <a:lnTo>
                  <a:pt x="797926" y="5580631"/>
                </a:lnTo>
                <a:lnTo>
                  <a:pt x="797926" y="5610233"/>
                </a:lnTo>
                <a:lnTo>
                  <a:pt x="768328" y="5610233"/>
                </a:lnTo>
                <a:close/>
                <a:moveTo>
                  <a:pt x="502237" y="5580631"/>
                </a:moveTo>
                <a:lnTo>
                  <a:pt x="531839" y="5580631"/>
                </a:lnTo>
                <a:lnTo>
                  <a:pt x="531839" y="5610233"/>
                </a:lnTo>
                <a:lnTo>
                  <a:pt x="502237" y="5610233"/>
                </a:lnTo>
                <a:close/>
                <a:moveTo>
                  <a:pt x="236038" y="5580631"/>
                </a:moveTo>
                <a:lnTo>
                  <a:pt x="265640" y="5580631"/>
                </a:lnTo>
                <a:lnTo>
                  <a:pt x="265640" y="5610233"/>
                </a:lnTo>
                <a:lnTo>
                  <a:pt x="236038" y="5610233"/>
                </a:lnTo>
                <a:close/>
                <a:moveTo>
                  <a:pt x="2" y="5580631"/>
                </a:moveTo>
                <a:lnTo>
                  <a:pt x="29604" y="5580631"/>
                </a:lnTo>
                <a:lnTo>
                  <a:pt x="29604" y="5610233"/>
                </a:lnTo>
                <a:lnTo>
                  <a:pt x="2" y="5610233"/>
                </a:lnTo>
                <a:close/>
                <a:moveTo>
                  <a:pt x="1034520" y="5314974"/>
                </a:moveTo>
                <a:lnTo>
                  <a:pt x="1064123" y="5314974"/>
                </a:lnTo>
                <a:lnTo>
                  <a:pt x="1064123" y="5344468"/>
                </a:lnTo>
                <a:lnTo>
                  <a:pt x="1034520" y="5344468"/>
                </a:lnTo>
                <a:close/>
                <a:moveTo>
                  <a:pt x="768328" y="5314974"/>
                </a:moveTo>
                <a:lnTo>
                  <a:pt x="797926" y="5314974"/>
                </a:lnTo>
                <a:lnTo>
                  <a:pt x="797926" y="5344468"/>
                </a:lnTo>
                <a:lnTo>
                  <a:pt x="768328" y="5344468"/>
                </a:lnTo>
                <a:close/>
                <a:moveTo>
                  <a:pt x="502237" y="5314974"/>
                </a:moveTo>
                <a:lnTo>
                  <a:pt x="531839" y="5314974"/>
                </a:lnTo>
                <a:lnTo>
                  <a:pt x="531839" y="5344468"/>
                </a:lnTo>
                <a:lnTo>
                  <a:pt x="502237" y="5344468"/>
                </a:lnTo>
                <a:close/>
                <a:moveTo>
                  <a:pt x="236038" y="5314974"/>
                </a:moveTo>
                <a:lnTo>
                  <a:pt x="265640" y="5314974"/>
                </a:lnTo>
                <a:lnTo>
                  <a:pt x="265640" y="5344468"/>
                </a:lnTo>
                <a:lnTo>
                  <a:pt x="236038" y="5344468"/>
                </a:lnTo>
                <a:close/>
                <a:moveTo>
                  <a:pt x="2" y="5314974"/>
                </a:moveTo>
                <a:lnTo>
                  <a:pt x="29604" y="5314974"/>
                </a:lnTo>
                <a:lnTo>
                  <a:pt x="29604" y="5344468"/>
                </a:lnTo>
                <a:lnTo>
                  <a:pt x="2" y="5344468"/>
                </a:lnTo>
                <a:close/>
                <a:moveTo>
                  <a:pt x="1034520" y="5049209"/>
                </a:moveTo>
                <a:lnTo>
                  <a:pt x="1064123" y="5049209"/>
                </a:lnTo>
                <a:lnTo>
                  <a:pt x="1064123" y="5078812"/>
                </a:lnTo>
                <a:lnTo>
                  <a:pt x="1034520" y="5078812"/>
                </a:lnTo>
                <a:close/>
                <a:moveTo>
                  <a:pt x="768328" y="5049209"/>
                </a:moveTo>
                <a:lnTo>
                  <a:pt x="797926" y="5049209"/>
                </a:lnTo>
                <a:lnTo>
                  <a:pt x="797926" y="5078812"/>
                </a:lnTo>
                <a:lnTo>
                  <a:pt x="768328" y="5078812"/>
                </a:lnTo>
                <a:close/>
                <a:moveTo>
                  <a:pt x="502237" y="5049209"/>
                </a:moveTo>
                <a:lnTo>
                  <a:pt x="531839" y="5049209"/>
                </a:lnTo>
                <a:lnTo>
                  <a:pt x="531839" y="5078812"/>
                </a:lnTo>
                <a:lnTo>
                  <a:pt x="502237" y="5078812"/>
                </a:lnTo>
                <a:close/>
                <a:moveTo>
                  <a:pt x="236038" y="5049209"/>
                </a:moveTo>
                <a:lnTo>
                  <a:pt x="265640" y="5049209"/>
                </a:lnTo>
                <a:lnTo>
                  <a:pt x="265640" y="5078812"/>
                </a:lnTo>
                <a:lnTo>
                  <a:pt x="236038" y="5078812"/>
                </a:lnTo>
                <a:close/>
                <a:moveTo>
                  <a:pt x="2" y="5049209"/>
                </a:moveTo>
                <a:lnTo>
                  <a:pt x="29604" y="5049209"/>
                </a:lnTo>
                <a:lnTo>
                  <a:pt x="29604" y="5078812"/>
                </a:lnTo>
                <a:lnTo>
                  <a:pt x="2" y="5078812"/>
                </a:lnTo>
                <a:close/>
                <a:moveTo>
                  <a:pt x="1034520" y="4783444"/>
                </a:moveTo>
                <a:lnTo>
                  <a:pt x="1064123" y="4783444"/>
                </a:lnTo>
                <a:lnTo>
                  <a:pt x="1064123" y="4813046"/>
                </a:lnTo>
                <a:lnTo>
                  <a:pt x="1034520" y="4813046"/>
                </a:lnTo>
                <a:close/>
                <a:moveTo>
                  <a:pt x="768327" y="4783444"/>
                </a:moveTo>
                <a:lnTo>
                  <a:pt x="797926" y="4783444"/>
                </a:lnTo>
                <a:lnTo>
                  <a:pt x="797926" y="4813046"/>
                </a:lnTo>
                <a:lnTo>
                  <a:pt x="768327" y="4813046"/>
                </a:lnTo>
                <a:close/>
                <a:moveTo>
                  <a:pt x="502237" y="4783444"/>
                </a:moveTo>
                <a:lnTo>
                  <a:pt x="531839" y="4783444"/>
                </a:lnTo>
                <a:lnTo>
                  <a:pt x="531839" y="4813046"/>
                </a:lnTo>
                <a:lnTo>
                  <a:pt x="502237" y="4813046"/>
                </a:lnTo>
                <a:close/>
                <a:moveTo>
                  <a:pt x="236038" y="4783444"/>
                </a:moveTo>
                <a:lnTo>
                  <a:pt x="265640" y="4783444"/>
                </a:lnTo>
                <a:lnTo>
                  <a:pt x="265640" y="4813046"/>
                </a:lnTo>
                <a:lnTo>
                  <a:pt x="236038" y="4813046"/>
                </a:lnTo>
                <a:close/>
                <a:moveTo>
                  <a:pt x="2" y="4783444"/>
                </a:moveTo>
                <a:lnTo>
                  <a:pt x="29604" y="4783444"/>
                </a:lnTo>
                <a:lnTo>
                  <a:pt x="29604" y="4813046"/>
                </a:lnTo>
                <a:lnTo>
                  <a:pt x="2" y="4813046"/>
                </a:lnTo>
                <a:close/>
                <a:moveTo>
                  <a:pt x="1034520" y="4517679"/>
                </a:moveTo>
                <a:lnTo>
                  <a:pt x="1064123" y="4517679"/>
                </a:lnTo>
                <a:lnTo>
                  <a:pt x="1064123" y="4547281"/>
                </a:lnTo>
                <a:lnTo>
                  <a:pt x="1034520" y="4547281"/>
                </a:lnTo>
                <a:close/>
                <a:moveTo>
                  <a:pt x="768327" y="4517679"/>
                </a:moveTo>
                <a:lnTo>
                  <a:pt x="797926" y="4517679"/>
                </a:lnTo>
                <a:lnTo>
                  <a:pt x="797926" y="4547281"/>
                </a:lnTo>
                <a:lnTo>
                  <a:pt x="768327" y="4547281"/>
                </a:lnTo>
                <a:close/>
                <a:moveTo>
                  <a:pt x="502236" y="4517679"/>
                </a:moveTo>
                <a:lnTo>
                  <a:pt x="531839" y="4517679"/>
                </a:lnTo>
                <a:lnTo>
                  <a:pt x="531839" y="4547281"/>
                </a:lnTo>
                <a:lnTo>
                  <a:pt x="502236" y="4547281"/>
                </a:lnTo>
                <a:close/>
                <a:moveTo>
                  <a:pt x="236037" y="4517679"/>
                </a:moveTo>
                <a:lnTo>
                  <a:pt x="265640" y="4517679"/>
                </a:lnTo>
                <a:lnTo>
                  <a:pt x="265640" y="4547281"/>
                </a:lnTo>
                <a:lnTo>
                  <a:pt x="236037" y="4547281"/>
                </a:lnTo>
                <a:close/>
                <a:moveTo>
                  <a:pt x="2" y="4517679"/>
                </a:moveTo>
                <a:lnTo>
                  <a:pt x="29603" y="4517679"/>
                </a:lnTo>
                <a:lnTo>
                  <a:pt x="29603" y="4547281"/>
                </a:lnTo>
                <a:lnTo>
                  <a:pt x="2" y="4547281"/>
                </a:lnTo>
                <a:close/>
                <a:moveTo>
                  <a:pt x="1034520" y="4252022"/>
                </a:moveTo>
                <a:lnTo>
                  <a:pt x="1064123" y="4252022"/>
                </a:lnTo>
                <a:lnTo>
                  <a:pt x="1064123" y="4281516"/>
                </a:lnTo>
                <a:lnTo>
                  <a:pt x="1034520" y="4281516"/>
                </a:lnTo>
                <a:close/>
                <a:moveTo>
                  <a:pt x="768327" y="4252022"/>
                </a:moveTo>
                <a:lnTo>
                  <a:pt x="797926" y="4252022"/>
                </a:lnTo>
                <a:lnTo>
                  <a:pt x="797926" y="4281516"/>
                </a:lnTo>
                <a:lnTo>
                  <a:pt x="768327" y="4281516"/>
                </a:lnTo>
                <a:close/>
                <a:moveTo>
                  <a:pt x="502236" y="4252022"/>
                </a:moveTo>
                <a:lnTo>
                  <a:pt x="531839" y="4252022"/>
                </a:lnTo>
                <a:lnTo>
                  <a:pt x="531839" y="4281516"/>
                </a:lnTo>
                <a:lnTo>
                  <a:pt x="502236" y="4281516"/>
                </a:lnTo>
                <a:close/>
                <a:moveTo>
                  <a:pt x="236037" y="4252022"/>
                </a:moveTo>
                <a:lnTo>
                  <a:pt x="265640" y="4252022"/>
                </a:lnTo>
                <a:lnTo>
                  <a:pt x="265640" y="4281516"/>
                </a:lnTo>
                <a:lnTo>
                  <a:pt x="236037" y="4281516"/>
                </a:lnTo>
                <a:close/>
                <a:moveTo>
                  <a:pt x="1" y="4252022"/>
                </a:moveTo>
                <a:lnTo>
                  <a:pt x="29603" y="4252022"/>
                </a:lnTo>
                <a:lnTo>
                  <a:pt x="29603" y="4281516"/>
                </a:lnTo>
                <a:lnTo>
                  <a:pt x="1" y="4281516"/>
                </a:lnTo>
                <a:close/>
                <a:moveTo>
                  <a:pt x="1034520" y="3986257"/>
                </a:moveTo>
                <a:lnTo>
                  <a:pt x="1064123" y="3986257"/>
                </a:lnTo>
                <a:lnTo>
                  <a:pt x="1064123" y="4015859"/>
                </a:lnTo>
                <a:lnTo>
                  <a:pt x="1034520" y="4015859"/>
                </a:lnTo>
                <a:close/>
                <a:moveTo>
                  <a:pt x="768327" y="3986257"/>
                </a:moveTo>
                <a:lnTo>
                  <a:pt x="797926" y="3986257"/>
                </a:lnTo>
                <a:lnTo>
                  <a:pt x="797926" y="4015859"/>
                </a:lnTo>
                <a:lnTo>
                  <a:pt x="768327" y="4015859"/>
                </a:lnTo>
                <a:close/>
                <a:moveTo>
                  <a:pt x="502236" y="3986257"/>
                </a:moveTo>
                <a:lnTo>
                  <a:pt x="531839" y="3986257"/>
                </a:lnTo>
                <a:lnTo>
                  <a:pt x="531839" y="4015859"/>
                </a:lnTo>
                <a:lnTo>
                  <a:pt x="502236" y="4015859"/>
                </a:lnTo>
                <a:close/>
                <a:moveTo>
                  <a:pt x="236037" y="3986257"/>
                </a:moveTo>
                <a:lnTo>
                  <a:pt x="265640" y="3986257"/>
                </a:lnTo>
                <a:lnTo>
                  <a:pt x="265640" y="4015859"/>
                </a:lnTo>
                <a:lnTo>
                  <a:pt x="236037" y="4015859"/>
                </a:lnTo>
                <a:close/>
                <a:moveTo>
                  <a:pt x="1" y="3986257"/>
                </a:moveTo>
                <a:lnTo>
                  <a:pt x="29603" y="3986257"/>
                </a:lnTo>
                <a:lnTo>
                  <a:pt x="29603" y="4015859"/>
                </a:lnTo>
                <a:lnTo>
                  <a:pt x="1" y="4015859"/>
                </a:lnTo>
                <a:close/>
                <a:moveTo>
                  <a:pt x="1034520" y="3720492"/>
                </a:moveTo>
                <a:lnTo>
                  <a:pt x="1064123" y="3720492"/>
                </a:lnTo>
                <a:lnTo>
                  <a:pt x="1064123" y="3750094"/>
                </a:lnTo>
                <a:lnTo>
                  <a:pt x="1034520" y="3750094"/>
                </a:lnTo>
                <a:close/>
                <a:moveTo>
                  <a:pt x="768327" y="3720492"/>
                </a:moveTo>
                <a:lnTo>
                  <a:pt x="797926" y="3720492"/>
                </a:lnTo>
                <a:lnTo>
                  <a:pt x="797926" y="3750094"/>
                </a:lnTo>
                <a:lnTo>
                  <a:pt x="768327" y="3750094"/>
                </a:lnTo>
                <a:close/>
                <a:moveTo>
                  <a:pt x="502236" y="3720492"/>
                </a:moveTo>
                <a:lnTo>
                  <a:pt x="531839" y="3720492"/>
                </a:lnTo>
                <a:lnTo>
                  <a:pt x="531839" y="3750094"/>
                </a:lnTo>
                <a:lnTo>
                  <a:pt x="502236" y="3750094"/>
                </a:lnTo>
                <a:close/>
                <a:moveTo>
                  <a:pt x="236037" y="3720492"/>
                </a:moveTo>
                <a:lnTo>
                  <a:pt x="265640" y="3720492"/>
                </a:lnTo>
                <a:lnTo>
                  <a:pt x="265640" y="3750094"/>
                </a:lnTo>
                <a:lnTo>
                  <a:pt x="236037" y="3750094"/>
                </a:lnTo>
                <a:close/>
                <a:moveTo>
                  <a:pt x="1" y="3720492"/>
                </a:moveTo>
                <a:lnTo>
                  <a:pt x="29603" y="3720492"/>
                </a:lnTo>
                <a:lnTo>
                  <a:pt x="29603" y="3750094"/>
                </a:lnTo>
                <a:lnTo>
                  <a:pt x="1" y="3750094"/>
                </a:lnTo>
                <a:close/>
                <a:moveTo>
                  <a:pt x="1034520" y="2657443"/>
                </a:moveTo>
                <a:lnTo>
                  <a:pt x="1064123" y="2657443"/>
                </a:lnTo>
                <a:lnTo>
                  <a:pt x="1064123" y="2687045"/>
                </a:lnTo>
                <a:lnTo>
                  <a:pt x="1034520" y="2687045"/>
                </a:lnTo>
                <a:close/>
                <a:moveTo>
                  <a:pt x="768327" y="2657440"/>
                </a:moveTo>
                <a:lnTo>
                  <a:pt x="797926" y="2657440"/>
                </a:lnTo>
                <a:lnTo>
                  <a:pt x="797926" y="2687042"/>
                </a:lnTo>
                <a:lnTo>
                  <a:pt x="768327" y="2687042"/>
                </a:lnTo>
                <a:close/>
                <a:moveTo>
                  <a:pt x="502236" y="2657437"/>
                </a:moveTo>
                <a:lnTo>
                  <a:pt x="531838" y="2657437"/>
                </a:lnTo>
                <a:lnTo>
                  <a:pt x="531838" y="2687039"/>
                </a:lnTo>
                <a:lnTo>
                  <a:pt x="502236" y="2687039"/>
                </a:lnTo>
                <a:close/>
                <a:moveTo>
                  <a:pt x="236037" y="2657434"/>
                </a:moveTo>
                <a:lnTo>
                  <a:pt x="265639" y="2657434"/>
                </a:lnTo>
                <a:lnTo>
                  <a:pt x="265639" y="2687036"/>
                </a:lnTo>
                <a:lnTo>
                  <a:pt x="236037" y="2687036"/>
                </a:lnTo>
                <a:close/>
                <a:moveTo>
                  <a:pt x="1" y="2657434"/>
                </a:moveTo>
                <a:lnTo>
                  <a:pt x="29603" y="2657434"/>
                </a:lnTo>
                <a:lnTo>
                  <a:pt x="29603" y="2687036"/>
                </a:lnTo>
                <a:lnTo>
                  <a:pt x="1" y="2687036"/>
                </a:lnTo>
                <a:close/>
                <a:moveTo>
                  <a:pt x="1034520" y="2391678"/>
                </a:moveTo>
                <a:lnTo>
                  <a:pt x="1064123" y="2391678"/>
                </a:lnTo>
                <a:lnTo>
                  <a:pt x="1064123" y="2421288"/>
                </a:lnTo>
                <a:lnTo>
                  <a:pt x="1034520" y="2421288"/>
                </a:lnTo>
                <a:close/>
                <a:moveTo>
                  <a:pt x="768327" y="2391675"/>
                </a:moveTo>
                <a:lnTo>
                  <a:pt x="797926" y="2391675"/>
                </a:lnTo>
                <a:lnTo>
                  <a:pt x="797926" y="2421283"/>
                </a:lnTo>
                <a:lnTo>
                  <a:pt x="768327" y="2421283"/>
                </a:lnTo>
                <a:close/>
                <a:moveTo>
                  <a:pt x="502236" y="2391672"/>
                </a:moveTo>
                <a:lnTo>
                  <a:pt x="531838" y="2391672"/>
                </a:lnTo>
                <a:lnTo>
                  <a:pt x="531838" y="2421278"/>
                </a:lnTo>
                <a:lnTo>
                  <a:pt x="502236" y="2421278"/>
                </a:lnTo>
                <a:close/>
                <a:moveTo>
                  <a:pt x="236037" y="2391669"/>
                </a:moveTo>
                <a:lnTo>
                  <a:pt x="265639" y="2391669"/>
                </a:lnTo>
                <a:lnTo>
                  <a:pt x="265639" y="2421272"/>
                </a:lnTo>
                <a:lnTo>
                  <a:pt x="236037" y="2421272"/>
                </a:lnTo>
                <a:close/>
                <a:moveTo>
                  <a:pt x="1" y="2391669"/>
                </a:moveTo>
                <a:lnTo>
                  <a:pt x="29603" y="2391669"/>
                </a:lnTo>
                <a:lnTo>
                  <a:pt x="29603" y="2421272"/>
                </a:lnTo>
                <a:lnTo>
                  <a:pt x="1" y="2421272"/>
                </a:lnTo>
                <a:close/>
                <a:moveTo>
                  <a:pt x="1034520" y="2126020"/>
                </a:moveTo>
                <a:lnTo>
                  <a:pt x="1064123" y="2126020"/>
                </a:lnTo>
                <a:lnTo>
                  <a:pt x="1064123" y="2155517"/>
                </a:lnTo>
                <a:lnTo>
                  <a:pt x="1034520" y="2155517"/>
                </a:lnTo>
                <a:close/>
                <a:moveTo>
                  <a:pt x="768327" y="2126017"/>
                </a:moveTo>
                <a:lnTo>
                  <a:pt x="797926" y="2126017"/>
                </a:lnTo>
                <a:lnTo>
                  <a:pt x="797926" y="2155513"/>
                </a:lnTo>
                <a:lnTo>
                  <a:pt x="768327" y="2155513"/>
                </a:lnTo>
                <a:close/>
                <a:moveTo>
                  <a:pt x="502236" y="2126014"/>
                </a:moveTo>
                <a:lnTo>
                  <a:pt x="531838" y="2126014"/>
                </a:lnTo>
                <a:lnTo>
                  <a:pt x="531838" y="2155510"/>
                </a:lnTo>
                <a:lnTo>
                  <a:pt x="502236" y="2155510"/>
                </a:lnTo>
                <a:close/>
                <a:moveTo>
                  <a:pt x="236037" y="2126012"/>
                </a:moveTo>
                <a:lnTo>
                  <a:pt x="265639" y="2126012"/>
                </a:lnTo>
                <a:lnTo>
                  <a:pt x="265639" y="2155506"/>
                </a:lnTo>
                <a:lnTo>
                  <a:pt x="236037" y="2155506"/>
                </a:lnTo>
                <a:close/>
                <a:moveTo>
                  <a:pt x="1" y="2126012"/>
                </a:moveTo>
                <a:lnTo>
                  <a:pt x="29603" y="2126012"/>
                </a:lnTo>
                <a:lnTo>
                  <a:pt x="29603" y="2155506"/>
                </a:lnTo>
                <a:lnTo>
                  <a:pt x="1" y="2155506"/>
                </a:lnTo>
                <a:close/>
                <a:moveTo>
                  <a:pt x="1034520" y="1860254"/>
                </a:moveTo>
                <a:lnTo>
                  <a:pt x="1064123" y="1860254"/>
                </a:lnTo>
                <a:lnTo>
                  <a:pt x="1064123" y="1889747"/>
                </a:lnTo>
                <a:lnTo>
                  <a:pt x="1034520" y="1889747"/>
                </a:lnTo>
                <a:close/>
                <a:moveTo>
                  <a:pt x="768327" y="1860252"/>
                </a:moveTo>
                <a:lnTo>
                  <a:pt x="797926" y="1860252"/>
                </a:lnTo>
                <a:lnTo>
                  <a:pt x="797926" y="1889745"/>
                </a:lnTo>
                <a:lnTo>
                  <a:pt x="768327" y="1889745"/>
                </a:lnTo>
                <a:close/>
                <a:moveTo>
                  <a:pt x="502236" y="1860249"/>
                </a:moveTo>
                <a:lnTo>
                  <a:pt x="531838" y="1860249"/>
                </a:lnTo>
                <a:lnTo>
                  <a:pt x="531838" y="1889744"/>
                </a:lnTo>
                <a:lnTo>
                  <a:pt x="502236" y="1889744"/>
                </a:lnTo>
                <a:close/>
                <a:moveTo>
                  <a:pt x="236037" y="1860247"/>
                </a:moveTo>
                <a:lnTo>
                  <a:pt x="265639" y="1860247"/>
                </a:lnTo>
                <a:lnTo>
                  <a:pt x="265639" y="1889742"/>
                </a:lnTo>
                <a:lnTo>
                  <a:pt x="236037" y="1889742"/>
                </a:lnTo>
                <a:close/>
                <a:moveTo>
                  <a:pt x="1" y="1860247"/>
                </a:moveTo>
                <a:lnTo>
                  <a:pt x="29603" y="1860247"/>
                </a:lnTo>
                <a:lnTo>
                  <a:pt x="29603" y="1889742"/>
                </a:lnTo>
                <a:lnTo>
                  <a:pt x="1" y="1889742"/>
                </a:lnTo>
                <a:close/>
                <a:moveTo>
                  <a:pt x="1034520" y="1594489"/>
                </a:moveTo>
                <a:lnTo>
                  <a:pt x="1064123" y="1594489"/>
                </a:lnTo>
                <a:lnTo>
                  <a:pt x="1064123" y="1624092"/>
                </a:lnTo>
                <a:lnTo>
                  <a:pt x="1034520" y="1624092"/>
                </a:lnTo>
                <a:close/>
                <a:moveTo>
                  <a:pt x="768327" y="1594486"/>
                </a:moveTo>
                <a:lnTo>
                  <a:pt x="797926" y="1594486"/>
                </a:lnTo>
                <a:lnTo>
                  <a:pt x="797926" y="1624090"/>
                </a:lnTo>
                <a:lnTo>
                  <a:pt x="768327" y="1624090"/>
                </a:lnTo>
                <a:close/>
                <a:moveTo>
                  <a:pt x="502236" y="1594484"/>
                </a:moveTo>
                <a:lnTo>
                  <a:pt x="531838" y="1594484"/>
                </a:lnTo>
                <a:lnTo>
                  <a:pt x="531838" y="1624087"/>
                </a:lnTo>
                <a:lnTo>
                  <a:pt x="502236" y="1624087"/>
                </a:lnTo>
                <a:close/>
                <a:moveTo>
                  <a:pt x="236037" y="1594482"/>
                </a:moveTo>
                <a:lnTo>
                  <a:pt x="265639" y="1594482"/>
                </a:lnTo>
                <a:lnTo>
                  <a:pt x="265639" y="1624085"/>
                </a:lnTo>
                <a:lnTo>
                  <a:pt x="236037" y="1624085"/>
                </a:lnTo>
                <a:close/>
                <a:moveTo>
                  <a:pt x="1" y="1594482"/>
                </a:moveTo>
                <a:lnTo>
                  <a:pt x="29603" y="1594482"/>
                </a:lnTo>
                <a:lnTo>
                  <a:pt x="29603" y="1624085"/>
                </a:lnTo>
                <a:lnTo>
                  <a:pt x="1" y="1624085"/>
                </a:lnTo>
                <a:close/>
                <a:moveTo>
                  <a:pt x="1034520" y="1328724"/>
                </a:moveTo>
                <a:lnTo>
                  <a:pt x="1064123" y="1328724"/>
                </a:lnTo>
                <a:lnTo>
                  <a:pt x="1064123" y="1358328"/>
                </a:lnTo>
                <a:lnTo>
                  <a:pt x="1034520" y="1358328"/>
                </a:lnTo>
                <a:close/>
                <a:moveTo>
                  <a:pt x="768327" y="1328722"/>
                </a:moveTo>
                <a:lnTo>
                  <a:pt x="797926" y="1328722"/>
                </a:lnTo>
                <a:lnTo>
                  <a:pt x="797926" y="1358325"/>
                </a:lnTo>
                <a:lnTo>
                  <a:pt x="768327" y="1358325"/>
                </a:lnTo>
                <a:close/>
                <a:moveTo>
                  <a:pt x="502236" y="1328719"/>
                </a:moveTo>
                <a:lnTo>
                  <a:pt x="531838" y="1328719"/>
                </a:lnTo>
                <a:lnTo>
                  <a:pt x="531838" y="1358323"/>
                </a:lnTo>
                <a:lnTo>
                  <a:pt x="502236" y="1358323"/>
                </a:lnTo>
                <a:close/>
                <a:moveTo>
                  <a:pt x="236036" y="1328717"/>
                </a:moveTo>
                <a:lnTo>
                  <a:pt x="265639" y="1328717"/>
                </a:lnTo>
                <a:lnTo>
                  <a:pt x="265639" y="1358320"/>
                </a:lnTo>
                <a:lnTo>
                  <a:pt x="236036" y="1358320"/>
                </a:lnTo>
                <a:close/>
                <a:moveTo>
                  <a:pt x="1" y="1328717"/>
                </a:moveTo>
                <a:lnTo>
                  <a:pt x="29602" y="1328717"/>
                </a:lnTo>
                <a:lnTo>
                  <a:pt x="29602" y="1358320"/>
                </a:lnTo>
                <a:lnTo>
                  <a:pt x="1" y="1358320"/>
                </a:lnTo>
                <a:close/>
                <a:moveTo>
                  <a:pt x="1034520" y="1063069"/>
                </a:moveTo>
                <a:lnTo>
                  <a:pt x="1064123" y="1063069"/>
                </a:lnTo>
                <a:lnTo>
                  <a:pt x="1064123" y="1092563"/>
                </a:lnTo>
                <a:lnTo>
                  <a:pt x="1034520" y="1092563"/>
                </a:lnTo>
                <a:close/>
                <a:moveTo>
                  <a:pt x="768326" y="1063066"/>
                </a:moveTo>
                <a:lnTo>
                  <a:pt x="797926" y="1063066"/>
                </a:lnTo>
                <a:lnTo>
                  <a:pt x="797926" y="1092560"/>
                </a:lnTo>
                <a:lnTo>
                  <a:pt x="768326" y="1092560"/>
                </a:lnTo>
                <a:close/>
                <a:moveTo>
                  <a:pt x="502235" y="1063063"/>
                </a:moveTo>
                <a:lnTo>
                  <a:pt x="531838" y="1063063"/>
                </a:lnTo>
                <a:lnTo>
                  <a:pt x="531838" y="1092557"/>
                </a:lnTo>
                <a:lnTo>
                  <a:pt x="502235" y="1092557"/>
                </a:lnTo>
                <a:close/>
                <a:moveTo>
                  <a:pt x="236036" y="1063059"/>
                </a:moveTo>
                <a:lnTo>
                  <a:pt x="265639" y="1063059"/>
                </a:lnTo>
                <a:lnTo>
                  <a:pt x="265639" y="1092554"/>
                </a:lnTo>
                <a:lnTo>
                  <a:pt x="236036" y="1092554"/>
                </a:lnTo>
                <a:close/>
                <a:moveTo>
                  <a:pt x="0" y="1063059"/>
                </a:moveTo>
                <a:lnTo>
                  <a:pt x="29602" y="1063059"/>
                </a:lnTo>
                <a:lnTo>
                  <a:pt x="29602" y="1092554"/>
                </a:lnTo>
                <a:lnTo>
                  <a:pt x="0" y="1092554"/>
                </a:lnTo>
                <a:close/>
                <a:moveTo>
                  <a:pt x="1034520" y="797300"/>
                </a:moveTo>
                <a:lnTo>
                  <a:pt x="1064123" y="797300"/>
                </a:lnTo>
                <a:lnTo>
                  <a:pt x="1064123" y="826797"/>
                </a:lnTo>
                <a:lnTo>
                  <a:pt x="1034520" y="826797"/>
                </a:lnTo>
                <a:close/>
                <a:moveTo>
                  <a:pt x="768326" y="797298"/>
                </a:moveTo>
                <a:lnTo>
                  <a:pt x="797926" y="797298"/>
                </a:lnTo>
                <a:lnTo>
                  <a:pt x="797926" y="826794"/>
                </a:lnTo>
                <a:lnTo>
                  <a:pt x="768326" y="826794"/>
                </a:lnTo>
                <a:close/>
                <a:moveTo>
                  <a:pt x="502235" y="797296"/>
                </a:moveTo>
                <a:lnTo>
                  <a:pt x="531838" y="797296"/>
                </a:lnTo>
                <a:lnTo>
                  <a:pt x="531838" y="826792"/>
                </a:lnTo>
                <a:lnTo>
                  <a:pt x="502235" y="826792"/>
                </a:lnTo>
                <a:close/>
                <a:moveTo>
                  <a:pt x="236036" y="797294"/>
                </a:moveTo>
                <a:lnTo>
                  <a:pt x="265639" y="797294"/>
                </a:lnTo>
                <a:lnTo>
                  <a:pt x="265639" y="826789"/>
                </a:lnTo>
                <a:lnTo>
                  <a:pt x="236036" y="826789"/>
                </a:lnTo>
                <a:close/>
                <a:moveTo>
                  <a:pt x="0" y="797294"/>
                </a:moveTo>
                <a:lnTo>
                  <a:pt x="29602" y="797294"/>
                </a:lnTo>
                <a:lnTo>
                  <a:pt x="29602" y="826789"/>
                </a:lnTo>
                <a:lnTo>
                  <a:pt x="0" y="826789"/>
                </a:lnTo>
                <a:close/>
                <a:moveTo>
                  <a:pt x="1034520" y="531537"/>
                </a:moveTo>
                <a:lnTo>
                  <a:pt x="1064123" y="531537"/>
                </a:lnTo>
                <a:lnTo>
                  <a:pt x="1064123" y="561139"/>
                </a:lnTo>
                <a:lnTo>
                  <a:pt x="1034520" y="561139"/>
                </a:lnTo>
                <a:close/>
                <a:moveTo>
                  <a:pt x="768326" y="531534"/>
                </a:moveTo>
                <a:lnTo>
                  <a:pt x="797926" y="531534"/>
                </a:lnTo>
                <a:lnTo>
                  <a:pt x="797926" y="561137"/>
                </a:lnTo>
                <a:lnTo>
                  <a:pt x="768326" y="561137"/>
                </a:lnTo>
                <a:close/>
                <a:moveTo>
                  <a:pt x="502235" y="531532"/>
                </a:moveTo>
                <a:lnTo>
                  <a:pt x="531838" y="531532"/>
                </a:lnTo>
                <a:lnTo>
                  <a:pt x="531838" y="561135"/>
                </a:lnTo>
                <a:lnTo>
                  <a:pt x="502235" y="561135"/>
                </a:lnTo>
                <a:close/>
                <a:moveTo>
                  <a:pt x="236036" y="531530"/>
                </a:moveTo>
                <a:lnTo>
                  <a:pt x="265639" y="531530"/>
                </a:lnTo>
                <a:lnTo>
                  <a:pt x="265639" y="561133"/>
                </a:lnTo>
                <a:lnTo>
                  <a:pt x="236036" y="561133"/>
                </a:lnTo>
                <a:close/>
                <a:moveTo>
                  <a:pt x="0" y="531530"/>
                </a:moveTo>
                <a:lnTo>
                  <a:pt x="29602" y="531530"/>
                </a:lnTo>
                <a:lnTo>
                  <a:pt x="29602" y="561133"/>
                </a:lnTo>
                <a:lnTo>
                  <a:pt x="0" y="561133"/>
                </a:lnTo>
                <a:close/>
                <a:moveTo>
                  <a:pt x="1034520" y="265772"/>
                </a:moveTo>
                <a:lnTo>
                  <a:pt x="1064123" y="265772"/>
                </a:lnTo>
                <a:lnTo>
                  <a:pt x="1064123" y="295374"/>
                </a:lnTo>
                <a:lnTo>
                  <a:pt x="1034520" y="295374"/>
                </a:lnTo>
                <a:close/>
                <a:moveTo>
                  <a:pt x="768326" y="265770"/>
                </a:moveTo>
                <a:lnTo>
                  <a:pt x="797926" y="265770"/>
                </a:lnTo>
                <a:lnTo>
                  <a:pt x="797926" y="295372"/>
                </a:lnTo>
                <a:lnTo>
                  <a:pt x="768326" y="295372"/>
                </a:lnTo>
                <a:close/>
                <a:moveTo>
                  <a:pt x="502235" y="265767"/>
                </a:moveTo>
                <a:lnTo>
                  <a:pt x="531838" y="265767"/>
                </a:lnTo>
                <a:lnTo>
                  <a:pt x="531838" y="295370"/>
                </a:lnTo>
                <a:lnTo>
                  <a:pt x="502235" y="295370"/>
                </a:lnTo>
                <a:close/>
                <a:moveTo>
                  <a:pt x="236036" y="265765"/>
                </a:moveTo>
                <a:lnTo>
                  <a:pt x="265639" y="265765"/>
                </a:lnTo>
                <a:lnTo>
                  <a:pt x="265639" y="295368"/>
                </a:lnTo>
                <a:lnTo>
                  <a:pt x="236036" y="295368"/>
                </a:lnTo>
                <a:close/>
                <a:moveTo>
                  <a:pt x="0" y="265765"/>
                </a:moveTo>
                <a:lnTo>
                  <a:pt x="29602" y="265765"/>
                </a:lnTo>
                <a:lnTo>
                  <a:pt x="29602" y="295368"/>
                </a:lnTo>
                <a:lnTo>
                  <a:pt x="0" y="295368"/>
                </a:lnTo>
                <a:close/>
                <a:moveTo>
                  <a:pt x="1034520" y="7"/>
                </a:moveTo>
                <a:lnTo>
                  <a:pt x="1064123" y="7"/>
                </a:lnTo>
                <a:lnTo>
                  <a:pt x="1064123" y="29609"/>
                </a:lnTo>
                <a:lnTo>
                  <a:pt x="1034520" y="29609"/>
                </a:lnTo>
                <a:close/>
                <a:moveTo>
                  <a:pt x="768326" y="5"/>
                </a:moveTo>
                <a:lnTo>
                  <a:pt x="797926" y="5"/>
                </a:lnTo>
                <a:lnTo>
                  <a:pt x="797926" y="29607"/>
                </a:lnTo>
                <a:lnTo>
                  <a:pt x="768326" y="29607"/>
                </a:lnTo>
                <a:close/>
                <a:moveTo>
                  <a:pt x="502235" y="2"/>
                </a:moveTo>
                <a:lnTo>
                  <a:pt x="531838" y="2"/>
                </a:lnTo>
                <a:lnTo>
                  <a:pt x="531838" y="29605"/>
                </a:lnTo>
                <a:lnTo>
                  <a:pt x="502235" y="29605"/>
                </a:lnTo>
                <a:close/>
                <a:moveTo>
                  <a:pt x="236036" y="0"/>
                </a:moveTo>
                <a:lnTo>
                  <a:pt x="265638" y="0"/>
                </a:lnTo>
                <a:lnTo>
                  <a:pt x="265638" y="29602"/>
                </a:lnTo>
                <a:lnTo>
                  <a:pt x="236036" y="29602"/>
                </a:lnTo>
                <a:close/>
                <a:moveTo>
                  <a:pt x="0" y="0"/>
                </a:moveTo>
                <a:lnTo>
                  <a:pt x="29602" y="0"/>
                </a:lnTo>
                <a:lnTo>
                  <a:pt x="29602" y="29602"/>
                </a:lnTo>
                <a:lnTo>
                  <a:pt x="0" y="29602"/>
                </a:lnTo>
                <a:close/>
              </a:path>
            </a:pathLst>
          </a:custGeom>
          <a:solidFill>
            <a:schemeClr val="bg1">
              <a:alpha val="40000"/>
            </a:schemeClr>
          </a:solidFill>
          <a:ln w="10797" cap="flat">
            <a:noFill/>
            <a:prstDash val="solid"/>
            <a:miter/>
          </a:ln>
        </p:spPr>
        <p:txBody>
          <a:bodyPr wrap="square" rtlCol="0" anchor="ctr">
            <a:noAutofit/>
          </a:bodyPr>
          <a:lstStyle/>
          <a:p>
            <a:endParaRPr lang="en-US"/>
          </a:p>
        </p:txBody>
      </p:sp>
      <p:pic>
        <p:nvPicPr>
          <p:cNvPr id="14" name="Picture 13">
            <a:extLst>
              <a:ext uri="{FF2B5EF4-FFF2-40B4-BE49-F238E27FC236}">
                <a16:creationId xmlns:a16="http://schemas.microsoft.com/office/drawing/2014/main" id="{46CF3E7B-A104-4C21-81B2-113DEFA08FAC}"/>
              </a:ext>
            </a:extLst>
          </p:cNvPr>
          <p:cNvPicPr>
            <a:picLocks noChangeAspect="1"/>
          </p:cNvPicPr>
          <p:nvPr userDrawn="1"/>
        </p:nvPicPr>
        <p:blipFill>
          <a:blip r:embed="rId15" cstate="screen">
            <a:extLst>
              <a:ext uri="{28A0092B-C50C-407E-A947-70E740481C1C}">
                <a14:useLocalDpi xmlns:a14="http://schemas.microsoft.com/office/drawing/2010/main"/>
              </a:ext>
            </a:extLst>
          </a:blip>
          <a:srcRect/>
          <a:stretch/>
        </p:blipFill>
        <p:spPr>
          <a:xfrm>
            <a:off x="260488" y="3149791"/>
            <a:ext cx="1053564" cy="546736"/>
          </a:xfrm>
          <a:prstGeom prst="rect">
            <a:avLst/>
          </a:prstGeom>
        </p:spPr>
      </p:pic>
    </p:spTree>
    <p:extLst>
      <p:ext uri="{BB962C8B-B14F-4D97-AF65-F5344CB8AC3E}">
        <p14:creationId xmlns:p14="http://schemas.microsoft.com/office/powerpoint/2010/main" val="3308980434"/>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1223">
          <p15:clr>
            <a:srgbClr val="F26B43"/>
          </p15:clr>
        </p15:guide>
        <p15:guide id="3" pos="7439">
          <p15:clr>
            <a:srgbClr val="F26B43"/>
          </p15:clr>
        </p15:guide>
        <p15:guide id="4" orient="horz" pos="115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1" y="357721"/>
            <a:ext cx="6608941" cy="690029"/>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381001" y="1322024"/>
            <a:ext cx="11426823" cy="48882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Nr.›</a:t>
            </a:fld>
            <a:endParaRPr lang="en-US" sz="700" b="1" i="0" kern="1200" err="1">
              <a:solidFill>
                <a:schemeClr val="tx1"/>
              </a:solidFill>
              <a:latin typeface="Arial"/>
              <a:ea typeface="+mn-ea"/>
              <a:cs typeface="Arial"/>
            </a:endParaRPr>
          </a:p>
        </p:txBody>
      </p:sp>
      <p:sp>
        <p:nvSpPr>
          <p:cNvPr id="10" name="Rectangle 9">
            <a:extLst>
              <a:ext uri="{FF2B5EF4-FFF2-40B4-BE49-F238E27FC236}">
                <a16:creationId xmlns:a16="http://schemas.microsoft.com/office/drawing/2014/main" id="{BE111FAC-D0E4-4BBA-92AA-8EB0FD97D243}"/>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D716C905-C136-4D1D-AD21-AC53D4A8C87B}"/>
              </a:ext>
            </a:extLst>
          </p:cNvPr>
          <p:cNvPicPr>
            <a:picLocks noChangeAspect="1"/>
          </p:cNvPicPr>
          <p:nvPr userDrawn="1"/>
        </p:nvPicPr>
        <p:blipFill>
          <a:blip r:embed="rId40"/>
          <a:srcRect/>
          <a:stretch/>
        </p:blipFill>
        <p:spPr>
          <a:xfrm>
            <a:off x="10350499" y="349030"/>
            <a:ext cx="1419617" cy="325698"/>
          </a:xfrm>
          <a:prstGeom prst="rect">
            <a:avLst/>
          </a:prstGeom>
        </p:spPr>
      </p:pic>
      <p:sp>
        <p:nvSpPr>
          <p:cNvPr id="15" name="Freeform: Shape 41">
            <a:extLst>
              <a:ext uri="{FF2B5EF4-FFF2-40B4-BE49-F238E27FC236}">
                <a16:creationId xmlns:a16="http://schemas.microsoft.com/office/drawing/2014/main" id="{541202CC-94B5-442C-92E1-B478268C118E}"/>
              </a:ext>
            </a:extLst>
          </p:cNvPr>
          <p:cNvSpPr txBox="1">
            <a:spLocks/>
          </p:cNvSpPr>
          <p:nvPr userDrawn="1"/>
        </p:nvSpPr>
        <p:spPr>
          <a:xfrm rot="16200000">
            <a:off x="9347536"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 name="TextBox 15">
            <a:extLst>
              <a:ext uri="{FF2B5EF4-FFF2-40B4-BE49-F238E27FC236}">
                <a16:creationId xmlns:a16="http://schemas.microsoft.com/office/drawing/2014/main" id="{42EDF6A8-A828-4C8E-8DCC-8294A4F43BB9}"/>
              </a:ext>
            </a:extLst>
          </p:cNvPr>
          <p:cNvSpPr txBox="1">
            <a:spLocks/>
          </p:cNvSpPr>
          <p:nvPr userDrawn="1"/>
        </p:nvSpPr>
        <p:spPr>
          <a:xfrm>
            <a:off x="7040088"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nvGrpSpPr>
          <p:cNvPr id="17" name="Group 16">
            <a:extLst>
              <a:ext uri="{FF2B5EF4-FFF2-40B4-BE49-F238E27FC236}">
                <a16:creationId xmlns:a16="http://schemas.microsoft.com/office/drawing/2014/main" id="{3A0999A1-9B1F-4556-BFDE-4CD504AEEEE7}"/>
              </a:ext>
            </a:extLst>
          </p:cNvPr>
          <p:cNvGrpSpPr/>
          <p:nvPr userDrawn="1"/>
        </p:nvGrpSpPr>
        <p:grpSpPr>
          <a:xfrm>
            <a:off x="6989946" y="244608"/>
            <a:ext cx="4971452" cy="549346"/>
            <a:chOff x="6989946" y="244608"/>
            <a:chExt cx="4971452" cy="549346"/>
          </a:xfrm>
        </p:grpSpPr>
        <p:sp>
          <p:nvSpPr>
            <p:cNvPr id="20" name="Freeform: Shape 19">
              <a:extLst>
                <a:ext uri="{FF2B5EF4-FFF2-40B4-BE49-F238E27FC236}">
                  <a16:creationId xmlns:a16="http://schemas.microsoft.com/office/drawing/2014/main" id="{1BFB8933-A4CE-469D-B507-8AA0924EC179}"/>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a:p>
          </p:txBody>
        </p:sp>
        <p:sp>
          <p:nvSpPr>
            <p:cNvPr id="24" name="Freeform: Shape 23">
              <a:extLst>
                <a:ext uri="{FF2B5EF4-FFF2-40B4-BE49-F238E27FC236}">
                  <a16:creationId xmlns:a16="http://schemas.microsoft.com/office/drawing/2014/main" id="{2513E87F-820D-4A7A-9D31-A26D68EA0837}"/>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5" name="Freeform: Shape 24">
              <a:extLst>
                <a:ext uri="{FF2B5EF4-FFF2-40B4-BE49-F238E27FC236}">
                  <a16:creationId xmlns:a16="http://schemas.microsoft.com/office/drawing/2014/main" id="{2CE497EA-D9C9-41D3-83F4-07E026FE6B00}"/>
                </a:ext>
              </a:extLst>
            </p:cNvPr>
            <p:cNvSpPr/>
            <p:nvPr userDrawn="1"/>
          </p:nvSpPr>
          <p:spPr>
            <a:xfrm rot="5400000">
              <a:off x="8941015"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6" name="Freeform: Shape 25">
              <a:extLst>
                <a:ext uri="{FF2B5EF4-FFF2-40B4-BE49-F238E27FC236}">
                  <a16:creationId xmlns:a16="http://schemas.microsoft.com/office/drawing/2014/main" id="{8D6FD626-A54A-45F5-9E25-50C5D4A453EC}"/>
                </a:ext>
              </a:extLst>
            </p:cNvPr>
            <p:cNvSpPr/>
            <p:nvPr userDrawn="1"/>
          </p:nvSpPr>
          <p:spPr>
            <a:xfrm rot="5400000">
              <a:off x="9981382" y="374704"/>
              <a:ext cx="549346" cy="289153"/>
            </a:xfrm>
            <a:custGeom>
              <a:avLst/>
              <a:gdLst>
                <a:gd name="connsiteX0" fmla="*/ 520400 w 549346"/>
                <a:gd name="connsiteY0" fmla="*/ 28953 h 289153"/>
                <a:gd name="connsiteX1" fmla="*/ 520400 w 549346"/>
                <a:gd name="connsiteY1" fmla="*/ 9 h 289153"/>
                <a:gd name="connsiteX2" fmla="*/ 549346 w 549346"/>
                <a:gd name="connsiteY2" fmla="*/ 9 h 289153"/>
                <a:gd name="connsiteX3" fmla="*/ 549346 w 549346"/>
                <a:gd name="connsiteY3" fmla="*/ 28953 h 289153"/>
                <a:gd name="connsiteX4" fmla="*/ 520400 w 549346"/>
                <a:gd name="connsiteY4" fmla="*/ 289153 h 289153"/>
                <a:gd name="connsiteX5" fmla="*/ 520400 w 549346"/>
                <a:gd name="connsiteY5" fmla="*/ 260209 h 289153"/>
                <a:gd name="connsiteX6" fmla="*/ 549346 w 549346"/>
                <a:gd name="connsiteY6" fmla="*/ 260209 h 289153"/>
                <a:gd name="connsiteX7" fmla="*/ 549346 w 549346"/>
                <a:gd name="connsiteY7" fmla="*/ 289153 h 289153"/>
                <a:gd name="connsiteX8" fmla="*/ 260201 w 549346"/>
                <a:gd name="connsiteY8" fmla="*/ 289151 h 289153"/>
                <a:gd name="connsiteX9" fmla="*/ 260201 w 549346"/>
                <a:gd name="connsiteY9" fmla="*/ 260207 h 289153"/>
                <a:gd name="connsiteX10" fmla="*/ 289145 w 549346"/>
                <a:gd name="connsiteY10" fmla="*/ 260207 h 289153"/>
                <a:gd name="connsiteX11" fmla="*/ 289145 w 549346"/>
                <a:gd name="connsiteY11" fmla="*/ 289151 h 289153"/>
                <a:gd name="connsiteX12" fmla="*/ 0 w 549346"/>
                <a:gd name="connsiteY12" fmla="*/ 28949 h 289153"/>
                <a:gd name="connsiteX13" fmla="*/ 0 w 549346"/>
                <a:gd name="connsiteY13" fmla="*/ 0 h 289153"/>
                <a:gd name="connsiteX14" fmla="*/ 28944 w 549346"/>
                <a:gd name="connsiteY14" fmla="*/ 0 h 289153"/>
                <a:gd name="connsiteX15" fmla="*/ 28944 w 549346"/>
                <a:gd name="connsiteY15" fmla="*/ 28949 h 289153"/>
                <a:gd name="connsiteX16" fmla="*/ 0 w 549346"/>
                <a:gd name="connsiteY16" fmla="*/ 289149 h 289153"/>
                <a:gd name="connsiteX17" fmla="*/ 0 w 549346"/>
                <a:gd name="connsiteY17" fmla="*/ 260205 h 289153"/>
                <a:gd name="connsiteX18" fmla="*/ 28944 w 549346"/>
                <a:gd name="connsiteY18" fmla="*/ 260205 h 289153"/>
                <a:gd name="connsiteX19" fmla="*/ 28944 w 549346"/>
                <a:gd name="connsiteY19" fmla="*/ 289149 h 28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9346" h="289153">
                  <a:moveTo>
                    <a:pt x="520400" y="28953"/>
                  </a:moveTo>
                  <a:lnTo>
                    <a:pt x="520400" y="9"/>
                  </a:lnTo>
                  <a:lnTo>
                    <a:pt x="549346" y="9"/>
                  </a:lnTo>
                  <a:lnTo>
                    <a:pt x="549346" y="28953"/>
                  </a:lnTo>
                  <a:close/>
                  <a:moveTo>
                    <a:pt x="520400" y="289153"/>
                  </a:moveTo>
                  <a:lnTo>
                    <a:pt x="520400" y="260209"/>
                  </a:lnTo>
                  <a:lnTo>
                    <a:pt x="549346" y="260209"/>
                  </a:lnTo>
                  <a:lnTo>
                    <a:pt x="549346" y="289153"/>
                  </a:lnTo>
                  <a:close/>
                  <a:moveTo>
                    <a:pt x="260201" y="289151"/>
                  </a:moveTo>
                  <a:lnTo>
                    <a:pt x="260201" y="260207"/>
                  </a:lnTo>
                  <a:lnTo>
                    <a:pt x="289145" y="260207"/>
                  </a:lnTo>
                  <a:lnTo>
                    <a:pt x="289145" y="289151"/>
                  </a:lnTo>
                  <a:close/>
                  <a:moveTo>
                    <a:pt x="0" y="28949"/>
                  </a:moveTo>
                  <a:lnTo>
                    <a:pt x="0" y="0"/>
                  </a:lnTo>
                  <a:lnTo>
                    <a:pt x="28944" y="0"/>
                  </a:lnTo>
                  <a:lnTo>
                    <a:pt x="28944" y="28949"/>
                  </a:lnTo>
                  <a:close/>
                  <a:moveTo>
                    <a:pt x="0" y="289149"/>
                  </a:moveTo>
                  <a:lnTo>
                    <a:pt x="0" y="260205"/>
                  </a:lnTo>
                  <a:lnTo>
                    <a:pt x="28944" y="260205"/>
                  </a:lnTo>
                  <a:lnTo>
                    <a:pt x="28944" y="289149"/>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155484207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20" r:id="rId28"/>
    <p:sldLayoutId id="2147483821" r:id="rId29"/>
    <p:sldLayoutId id="2147483822" r:id="rId30"/>
    <p:sldLayoutId id="2147483865" r:id="rId31"/>
    <p:sldLayoutId id="2147483867" r:id="rId32"/>
    <p:sldLayoutId id="2147483882" r:id="rId33"/>
    <p:sldLayoutId id="2147483884" r:id="rId34"/>
    <p:sldLayoutId id="2147483886" r:id="rId35"/>
    <p:sldLayoutId id="2147483888" r:id="rId36"/>
    <p:sldLayoutId id="2147483891" r:id="rId37"/>
    <p:sldLayoutId id="2147483893" r:id="rId38"/>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p15:clr>
            <a:srgbClr val="F26B43"/>
          </p15:clr>
        </p15:guide>
        <p15:guide id="2" pos="239">
          <p15:clr>
            <a:srgbClr val="F26B43"/>
          </p15:clr>
        </p15:guide>
        <p15:guide id="3" pos="7439">
          <p15:clr>
            <a:srgbClr val="F26B43"/>
          </p15:clr>
        </p15:guide>
        <p15:guide id="4" orient="horz" pos="660">
          <p15:clr>
            <a:srgbClr val="F26B43"/>
          </p15:clr>
        </p15:guide>
        <p15:guide id="5" orient="horz" pos="83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F46D93-BE7C-4DA2-8B46-F16EF03750C5}"/>
              </a:ext>
            </a:extLst>
          </p:cNvPr>
          <p:cNvGraphicFramePr>
            <a:graphicFrameLocks noChangeAspect="1"/>
          </p:cNvGraphicFramePr>
          <p:nvPr userDrawn="1">
            <p:custDataLst>
              <p:tags r:id="rId19"/>
            </p:custDataLst>
            <p:extLst>
              <p:ext uri="{D42A27DB-BD31-4B8C-83A1-F6EECF244321}">
                <p14:modId xmlns:p14="http://schemas.microsoft.com/office/powerpoint/2010/main" val="3824915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20" name="think-cell Slide" r:id="rId20" imgW="393" imgH="402" progId="TCLayout.ActiveDocument.1">
                  <p:embed/>
                </p:oleObj>
              </mc:Choice>
              <mc:Fallback>
                <p:oleObj name="think-cell Slide" r:id="rId20" imgW="393" imgH="402" progId="TCLayout.ActiveDocument.1">
                  <p:embed/>
                  <p:pic>
                    <p:nvPicPr>
                      <p:cNvPr id="5" name="Object 4" hidden="1">
                        <a:extLst>
                          <a:ext uri="{FF2B5EF4-FFF2-40B4-BE49-F238E27FC236}">
                            <a16:creationId xmlns:a16="http://schemas.microsoft.com/office/drawing/2014/main" id="{66F46D93-BE7C-4DA2-8B46-F16EF03750C5}"/>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4" name="Freeform: Shape 41">
            <a:extLst>
              <a:ext uri="{FF2B5EF4-FFF2-40B4-BE49-F238E27FC236}">
                <a16:creationId xmlns:a16="http://schemas.microsoft.com/office/drawing/2014/main" id="{3D7EF86B-C285-4694-8AE5-C354FEE8BED3}"/>
              </a:ext>
            </a:extLst>
          </p:cNvPr>
          <p:cNvSpPr txBox="1">
            <a:spLocks/>
          </p:cNvSpPr>
          <p:nvPr userDrawn="1"/>
        </p:nvSpPr>
        <p:spPr>
          <a:xfrm rot="16200000">
            <a:off x="9347536"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 name="Title Placeholder 1"/>
          <p:cNvSpPr>
            <a:spLocks noGrp="1"/>
          </p:cNvSpPr>
          <p:nvPr>
            <p:ph type="title"/>
          </p:nvPr>
        </p:nvSpPr>
        <p:spPr>
          <a:xfrm>
            <a:off x="381001" y="357721"/>
            <a:ext cx="6608941" cy="690029"/>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381001" y="1322388"/>
            <a:ext cx="11426823" cy="496182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Nr.›</a:t>
            </a:fld>
            <a:endParaRPr lang="en-US" sz="700" b="1" i="0" kern="1200" err="1">
              <a:solidFill>
                <a:schemeClr val="tx1"/>
              </a:solidFill>
              <a:latin typeface="Arial"/>
              <a:ea typeface="+mn-ea"/>
              <a:cs typeface="Arial"/>
            </a:endParaRPr>
          </a:p>
        </p:txBody>
      </p:sp>
      <p:sp>
        <p:nvSpPr>
          <p:cNvPr id="10" name="Rectangle 9">
            <a:extLst>
              <a:ext uri="{FF2B5EF4-FFF2-40B4-BE49-F238E27FC236}">
                <a16:creationId xmlns:a16="http://schemas.microsoft.com/office/drawing/2014/main" id="{BBAA1A17-E5C3-4173-84E8-4D5439A15A93}"/>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CD447F06-748E-42A6-BD60-E239F1FB5B2C}"/>
              </a:ext>
            </a:extLst>
          </p:cNvPr>
          <p:cNvPicPr>
            <a:picLocks noChangeAspect="1"/>
          </p:cNvPicPr>
          <p:nvPr userDrawn="1"/>
        </p:nvPicPr>
        <p:blipFill>
          <a:blip r:embed="rId22" cstate="screen">
            <a:extLst>
              <a:ext uri="{28A0092B-C50C-407E-A947-70E740481C1C}">
                <a14:useLocalDpi xmlns:a14="http://schemas.microsoft.com/office/drawing/2010/main"/>
              </a:ext>
            </a:extLst>
          </a:blip>
          <a:srcRect/>
          <a:stretch/>
        </p:blipFill>
        <p:spPr>
          <a:xfrm>
            <a:off x="10350499" y="349030"/>
            <a:ext cx="1419617" cy="325698"/>
          </a:xfrm>
          <a:prstGeom prst="rect">
            <a:avLst/>
          </a:prstGeom>
        </p:spPr>
      </p:pic>
      <p:sp>
        <p:nvSpPr>
          <p:cNvPr id="13" name="TextBox 12">
            <a:extLst>
              <a:ext uri="{FF2B5EF4-FFF2-40B4-BE49-F238E27FC236}">
                <a16:creationId xmlns:a16="http://schemas.microsoft.com/office/drawing/2014/main" id="{9F2E3F76-83D3-4554-B85D-A36954F54A08}"/>
              </a:ext>
            </a:extLst>
          </p:cNvPr>
          <p:cNvSpPr txBox="1">
            <a:spLocks/>
          </p:cNvSpPr>
          <p:nvPr userDrawn="1"/>
        </p:nvSpPr>
        <p:spPr>
          <a:xfrm>
            <a:off x="7040088"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nvGrpSpPr>
          <p:cNvPr id="9" name="Group 8">
            <a:extLst>
              <a:ext uri="{FF2B5EF4-FFF2-40B4-BE49-F238E27FC236}">
                <a16:creationId xmlns:a16="http://schemas.microsoft.com/office/drawing/2014/main" id="{65B239D9-38EC-420B-B93B-7319EC229F40}"/>
              </a:ext>
            </a:extLst>
          </p:cNvPr>
          <p:cNvGrpSpPr/>
          <p:nvPr userDrawn="1"/>
        </p:nvGrpSpPr>
        <p:grpSpPr>
          <a:xfrm>
            <a:off x="6989946" y="244608"/>
            <a:ext cx="4971452" cy="549346"/>
            <a:chOff x="6989946" y="244608"/>
            <a:chExt cx="4971452" cy="549346"/>
          </a:xfrm>
        </p:grpSpPr>
        <p:sp>
          <p:nvSpPr>
            <p:cNvPr id="24" name="Freeform: Shape 23">
              <a:extLst>
                <a:ext uri="{FF2B5EF4-FFF2-40B4-BE49-F238E27FC236}">
                  <a16:creationId xmlns:a16="http://schemas.microsoft.com/office/drawing/2014/main" id="{8478AD4B-A0BB-4DAC-9E45-9BEAEEC23A88}"/>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a:p>
          </p:txBody>
        </p:sp>
        <p:sp>
          <p:nvSpPr>
            <p:cNvPr id="15" name="Freeform: Shape 14">
              <a:extLst>
                <a:ext uri="{FF2B5EF4-FFF2-40B4-BE49-F238E27FC236}">
                  <a16:creationId xmlns:a16="http://schemas.microsoft.com/office/drawing/2014/main" id="{091D6EB4-41B9-48B9-8CAB-A7F9C42E9A95}"/>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CEECB398-66B9-4D8C-AC53-1BBB3D1D4C08}"/>
                </a:ext>
              </a:extLst>
            </p:cNvPr>
            <p:cNvSpPr/>
            <p:nvPr userDrawn="1"/>
          </p:nvSpPr>
          <p:spPr>
            <a:xfrm rot="5400000">
              <a:off x="8941015"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6" name="Freeform: Shape 25">
              <a:extLst>
                <a:ext uri="{FF2B5EF4-FFF2-40B4-BE49-F238E27FC236}">
                  <a16:creationId xmlns:a16="http://schemas.microsoft.com/office/drawing/2014/main" id="{37C1253B-46C5-406E-8CD3-80752486A0DE}"/>
                </a:ext>
              </a:extLst>
            </p:cNvPr>
            <p:cNvSpPr/>
            <p:nvPr userDrawn="1"/>
          </p:nvSpPr>
          <p:spPr>
            <a:xfrm rot="5400000">
              <a:off x="9981382" y="374704"/>
              <a:ext cx="549346" cy="289153"/>
            </a:xfrm>
            <a:custGeom>
              <a:avLst/>
              <a:gdLst>
                <a:gd name="connsiteX0" fmla="*/ 520400 w 549346"/>
                <a:gd name="connsiteY0" fmla="*/ 28953 h 289153"/>
                <a:gd name="connsiteX1" fmla="*/ 520400 w 549346"/>
                <a:gd name="connsiteY1" fmla="*/ 9 h 289153"/>
                <a:gd name="connsiteX2" fmla="*/ 549346 w 549346"/>
                <a:gd name="connsiteY2" fmla="*/ 9 h 289153"/>
                <a:gd name="connsiteX3" fmla="*/ 549346 w 549346"/>
                <a:gd name="connsiteY3" fmla="*/ 28953 h 289153"/>
                <a:gd name="connsiteX4" fmla="*/ 520400 w 549346"/>
                <a:gd name="connsiteY4" fmla="*/ 289153 h 289153"/>
                <a:gd name="connsiteX5" fmla="*/ 520400 w 549346"/>
                <a:gd name="connsiteY5" fmla="*/ 260209 h 289153"/>
                <a:gd name="connsiteX6" fmla="*/ 549346 w 549346"/>
                <a:gd name="connsiteY6" fmla="*/ 260209 h 289153"/>
                <a:gd name="connsiteX7" fmla="*/ 549346 w 549346"/>
                <a:gd name="connsiteY7" fmla="*/ 289153 h 289153"/>
                <a:gd name="connsiteX8" fmla="*/ 260201 w 549346"/>
                <a:gd name="connsiteY8" fmla="*/ 289151 h 289153"/>
                <a:gd name="connsiteX9" fmla="*/ 260201 w 549346"/>
                <a:gd name="connsiteY9" fmla="*/ 260207 h 289153"/>
                <a:gd name="connsiteX10" fmla="*/ 289145 w 549346"/>
                <a:gd name="connsiteY10" fmla="*/ 260207 h 289153"/>
                <a:gd name="connsiteX11" fmla="*/ 289145 w 549346"/>
                <a:gd name="connsiteY11" fmla="*/ 289151 h 289153"/>
                <a:gd name="connsiteX12" fmla="*/ 0 w 549346"/>
                <a:gd name="connsiteY12" fmla="*/ 28949 h 289153"/>
                <a:gd name="connsiteX13" fmla="*/ 0 w 549346"/>
                <a:gd name="connsiteY13" fmla="*/ 0 h 289153"/>
                <a:gd name="connsiteX14" fmla="*/ 28944 w 549346"/>
                <a:gd name="connsiteY14" fmla="*/ 0 h 289153"/>
                <a:gd name="connsiteX15" fmla="*/ 28944 w 549346"/>
                <a:gd name="connsiteY15" fmla="*/ 28949 h 289153"/>
                <a:gd name="connsiteX16" fmla="*/ 0 w 549346"/>
                <a:gd name="connsiteY16" fmla="*/ 289149 h 289153"/>
                <a:gd name="connsiteX17" fmla="*/ 0 w 549346"/>
                <a:gd name="connsiteY17" fmla="*/ 260205 h 289153"/>
                <a:gd name="connsiteX18" fmla="*/ 28944 w 549346"/>
                <a:gd name="connsiteY18" fmla="*/ 260205 h 289153"/>
                <a:gd name="connsiteX19" fmla="*/ 28944 w 549346"/>
                <a:gd name="connsiteY19" fmla="*/ 289149 h 28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9346" h="289153">
                  <a:moveTo>
                    <a:pt x="520400" y="28953"/>
                  </a:moveTo>
                  <a:lnTo>
                    <a:pt x="520400" y="9"/>
                  </a:lnTo>
                  <a:lnTo>
                    <a:pt x="549346" y="9"/>
                  </a:lnTo>
                  <a:lnTo>
                    <a:pt x="549346" y="28953"/>
                  </a:lnTo>
                  <a:close/>
                  <a:moveTo>
                    <a:pt x="520400" y="289153"/>
                  </a:moveTo>
                  <a:lnTo>
                    <a:pt x="520400" y="260209"/>
                  </a:lnTo>
                  <a:lnTo>
                    <a:pt x="549346" y="260209"/>
                  </a:lnTo>
                  <a:lnTo>
                    <a:pt x="549346" y="289153"/>
                  </a:lnTo>
                  <a:close/>
                  <a:moveTo>
                    <a:pt x="260201" y="289151"/>
                  </a:moveTo>
                  <a:lnTo>
                    <a:pt x="260201" y="260207"/>
                  </a:lnTo>
                  <a:lnTo>
                    <a:pt x="289145" y="260207"/>
                  </a:lnTo>
                  <a:lnTo>
                    <a:pt x="289145" y="289151"/>
                  </a:lnTo>
                  <a:close/>
                  <a:moveTo>
                    <a:pt x="0" y="28949"/>
                  </a:moveTo>
                  <a:lnTo>
                    <a:pt x="0" y="0"/>
                  </a:lnTo>
                  <a:lnTo>
                    <a:pt x="28944" y="0"/>
                  </a:lnTo>
                  <a:lnTo>
                    <a:pt x="28944" y="28949"/>
                  </a:lnTo>
                  <a:close/>
                  <a:moveTo>
                    <a:pt x="0" y="289149"/>
                  </a:moveTo>
                  <a:lnTo>
                    <a:pt x="0" y="260205"/>
                  </a:lnTo>
                  <a:lnTo>
                    <a:pt x="28944" y="260205"/>
                  </a:lnTo>
                  <a:lnTo>
                    <a:pt x="28944" y="289149"/>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3666782815"/>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p15:clr>
            <a:srgbClr val="F26B43"/>
          </p15:clr>
        </p15:guide>
        <p15:guide id="2" pos="239">
          <p15:clr>
            <a:srgbClr val="F26B43"/>
          </p15:clr>
        </p15:guide>
        <p15:guide id="3" pos="7439">
          <p15:clr>
            <a:srgbClr val="F26B43"/>
          </p15:clr>
        </p15:guide>
        <p15:guide id="4" orient="horz" pos="660">
          <p15:clr>
            <a:srgbClr val="F26B43"/>
          </p15:clr>
        </p15:guide>
        <p15:guide id="5" orient="horz" pos="83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F46D93-BE7C-4DA2-8B46-F16EF03750C5}"/>
              </a:ext>
            </a:extLst>
          </p:cNvPr>
          <p:cNvGraphicFramePr>
            <a:graphicFrameLocks noChangeAspect="1"/>
          </p:cNvGraphicFramePr>
          <p:nvPr userDrawn="1">
            <p:custDataLst>
              <p:tags r:id="rId28"/>
            </p:custDataLst>
            <p:extLst>
              <p:ext uri="{D42A27DB-BD31-4B8C-83A1-F6EECF244321}">
                <p14:modId xmlns:p14="http://schemas.microsoft.com/office/powerpoint/2010/main" val="1798508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8" name="think-cell Slide" r:id="rId29" imgW="393" imgH="402" progId="TCLayout.ActiveDocument.1">
                  <p:embed/>
                </p:oleObj>
              </mc:Choice>
              <mc:Fallback>
                <p:oleObj name="think-cell Slide" r:id="rId29" imgW="393" imgH="402" progId="TCLayout.ActiveDocument.1">
                  <p:embed/>
                  <p:pic>
                    <p:nvPicPr>
                      <p:cNvPr id="5" name="Object 4" hidden="1">
                        <a:extLst>
                          <a:ext uri="{FF2B5EF4-FFF2-40B4-BE49-F238E27FC236}">
                            <a16:creationId xmlns:a16="http://schemas.microsoft.com/office/drawing/2014/main" id="{66F46D93-BE7C-4DA2-8B46-F16EF03750C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4" name="Freeform: Shape 41">
            <a:extLst>
              <a:ext uri="{FF2B5EF4-FFF2-40B4-BE49-F238E27FC236}">
                <a16:creationId xmlns:a16="http://schemas.microsoft.com/office/drawing/2014/main" id="{3D7EF86B-C285-4694-8AE5-C354FEE8BED3}"/>
              </a:ext>
            </a:extLst>
          </p:cNvPr>
          <p:cNvSpPr txBox="1">
            <a:spLocks/>
          </p:cNvSpPr>
          <p:nvPr userDrawn="1"/>
        </p:nvSpPr>
        <p:spPr>
          <a:xfrm rot="16200000">
            <a:off x="9347536"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 name="Title Placeholder 1"/>
          <p:cNvSpPr>
            <a:spLocks noGrp="1"/>
          </p:cNvSpPr>
          <p:nvPr>
            <p:ph type="title"/>
          </p:nvPr>
        </p:nvSpPr>
        <p:spPr>
          <a:xfrm>
            <a:off x="381001" y="357721"/>
            <a:ext cx="6608941" cy="690029"/>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381001" y="1322388"/>
            <a:ext cx="11426823" cy="496182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Nr.›</a:t>
            </a:fld>
            <a:endParaRPr lang="en-US" sz="700" b="1" i="0" kern="1200" err="1">
              <a:solidFill>
                <a:schemeClr val="tx1"/>
              </a:solidFill>
              <a:latin typeface="Arial"/>
              <a:ea typeface="+mn-ea"/>
              <a:cs typeface="Arial"/>
            </a:endParaRPr>
          </a:p>
        </p:txBody>
      </p:sp>
      <p:sp>
        <p:nvSpPr>
          <p:cNvPr id="10" name="Rectangle 9">
            <a:extLst>
              <a:ext uri="{FF2B5EF4-FFF2-40B4-BE49-F238E27FC236}">
                <a16:creationId xmlns:a16="http://schemas.microsoft.com/office/drawing/2014/main" id="{BBAA1A17-E5C3-4173-84E8-4D5439A15A93}"/>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CD447F06-748E-42A6-BD60-E239F1FB5B2C}"/>
              </a:ext>
            </a:extLst>
          </p:cNvPr>
          <p:cNvPicPr>
            <a:picLocks noChangeAspect="1"/>
          </p:cNvPicPr>
          <p:nvPr userDrawn="1"/>
        </p:nvPicPr>
        <p:blipFill>
          <a:blip r:embed="rId31" cstate="screen">
            <a:extLst>
              <a:ext uri="{28A0092B-C50C-407E-A947-70E740481C1C}">
                <a14:useLocalDpi xmlns:a14="http://schemas.microsoft.com/office/drawing/2010/main"/>
              </a:ext>
            </a:extLst>
          </a:blip>
          <a:srcRect/>
          <a:stretch/>
        </p:blipFill>
        <p:spPr>
          <a:xfrm>
            <a:off x="10350499" y="349030"/>
            <a:ext cx="1419617" cy="325698"/>
          </a:xfrm>
          <a:prstGeom prst="rect">
            <a:avLst/>
          </a:prstGeom>
        </p:spPr>
      </p:pic>
      <p:sp>
        <p:nvSpPr>
          <p:cNvPr id="13" name="TextBox 12">
            <a:extLst>
              <a:ext uri="{FF2B5EF4-FFF2-40B4-BE49-F238E27FC236}">
                <a16:creationId xmlns:a16="http://schemas.microsoft.com/office/drawing/2014/main" id="{9F2E3F76-83D3-4554-B85D-A36954F54A08}"/>
              </a:ext>
            </a:extLst>
          </p:cNvPr>
          <p:cNvSpPr txBox="1">
            <a:spLocks/>
          </p:cNvSpPr>
          <p:nvPr userDrawn="1"/>
        </p:nvSpPr>
        <p:spPr>
          <a:xfrm>
            <a:off x="7040088"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nvGrpSpPr>
          <p:cNvPr id="9" name="Group 8">
            <a:extLst>
              <a:ext uri="{FF2B5EF4-FFF2-40B4-BE49-F238E27FC236}">
                <a16:creationId xmlns:a16="http://schemas.microsoft.com/office/drawing/2014/main" id="{65B239D9-38EC-420B-B93B-7319EC229F40}"/>
              </a:ext>
            </a:extLst>
          </p:cNvPr>
          <p:cNvGrpSpPr/>
          <p:nvPr userDrawn="1"/>
        </p:nvGrpSpPr>
        <p:grpSpPr>
          <a:xfrm>
            <a:off x="6989946" y="244608"/>
            <a:ext cx="4971452" cy="549346"/>
            <a:chOff x="6989946" y="244608"/>
            <a:chExt cx="4971452" cy="549346"/>
          </a:xfrm>
        </p:grpSpPr>
        <p:sp>
          <p:nvSpPr>
            <p:cNvPr id="24" name="Freeform: Shape 23">
              <a:extLst>
                <a:ext uri="{FF2B5EF4-FFF2-40B4-BE49-F238E27FC236}">
                  <a16:creationId xmlns:a16="http://schemas.microsoft.com/office/drawing/2014/main" id="{8478AD4B-A0BB-4DAC-9E45-9BEAEEC23A88}"/>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a:p>
          </p:txBody>
        </p:sp>
        <p:sp>
          <p:nvSpPr>
            <p:cNvPr id="15" name="Freeform: Shape 14">
              <a:extLst>
                <a:ext uri="{FF2B5EF4-FFF2-40B4-BE49-F238E27FC236}">
                  <a16:creationId xmlns:a16="http://schemas.microsoft.com/office/drawing/2014/main" id="{091D6EB4-41B9-48B9-8CAB-A7F9C42E9A95}"/>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CEECB398-66B9-4D8C-AC53-1BBB3D1D4C08}"/>
                </a:ext>
              </a:extLst>
            </p:cNvPr>
            <p:cNvSpPr/>
            <p:nvPr userDrawn="1"/>
          </p:nvSpPr>
          <p:spPr>
            <a:xfrm rot="5400000">
              <a:off x="8941015"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6" name="Freeform: Shape 25">
              <a:extLst>
                <a:ext uri="{FF2B5EF4-FFF2-40B4-BE49-F238E27FC236}">
                  <a16:creationId xmlns:a16="http://schemas.microsoft.com/office/drawing/2014/main" id="{37C1253B-46C5-406E-8CD3-80752486A0DE}"/>
                </a:ext>
              </a:extLst>
            </p:cNvPr>
            <p:cNvSpPr/>
            <p:nvPr userDrawn="1"/>
          </p:nvSpPr>
          <p:spPr>
            <a:xfrm rot="5400000">
              <a:off x="9981382" y="374704"/>
              <a:ext cx="549346" cy="289153"/>
            </a:xfrm>
            <a:custGeom>
              <a:avLst/>
              <a:gdLst>
                <a:gd name="connsiteX0" fmla="*/ 520400 w 549346"/>
                <a:gd name="connsiteY0" fmla="*/ 28953 h 289153"/>
                <a:gd name="connsiteX1" fmla="*/ 520400 w 549346"/>
                <a:gd name="connsiteY1" fmla="*/ 9 h 289153"/>
                <a:gd name="connsiteX2" fmla="*/ 549346 w 549346"/>
                <a:gd name="connsiteY2" fmla="*/ 9 h 289153"/>
                <a:gd name="connsiteX3" fmla="*/ 549346 w 549346"/>
                <a:gd name="connsiteY3" fmla="*/ 28953 h 289153"/>
                <a:gd name="connsiteX4" fmla="*/ 520400 w 549346"/>
                <a:gd name="connsiteY4" fmla="*/ 289153 h 289153"/>
                <a:gd name="connsiteX5" fmla="*/ 520400 w 549346"/>
                <a:gd name="connsiteY5" fmla="*/ 260209 h 289153"/>
                <a:gd name="connsiteX6" fmla="*/ 549346 w 549346"/>
                <a:gd name="connsiteY6" fmla="*/ 260209 h 289153"/>
                <a:gd name="connsiteX7" fmla="*/ 549346 w 549346"/>
                <a:gd name="connsiteY7" fmla="*/ 289153 h 289153"/>
                <a:gd name="connsiteX8" fmla="*/ 260201 w 549346"/>
                <a:gd name="connsiteY8" fmla="*/ 289151 h 289153"/>
                <a:gd name="connsiteX9" fmla="*/ 260201 w 549346"/>
                <a:gd name="connsiteY9" fmla="*/ 260207 h 289153"/>
                <a:gd name="connsiteX10" fmla="*/ 289145 w 549346"/>
                <a:gd name="connsiteY10" fmla="*/ 260207 h 289153"/>
                <a:gd name="connsiteX11" fmla="*/ 289145 w 549346"/>
                <a:gd name="connsiteY11" fmla="*/ 289151 h 289153"/>
                <a:gd name="connsiteX12" fmla="*/ 0 w 549346"/>
                <a:gd name="connsiteY12" fmla="*/ 28949 h 289153"/>
                <a:gd name="connsiteX13" fmla="*/ 0 w 549346"/>
                <a:gd name="connsiteY13" fmla="*/ 0 h 289153"/>
                <a:gd name="connsiteX14" fmla="*/ 28944 w 549346"/>
                <a:gd name="connsiteY14" fmla="*/ 0 h 289153"/>
                <a:gd name="connsiteX15" fmla="*/ 28944 w 549346"/>
                <a:gd name="connsiteY15" fmla="*/ 28949 h 289153"/>
                <a:gd name="connsiteX16" fmla="*/ 0 w 549346"/>
                <a:gd name="connsiteY16" fmla="*/ 289149 h 289153"/>
                <a:gd name="connsiteX17" fmla="*/ 0 w 549346"/>
                <a:gd name="connsiteY17" fmla="*/ 260205 h 289153"/>
                <a:gd name="connsiteX18" fmla="*/ 28944 w 549346"/>
                <a:gd name="connsiteY18" fmla="*/ 260205 h 289153"/>
                <a:gd name="connsiteX19" fmla="*/ 28944 w 549346"/>
                <a:gd name="connsiteY19" fmla="*/ 289149 h 28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9346" h="289153">
                  <a:moveTo>
                    <a:pt x="520400" y="28953"/>
                  </a:moveTo>
                  <a:lnTo>
                    <a:pt x="520400" y="9"/>
                  </a:lnTo>
                  <a:lnTo>
                    <a:pt x="549346" y="9"/>
                  </a:lnTo>
                  <a:lnTo>
                    <a:pt x="549346" y="28953"/>
                  </a:lnTo>
                  <a:close/>
                  <a:moveTo>
                    <a:pt x="520400" y="289153"/>
                  </a:moveTo>
                  <a:lnTo>
                    <a:pt x="520400" y="260209"/>
                  </a:lnTo>
                  <a:lnTo>
                    <a:pt x="549346" y="260209"/>
                  </a:lnTo>
                  <a:lnTo>
                    <a:pt x="549346" y="289153"/>
                  </a:lnTo>
                  <a:close/>
                  <a:moveTo>
                    <a:pt x="260201" y="289151"/>
                  </a:moveTo>
                  <a:lnTo>
                    <a:pt x="260201" y="260207"/>
                  </a:lnTo>
                  <a:lnTo>
                    <a:pt x="289145" y="260207"/>
                  </a:lnTo>
                  <a:lnTo>
                    <a:pt x="289145" y="289151"/>
                  </a:lnTo>
                  <a:close/>
                  <a:moveTo>
                    <a:pt x="0" y="28949"/>
                  </a:moveTo>
                  <a:lnTo>
                    <a:pt x="0" y="0"/>
                  </a:lnTo>
                  <a:lnTo>
                    <a:pt x="28944" y="0"/>
                  </a:lnTo>
                  <a:lnTo>
                    <a:pt x="28944" y="28949"/>
                  </a:lnTo>
                  <a:close/>
                  <a:moveTo>
                    <a:pt x="0" y="289149"/>
                  </a:moveTo>
                  <a:lnTo>
                    <a:pt x="0" y="260205"/>
                  </a:lnTo>
                  <a:lnTo>
                    <a:pt x="28944" y="260205"/>
                  </a:lnTo>
                  <a:lnTo>
                    <a:pt x="28944" y="289149"/>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1985807689"/>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2" r:id="rId14"/>
    <p:sldLayoutId id="2147483868" r:id="rId15"/>
    <p:sldLayoutId id="2147483870" r:id="rId16"/>
    <p:sldLayoutId id="2147483871" r:id="rId17"/>
    <p:sldLayoutId id="2147483872" r:id="rId18"/>
    <p:sldLayoutId id="2147483878" r:id="rId19"/>
    <p:sldLayoutId id="2147483879" r:id="rId20"/>
    <p:sldLayoutId id="2147483880" r:id="rId21"/>
    <p:sldLayoutId id="2147483887" r:id="rId22"/>
    <p:sldLayoutId id="2147483889" r:id="rId23"/>
    <p:sldLayoutId id="2147483890" r:id="rId24"/>
    <p:sldLayoutId id="2147483892" r:id="rId25"/>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p15:clr>
            <a:srgbClr val="F26B43"/>
          </p15:clr>
        </p15:guide>
        <p15:guide id="2" pos="239">
          <p15:clr>
            <a:srgbClr val="F26B43"/>
          </p15:clr>
        </p15:guide>
        <p15:guide id="3" pos="7439">
          <p15:clr>
            <a:srgbClr val="F26B43"/>
          </p15:clr>
        </p15:guide>
        <p15:guide id="4" orient="horz" pos="660">
          <p15:clr>
            <a:srgbClr val="F26B43"/>
          </p15:clr>
        </p15:guide>
        <p15:guide id="5" orient="horz" pos="83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mailto:jens.albrecht@ingrammicro.com" TargetMode="External"/><Relationship Id="rId1" Type="http://schemas.openxmlformats.org/officeDocument/2006/relationships/slideLayout" Target="../slideLayouts/slideLayout116.xml"/></Relationships>
</file>

<file path=ppt/slides/_rels/slide10.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0.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53.svg"/><Relationship Id="rId2" Type="http://schemas.openxmlformats.org/officeDocument/2006/relationships/notesSlide" Target="../notesSlides/notesSlide9.xml"/><Relationship Id="rId16" Type="http://schemas.openxmlformats.org/officeDocument/2006/relationships/hyperlink" Target="https://www.uipath.com/resources/automation-whitepapers/people-first-automation-mindset" TargetMode="External"/><Relationship Id="rId1" Type="http://schemas.openxmlformats.org/officeDocument/2006/relationships/slideLayout" Target="../slideLayouts/slideLayout63.xml"/><Relationship Id="rId6" Type="http://schemas.openxmlformats.org/officeDocument/2006/relationships/image" Target="../media/image75.svg"/><Relationship Id="rId11" Type="http://schemas.openxmlformats.org/officeDocument/2006/relationships/image" Target="../media/image52.png"/><Relationship Id="rId5" Type="http://schemas.openxmlformats.org/officeDocument/2006/relationships/image" Target="../media/image74.png"/><Relationship Id="rId15" Type="http://schemas.openxmlformats.org/officeDocument/2006/relationships/hyperlink" Target="https://www.everestgrp.com/2019-04-smart-rpa-investments-are-reaping-benefits-for-enterprises-market-insights-49800.html/" TargetMode="External"/><Relationship Id="rId10" Type="http://schemas.openxmlformats.org/officeDocument/2006/relationships/image" Target="../media/image79.sv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81.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1.xml"/><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2.xml"/><Relationship Id="rId1" Type="http://schemas.openxmlformats.org/officeDocument/2006/relationships/slideLayout" Target="../slideLayouts/slideLayout63.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62.xml"/><Relationship Id="rId6" Type="http://schemas.openxmlformats.org/officeDocument/2006/relationships/image" Target="../media/image82.jpeg"/><Relationship Id="rId5" Type="http://schemas.openxmlformats.org/officeDocument/2006/relationships/image" Target="../media/image85.svg"/><Relationship Id="rId4" Type="http://schemas.openxmlformats.org/officeDocument/2006/relationships/image" Target="../media/image84.png"/></Relationships>
</file>

<file path=ppt/slides/_rels/slide15.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4.xml"/><Relationship Id="rId1" Type="http://schemas.openxmlformats.org/officeDocument/2006/relationships/slideLayout" Target="../slideLayouts/slideLayout63.xml"/><Relationship Id="rId4" Type="http://schemas.openxmlformats.org/officeDocument/2006/relationships/image" Target="../media/image86.png"/></Relationships>
</file>

<file path=ppt/slides/_rels/slide16.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3" Type="http://schemas.openxmlformats.org/officeDocument/2006/relationships/image" Target="../media/image82.jpeg"/><Relationship Id="rId7" Type="http://schemas.openxmlformats.org/officeDocument/2006/relationships/image" Target="../media/image90.svg"/><Relationship Id="rId12" Type="http://schemas.openxmlformats.org/officeDocument/2006/relationships/image" Target="../media/image95.svg"/><Relationship Id="rId2" Type="http://schemas.openxmlformats.org/officeDocument/2006/relationships/notesSlide" Target="../notesSlides/notesSlide15.xml"/><Relationship Id="rId1" Type="http://schemas.openxmlformats.org/officeDocument/2006/relationships/slideLayout" Target="../slideLayouts/slideLayout63.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svg"/><Relationship Id="rId10" Type="http://schemas.openxmlformats.org/officeDocument/2006/relationships/image" Target="../media/image93.png"/><Relationship Id="rId4" Type="http://schemas.openxmlformats.org/officeDocument/2006/relationships/image" Target="../media/image87.png"/><Relationship Id="rId9" Type="http://schemas.openxmlformats.org/officeDocument/2006/relationships/image" Target="../media/image92.svg"/></Relationships>
</file>

<file path=ppt/slides/_rels/slide17.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7.png"/><Relationship Id="rId7" Type="http://schemas.openxmlformats.org/officeDocument/2006/relationships/image" Target="../media/image55.svg"/><Relationship Id="rId2" Type="http://schemas.openxmlformats.org/officeDocument/2006/relationships/notesSlide" Target="../notesSlides/notesSlide16.xml"/><Relationship Id="rId1" Type="http://schemas.openxmlformats.org/officeDocument/2006/relationships/slideLayout" Target="../slideLayouts/slideLayout63.xml"/><Relationship Id="rId6" Type="http://schemas.openxmlformats.org/officeDocument/2006/relationships/image" Target="../media/image100.png"/><Relationship Id="rId5" Type="http://schemas.openxmlformats.org/officeDocument/2006/relationships/image" Target="../media/image99.svg"/><Relationship Id="rId10" Type="http://schemas.openxmlformats.org/officeDocument/2006/relationships/image" Target="../media/image82.jpeg"/><Relationship Id="rId4" Type="http://schemas.openxmlformats.org/officeDocument/2006/relationships/image" Target="../media/image98.png"/><Relationship Id="rId9" Type="http://schemas.openxmlformats.org/officeDocument/2006/relationships/image" Target="../media/image102.svg"/></Relationships>
</file>

<file path=ppt/slides/_rels/slide18.xml.rels><?xml version="1.0" encoding="UTF-8" standalone="yes"?>
<Relationships xmlns="http://schemas.openxmlformats.org/package/2006/relationships"><Relationship Id="rId8" Type="http://schemas.openxmlformats.org/officeDocument/2006/relationships/image" Target="../media/image108.svg"/><Relationship Id="rId13" Type="http://schemas.openxmlformats.org/officeDocument/2006/relationships/image" Target="../media/image113.png"/><Relationship Id="rId18" Type="http://schemas.openxmlformats.org/officeDocument/2006/relationships/image" Target="../media/image95.sv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svg"/><Relationship Id="rId17" Type="http://schemas.openxmlformats.org/officeDocument/2006/relationships/image" Target="../media/image117.png"/><Relationship Id="rId2" Type="http://schemas.openxmlformats.org/officeDocument/2006/relationships/notesSlide" Target="../notesSlides/notesSlide17.xml"/><Relationship Id="rId16" Type="http://schemas.openxmlformats.org/officeDocument/2006/relationships/image" Target="../media/image116.svg"/><Relationship Id="rId1" Type="http://schemas.openxmlformats.org/officeDocument/2006/relationships/slideLayout" Target="../slideLayouts/slideLayout63.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105.png"/><Relationship Id="rId15" Type="http://schemas.openxmlformats.org/officeDocument/2006/relationships/image" Target="../media/image115.png"/><Relationship Id="rId10" Type="http://schemas.openxmlformats.org/officeDocument/2006/relationships/image" Target="../media/image110.svg"/><Relationship Id="rId19" Type="http://schemas.openxmlformats.org/officeDocument/2006/relationships/image" Target="../media/image82.jpe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4.svg"/></Relationships>
</file>

<file path=ppt/slides/_rels/slide1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8.xml"/><Relationship Id="rId1" Type="http://schemas.openxmlformats.org/officeDocument/2006/relationships/slideLayout" Target="../slideLayouts/slideLayout63.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8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2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9.xml"/><Relationship Id="rId1" Type="http://schemas.openxmlformats.org/officeDocument/2006/relationships/slideLayout" Target="../slideLayouts/slideLayout63.xml"/><Relationship Id="rId6" Type="http://schemas.openxmlformats.org/officeDocument/2006/relationships/image" Target="../media/image123.png"/><Relationship Id="rId5" Type="http://schemas.openxmlformats.org/officeDocument/2006/relationships/image" Target="../media/image82.jpeg"/><Relationship Id="rId4" Type="http://schemas.openxmlformats.org/officeDocument/2006/relationships/image" Target="../media/image122.png"/></Relationships>
</file>

<file path=ppt/slides/_rels/slide21.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4.png"/><Relationship Id="rId7" Type="http://schemas.openxmlformats.org/officeDocument/2006/relationships/image" Target="../media/image126.png"/><Relationship Id="rId2" Type="http://schemas.openxmlformats.org/officeDocument/2006/relationships/notesSlide" Target="../notesSlides/notesSlide20.xml"/><Relationship Id="rId1" Type="http://schemas.openxmlformats.org/officeDocument/2006/relationships/slideLayout" Target="../slideLayouts/slideLayout63.xml"/><Relationship Id="rId6" Type="http://schemas.openxmlformats.org/officeDocument/2006/relationships/image" Target="../media/image82.jpeg"/><Relationship Id="rId11" Type="http://schemas.openxmlformats.org/officeDocument/2006/relationships/image" Target="../media/image118.png"/><Relationship Id="rId5" Type="http://schemas.openxmlformats.org/officeDocument/2006/relationships/image" Target="../media/image125.png"/><Relationship Id="rId10" Type="http://schemas.openxmlformats.org/officeDocument/2006/relationships/image" Target="../media/image128.png"/><Relationship Id="rId4" Type="http://schemas.microsoft.com/office/2007/relationships/hdphoto" Target="../media/hdphoto3.wdp"/><Relationship Id="rId9" Type="http://schemas.openxmlformats.org/officeDocument/2006/relationships/image" Target="../media/image120.png"/></Relationships>
</file>

<file path=ppt/slides/_rels/slide22.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21.xml"/><Relationship Id="rId1" Type="http://schemas.openxmlformats.org/officeDocument/2006/relationships/slideLayout" Target="../slideLayouts/slideLayout52.xml"/><Relationship Id="rId6" Type="http://schemas.openxmlformats.org/officeDocument/2006/relationships/image" Target="../media/image132.svg"/><Relationship Id="rId5" Type="http://schemas.openxmlformats.org/officeDocument/2006/relationships/image" Target="../media/image131.png"/><Relationship Id="rId4" Type="http://schemas.openxmlformats.org/officeDocument/2006/relationships/image" Target="../media/image130.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3.xml"/></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92.xml"/><Relationship Id="rId4" Type="http://schemas.openxmlformats.org/officeDocument/2006/relationships/image" Target="../media/image75.svg"/></Relationships>
</file>

<file path=ppt/slides/_rels/slide2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4.xml"/><Relationship Id="rId1" Type="http://schemas.openxmlformats.org/officeDocument/2006/relationships/slideLayout" Target="../slideLayouts/slideLayout63.xml"/><Relationship Id="rId5" Type="http://schemas.openxmlformats.org/officeDocument/2006/relationships/hyperlink" Target="https://www.youtube.com/watch?v=vvCPjR6c_Hg" TargetMode="External"/><Relationship Id="rId4" Type="http://schemas.openxmlformats.org/officeDocument/2006/relationships/image" Target="../media/image136.png"/></Relationships>
</file>

<file path=ppt/slides/_rels/slide26.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9.png"/><Relationship Id="rId18" Type="http://schemas.openxmlformats.org/officeDocument/2006/relationships/image" Target="../media/image37.svg"/><Relationship Id="rId3" Type="http://schemas.openxmlformats.org/officeDocument/2006/relationships/notesSlide" Target="../notesSlides/notesSlide25.xml"/><Relationship Id="rId7" Type="http://schemas.openxmlformats.org/officeDocument/2006/relationships/image" Target="../media/image42.png"/><Relationship Id="rId12" Type="http://schemas.openxmlformats.org/officeDocument/2006/relationships/image" Target="../media/image138.png"/><Relationship Id="rId17" Type="http://schemas.openxmlformats.org/officeDocument/2006/relationships/image" Target="../media/image36.png"/><Relationship Id="rId2" Type="http://schemas.openxmlformats.org/officeDocument/2006/relationships/slideLayout" Target="../slideLayouts/slideLayout108.xml"/><Relationship Id="rId16" Type="http://schemas.openxmlformats.org/officeDocument/2006/relationships/image" Target="../media/image48.png"/><Relationship Id="rId1" Type="http://schemas.openxmlformats.org/officeDocument/2006/relationships/tags" Target="../tags/tag4.xml"/><Relationship Id="rId6" Type="http://schemas.openxmlformats.org/officeDocument/2006/relationships/image" Target="../media/image41.png"/><Relationship Id="rId11" Type="http://schemas.openxmlformats.org/officeDocument/2006/relationships/image" Target="../media/image47.png"/><Relationship Id="rId5" Type="http://schemas.openxmlformats.org/officeDocument/2006/relationships/image" Target="../media/image137.png"/><Relationship Id="rId15" Type="http://schemas.openxmlformats.org/officeDocument/2006/relationships/image" Target="../media/image51.svg"/><Relationship Id="rId10" Type="http://schemas.openxmlformats.org/officeDocument/2006/relationships/image" Target="../media/image46.svg"/><Relationship Id="rId19" Type="http://schemas.openxmlformats.org/officeDocument/2006/relationships/image" Target="../media/image38.png"/><Relationship Id="rId4" Type="http://schemas.openxmlformats.org/officeDocument/2006/relationships/image" Target="../media/image39.png"/><Relationship Id="rId9" Type="http://schemas.openxmlformats.org/officeDocument/2006/relationships/image" Target="../media/image45.png"/><Relationship Id="rId1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hyperlink" Target="https://www.uipath.com/resources/automation-case-studies/ais-improving-customer-service-through-rpa" TargetMode="External"/><Relationship Id="rId7" Type="http://schemas.openxmlformats.org/officeDocument/2006/relationships/image" Target="../media/image140.svg"/><Relationship Id="rId2" Type="http://schemas.openxmlformats.org/officeDocument/2006/relationships/notesSlide" Target="../notesSlides/notesSlide26.xml"/><Relationship Id="rId1" Type="http://schemas.openxmlformats.org/officeDocument/2006/relationships/slideLayout" Target="../slideLayouts/slideLayout115.xml"/><Relationship Id="rId6" Type="http://schemas.openxmlformats.org/officeDocument/2006/relationships/image" Target="../media/image139.png"/><Relationship Id="rId5" Type="http://schemas.openxmlformats.org/officeDocument/2006/relationships/hyperlink" Target="https://www.uipath.com/resources/automation-case-studies/coke_canada_bottling" TargetMode="External"/><Relationship Id="rId4" Type="http://schemas.openxmlformats.org/officeDocument/2006/relationships/hyperlink" Target="https://www.uipath.com/resources/automation-case-studies/uipath-helped-democratise-automation-at-firstsource"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8" Type="http://schemas.openxmlformats.org/officeDocument/2006/relationships/image" Target="../media/image146.svg"/><Relationship Id="rId3" Type="http://schemas.openxmlformats.org/officeDocument/2006/relationships/image" Target="../media/image141.png"/><Relationship Id="rId7" Type="http://schemas.openxmlformats.org/officeDocument/2006/relationships/image" Target="../media/image145.png"/><Relationship Id="rId12" Type="http://schemas.openxmlformats.org/officeDocument/2006/relationships/image" Target="../media/image150.svg"/><Relationship Id="rId2" Type="http://schemas.openxmlformats.org/officeDocument/2006/relationships/notesSlide" Target="../notesSlides/notesSlide28.xml"/><Relationship Id="rId1" Type="http://schemas.openxmlformats.org/officeDocument/2006/relationships/slideLayout" Target="../slideLayouts/slideLayout63.xml"/><Relationship Id="rId6" Type="http://schemas.openxmlformats.org/officeDocument/2006/relationships/image" Target="../media/image144.svg"/><Relationship Id="rId11" Type="http://schemas.openxmlformats.org/officeDocument/2006/relationships/image" Target="../media/image149.png"/><Relationship Id="rId5" Type="http://schemas.openxmlformats.org/officeDocument/2006/relationships/image" Target="../media/image143.png"/><Relationship Id="rId10" Type="http://schemas.openxmlformats.org/officeDocument/2006/relationships/image" Target="../media/image148.svg"/><Relationship Id="rId4" Type="http://schemas.openxmlformats.org/officeDocument/2006/relationships/image" Target="../media/image142.svg"/><Relationship Id="rId9" Type="http://schemas.openxmlformats.org/officeDocument/2006/relationships/image" Target="../media/image147.png"/></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notesSlide" Target="../notesSlides/notesSlide2.xml"/><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slideLayout" Target="../slideLayouts/slideLayout92.xml"/><Relationship Id="rId16" Type="http://schemas.openxmlformats.org/officeDocument/2006/relationships/image" Target="../media/image48.png"/><Relationship Id="rId1" Type="http://schemas.openxmlformats.org/officeDocument/2006/relationships/tags" Target="../tags/tag3.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svg"/><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1.sv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svg"/></Relationships>
</file>

<file path=ppt/slides/_rels/slide30.xml.rels><?xml version="1.0" encoding="UTF-8" standalone="yes"?>
<Relationships xmlns="http://schemas.openxmlformats.org/package/2006/relationships"><Relationship Id="rId8" Type="http://schemas.openxmlformats.org/officeDocument/2006/relationships/image" Target="../media/image156.jpeg"/><Relationship Id="rId13" Type="http://schemas.openxmlformats.org/officeDocument/2006/relationships/image" Target="../media/image159.jpeg"/><Relationship Id="rId3" Type="http://schemas.openxmlformats.org/officeDocument/2006/relationships/image" Target="../media/image151.png"/><Relationship Id="rId7" Type="http://schemas.openxmlformats.org/officeDocument/2006/relationships/image" Target="../media/image155.jpeg"/><Relationship Id="rId12" Type="http://schemas.openxmlformats.org/officeDocument/2006/relationships/image" Target="../media/image158.svg"/><Relationship Id="rId2" Type="http://schemas.openxmlformats.org/officeDocument/2006/relationships/notesSlide" Target="../notesSlides/notesSlide29.xml"/><Relationship Id="rId1" Type="http://schemas.openxmlformats.org/officeDocument/2006/relationships/slideLayout" Target="../slideLayouts/slideLayout63.xml"/><Relationship Id="rId6" Type="http://schemas.openxmlformats.org/officeDocument/2006/relationships/image" Target="../media/image154.jpeg"/><Relationship Id="rId11" Type="http://schemas.openxmlformats.org/officeDocument/2006/relationships/image" Target="../media/image157.png"/><Relationship Id="rId5" Type="http://schemas.openxmlformats.org/officeDocument/2006/relationships/image" Target="../media/image153.jpeg"/><Relationship Id="rId10" Type="http://schemas.openxmlformats.org/officeDocument/2006/relationships/image" Target="../media/image142.svg"/><Relationship Id="rId4" Type="http://schemas.openxmlformats.org/officeDocument/2006/relationships/image" Target="../media/image152.svg"/><Relationship Id="rId9" Type="http://schemas.openxmlformats.org/officeDocument/2006/relationships/image" Target="../media/image141.png"/></Relationships>
</file>

<file path=ppt/slides/_rels/slide3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0.xml"/><Relationship Id="rId1" Type="http://schemas.openxmlformats.org/officeDocument/2006/relationships/slideLayout" Target="../slideLayouts/slideLayout63.xml"/><Relationship Id="rId6" Type="http://schemas.openxmlformats.org/officeDocument/2006/relationships/image" Target="../media/image161.svg"/><Relationship Id="rId5" Type="http://schemas.openxmlformats.org/officeDocument/2006/relationships/image" Target="../media/image157.png"/><Relationship Id="rId4" Type="http://schemas.openxmlformats.org/officeDocument/2006/relationships/image" Target="../media/image160.svg"/></Relationships>
</file>

<file path=ppt/slides/_rels/slide32.xml.rels><?xml version="1.0" encoding="UTF-8" standalone="yes"?>
<Relationships xmlns="http://schemas.openxmlformats.org/package/2006/relationships"><Relationship Id="rId8" Type="http://schemas.openxmlformats.org/officeDocument/2006/relationships/image" Target="../media/image158.svg"/><Relationship Id="rId3" Type="http://schemas.openxmlformats.org/officeDocument/2006/relationships/image" Target="../media/image151.png"/><Relationship Id="rId7" Type="http://schemas.openxmlformats.org/officeDocument/2006/relationships/image" Target="../media/image157.png"/><Relationship Id="rId2" Type="http://schemas.openxmlformats.org/officeDocument/2006/relationships/notesSlide" Target="../notesSlides/notesSlide31.xml"/><Relationship Id="rId1" Type="http://schemas.openxmlformats.org/officeDocument/2006/relationships/slideLayout" Target="../slideLayouts/slideLayout63.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52.svg"/></Relationships>
</file>

<file path=ppt/slides/_rels/slide33.xml.rels><?xml version="1.0" encoding="UTF-8" standalone="yes"?>
<Relationships xmlns="http://schemas.openxmlformats.org/package/2006/relationships"><Relationship Id="rId8" Type="http://schemas.openxmlformats.org/officeDocument/2006/relationships/image" Target="../media/image165.jpeg"/><Relationship Id="rId13" Type="http://schemas.openxmlformats.org/officeDocument/2006/relationships/image" Target="../media/image167.svg"/><Relationship Id="rId3" Type="http://schemas.openxmlformats.org/officeDocument/2006/relationships/image" Target="../media/image141.png"/><Relationship Id="rId7" Type="http://schemas.openxmlformats.org/officeDocument/2006/relationships/image" Target="../media/image164.jpeg"/><Relationship Id="rId12" Type="http://schemas.openxmlformats.org/officeDocument/2006/relationships/image" Target="../media/image151.png"/><Relationship Id="rId2" Type="http://schemas.openxmlformats.org/officeDocument/2006/relationships/notesSlide" Target="../notesSlides/notesSlide32.xml"/><Relationship Id="rId1" Type="http://schemas.openxmlformats.org/officeDocument/2006/relationships/slideLayout" Target="../slideLayouts/slideLayout63.xml"/><Relationship Id="rId6" Type="http://schemas.openxmlformats.org/officeDocument/2006/relationships/image" Target="../media/image163.jpeg"/><Relationship Id="rId11" Type="http://schemas.openxmlformats.org/officeDocument/2006/relationships/image" Target="../media/image161.svg"/><Relationship Id="rId5" Type="http://schemas.openxmlformats.org/officeDocument/2006/relationships/image" Target="../media/image162.jpeg"/><Relationship Id="rId10" Type="http://schemas.openxmlformats.org/officeDocument/2006/relationships/image" Target="../media/image157.png"/><Relationship Id="rId4" Type="http://schemas.openxmlformats.org/officeDocument/2006/relationships/image" Target="../media/image160.svg"/><Relationship Id="rId9" Type="http://schemas.openxmlformats.org/officeDocument/2006/relationships/image" Target="../media/image166.png"/></Relationships>
</file>

<file path=ppt/slides/_rels/slide34.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hyperlink" Target="https://www.uipath.com/resources/automation-case-studies/ais-improving-customer-service-through-rpa" TargetMode="External"/><Relationship Id="rId7" Type="http://schemas.openxmlformats.org/officeDocument/2006/relationships/image" Target="../media/image169.svg"/><Relationship Id="rId2" Type="http://schemas.openxmlformats.org/officeDocument/2006/relationships/notesSlide" Target="../notesSlides/notesSlide33.xml"/><Relationship Id="rId1" Type="http://schemas.openxmlformats.org/officeDocument/2006/relationships/slideLayout" Target="../slideLayouts/slideLayout70.xml"/><Relationship Id="rId6" Type="http://schemas.openxmlformats.org/officeDocument/2006/relationships/image" Target="../media/image168.png"/><Relationship Id="rId5" Type="http://schemas.openxmlformats.org/officeDocument/2006/relationships/hyperlink" Target="https://www.uipath.com/resources/automation-case-studies/w%C3%A4rtsil%C3%A4-marine-energy-market-rpa" TargetMode="External"/><Relationship Id="rId4" Type="http://schemas.openxmlformats.org/officeDocument/2006/relationships/hyperlink" Target="https://www.uipath.com/resources/automation-case-studies/dentsu-embracing-bottom-up-automation" TargetMode="External"/><Relationship Id="rId9" Type="http://schemas.openxmlformats.org/officeDocument/2006/relationships/image" Target="../media/image171.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72.JPG"/><Relationship Id="rId1" Type="http://schemas.openxmlformats.org/officeDocument/2006/relationships/slideLayout" Target="../slideLayouts/slideLayout109.xml"/><Relationship Id="rId5" Type="http://schemas.openxmlformats.org/officeDocument/2006/relationships/image" Target="../media/image21.png"/><Relationship Id="rId4" Type="http://schemas.openxmlformats.org/officeDocument/2006/relationships/image" Target="../media/image19.png"/></Relationships>
</file>

<file path=ppt/slides/_rels/slide37.xml.rels><?xml version="1.0" encoding="UTF-8" standalone="yes"?>
<Relationships xmlns="http://schemas.openxmlformats.org/package/2006/relationships"><Relationship Id="rId8" Type="http://schemas.openxmlformats.org/officeDocument/2006/relationships/image" Target="../media/image176.svg"/><Relationship Id="rId13" Type="http://schemas.openxmlformats.org/officeDocument/2006/relationships/image" Target="../media/image179.png"/><Relationship Id="rId3" Type="http://schemas.openxmlformats.org/officeDocument/2006/relationships/image" Target="../media/image173.png"/><Relationship Id="rId7" Type="http://schemas.openxmlformats.org/officeDocument/2006/relationships/image" Target="../media/image175.png"/><Relationship Id="rId12" Type="http://schemas.openxmlformats.org/officeDocument/2006/relationships/image" Target="../media/image178.svg"/><Relationship Id="rId2" Type="http://schemas.openxmlformats.org/officeDocument/2006/relationships/notesSlide" Target="../notesSlides/notesSlide34.xml"/><Relationship Id="rId16" Type="http://schemas.openxmlformats.org/officeDocument/2006/relationships/image" Target="../media/image81.svg"/><Relationship Id="rId1" Type="http://schemas.openxmlformats.org/officeDocument/2006/relationships/slideLayout" Target="../slideLayouts/slideLayout92.xml"/><Relationship Id="rId6" Type="http://schemas.openxmlformats.org/officeDocument/2006/relationships/image" Target="../media/image53.svg"/><Relationship Id="rId11" Type="http://schemas.openxmlformats.org/officeDocument/2006/relationships/image" Target="../media/image177.png"/><Relationship Id="rId5" Type="http://schemas.openxmlformats.org/officeDocument/2006/relationships/image" Target="../media/image52.png"/><Relationship Id="rId15" Type="http://schemas.openxmlformats.org/officeDocument/2006/relationships/image" Target="../media/image80.png"/><Relationship Id="rId10" Type="http://schemas.openxmlformats.org/officeDocument/2006/relationships/image" Target="../media/image95.svg"/><Relationship Id="rId4" Type="http://schemas.openxmlformats.org/officeDocument/2006/relationships/image" Target="../media/image174.svg"/><Relationship Id="rId9" Type="http://schemas.openxmlformats.org/officeDocument/2006/relationships/image" Target="../media/image117.png"/><Relationship Id="rId14" Type="http://schemas.openxmlformats.org/officeDocument/2006/relationships/image" Target="../media/image180.svg"/></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2.xml"/></Relationships>
</file>

<file path=ppt/slides/_rels/slide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1.png"/><Relationship Id="rId1" Type="http://schemas.openxmlformats.org/officeDocument/2006/relationships/slideLayout" Target="../slideLayouts/slideLayout110.xml"/><Relationship Id="rId5" Type="http://schemas.openxmlformats.org/officeDocument/2006/relationships/image" Target="../media/image21.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image" Target="../media/image55.svg"/><Relationship Id="rId11" Type="http://schemas.openxmlformats.org/officeDocument/2006/relationships/hyperlink" Target="https://www.gallup.com/workplace/238085/state-american-workplace-report-2017.aspx" TargetMode="External"/><Relationship Id="rId5" Type="http://schemas.openxmlformats.org/officeDocument/2006/relationships/image" Target="../media/image54.png"/><Relationship Id="rId10" Type="http://schemas.openxmlformats.org/officeDocument/2006/relationships/hyperlink" Target="https://www.mckinsey.com/business-functions/mckinsey-digital/our-insights/welcome-to-the-digital-factory-the-answer-to-how-to-scale-your-digital-transformation" TargetMode="External"/><Relationship Id="rId4" Type="http://schemas.openxmlformats.org/officeDocument/2006/relationships/image" Target="../media/image53.svg"/><Relationship Id="rId9" Type="http://schemas.openxmlformats.org/officeDocument/2006/relationships/hyperlink" Target="https://www.uipath.com/newsroom/new-study-finds-majority-of-global-office-workers-crushed-by-repetitive-tasks"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svg"/><Relationship Id="rId3" Type="http://schemas.openxmlformats.org/officeDocument/2006/relationships/image" Target="../media/image58.jpeg"/><Relationship Id="rId7" Type="http://schemas.openxmlformats.org/officeDocument/2006/relationships/image" Target="../media/image61.svg"/><Relationship Id="rId12" Type="http://schemas.openxmlformats.org/officeDocument/2006/relationships/image" Target="../media/image66.png"/><Relationship Id="rId2" Type="http://schemas.openxmlformats.org/officeDocument/2006/relationships/notesSlide" Target="../notesSlides/notesSlide5.xml"/><Relationship Id="rId1" Type="http://schemas.openxmlformats.org/officeDocument/2006/relationships/slideLayout" Target="../slideLayouts/slideLayout92.xml"/><Relationship Id="rId6" Type="http://schemas.openxmlformats.org/officeDocument/2006/relationships/image" Target="../media/image60.png"/><Relationship Id="rId11" Type="http://schemas.openxmlformats.org/officeDocument/2006/relationships/image" Target="../media/image65.svg"/><Relationship Id="rId5" Type="http://schemas.microsoft.com/office/2007/relationships/hdphoto" Target="../media/hdphoto2.wdp"/><Relationship Id="rId10" Type="http://schemas.openxmlformats.org/officeDocument/2006/relationships/image" Target="../media/image64.png"/><Relationship Id="rId4" Type="http://schemas.openxmlformats.org/officeDocument/2006/relationships/image" Target="../media/image59.png"/><Relationship Id="rId9" Type="http://schemas.openxmlformats.org/officeDocument/2006/relationships/image" Target="../media/image63.sv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3" Type="http://schemas.openxmlformats.org/officeDocument/2006/relationships/hyperlink" Target="https://bankautomationnews-com.cdn.ampproject.org/c/s/bankautomationnews.com/allposts/corp-bank/inside-look-the-evolution-of-wells-fargos-automation-strategy/amp/" TargetMode="External"/><Relationship Id="rId7" Type="http://schemas.openxmlformats.org/officeDocument/2006/relationships/image" Target="../media/image69.sv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image" Target="../media/image68.png"/><Relationship Id="rId5" Type="http://schemas.openxmlformats.org/officeDocument/2006/relationships/hyperlink" Target="https://robot4everyairman.net/home/" TargetMode="External"/><Relationship Id="rId4" Type="http://schemas.openxmlformats.org/officeDocument/2006/relationships/hyperlink" Target="https://techlaureates.thepeakmagazine.com.sg/uipath/"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92.xml"/><Relationship Id="rId4" Type="http://schemas.openxmlformats.org/officeDocument/2006/relationships/image" Target="../media/image7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45397" y="2634887"/>
            <a:ext cx="11051942" cy="1336649"/>
          </a:xfrm>
        </p:spPr>
        <p:txBody>
          <a:bodyPr>
            <a:normAutofit/>
          </a:bodyPr>
          <a:lstStyle/>
          <a:p>
            <a:r>
              <a:rPr lang="en-GB" sz="3999" dirty="0"/>
              <a:t>Robotic Process Automation (RPA) </a:t>
            </a:r>
          </a:p>
        </p:txBody>
      </p:sp>
      <p:sp>
        <p:nvSpPr>
          <p:cNvPr id="6" name="Subtitle 5"/>
          <p:cNvSpPr>
            <a:spLocks noGrp="1"/>
          </p:cNvSpPr>
          <p:nvPr>
            <p:ph type="subTitle" idx="1"/>
          </p:nvPr>
        </p:nvSpPr>
        <p:spPr>
          <a:xfrm>
            <a:off x="645398" y="4048719"/>
            <a:ext cx="10591418" cy="2272305"/>
          </a:xfrm>
        </p:spPr>
        <p:txBody>
          <a:bodyPr vert="horz" lIns="0" tIns="0" rIns="0" bIns="0" rtlCol="0" anchor="t" anchorCtr="0">
            <a:normAutofit/>
          </a:bodyPr>
          <a:lstStyle/>
          <a:p>
            <a:r>
              <a:rPr lang="en-GB" b="1" dirty="0"/>
              <a:t>Jens Albrecht</a:t>
            </a:r>
            <a:br>
              <a:rPr lang="en-GB" dirty="0"/>
            </a:br>
            <a:r>
              <a:rPr lang="de-CH" altLang="de-DE" sz="1333" dirty="0">
                <a:latin typeface="+mj-lt"/>
              </a:rPr>
              <a:t>B.Sc. </a:t>
            </a:r>
            <a:r>
              <a:rPr lang="de-CH" altLang="de-DE" sz="1333" dirty="0" err="1">
                <a:latin typeface="+mj-lt"/>
              </a:rPr>
              <a:t>Electrical</a:t>
            </a:r>
            <a:r>
              <a:rPr lang="de-CH" altLang="de-DE" sz="1333" dirty="0">
                <a:latin typeface="+mj-lt"/>
              </a:rPr>
              <a:t> Engineering</a:t>
            </a:r>
            <a:br>
              <a:rPr lang="en-GB" sz="1466" dirty="0"/>
            </a:br>
            <a:r>
              <a:rPr lang="en-GB" sz="1866" dirty="0"/>
              <a:t>Presales Cyber Security / IoT</a:t>
            </a:r>
          </a:p>
          <a:p>
            <a:r>
              <a:rPr lang="en-GB" sz="1866" dirty="0">
                <a:solidFill>
                  <a:srgbClr val="2276BB"/>
                </a:solidFill>
                <a:hlinkClick r:id="rId2">
                  <a:extLst>
                    <a:ext uri="{A12FA001-AC4F-418D-AE19-62706E023703}">
                      <ahyp:hlinkClr xmlns:ahyp="http://schemas.microsoft.com/office/drawing/2018/hyperlinkcolor" val="tx"/>
                    </a:ext>
                  </a:extLst>
                </a:hlinkClick>
              </a:rPr>
              <a:t>jens.albrecht@ingrammicro.com</a:t>
            </a:r>
            <a:endParaRPr lang="en-GB" sz="1866" dirty="0">
              <a:solidFill>
                <a:srgbClr val="2276BB"/>
              </a:solidFill>
            </a:endParaRPr>
          </a:p>
          <a:p>
            <a:r>
              <a:rPr lang="en-GB" sz="1866" dirty="0" err="1"/>
              <a:t>Brunnmatt</a:t>
            </a:r>
            <a:r>
              <a:rPr lang="en-GB" sz="1866" dirty="0"/>
              <a:t> 14</a:t>
            </a:r>
            <a:br>
              <a:rPr lang="en-GB" sz="1866" dirty="0"/>
            </a:br>
            <a:r>
              <a:rPr lang="en-GB" sz="1866" dirty="0"/>
              <a:t>CH-6330 Cham</a:t>
            </a:r>
          </a:p>
        </p:txBody>
      </p:sp>
      <p:sp>
        <p:nvSpPr>
          <p:cNvPr id="8" name="Title 4">
            <a:extLst>
              <a:ext uri="{FF2B5EF4-FFF2-40B4-BE49-F238E27FC236}">
                <a16:creationId xmlns:a16="http://schemas.microsoft.com/office/drawing/2014/main" id="{0AFEFFB4-1E4C-4304-8341-B4A0C0E0971C}"/>
              </a:ext>
            </a:extLst>
          </p:cNvPr>
          <p:cNvSpPr txBox="1">
            <a:spLocks/>
          </p:cNvSpPr>
          <p:nvPr/>
        </p:nvSpPr>
        <p:spPr bwMode="white">
          <a:xfrm>
            <a:off x="645398" y="536976"/>
            <a:ext cx="11420594" cy="916481"/>
          </a:xfrm>
          <a:prstGeom prst="rect">
            <a:avLst/>
          </a:prstGeom>
        </p:spPr>
        <p:txBody>
          <a:bodyPr vert="horz" lIns="0" tIns="60944" rIns="121888" bIns="60944" rtlCol="0" anchor="b" anchorCtr="0">
            <a:noAutofit/>
          </a:bodyPr>
          <a:lstStyle>
            <a:lvl1pPr algn="l" defTabSz="874713" rtl="0" eaLnBrk="1" fontAlgn="base" hangingPunct="1">
              <a:lnSpc>
                <a:spcPct val="100000"/>
              </a:lnSpc>
              <a:spcBef>
                <a:spcPct val="0"/>
              </a:spcBef>
              <a:spcAft>
                <a:spcPct val="0"/>
              </a:spcAft>
              <a:defRPr lang="en-US" sz="3600" b="0" kern="1200">
                <a:solidFill>
                  <a:schemeClr val="bg1"/>
                </a:solidFill>
                <a:effectLst/>
                <a:latin typeface="+mj-lt"/>
                <a:ea typeface="+mn-ea"/>
                <a:cs typeface="Arial"/>
              </a:defRPr>
            </a:lvl1pPr>
            <a:lvl2pPr algn="l" defTabSz="874713" rtl="0" eaLnBrk="1" fontAlgn="base" hangingPunct="1">
              <a:lnSpc>
                <a:spcPct val="90000"/>
              </a:lnSpc>
              <a:spcBef>
                <a:spcPct val="0"/>
              </a:spcBef>
              <a:spcAft>
                <a:spcPct val="0"/>
              </a:spcAft>
              <a:defRPr sz="3600" b="1">
                <a:solidFill>
                  <a:srgbClr val="141414"/>
                </a:solidFill>
                <a:latin typeface="Arial" charset="0"/>
              </a:defRPr>
            </a:lvl2pPr>
            <a:lvl3pPr algn="l" defTabSz="874713" rtl="0" eaLnBrk="1" fontAlgn="base" hangingPunct="1">
              <a:lnSpc>
                <a:spcPct val="90000"/>
              </a:lnSpc>
              <a:spcBef>
                <a:spcPct val="0"/>
              </a:spcBef>
              <a:spcAft>
                <a:spcPct val="0"/>
              </a:spcAft>
              <a:defRPr sz="3600" b="1">
                <a:solidFill>
                  <a:srgbClr val="141414"/>
                </a:solidFill>
                <a:latin typeface="Arial" charset="0"/>
              </a:defRPr>
            </a:lvl3pPr>
            <a:lvl4pPr algn="l" defTabSz="874713" rtl="0" eaLnBrk="1" fontAlgn="base" hangingPunct="1">
              <a:lnSpc>
                <a:spcPct val="90000"/>
              </a:lnSpc>
              <a:spcBef>
                <a:spcPct val="0"/>
              </a:spcBef>
              <a:spcAft>
                <a:spcPct val="0"/>
              </a:spcAft>
              <a:defRPr sz="3600" b="1">
                <a:solidFill>
                  <a:srgbClr val="141414"/>
                </a:solidFill>
                <a:latin typeface="Arial" charset="0"/>
              </a:defRPr>
            </a:lvl4pPr>
            <a:lvl5pPr algn="l" defTabSz="874713" rtl="0" eaLnBrk="1" fontAlgn="base" hangingPunct="1">
              <a:lnSpc>
                <a:spcPct val="90000"/>
              </a:lnSpc>
              <a:spcBef>
                <a:spcPct val="0"/>
              </a:spcBef>
              <a:spcAft>
                <a:spcPct val="0"/>
              </a:spcAft>
              <a:defRPr sz="3600" b="1">
                <a:solidFill>
                  <a:srgbClr val="141414"/>
                </a:solidFill>
                <a:latin typeface="Arial" charset="0"/>
              </a:defRPr>
            </a:lvl5pPr>
            <a:lvl6pPr marL="457200" algn="l" defTabSz="874713" rtl="0" eaLnBrk="1" fontAlgn="base" hangingPunct="1">
              <a:lnSpc>
                <a:spcPct val="90000"/>
              </a:lnSpc>
              <a:spcBef>
                <a:spcPct val="0"/>
              </a:spcBef>
              <a:spcAft>
                <a:spcPct val="0"/>
              </a:spcAft>
              <a:defRPr sz="3600" b="1">
                <a:solidFill>
                  <a:srgbClr val="141414"/>
                </a:solidFill>
                <a:latin typeface="Arial" charset="0"/>
              </a:defRPr>
            </a:lvl6pPr>
            <a:lvl7pPr marL="914400" algn="l" defTabSz="874713" rtl="0" eaLnBrk="1" fontAlgn="base" hangingPunct="1">
              <a:lnSpc>
                <a:spcPct val="90000"/>
              </a:lnSpc>
              <a:spcBef>
                <a:spcPct val="0"/>
              </a:spcBef>
              <a:spcAft>
                <a:spcPct val="0"/>
              </a:spcAft>
              <a:defRPr sz="3600" b="1">
                <a:solidFill>
                  <a:srgbClr val="141414"/>
                </a:solidFill>
                <a:latin typeface="Arial" charset="0"/>
              </a:defRPr>
            </a:lvl7pPr>
            <a:lvl8pPr marL="1371600" algn="l" defTabSz="874713" rtl="0" eaLnBrk="1" fontAlgn="base" hangingPunct="1">
              <a:lnSpc>
                <a:spcPct val="90000"/>
              </a:lnSpc>
              <a:spcBef>
                <a:spcPct val="0"/>
              </a:spcBef>
              <a:spcAft>
                <a:spcPct val="0"/>
              </a:spcAft>
              <a:defRPr sz="3600" b="1">
                <a:solidFill>
                  <a:srgbClr val="141414"/>
                </a:solidFill>
                <a:latin typeface="Arial" charset="0"/>
              </a:defRPr>
            </a:lvl8pPr>
            <a:lvl9pPr marL="1828800" algn="l" defTabSz="874713" rtl="0" eaLnBrk="1" fontAlgn="base" hangingPunct="1">
              <a:lnSpc>
                <a:spcPct val="90000"/>
              </a:lnSpc>
              <a:spcBef>
                <a:spcPct val="0"/>
              </a:spcBef>
              <a:spcAft>
                <a:spcPct val="0"/>
              </a:spcAft>
              <a:defRPr sz="3600" b="1">
                <a:solidFill>
                  <a:srgbClr val="141414"/>
                </a:solidFill>
                <a:latin typeface="Arial" charset="0"/>
              </a:defRPr>
            </a:lvl9pPr>
          </a:lstStyle>
          <a:p>
            <a:r>
              <a:rPr lang="en-GB" sz="4600" b="1" dirty="0">
                <a:solidFill>
                  <a:srgbClr val="FFFF00"/>
                </a:solidFill>
              </a:rPr>
              <a:t>UiPath - Automation for every employee</a:t>
            </a:r>
          </a:p>
        </p:txBody>
      </p:sp>
    </p:spTree>
    <p:extLst>
      <p:ext uri="{BB962C8B-B14F-4D97-AF65-F5344CB8AC3E}">
        <p14:creationId xmlns:p14="http://schemas.microsoft.com/office/powerpoint/2010/main" val="37822648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8F9C03-DA9A-4D3E-B88F-53F219B4E174}"/>
              </a:ext>
            </a:extLst>
          </p:cNvPr>
          <p:cNvSpPr>
            <a:spLocks noGrp="1"/>
          </p:cNvSpPr>
          <p:nvPr>
            <p:ph type="title"/>
          </p:nvPr>
        </p:nvSpPr>
        <p:spPr>
          <a:xfrm>
            <a:off x="381001" y="357721"/>
            <a:ext cx="7177390" cy="690029"/>
          </a:xfrm>
        </p:spPr>
        <p:txBody>
          <a:bodyPr/>
          <a:lstStyle/>
          <a:p>
            <a:r>
              <a:rPr lang="en-US" dirty="0"/>
              <a:t>Companies that encourage humans to work with robots see massive gains</a:t>
            </a:r>
          </a:p>
        </p:txBody>
      </p:sp>
      <p:sp>
        <p:nvSpPr>
          <p:cNvPr id="6" name="Text Placeholder 4">
            <a:extLst>
              <a:ext uri="{FF2B5EF4-FFF2-40B4-BE49-F238E27FC236}">
                <a16:creationId xmlns:a16="http://schemas.microsoft.com/office/drawing/2014/main" id="{39E2E375-1651-421D-BF02-B729B8E0E329}"/>
              </a:ext>
            </a:extLst>
          </p:cNvPr>
          <p:cNvSpPr txBox="1">
            <a:spLocks/>
          </p:cNvSpPr>
          <p:nvPr/>
        </p:nvSpPr>
        <p:spPr>
          <a:xfrm>
            <a:off x="0" y="2924504"/>
            <a:ext cx="12188825" cy="541386"/>
          </a:xfrm>
          <a:prstGeom prst="rect">
            <a:avLst/>
          </a:prstGeom>
          <a:solidFill>
            <a:schemeClr val="accent1"/>
          </a:solidFill>
        </p:spPr>
        <p:txBody>
          <a:bodyPr lIns="182880" rIns="182880" anchor="ct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500"/>
              </a:spcBef>
              <a:spcAft>
                <a:spcPts val="0"/>
              </a:spcAft>
              <a:buClrTx/>
              <a:buSzTx/>
              <a:buFont typeface="Arial"/>
              <a:buNone/>
              <a:tabLst/>
              <a:defRPr/>
            </a:pPr>
            <a:endParaRPr kumimoji="0" lang="en-US" sz="1400" b="0" i="0" u="none" strike="noStrike" kern="1200" cap="none" spc="0" normalizeH="0" baseline="0" noProof="0">
              <a:ln>
                <a:noFill/>
              </a:ln>
              <a:solidFill>
                <a:srgbClr val="58595B"/>
              </a:solidFill>
              <a:effectLst/>
              <a:uLnTx/>
              <a:uFillTx/>
              <a:latin typeface="Arial"/>
              <a:ea typeface="+mn-ea"/>
              <a:cs typeface="Arial"/>
            </a:endParaRPr>
          </a:p>
        </p:txBody>
      </p:sp>
      <p:sp>
        <p:nvSpPr>
          <p:cNvPr id="7" name="TextBox 6">
            <a:extLst>
              <a:ext uri="{FF2B5EF4-FFF2-40B4-BE49-F238E27FC236}">
                <a16:creationId xmlns:a16="http://schemas.microsoft.com/office/drawing/2014/main" id="{F6C3DA5C-0BB3-4C9B-A8BE-098C1A0C42B9}"/>
              </a:ext>
            </a:extLst>
          </p:cNvPr>
          <p:cNvSpPr txBox="1"/>
          <p:nvPr/>
        </p:nvSpPr>
        <p:spPr>
          <a:xfrm>
            <a:off x="2817601" y="1713771"/>
            <a:ext cx="2639263"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Arial"/>
              </a:rPr>
              <a:t>improvement in operational efficiency</a:t>
            </a:r>
            <a:r>
              <a:rPr kumimoji="0" lang="uk-UA" sz="1800" b="1" i="0" u="none" strike="noStrike" kern="1200" cap="none" spc="0" normalizeH="0" baseline="29440" noProof="0">
                <a:ln>
                  <a:noFill/>
                </a:ln>
                <a:solidFill>
                  <a:srgbClr val="000000"/>
                </a:solidFill>
                <a:effectLst/>
                <a:uLnTx/>
                <a:uFillTx/>
                <a:latin typeface="Arial"/>
                <a:ea typeface="+mn-ea"/>
                <a:cs typeface="Arial"/>
              </a:rPr>
              <a:t>1</a:t>
            </a:r>
            <a:r>
              <a:rPr kumimoji="0" lang="en-US" sz="1800" b="1" i="0" u="none" strike="noStrike" kern="1200" cap="none" spc="0" normalizeH="0" baseline="0" noProof="0">
                <a:ln>
                  <a:noFill/>
                </a:ln>
                <a:solidFill>
                  <a:srgbClr val="000000"/>
                </a:solidFill>
                <a:effectLst/>
                <a:uLnTx/>
                <a:uFillTx/>
                <a:latin typeface="Arial"/>
                <a:ea typeface="+mn-ea"/>
                <a:cs typeface="Arial"/>
              </a:rPr>
              <a:t> </a:t>
            </a:r>
          </a:p>
        </p:txBody>
      </p:sp>
      <p:sp>
        <p:nvSpPr>
          <p:cNvPr id="8" name="TextBox 7">
            <a:extLst>
              <a:ext uri="{FF2B5EF4-FFF2-40B4-BE49-F238E27FC236}">
                <a16:creationId xmlns:a16="http://schemas.microsoft.com/office/drawing/2014/main" id="{2205205A-E441-4E7E-BC4E-A70A4F771DAD}"/>
              </a:ext>
            </a:extLst>
          </p:cNvPr>
          <p:cNvSpPr txBox="1"/>
          <p:nvPr/>
        </p:nvSpPr>
        <p:spPr>
          <a:xfrm>
            <a:off x="9287898" y="5016172"/>
            <a:ext cx="2378548" cy="523220"/>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67DF"/>
                </a:solidFill>
                <a:effectLst/>
                <a:uLnTx/>
                <a:uFillTx/>
                <a:latin typeface="Arial"/>
                <a:ea typeface="+mn-ea"/>
                <a:cs typeface="Arial"/>
              </a:rPr>
              <a:t>Improved customer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67DF"/>
                </a:solidFill>
                <a:effectLst/>
                <a:uLnTx/>
                <a:uFillTx/>
                <a:latin typeface="Arial"/>
                <a:ea typeface="+mn-ea"/>
                <a:cs typeface="Arial"/>
              </a:rPr>
              <a:t>satisfaction </a:t>
            </a:r>
          </a:p>
        </p:txBody>
      </p:sp>
      <p:sp>
        <p:nvSpPr>
          <p:cNvPr id="9" name="TextBox 8">
            <a:extLst>
              <a:ext uri="{FF2B5EF4-FFF2-40B4-BE49-F238E27FC236}">
                <a16:creationId xmlns:a16="http://schemas.microsoft.com/office/drawing/2014/main" id="{9FCBCD47-567A-4FF5-BE88-DA3F5D225CEB}"/>
              </a:ext>
            </a:extLst>
          </p:cNvPr>
          <p:cNvSpPr txBox="1"/>
          <p:nvPr/>
        </p:nvSpPr>
        <p:spPr>
          <a:xfrm>
            <a:off x="517355" y="1652216"/>
            <a:ext cx="2323928" cy="76944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67DF"/>
                </a:solidFill>
                <a:effectLst/>
                <a:uLnTx/>
                <a:uFillTx/>
                <a:latin typeface="Arial"/>
                <a:ea typeface="+mn-ea"/>
                <a:cs typeface="Arial"/>
              </a:rPr>
              <a:t>30-40% </a:t>
            </a:r>
            <a:endParaRPr kumimoji="0" lang="en-US" sz="4400" b="0" i="0" u="none" strike="noStrike" kern="1200" cap="none" spc="0" normalizeH="0" baseline="0" noProof="0">
              <a:ln>
                <a:noFill/>
              </a:ln>
              <a:solidFill>
                <a:srgbClr val="0067DF"/>
              </a:solidFill>
              <a:effectLst/>
              <a:uLnTx/>
              <a:uFillTx/>
              <a:latin typeface="Arial"/>
              <a:ea typeface="+mn-ea"/>
              <a:cs typeface="+mn-cs"/>
            </a:endParaRPr>
          </a:p>
        </p:txBody>
      </p:sp>
      <p:sp>
        <p:nvSpPr>
          <p:cNvPr id="10" name="TextBox 9">
            <a:extLst>
              <a:ext uri="{FF2B5EF4-FFF2-40B4-BE49-F238E27FC236}">
                <a16:creationId xmlns:a16="http://schemas.microsoft.com/office/drawing/2014/main" id="{F53D4344-97F0-4160-A384-8442F8AB55D6}"/>
              </a:ext>
            </a:extLst>
          </p:cNvPr>
          <p:cNvSpPr txBox="1"/>
          <p:nvPr/>
        </p:nvSpPr>
        <p:spPr>
          <a:xfrm>
            <a:off x="8530012" y="1852270"/>
            <a:ext cx="2733436"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Arial"/>
              </a:rPr>
              <a:t>reduction in cost</a:t>
            </a:r>
            <a:r>
              <a:rPr kumimoji="0" lang="uk-UA" sz="1800" b="1" i="0" u="none" strike="noStrike" kern="1200" cap="none" spc="0" normalizeH="0" baseline="29440" noProof="0">
                <a:ln>
                  <a:noFill/>
                </a:ln>
                <a:solidFill>
                  <a:srgbClr val="000000"/>
                </a:solidFill>
                <a:effectLst/>
                <a:uLnTx/>
                <a:uFillTx/>
                <a:latin typeface="Arial"/>
                <a:ea typeface="+mn-ea"/>
                <a:cs typeface="Arial"/>
              </a:rPr>
              <a:t>1</a:t>
            </a:r>
            <a:r>
              <a:rPr kumimoji="0" lang="en-US" sz="1800" b="1" i="0" u="none" strike="noStrike" kern="1200" cap="none" spc="0" normalizeH="0" baseline="0" noProof="0">
                <a:ln>
                  <a:noFill/>
                </a:ln>
                <a:solidFill>
                  <a:srgbClr val="000000"/>
                </a:solidFill>
                <a:effectLst/>
                <a:uLnTx/>
                <a:uFillTx/>
                <a:latin typeface="Arial"/>
                <a:ea typeface="+mn-ea"/>
                <a:cs typeface="Arial"/>
              </a:rPr>
              <a:t> </a:t>
            </a:r>
          </a:p>
        </p:txBody>
      </p:sp>
      <p:sp>
        <p:nvSpPr>
          <p:cNvPr id="11" name="TextBox 10">
            <a:extLst>
              <a:ext uri="{FF2B5EF4-FFF2-40B4-BE49-F238E27FC236}">
                <a16:creationId xmlns:a16="http://schemas.microsoft.com/office/drawing/2014/main" id="{F40D5508-476A-4893-8D17-1DF751761353}"/>
              </a:ext>
            </a:extLst>
          </p:cNvPr>
          <p:cNvSpPr txBox="1"/>
          <p:nvPr/>
        </p:nvSpPr>
        <p:spPr>
          <a:xfrm>
            <a:off x="6692737" y="1652216"/>
            <a:ext cx="2308942" cy="76944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67DF"/>
                </a:solidFill>
                <a:effectLst/>
                <a:uLnTx/>
                <a:uFillTx/>
                <a:latin typeface="Arial"/>
                <a:ea typeface="+mn-ea"/>
                <a:cs typeface="Arial"/>
              </a:rPr>
              <a:t>30% </a:t>
            </a:r>
            <a:endParaRPr kumimoji="0" lang="en-US" sz="4400" b="0" i="0" u="none" strike="noStrike" kern="1200" cap="none" spc="0" normalizeH="0" baseline="0" noProof="0">
              <a:ln>
                <a:noFill/>
              </a:ln>
              <a:solidFill>
                <a:srgbClr val="0067DF"/>
              </a:solidFill>
              <a:effectLst/>
              <a:uLnTx/>
              <a:uFillTx/>
              <a:latin typeface="Arial"/>
              <a:ea typeface="+mn-ea"/>
              <a:cs typeface="+mn-cs"/>
            </a:endParaRPr>
          </a:p>
        </p:txBody>
      </p:sp>
      <p:sp>
        <p:nvSpPr>
          <p:cNvPr id="12" name="TextBox 11">
            <a:extLst>
              <a:ext uri="{FF2B5EF4-FFF2-40B4-BE49-F238E27FC236}">
                <a16:creationId xmlns:a16="http://schemas.microsoft.com/office/drawing/2014/main" id="{BDA3D2A7-46ED-4789-9286-854B73F0AEE3}"/>
              </a:ext>
            </a:extLst>
          </p:cNvPr>
          <p:cNvSpPr txBox="1"/>
          <p:nvPr/>
        </p:nvSpPr>
        <p:spPr>
          <a:xfrm>
            <a:off x="381001" y="3029248"/>
            <a:ext cx="2601120" cy="338554"/>
          </a:xfrm>
          <a:prstGeom prst="rect">
            <a:avLst/>
          </a:prstGeom>
          <a:noFill/>
        </p:spPr>
        <p:txBody>
          <a:bodyPr wrap="square" lIns="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Additional Benefits</a:t>
            </a:r>
            <a:r>
              <a:rPr kumimoji="0" lang="en-US" sz="1600" b="1" i="0" u="none" strike="noStrike" kern="1200" cap="none" spc="0" normalizeH="0" baseline="29440" noProof="0">
                <a:ln>
                  <a:noFill/>
                </a:ln>
                <a:solidFill>
                  <a:srgbClr val="FFFFFF"/>
                </a:solidFill>
                <a:effectLst/>
                <a:uLnTx/>
                <a:uFillTx/>
                <a:latin typeface="Arial"/>
                <a:ea typeface="+mn-ea"/>
                <a:cs typeface="Arial"/>
              </a:rPr>
              <a:t>2</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AEBDA047-667C-47E4-AB83-B0832089DB3F}"/>
              </a:ext>
            </a:extLst>
          </p:cNvPr>
          <p:cNvSpPr txBox="1"/>
          <p:nvPr/>
        </p:nvSpPr>
        <p:spPr>
          <a:xfrm>
            <a:off x="1409934" y="5016172"/>
            <a:ext cx="2365068" cy="523220"/>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67DF"/>
                </a:solidFill>
                <a:effectLst/>
                <a:uLnTx/>
                <a:uFillTx/>
                <a:latin typeface="Arial"/>
                <a:ea typeface="+mn-ea"/>
                <a:cs typeface="Arial"/>
              </a:rPr>
              <a:t>Compliance and </a:t>
            </a:r>
            <a:br>
              <a:rPr kumimoji="0" lang="en-US" sz="1400" b="1" i="0" u="none" strike="noStrike" kern="1200" cap="none" spc="0" normalizeH="0" baseline="0" noProof="0">
                <a:ln>
                  <a:noFill/>
                </a:ln>
                <a:solidFill>
                  <a:srgbClr val="0067DF"/>
                </a:solidFill>
                <a:effectLst/>
                <a:uLnTx/>
                <a:uFillTx/>
                <a:latin typeface="Arial"/>
                <a:ea typeface="+mn-ea"/>
                <a:cs typeface="Arial"/>
              </a:rPr>
            </a:br>
            <a:r>
              <a:rPr kumimoji="0" lang="en-US" sz="1400" b="1" i="0" u="none" strike="noStrike" kern="1200" cap="none" spc="0" normalizeH="0" baseline="0" noProof="0">
                <a:ln>
                  <a:noFill/>
                </a:ln>
                <a:solidFill>
                  <a:srgbClr val="0067DF"/>
                </a:solidFill>
                <a:effectLst/>
                <a:uLnTx/>
                <a:uFillTx/>
                <a:latin typeface="Arial"/>
                <a:ea typeface="+mn-ea"/>
                <a:cs typeface="Arial"/>
              </a:rPr>
              <a:t>reduced errors</a:t>
            </a:r>
          </a:p>
        </p:txBody>
      </p:sp>
      <p:cxnSp>
        <p:nvCxnSpPr>
          <p:cNvPr id="14" name="Straight Connector 13">
            <a:extLst>
              <a:ext uri="{FF2B5EF4-FFF2-40B4-BE49-F238E27FC236}">
                <a16:creationId xmlns:a16="http://schemas.microsoft.com/office/drawing/2014/main" id="{783ACAB0-E37C-4134-9589-0DCFD4E0517C}"/>
              </a:ext>
            </a:extLst>
          </p:cNvPr>
          <p:cNvCxnSpPr>
            <a:cxnSpLocks/>
          </p:cNvCxnSpPr>
          <p:nvPr/>
        </p:nvCxnSpPr>
        <p:spPr>
          <a:xfrm flipV="1">
            <a:off x="6094412" y="1533873"/>
            <a:ext cx="0" cy="1006127"/>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A6F14F35-F1C4-431C-B83C-77EA7227A84E}"/>
              </a:ext>
            </a:extLst>
          </p:cNvPr>
          <p:cNvSpPr txBox="1"/>
          <p:nvPr/>
        </p:nvSpPr>
        <p:spPr>
          <a:xfrm>
            <a:off x="9287898" y="3938252"/>
            <a:ext cx="2380137" cy="738664"/>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67DF"/>
                </a:solidFill>
                <a:effectLst/>
                <a:uLnTx/>
                <a:uFillTx/>
                <a:latin typeface="Arial"/>
                <a:ea typeface="+mn-ea"/>
                <a:cs typeface="Arial"/>
              </a:rPr>
              <a:t>Reduced repetitive tasks </a:t>
            </a:r>
            <a:r>
              <a:rPr kumimoji="0" lang="en-US" sz="1400" b="0" i="0" u="none" strike="noStrike" kern="1200" cap="none" spc="0" normalizeH="0" baseline="0" noProof="0">
                <a:ln>
                  <a:noFill/>
                </a:ln>
                <a:solidFill>
                  <a:srgbClr val="000000"/>
                </a:solidFill>
                <a:effectLst/>
                <a:uLnTx/>
                <a:uFillTx/>
                <a:latin typeface="Arial"/>
                <a:ea typeface="+mn-ea"/>
                <a:cs typeface="Arial"/>
              </a:rPr>
              <a:t>enabling</a:t>
            </a:r>
            <a:r>
              <a:rPr kumimoji="0" lang="en-US" sz="1400" b="1" i="0" u="none" strike="noStrike" kern="1200" cap="none" spc="0" normalizeH="0" baseline="0" noProof="0">
                <a:ln>
                  <a:noFill/>
                </a:ln>
                <a:solidFill>
                  <a:srgbClr val="000000"/>
                </a:solidFill>
                <a:effectLst/>
                <a:uLnTx/>
                <a:uFillTx/>
                <a:latin typeface="Arial"/>
                <a:ea typeface="+mn-ea"/>
                <a:cs typeface="Arial"/>
              </a:rPr>
              <a:t> </a:t>
            </a:r>
            <a:r>
              <a:rPr kumimoji="0" lang="en-US" sz="1400" b="0" i="0" u="none" strike="noStrike" kern="1200" cap="none" spc="0" normalizeH="0" baseline="0" noProof="0">
                <a:ln>
                  <a:noFill/>
                </a:ln>
                <a:solidFill>
                  <a:srgbClr val="000000"/>
                </a:solidFill>
                <a:effectLst/>
                <a:uLnTx/>
                <a:uFillTx/>
                <a:latin typeface="Arial"/>
                <a:ea typeface="+mn-ea"/>
                <a:cs typeface="Arial"/>
              </a:rPr>
              <a:t>to shift employees to strategic work</a:t>
            </a:r>
          </a:p>
        </p:txBody>
      </p:sp>
      <p:sp>
        <p:nvSpPr>
          <p:cNvPr id="16" name="TextBox 15">
            <a:extLst>
              <a:ext uri="{FF2B5EF4-FFF2-40B4-BE49-F238E27FC236}">
                <a16:creationId xmlns:a16="http://schemas.microsoft.com/office/drawing/2014/main" id="{04C5968B-FC7C-4157-8188-13C449F58633}"/>
              </a:ext>
            </a:extLst>
          </p:cNvPr>
          <p:cNvSpPr txBox="1"/>
          <p:nvPr/>
        </p:nvSpPr>
        <p:spPr>
          <a:xfrm>
            <a:off x="1409935" y="3938252"/>
            <a:ext cx="2365062" cy="738664"/>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67DF"/>
                </a:solidFill>
                <a:effectLst/>
                <a:uLnTx/>
                <a:uFillTx/>
                <a:latin typeface="Arial"/>
                <a:ea typeface="+mn-ea"/>
                <a:cs typeface="Arial"/>
              </a:rPr>
              <a:t>Improved speed of response </a:t>
            </a:r>
            <a:r>
              <a:rPr kumimoji="0" lang="en-US" sz="1400" b="0" i="0" u="none" strike="noStrike" kern="1200" cap="none" spc="0" normalizeH="0" baseline="0" noProof="0">
                <a:ln>
                  <a:noFill/>
                </a:ln>
                <a:solidFill>
                  <a:srgbClr val="000000"/>
                </a:solidFill>
                <a:effectLst/>
                <a:uLnTx/>
                <a:uFillTx/>
                <a:latin typeface="Arial"/>
                <a:ea typeface="+mn-ea"/>
                <a:cs typeface="Arial"/>
              </a:rPr>
              <a:t>delivering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shorter time to value</a:t>
            </a:r>
          </a:p>
        </p:txBody>
      </p:sp>
      <p:sp>
        <p:nvSpPr>
          <p:cNvPr id="17" name="TextBox 16">
            <a:extLst>
              <a:ext uri="{FF2B5EF4-FFF2-40B4-BE49-F238E27FC236}">
                <a16:creationId xmlns:a16="http://schemas.microsoft.com/office/drawing/2014/main" id="{96E9C30D-B7CE-422E-A098-30147B63AB83}"/>
              </a:ext>
            </a:extLst>
          </p:cNvPr>
          <p:cNvSpPr txBox="1"/>
          <p:nvPr/>
        </p:nvSpPr>
        <p:spPr>
          <a:xfrm>
            <a:off x="5351428" y="4045974"/>
            <a:ext cx="2361126" cy="523220"/>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 normalizeH="0" baseline="0" noProof="0">
                <a:ln>
                  <a:noFill/>
                </a:ln>
                <a:solidFill>
                  <a:srgbClr val="0067DF"/>
                </a:solidFill>
                <a:effectLst/>
                <a:uLnTx/>
                <a:uFillTx/>
                <a:latin typeface="Arial"/>
                <a:ea typeface="+mn-ea"/>
                <a:cs typeface="Arial"/>
              </a:rPr>
              <a:t>Resilience</a:t>
            </a:r>
            <a:r>
              <a:rPr kumimoji="0" lang="en-US" sz="1400" b="1" i="0" u="none" strike="noStrike" kern="1200" cap="none" spc="-30" normalizeH="0" baseline="0" noProof="0">
                <a:ln>
                  <a:noFill/>
                </a:ln>
                <a:solidFill>
                  <a:srgbClr val="000000"/>
                </a:solidFill>
                <a:effectLst/>
                <a:uLnTx/>
                <a:uFillTx/>
                <a:latin typeface="Arial"/>
                <a:ea typeface="+mn-ea"/>
                <a:cs typeface="Arial"/>
              </a:rPr>
              <a:t> </a:t>
            </a:r>
            <a:r>
              <a:rPr kumimoji="0" lang="en-US" sz="1400" b="0" i="0" u="none" strike="noStrike" kern="1200" cap="none" spc="-30" normalizeH="0" baseline="0" noProof="0">
                <a:ln>
                  <a:noFill/>
                </a:ln>
                <a:solidFill>
                  <a:srgbClr val="000000"/>
                </a:solidFill>
                <a:effectLst/>
                <a:uLnTx/>
                <a:uFillTx/>
                <a:latin typeface="Arial"/>
                <a:ea typeface="+mn-ea"/>
                <a:cs typeface="Arial"/>
              </a:rPr>
              <a:t>as employees </a:t>
            </a:r>
            <a:br>
              <a:rPr kumimoji="0" lang="en-US" sz="1400" b="0" i="0" u="none" strike="noStrike" kern="1200" cap="none" spc="-30" normalizeH="0" baseline="0" noProof="0">
                <a:ln>
                  <a:noFill/>
                </a:ln>
                <a:solidFill>
                  <a:srgbClr val="000000"/>
                </a:solidFill>
                <a:effectLst/>
                <a:uLnTx/>
                <a:uFillTx/>
                <a:latin typeface="Arial"/>
                <a:ea typeface="+mn-ea"/>
                <a:cs typeface="Arial"/>
              </a:rPr>
            </a:br>
            <a:r>
              <a:rPr kumimoji="0" lang="en-US" sz="1400" b="0" i="0" u="none" strike="noStrike" kern="1200" cap="none" spc="-30" normalizeH="0" baseline="0" noProof="0">
                <a:ln>
                  <a:noFill/>
                </a:ln>
                <a:solidFill>
                  <a:srgbClr val="000000"/>
                </a:solidFill>
                <a:effectLst/>
                <a:uLnTx/>
                <a:uFillTx/>
                <a:latin typeface="Arial"/>
                <a:ea typeface="+mn-ea"/>
                <a:cs typeface="Arial"/>
              </a:rPr>
              <a:t>can make better decisions</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97F046CA-BC66-4207-814D-A58EF54FE0DC}"/>
              </a:ext>
            </a:extLst>
          </p:cNvPr>
          <p:cNvCxnSpPr>
            <a:cxnSpLocks/>
          </p:cNvCxnSpPr>
          <p:nvPr/>
        </p:nvCxnSpPr>
        <p:spPr>
          <a:xfrm flipV="1">
            <a:off x="4126177" y="3860095"/>
            <a:ext cx="0" cy="1818168"/>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C40B67A5-EEEF-4AD7-952B-8BF72E71471A}"/>
              </a:ext>
            </a:extLst>
          </p:cNvPr>
          <p:cNvCxnSpPr>
            <a:cxnSpLocks/>
          </p:cNvCxnSpPr>
          <p:nvPr/>
        </p:nvCxnSpPr>
        <p:spPr>
          <a:xfrm flipV="1">
            <a:off x="8062648" y="3891993"/>
            <a:ext cx="0" cy="1789815"/>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5ADBC7D6-7672-4DC6-9CE9-1930B9BD0349}"/>
              </a:ext>
            </a:extLst>
          </p:cNvPr>
          <p:cNvSpPr txBox="1"/>
          <p:nvPr/>
        </p:nvSpPr>
        <p:spPr>
          <a:xfrm>
            <a:off x="5351429" y="5016172"/>
            <a:ext cx="2360660" cy="523220"/>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 normalizeH="0" baseline="0" noProof="0">
                <a:ln>
                  <a:noFill/>
                </a:ln>
                <a:solidFill>
                  <a:srgbClr val="0067DF"/>
                </a:solidFill>
                <a:effectLst/>
                <a:uLnTx/>
                <a:uFillTx/>
                <a:latin typeface="Arial"/>
                <a:ea typeface="+mn-ea"/>
                <a:cs typeface="Arial"/>
              </a:rPr>
              <a:t>Increased throughput </a:t>
            </a:r>
            <a:r>
              <a:rPr kumimoji="0" lang="en-US" sz="1400" b="0" i="0" u="none" strike="noStrike" kern="1200" cap="none" spc="-30" normalizeH="0" baseline="0" noProof="0">
                <a:ln>
                  <a:noFill/>
                </a:ln>
                <a:solidFill>
                  <a:srgbClr val="000000"/>
                </a:solidFill>
                <a:effectLst/>
                <a:uLnTx/>
                <a:uFillTx/>
                <a:latin typeface="Arial"/>
                <a:ea typeface="+mn-ea"/>
                <a:cs typeface="Arial"/>
              </a:rPr>
              <a:t>without hiring more headcount</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nvGrpSpPr>
          <p:cNvPr id="41" name="Group 40">
            <a:extLst>
              <a:ext uri="{FF2B5EF4-FFF2-40B4-BE49-F238E27FC236}">
                <a16:creationId xmlns:a16="http://schemas.microsoft.com/office/drawing/2014/main" id="{8AC8DCFF-77D4-478D-A34B-FB5349CF352B}"/>
              </a:ext>
            </a:extLst>
          </p:cNvPr>
          <p:cNvGrpSpPr/>
          <p:nvPr/>
        </p:nvGrpSpPr>
        <p:grpSpPr>
          <a:xfrm>
            <a:off x="381001" y="3980312"/>
            <a:ext cx="654544" cy="654544"/>
            <a:chOff x="392891" y="3855408"/>
            <a:chExt cx="785620" cy="785620"/>
          </a:xfrm>
        </p:grpSpPr>
        <p:sp>
          <p:nvSpPr>
            <p:cNvPr id="5" name="Oval 4">
              <a:extLst>
                <a:ext uri="{FF2B5EF4-FFF2-40B4-BE49-F238E27FC236}">
                  <a16:creationId xmlns:a16="http://schemas.microsoft.com/office/drawing/2014/main" id="{082A29C0-63FC-430E-8D1B-553FE303929F}"/>
                </a:ext>
              </a:extLst>
            </p:cNvPr>
            <p:cNvSpPr/>
            <p:nvPr/>
          </p:nvSpPr>
          <p:spPr>
            <a:xfrm>
              <a:off x="392891" y="3855408"/>
              <a:ext cx="785620" cy="785620"/>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ED145B"/>
                </a:solidFill>
                <a:effectLst/>
                <a:uLnTx/>
                <a:uFillTx/>
                <a:latin typeface="Arial"/>
                <a:ea typeface="+mn-ea"/>
                <a:cs typeface="Arial"/>
              </a:endParaRPr>
            </a:p>
          </p:txBody>
        </p:sp>
        <p:pic>
          <p:nvPicPr>
            <p:cNvPr id="26" name="Graphic 25">
              <a:extLst>
                <a:ext uri="{FF2B5EF4-FFF2-40B4-BE49-F238E27FC236}">
                  <a16:creationId xmlns:a16="http://schemas.microsoft.com/office/drawing/2014/main" id="{54E5CD7C-E0BF-42DE-9EEF-5C9F305ECA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0257" y="4002774"/>
              <a:ext cx="490888" cy="490888"/>
            </a:xfrm>
            <a:prstGeom prst="rect">
              <a:avLst/>
            </a:prstGeom>
          </p:spPr>
        </p:pic>
      </p:grpSp>
      <p:grpSp>
        <p:nvGrpSpPr>
          <p:cNvPr id="40" name="Group 39">
            <a:extLst>
              <a:ext uri="{FF2B5EF4-FFF2-40B4-BE49-F238E27FC236}">
                <a16:creationId xmlns:a16="http://schemas.microsoft.com/office/drawing/2014/main" id="{E928F0D1-6EF5-4A6E-B808-BEA93EEED3D1}"/>
              </a:ext>
            </a:extLst>
          </p:cNvPr>
          <p:cNvGrpSpPr/>
          <p:nvPr/>
        </p:nvGrpSpPr>
        <p:grpSpPr>
          <a:xfrm>
            <a:off x="381001" y="4950510"/>
            <a:ext cx="654544" cy="654544"/>
            <a:chOff x="375473" y="4869956"/>
            <a:chExt cx="785620" cy="785620"/>
          </a:xfrm>
        </p:grpSpPr>
        <p:sp>
          <p:nvSpPr>
            <p:cNvPr id="20" name="Oval 19">
              <a:extLst>
                <a:ext uri="{FF2B5EF4-FFF2-40B4-BE49-F238E27FC236}">
                  <a16:creationId xmlns:a16="http://schemas.microsoft.com/office/drawing/2014/main" id="{B4F665A6-08EF-4C30-AA6F-8582D077C655}"/>
                </a:ext>
              </a:extLst>
            </p:cNvPr>
            <p:cNvSpPr/>
            <p:nvPr/>
          </p:nvSpPr>
          <p:spPr>
            <a:xfrm>
              <a:off x="375473" y="4869956"/>
              <a:ext cx="785620" cy="785620"/>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ED145B"/>
                </a:solidFill>
                <a:effectLst/>
                <a:uLnTx/>
                <a:uFillTx/>
                <a:latin typeface="Arial"/>
                <a:ea typeface="+mn-ea"/>
                <a:cs typeface="Arial"/>
              </a:endParaRPr>
            </a:p>
          </p:txBody>
        </p:sp>
        <p:pic>
          <p:nvPicPr>
            <p:cNvPr id="27" name="Graphic 26">
              <a:extLst>
                <a:ext uri="{FF2B5EF4-FFF2-40B4-BE49-F238E27FC236}">
                  <a16:creationId xmlns:a16="http://schemas.microsoft.com/office/drawing/2014/main" id="{69600FB0-F60A-4C47-955E-4146A1870F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7153" y="5001636"/>
              <a:ext cx="522261" cy="522261"/>
            </a:xfrm>
            <a:prstGeom prst="rect">
              <a:avLst/>
            </a:prstGeom>
          </p:spPr>
        </p:pic>
      </p:grpSp>
      <p:grpSp>
        <p:nvGrpSpPr>
          <p:cNvPr id="43" name="Group 42">
            <a:extLst>
              <a:ext uri="{FF2B5EF4-FFF2-40B4-BE49-F238E27FC236}">
                <a16:creationId xmlns:a16="http://schemas.microsoft.com/office/drawing/2014/main" id="{1D18B11A-866A-4AA8-8EB0-65D2E9CD5A4A}"/>
              </a:ext>
            </a:extLst>
          </p:cNvPr>
          <p:cNvGrpSpPr/>
          <p:nvPr/>
        </p:nvGrpSpPr>
        <p:grpSpPr>
          <a:xfrm>
            <a:off x="4322495" y="3980312"/>
            <a:ext cx="654544" cy="654544"/>
            <a:chOff x="4334385" y="3864117"/>
            <a:chExt cx="785620" cy="785620"/>
          </a:xfrm>
        </p:grpSpPr>
        <p:sp>
          <p:nvSpPr>
            <p:cNvPr id="21" name="Oval 20">
              <a:extLst>
                <a:ext uri="{FF2B5EF4-FFF2-40B4-BE49-F238E27FC236}">
                  <a16:creationId xmlns:a16="http://schemas.microsoft.com/office/drawing/2014/main" id="{90DB9160-EFAA-4AA5-83C7-E63ABB7CEF06}"/>
                </a:ext>
              </a:extLst>
            </p:cNvPr>
            <p:cNvSpPr/>
            <p:nvPr/>
          </p:nvSpPr>
          <p:spPr>
            <a:xfrm>
              <a:off x="4334385" y="3864117"/>
              <a:ext cx="785620" cy="785620"/>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ED145B"/>
                </a:solidFill>
                <a:effectLst/>
                <a:uLnTx/>
                <a:uFillTx/>
                <a:latin typeface="Arial"/>
                <a:ea typeface="+mn-ea"/>
                <a:cs typeface="Arial"/>
              </a:endParaRPr>
            </a:p>
          </p:txBody>
        </p:sp>
        <p:pic>
          <p:nvPicPr>
            <p:cNvPr id="28" name="Graphic 27">
              <a:extLst>
                <a:ext uri="{FF2B5EF4-FFF2-40B4-BE49-F238E27FC236}">
                  <a16:creationId xmlns:a16="http://schemas.microsoft.com/office/drawing/2014/main" id="{B0B892C0-83EC-489B-87DA-711B5A71D4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13299" y="4039494"/>
              <a:ext cx="454537" cy="454537"/>
            </a:xfrm>
            <a:prstGeom prst="rect">
              <a:avLst/>
            </a:prstGeom>
          </p:spPr>
        </p:pic>
      </p:grpSp>
      <p:grpSp>
        <p:nvGrpSpPr>
          <p:cNvPr id="42" name="Group 41">
            <a:extLst>
              <a:ext uri="{FF2B5EF4-FFF2-40B4-BE49-F238E27FC236}">
                <a16:creationId xmlns:a16="http://schemas.microsoft.com/office/drawing/2014/main" id="{3FF17212-C834-42CD-958D-3700A9C133E5}"/>
              </a:ext>
            </a:extLst>
          </p:cNvPr>
          <p:cNvGrpSpPr/>
          <p:nvPr/>
        </p:nvGrpSpPr>
        <p:grpSpPr>
          <a:xfrm>
            <a:off x="4322495" y="4950510"/>
            <a:ext cx="654544" cy="654544"/>
            <a:chOff x="4316967" y="4878665"/>
            <a:chExt cx="785620" cy="785620"/>
          </a:xfrm>
        </p:grpSpPr>
        <p:sp>
          <p:nvSpPr>
            <p:cNvPr id="22" name="Oval 21">
              <a:extLst>
                <a:ext uri="{FF2B5EF4-FFF2-40B4-BE49-F238E27FC236}">
                  <a16:creationId xmlns:a16="http://schemas.microsoft.com/office/drawing/2014/main" id="{665073A5-7E2B-4F09-8262-609C040C05CA}"/>
                </a:ext>
              </a:extLst>
            </p:cNvPr>
            <p:cNvSpPr/>
            <p:nvPr/>
          </p:nvSpPr>
          <p:spPr>
            <a:xfrm>
              <a:off x="4316967" y="4878665"/>
              <a:ext cx="785620" cy="785620"/>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ED145B"/>
                </a:solidFill>
                <a:effectLst/>
                <a:uLnTx/>
                <a:uFillTx/>
                <a:latin typeface="Arial"/>
                <a:ea typeface="+mn-ea"/>
                <a:cs typeface="Arial"/>
              </a:endParaRPr>
            </a:p>
          </p:txBody>
        </p:sp>
        <p:pic>
          <p:nvPicPr>
            <p:cNvPr id="29" name="Graphic 28">
              <a:extLst>
                <a:ext uri="{FF2B5EF4-FFF2-40B4-BE49-F238E27FC236}">
                  <a16:creationId xmlns:a16="http://schemas.microsoft.com/office/drawing/2014/main" id="{0CFDBD10-B46B-4FD4-8A39-21F135AB16F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61210" y="4993308"/>
              <a:ext cx="531340" cy="531340"/>
            </a:xfrm>
            <a:prstGeom prst="rect">
              <a:avLst/>
            </a:prstGeom>
          </p:spPr>
        </p:pic>
      </p:grpSp>
      <p:grpSp>
        <p:nvGrpSpPr>
          <p:cNvPr id="44" name="Group 43">
            <a:extLst>
              <a:ext uri="{FF2B5EF4-FFF2-40B4-BE49-F238E27FC236}">
                <a16:creationId xmlns:a16="http://schemas.microsoft.com/office/drawing/2014/main" id="{05CEB2B4-AB00-4991-A676-38CFBA89D7A5}"/>
              </a:ext>
            </a:extLst>
          </p:cNvPr>
          <p:cNvGrpSpPr/>
          <p:nvPr/>
        </p:nvGrpSpPr>
        <p:grpSpPr>
          <a:xfrm>
            <a:off x="8257883" y="3980312"/>
            <a:ext cx="654544" cy="654544"/>
            <a:chOff x="8269773" y="3864117"/>
            <a:chExt cx="785620" cy="785620"/>
          </a:xfrm>
        </p:grpSpPr>
        <p:sp>
          <p:nvSpPr>
            <p:cNvPr id="23" name="Oval 22">
              <a:extLst>
                <a:ext uri="{FF2B5EF4-FFF2-40B4-BE49-F238E27FC236}">
                  <a16:creationId xmlns:a16="http://schemas.microsoft.com/office/drawing/2014/main" id="{56E3FA49-6B6A-44B1-8E36-9127ED2D0615}"/>
                </a:ext>
              </a:extLst>
            </p:cNvPr>
            <p:cNvSpPr/>
            <p:nvPr/>
          </p:nvSpPr>
          <p:spPr>
            <a:xfrm>
              <a:off x="8269773" y="3864117"/>
              <a:ext cx="785620" cy="785620"/>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ED145B"/>
                </a:solidFill>
                <a:effectLst/>
                <a:uLnTx/>
                <a:uFillTx/>
                <a:latin typeface="Arial"/>
                <a:ea typeface="+mn-ea"/>
                <a:cs typeface="Arial"/>
              </a:endParaRPr>
            </a:p>
          </p:txBody>
        </p:sp>
        <p:pic>
          <p:nvPicPr>
            <p:cNvPr id="30" name="Graphic 29">
              <a:extLst>
                <a:ext uri="{FF2B5EF4-FFF2-40B4-BE49-F238E27FC236}">
                  <a16:creationId xmlns:a16="http://schemas.microsoft.com/office/drawing/2014/main" id="{E6C3F52B-381E-4105-8499-3CE7B74D241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46976" y="4014781"/>
              <a:ext cx="477097" cy="477097"/>
            </a:xfrm>
            <a:prstGeom prst="rect">
              <a:avLst/>
            </a:prstGeom>
          </p:spPr>
        </p:pic>
      </p:grpSp>
      <p:grpSp>
        <p:nvGrpSpPr>
          <p:cNvPr id="45" name="Group 44">
            <a:extLst>
              <a:ext uri="{FF2B5EF4-FFF2-40B4-BE49-F238E27FC236}">
                <a16:creationId xmlns:a16="http://schemas.microsoft.com/office/drawing/2014/main" id="{01FBA07A-D2A6-48C6-AC65-C2343A8D4DAB}"/>
              </a:ext>
            </a:extLst>
          </p:cNvPr>
          <p:cNvGrpSpPr/>
          <p:nvPr/>
        </p:nvGrpSpPr>
        <p:grpSpPr>
          <a:xfrm>
            <a:off x="8257883" y="4950510"/>
            <a:ext cx="654544" cy="654544"/>
            <a:chOff x="8252355" y="4878665"/>
            <a:chExt cx="785620" cy="785620"/>
          </a:xfrm>
        </p:grpSpPr>
        <p:sp>
          <p:nvSpPr>
            <p:cNvPr id="24" name="Oval 23">
              <a:extLst>
                <a:ext uri="{FF2B5EF4-FFF2-40B4-BE49-F238E27FC236}">
                  <a16:creationId xmlns:a16="http://schemas.microsoft.com/office/drawing/2014/main" id="{AE89DD8A-3A0E-4DA6-B22D-3CB9DE33B336}"/>
                </a:ext>
              </a:extLst>
            </p:cNvPr>
            <p:cNvSpPr/>
            <p:nvPr/>
          </p:nvSpPr>
          <p:spPr>
            <a:xfrm>
              <a:off x="8252355" y="4878665"/>
              <a:ext cx="785620" cy="785620"/>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ED145B"/>
                </a:solidFill>
                <a:effectLst/>
                <a:uLnTx/>
                <a:uFillTx/>
                <a:latin typeface="Arial"/>
                <a:ea typeface="+mn-ea"/>
                <a:cs typeface="Arial"/>
              </a:endParaRPr>
            </a:p>
          </p:txBody>
        </p:sp>
        <p:pic>
          <p:nvPicPr>
            <p:cNvPr id="31" name="Graphic 30">
              <a:extLst>
                <a:ext uri="{FF2B5EF4-FFF2-40B4-BE49-F238E27FC236}">
                  <a16:creationId xmlns:a16="http://schemas.microsoft.com/office/drawing/2014/main" id="{382B8050-61E5-46E9-ADA0-EDE70763251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400399" y="5010862"/>
              <a:ext cx="489532" cy="489532"/>
            </a:xfrm>
            <a:prstGeom prst="rect">
              <a:avLst/>
            </a:prstGeom>
          </p:spPr>
        </p:pic>
      </p:grpSp>
      <p:sp>
        <p:nvSpPr>
          <p:cNvPr id="32" name="Rectangle 31">
            <a:extLst>
              <a:ext uri="{FF2B5EF4-FFF2-40B4-BE49-F238E27FC236}">
                <a16:creationId xmlns:a16="http://schemas.microsoft.com/office/drawing/2014/main" id="{7CAB25A0-33F8-40F6-8B22-965339354C26}"/>
              </a:ext>
            </a:extLst>
          </p:cNvPr>
          <p:cNvSpPr/>
          <p:nvPr/>
        </p:nvSpPr>
        <p:spPr>
          <a:xfrm>
            <a:off x="381001" y="6145919"/>
            <a:ext cx="11430000" cy="246221"/>
          </a:xfrm>
          <a:prstGeom prst="rect">
            <a:avLst/>
          </a:prstGeom>
        </p:spPr>
        <p:txBody>
          <a:bodyPr wrap="square" lIns="0" tIns="0" rIns="0" bIns="0" anchor="b">
            <a:spAutoFit/>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a:ln>
                  <a:noFill/>
                </a:ln>
                <a:solidFill>
                  <a:srgbClr val="58595B"/>
                </a:solidFill>
                <a:effectLst/>
                <a:uLnTx/>
                <a:uFillTx/>
                <a:latin typeface="Arial"/>
                <a:ea typeface="+mn-ea"/>
                <a:cs typeface="+mn-cs"/>
                <a:hlinkClick r:id="rId15"/>
              </a:rPr>
              <a:t>Everest Group, </a:t>
            </a:r>
            <a:r>
              <a:rPr kumimoji="0" lang="en-US" sz="800" b="0" i="0" u="none" strike="noStrike" kern="1200" cap="none" spc="0" normalizeH="0" baseline="0" noProof="0">
                <a:ln>
                  <a:noFill/>
                </a:ln>
                <a:solidFill>
                  <a:srgbClr val="58595B"/>
                </a:solidFill>
                <a:effectLst/>
                <a:uLnTx/>
                <a:uFillTx/>
                <a:latin typeface="Arial"/>
                <a:ea typeface="+mn-lt"/>
                <a:cs typeface="Arial"/>
                <a:hlinkClick r:id="rId15"/>
              </a:rPr>
              <a:t>Smart RPA Playbook</a:t>
            </a:r>
            <a:endParaRPr kumimoji="0" lang="en-US" sz="800" b="0" i="0" u="none" strike="noStrike" kern="1200" cap="none" spc="0" normalizeH="0" baseline="0" noProof="0">
              <a:ln>
                <a:noFill/>
              </a:ln>
              <a:solidFill>
                <a:srgbClr val="58595B"/>
              </a:solidFill>
              <a:effectLst/>
              <a:uLnTx/>
              <a:uFillTx/>
              <a:latin typeface="Arial"/>
              <a:ea typeface="+mn-ea"/>
              <a:cs typeface="+mn-cs"/>
              <a:hlinkClick r:id="rId16"/>
            </a:endParaRP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800" b="0" i="0" u="none" strike="noStrike" kern="1200" cap="none" spc="0" normalizeH="0" baseline="0" noProof="0">
                <a:ln>
                  <a:noFill/>
                </a:ln>
                <a:solidFill>
                  <a:srgbClr val="58595B"/>
                </a:solidFill>
                <a:effectLst/>
                <a:uLnTx/>
                <a:uFillTx/>
                <a:latin typeface="Arial"/>
                <a:ea typeface="+mn-ea"/>
                <a:cs typeface="+mn-cs"/>
                <a:hlinkClick r:id="rId16"/>
              </a:rPr>
              <a:t>IDC, A Robot for Every Worker: Are We Ready for a People-First Automation Mindset</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1431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C5D2A-DB30-411C-BCD8-2988871CAB6D}"/>
              </a:ext>
            </a:extLst>
          </p:cNvPr>
          <p:cNvSpPr>
            <a:spLocks noGrp="1"/>
          </p:cNvSpPr>
          <p:nvPr>
            <p:ph type="ctrTitle"/>
          </p:nvPr>
        </p:nvSpPr>
        <p:spPr>
          <a:xfrm>
            <a:off x="382971" y="2350042"/>
            <a:ext cx="5711441" cy="2157916"/>
          </a:xfrm>
        </p:spPr>
        <p:txBody>
          <a:bodyPr/>
          <a:lstStyle/>
          <a:p>
            <a:r>
              <a:rPr lang="en-US"/>
              <a:t>How employees work with robots</a:t>
            </a:r>
          </a:p>
        </p:txBody>
      </p:sp>
    </p:spTree>
    <p:extLst>
      <p:ext uri="{BB962C8B-B14F-4D97-AF65-F5344CB8AC3E}">
        <p14:creationId xmlns:p14="http://schemas.microsoft.com/office/powerpoint/2010/main" val="76487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12A208F3-6263-4BA9-8ADA-CEBEEDA882DB}"/>
              </a:ext>
            </a:extLst>
          </p:cNvPr>
          <p:cNvCxnSpPr>
            <a:cxnSpLocks/>
          </p:cNvCxnSpPr>
          <p:nvPr/>
        </p:nvCxnSpPr>
        <p:spPr>
          <a:xfrm>
            <a:off x="3251200" y="4032743"/>
            <a:ext cx="7950200" cy="0"/>
          </a:xfrm>
          <a:prstGeom prst="line">
            <a:avLst/>
          </a:prstGeom>
          <a:ln w="12700" cap="flat" cmpd="sng" algn="ctr">
            <a:solidFill>
              <a:schemeClr val="accent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6" name="Oval 25">
            <a:extLst>
              <a:ext uri="{FF2B5EF4-FFF2-40B4-BE49-F238E27FC236}">
                <a16:creationId xmlns:a16="http://schemas.microsoft.com/office/drawing/2014/main" id="{62905AA3-FFC5-4231-82FC-AE37C20CB2F2}"/>
              </a:ext>
            </a:extLst>
          </p:cNvPr>
          <p:cNvSpPr/>
          <p:nvPr/>
        </p:nvSpPr>
        <p:spPr>
          <a:xfrm>
            <a:off x="854765" y="2274958"/>
            <a:ext cx="3061688" cy="3061688"/>
          </a:xfrm>
          <a:prstGeom prst="ellipse">
            <a:avLst/>
          </a:prstGeom>
          <a:solidFill>
            <a:schemeClr val="bg1"/>
          </a:solidFill>
          <a:ln w="12700" cap="flat" cmpd="sng" algn="ctr">
            <a:solidFill>
              <a:schemeClr val="accent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0" tIns="0" rIns="0" bIns="0" rtlCol="0" anchor="ctr" anchorCtr="0"/>
          <a:lstStyle/>
          <a:p>
            <a:pPr algn="ctr"/>
            <a:endParaRPr lang="en-US" sz="1400" b="0" i="0" err="1">
              <a:latin typeface="Arial"/>
              <a:cs typeface="Arial"/>
            </a:endParaRPr>
          </a:p>
        </p:txBody>
      </p:sp>
      <p:sp>
        <p:nvSpPr>
          <p:cNvPr id="14" name="TextBox 13">
            <a:extLst>
              <a:ext uri="{FF2B5EF4-FFF2-40B4-BE49-F238E27FC236}">
                <a16:creationId xmlns:a16="http://schemas.microsoft.com/office/drawing/2014/main" id="{1BB76473-1361-460A-B7C8-A10C7FCAE74F}"/>
              </a:ext>
            </a:extLst>
          </p:cNvPr>
          <p:cNvSpPr txBox="1"/>
          <p:nvPr/>
        </p:nvSpPr>
        <p:spPr>
          <a:xfrm>
            <a:off x="8102138" y="2235201"/>
            <a:ext cx="2512853" cy="1520345"/>
          </a:xfrm>
          <a:prstGeom prst="rect">
            <a:avLst/>
          </a:prstGeom>
          <a:solidFill>
            <a:schemeClr val="bg1">
              <a:lumMod val="95000"/>
            </a:schemeClr>
          </a:solidFill>
        </p:spPr>
        <p:txBody>
          <a:bodyPr wrap="square" lIns="0" tIns="0" rIns="0" bIns="0" rtlCol="0" anchor="ctr">
            <a:noAutofit/>
          </a:bodyPr>
          <a:lstStyle/>
          <a:p>
            <a:pPr algn="ctr"/>
            <a:br>
              <a:rPr lang="en-US" sz="1400">
                <a:solidFill>
                  <a:schemeClr val="tx2"/>
                </a:solidFill>
                <a:latin typeface="Arial"/>
                <a:cs typeface="Arial"/>
              </a:rPr>
            </a:br>
            <a:r>
              <a:rPr lang="en-US" sz="1400">
                <a:solidFill>
                  <a:schemeClr val="tx2"/>
                </a:solidFill>
                <a:latin typeface="Arial"/>
                <a:cs typeface="Arial"/>
              </a:rPr>
              <a:t>Role-specific tasks</a:t>
            </a:r>
          </a:p>
        </p:txBody>
      </p:sp>
      <p:sp>
        <p:nvSpPr>
          <p:cNvPr id="18" name="TextBox 17">
            <a:extLst>
              <a:ext uri="{FF2B5EF4-FFF2-40B4-BE49-F238E27FC236}">
                <a16:creationId xmlns:a16="http://schemas.microsoft.com/office/drawing/2014/main" id="{3912B082-FDE9-4CC0-B330-485D7A8D4E1E}"/>
              </a:ext>
            </a:extLst>
          </p:cNvPr>
          <p:cNvSpPr txBox="1"/>
          <p:nvPr/>
        </p:nvSpPr>
        <p:spPr>
          <a:xfrm>
            <a:off x="4397830" y="2235201"/>
            <a:ext cx="3241446" cy="432073"/>
          </a:xfrm>
          <a:prstGeom prst="rect">
            <a:avLst/>
          </a:prstGeom>
          <a:solidFill>
            <a:schemeClr val="accent1"/>
          </a:solidFill>
        </p:spPr>
        <p:txBody>
          <a:bodyPr wrap="square" lIns="182880" tIns="0" rIns="0" bIns="0" rtlCol="0" anchor="ctr">
            <a:noAutofit/>
          </a:bodyPr>
          <a:lstStyle/>
          <a:p>
            <a:r>
              <a:rPr lang="en-US" sz="1400" b="1">
                <a:solidFill>
                  <a:schemeClr val="bg1"/>
                </a:solidFill>
                <a:latin typeface="Arial"/>
                <a:cs typeface="Arial"/>
              </a:rPr>
              <a:t>Research</a:t>
            </a:r>
          </a:p>
        </p:txBody>
      </p:sp>
      <p:sp>
        <p:nvSpPr>
          <p:cNvPr id="19" name="TextBox 18">
            <a:extLst>
              <a:ext uri="{FF2B5EF4-FFF2-40B4-BE49-F238E27FC236}">
                <a16:creationId xmlns:a16="http://schemas.microsoft.com/office/drawing/2014/main" id="{4B22C8D0-5D84-4873-9F55-7286B49C052C}"/>
              </a:ext>
            </a:extLst>
          </p:cNvPr>
          <p:cNvSpPr txBox="1"/>
          <p:nvPr/>
        </p:nvSpPr>
        <p:spPr>
          <a:xfrm>
            <a:off x="4397830" y="2779338"/>
            <a:ext cx="3241446" cy="432073"/>
          </a:xfrm>
          <a:prstGeom prst="rect">
            <a:avLst/>
          </a:prstGeom>
          <a:solidFill>
            <a:schemeClr val="accent1"/>
          </a:solidFill>
        </p:spPr>
        <p:txBody>
          <a:bodyPr wrap="square" lIns="182880" tIns="0" rIns="0" bIns="0" rtlCol="0" anchor="ctr">
            <a:noAutofit/>
          </a:bodyPr>
          <a:lstStyle/>
          <a:p>
            <a:r>
              <a:rPr lang="en-US" sz="1400" b="1">
                <a:solidFill>
                  <a:schemeClr val="bg1"/>
                </a:solidFill>
                <a:latin typeface="Arial"/>
                <a:cs typeface="Arial"/>
              </a:rPr>
              <a:t>Take action</a:t>
            </a:r>
          </a:p>
        </p:txBody>
      </p:sp>
      <p:sp>
        <p:nvSpPr>
          <p:cNvPr id="20" name="TextBox 19">
            <a:extLst>
              <a:ext uri="{FF2B5EF4-FFF2-40B4-BE49-F238E27FC236}">
                <a16:creationId xmlns:a16="http://schemas.microsoft.com/office/drawing/2014/main" id="{3348A6C1-2FC7-426E-BCBB-3EB0F1D5050E}"/>
              </a:ext>
            </a:extLst>
          </p:cNvPr>
          <p:cNvSpPr txBox="1"/>
          <p:nvPr/>
        </p:nvSpPr>
        <p:spPr>
          <a:xfrm>
            <a:off x="4397830" y="3323473"/>
            <a:ext cx="3241446" cy="432073"/>
          </a:xfrm>
          <a:prstGeom prst="rect">
            <a:avLst/>
          </a:prstGeom>
          <a:solidFill>
            <a:schemeClr val="accent1"/>
          </a:solidFill>
        </p:spPr>
        <p:txBody>
          <a:bodyPr wrap="square" lIns="182880" tIns="0" rIns="0" bIns="0" rtlCol="0" anchor="ctr">
            <a:noAutofit/>
          </a:bodyPr>
          <a:lstStyle/>
          <a:p>
            <a:r>
              <a:rPr lang="en-US" sz="1400" b="1">
                <a:solidFill>
                  <a:schemeClr val="bg1"/>
                </a:solidFill>
                <a:latin typeface="Arial"/>
                <a:cs typeface="Arial"/>
              </a:rPr>
              <a:t>Manage Data</a:t>
            </a:r>
          </a:p>
        </p:txBody>
      </p:sp>
      <p:sp>
        <p:nvSpPr>
          <p:cNvPr id="23" name="TextBox 22">
            <a:extLst>
              <a:ext uri="{FF2B5EF4-FFF2-40B4-BE49-F238E27FC236}">
                <a16:creationId xmlns:a16="http://schemas.microsoft.com/office/drawing/2014/main" id="{FE03757A-3FCE-422D-91CE-E0F29835724D}"/>
              </a:ext>
            </a:extLst>
          </p:cNvPr>
          <p:cNvSpPr txBox="1"/>
          <p:nvPr/>
        </p:nvSpPr>
        <p:spPr>
          <a:xfrm>
            <a:off x="4397830" y="4309942"/>
            <a:ext cx="3241446" cy="432073"/>
          </a:xfrm>
          <a:prstGeom prst="rect">
            <a:avLst/>
          </a:prstGeom>
          <a:solidFill>
            <a:schemeClr val="accent1">
              <a:lumMod val="60000"/>
              <a:lumOff val="40000"/>
            </a:schemeClr>
          </a:solidFill>
        </p:spPr>
        <p:txBody>
          <a:bodyPr wrap="square" lIns="182880" tIns="0" rIns="0" bIns="0" rtlCol="0" anchor="ctr">
            <a:noAutofit/>
          </a:bodyPr>
          <a:lstStyle/>
          <a:p>
            <a:r>
              <a:rPr lang="en-US" sz="1400" b="1">
                <a:solidFill>
                  <a:schemeClr val="bg1"/>
                </a:solidFill>
                <a:latin typeface="Arial"/>
                <a:cs typeface="Arial"/>
              </a:rPr>
              <a:t>Plan</a:t>
            </a:r>
          </a:p>
        </p:txBody>
      </p:sp>
      <p:sp>
        <p:nvSpPr>
          <p:cNvPr id="24" name="TextBox 23">
            <a:extLst>
              <a:ext uri="{FF2B5EF4-FFF2-40B4-BE49-F238E27FC236}">
                <a16:creationId xmlns:a16="http://schemas.microsoft.com/office/drawing/2014/main" id="{5EF9E310-113E-45FC-A9AE-B82D30C7324D}"/>
              </a:ext>
            </a:extLst>
          </p:cNvPr>
          <p:cNvSpPr txBox="1"/>
          <p:nvPr/>
        </p:nvSpPr>
        <p:spPr>
          <a:xfrm>
            <a:off x="4397830" y="4854078"/>
            <a:ext cx="3241446" cy="432073"/>
          </a:xfrm>
          <a:prstGeom prst="rect">
            <a:avLst/>
          </a:prstGeom>
          <a:solidFill>
            <a:schemeClr val="accent1">
              <a:lumMod val="60000"/>
              <a:lumOff val="40000"/>
            </a:schemeClr>
          </a:solidFill>
        </p:spPr>
        <p:txBody>
          <a:bodyPr wrap="square" lIns="182880" tIns="0" rIns="0" bIns="0" rtlCol="0" anchor="ctr">
            <a:noAutofit/>
          </a:bodyPr>
          <a:lstStyle/>
          <a:p>
            <a:r>
              <a:rPr lang="en-US" sz="1400" b="1">
                <a:solidFill>
                  <a:schemeClr val="bg1"/>
                </a:solidFill>
                <a:latin typeface="Arial"/>
                <a:cs typeface="Arial"/>
              </a:rPr>
              <a:t>Get organized</a:t>
            </a:r>
          </a:p>
        </p:txBody>
      </p:sp>
      <p:sp>
        <p:nvSpPr>
          <p:cNvPr id="31" name="TextBox 30">
            <a:extLst>
              <a:ext uri="{FF2B5EF4-FFF2-40B4-BE49-F238E27FC236}">
                <a16:creationId xmlns:a16="http://schemas.microsoft.com/office/drawing/2014/main" id="{7EB37568-A9F4-43D8-AD4B-4A9C39A2D54B}"/>
              </a:ext>
            </a:extLst>
          </p:cNvPr>
          <p:cNvSpPr txBox="1"/>
          <p:nvPr/>
        </p:nvSpPr>
        <p:spPr>
          <a:xfrm>
            <a:off x="8102138" y="4309942"/>
            <a:ext cx="2512853" cy="987615"/>
          </a:xfrm>
          <a:prstGeom prst="rect">
            <a:avLst/>
          </a:prstGeom>
          <a:solidFill>
            <a:schemeClr val="bg1">
              <a:lumMod val="95000"/>
            </a:schemeClr>
          </a:solidFill>
        </p:spPr>
        <p:txBody>
          <a:bodyPr wrap="square" lIns="0" tIns="0" rIns="0" bIns="0" rtlCol="0" anchor="ctr">
            <a:noAutofit/>
          </a:bodyPr>
          <a:lstStyle/>
          <a:p>
            <a:pPr algn="ctr"/>
            <a:r>
              <a:rPr lang="en-US" sz="1400">
                <a:solidFill>
                  <a:schemeClr val="tx2"/>
                </a:solidFill>
                <a:latin typeface="Arial"/>
                <a:cs typeface="Arial"/>
              </a:rPr>
              <a:t>Company-wide tasks</a:t>
            </a:r>
          </a:p>
        </p:txBody>
      </p:sp>
      <p:sp>
        <p:nvSpPr>
          <p:cNvPr id="25" name="TextBox 24">
            <a:extLst>
              <a:ext uri="{FF2B5EF4-FFF2-40B4-BE49-F238E27FC236}">
                <a16:creationId xmlns:a16="http://schemas.microsoft.com/office/drawing/2014/main" id="{C5E513E2-C0E8-4729-848C-56BBD0F927BB}"/>
              </a:ext>
            </a:extLst>
          </p:cNvPr>
          <p:cNvSpPr txBox="1"/>
          <p:nvPr/>
        </p:nvSpPr>
        <p:spPr>
          <a:xfrm>
            <a:off x="1190138" y="5513107"/>
            <a:ext cx="2525829" cy="738664"/>
          </a:xfrm>
          <a:prstGeom prst="rect">
            <a:avLst/>
          </a:prstGeom>
          <a:noFill/>
        </p:spPr>
        <p:txBody>
          <a:bodyPr wrap="square">
            <a:spAutoFit/>
          </a:bodyPr>
          <a:lstStyle/>
          <a:p>
            <a:pPr algn="ctr"/>
            <a:r>
              <a:rPr lang="en-US" sz="1400" b="1" i="0">
                <a:solidFill>
                  <a:schemeClr val="tx1"/>
                </a:solidFill>
                <a:latin typeface="Arial"/>
                <a:cs typeface="Arial"/>
              </a:rPr>
              <a:t>Jane Smith</a:t>
            </a:r>
          </a:p>
          <a:p>
            <a:pPr algn="ctr"/>
            <a:r>
              <a:rPr lang="en-US" sz="1400">
                <a:latin typeface="Arial"/>
                <a:cs typeface="Arial"/>
              </a:rPr>
              <a:t>Finance specialist</a:t>
            </a:r>
          </a:p>
          <a:p>
            <a:pPr algn="ctr"/>
            <a:r>
              <a:rPr lang="en-US" sz="1400">
                <a:latin typeface="Arial"/>
                <a:cs typeface="Arial"/>
              </a:rPr>
              <a:t>XYZ Co.</a:t>
            </a:r>
            <a:endParaRPr lang="en-US" sz="1400"/>
          </a:p>
        </p:txBody>
      </p:sp>
      <p:sp>
        <p:nvSpPr>
          <p:cNvPr id="27" name="TextBox 26">
            <a:extLst>
              <a:ext uri="{FF2B5EF4-FFF2-40B4-BE49-F238E27FC236}">
                <a16:creationId xmlns:a16="http://schemas.microsoft.com/office/drawing/2014/main" id="{03DB84AE-9E18-4B0C-B19E-ABC0FFD0E9D9}"/>
              </a:ext>
            </a:extLst>
          </p:cNvPr>
          <p:cNvSpPr txBox="1"/>
          <p:nvPr/>
        </p:nvSpPr>
        <p:spPr>
          <a:xfrm>
            <a:off x="10080728" y="5373159"/>
            <a:ext cx="2108097" cy="1156849"/>
          </a:xfrm>
          <a:prstGeom prst="rect">
            <a:avLst/>
          </a:prstGeom>
          <a:noFill/>
        </p:spPr>
        <p:txBody>
          <a:bodyPr wrap="square" lIns="0" tIns="0" rIns="0" bIns="0" rtlCol="0" anchor="ctr">
            <a:noAutofit/>
          </a:bodyPr>
          <a:lstStyle/>
          <a:p>
            <a:pPr algn="ctr"/>
            <a:r>
              <a:rPr lang="en-US" sz="1400" b="1">
                <a:solidFill>
                  <a:schemeClr val="accent2"/>
                </a:solidFill>
                <a:latin typeface="Arial"/>
                <a:cs typeface="Arial"/>
              </a:rPr>
              <a:t>Lower value </a:t>
            </a:r>
          </a:p>
        </p:txBody>
      </p:sp>
      <p:sp>
        <p:nvSpPr>
          <p:cNvPr id="28" name="TextBox 27">
            <a:extLst>
              <a:ext uri="{FF2B5EF4-FFF2-40B4-BE49-F238E27FC236}">
                <a16:creationId xmlns:a16="http://schemas.microsoft.com/office/drawing/2014/main" id="{46602448-1E9A-4DFA-A0AA-574428203B07}"/>
              </a:ext>
            </a:extLst>
          </p:cNvPr>
          <p:cNvSpPr txBox="1"/>
          <p:nvPr/>
        </p:nvSpPr>
        <p:spPr>
          <a:xfrm>
            <a:off x="10204317" y="1173759"/>
            <a:ext cx="1709664" cy="716438"/>
          </a:xfrm>
          <a:prstGeom prst="rect">
            <a:avLst/>
          </a:prstGeom>
          <a:solidFill>
            <a:schemeClr val="bg1"/>
          </a:solidFill>
        </p:spPr>
        <p:txBody>
          <a:bodyPr wrap="square" lIns="0" tIns="0" rIns="0" bIns="0" rtlCol="0" anchor="ctr">
            <a:noAutofit/>
          </a:bodyPr>
          <a:lstStyle/>
          <a:p>
            <a:pPr algn="ctr"/>
            <a:r>
              <a:rPr lang="en-US" sz="1400" b="1">
                <a:solidFill>
                  <a:schemeClr val="accent2"/>
                </a:solidFill>
                <a:latin typeface="Arial"/>
                <a:cs typeface="Arial"/>
              </a:rPr>
              <a:t>Higher value</a:t>
            </a:r>
          </a:p>
        </p:txBody>
      </p:sp>
      <p:sp>
        <p:nvSpPr>
          <p:cNvPr id="29" name="Arrow: Down 28">
            <a:extLst>
              <a:ext uri="{FF2B5EF4-FFF2-40B4-BE49-F238E27FC236}">
                <a16:creationId xmlns:a16="http://schemas.microsoft.com/office/drawing/2014/main" id="{64E93A3A-8FDD-4733-A821-28D90B4A118E}"/>
              </a:ext>
            </a:extLst>
          </p:cNvPr>
          <p:cNvSpPr/>
          <p:nvPr/>
        </p:nvSpPr>
        <p:spPr>
          <a:xfrm rot="10800000">
            <a:off x="10737290" y="1730254"/>
            <a:ext cx="700392" cy="3915172"/>
          </a:xfrm>
          <a:prstGeom prst="downArrow">
            <a:avLst/>
          </a:prstGeom>
          <a:gradFill flip="none" rotWithShape="1">
            <a:gsLst>
              <a:gs pos="95000">
                <a:schemeClr val="accent1"/>
              </a:gs>
              <a:gs pos="0">
                <a:schemeClr val="accent1">
                  <a:lumMod val="40000"/>
                  <a:lumOff val="60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8" name="Text Placeholder 7">
            <a:extLst>
              <a:ext uri="{FF2B5EF4-FFF2-40B4-BE49-F238E27FC236}">
                <a16:creationId xmlns:a16="http://schemas.microsoft.com/office/drawing/2014/main" id="{4610B29A-BF0E-46F5-B224-2FD16D0EC3F0}"/>
              </a:ext>
            </a:extLst>
          </p:cNvPr>
          <p:cNvSpPr>
            <a:spLocks noGrp="1"/>
          </p:cNvSpPr>
          <p:nvPr>
            <p:ph type="body" sz="quarter" idx="14"/>
          </p:nvPr>
        </p:nvSpPr>
        <p:spPr>
          <a:xfrm>
            <a:off x="381002" y="1169974"/>
            <a:ext cx="11427050" cy="489737"/>
          </a:xfrm>
        </p:spPr>
        <p:txBody>
          <a:bodyPr/>
          <a:lstStyle/>
          <a:p>
            <a:r>
              <a:rPr lang="en-US" b="0"/>
              <a:t>During each working day, Jane works on various tasks:</a:t>
            </a:r>
          </a:p>
        </p:txBody>
      </p:sp>
      <p:sp>
        <p:nvSpPr>
          <p:cNvPr id="10" name="Title 9">
            <a:extLst>
              <a:ext uri="{FF2B5EF4-FFF2-40B4-BE49-F238E27FC236}">
                <a16:creationId xmlns:a16="http://schemas.microsoft.com/office/drawing/2014/main" id="{06144C27-0C90-4399-88A4-63A51F089F21}"/>
              </a:ext>
            </a:extLst>
          </p:cNvPr>
          <p:cNvSpPr>
            <a:spLocks noGrp="1"/>
          </p:cNvSpPr>
          <p:nvPr>
            <p:ph type="title"/>
          </p:nvPr>
        </p:nvSpPr>
        <p:spPr>
          <a:xfrm>
            <a:off x="381001" y="357721"/>
            <a:ext cx="7455060" cy="690029"/>
          </a:xfrm>
        </p:spPr>
        <p:txBody>
          <a:bodyPr anchor="b"/>
          <a:lstStyle/>
          <a:p>
            <a:r>
              <a:rPr lang="en-US"/>
              <a:t>Meet Jane, a finance specialist</a:t>
            </a:r>
            <a:endParaRPr lang="en-PH"/>
          </a:p>
        </p:txBody>
      </p:sp>
      <p:pic>
        <p:nvPicPr>
          <p:cNvPr id="22" name="Picture 21" descr="A person sitting at a desk&#10;&#10;Description automatically generated with medium confidence">
            <a:extLst>
              <a:ext uri="{FF2B5EF4-FFF2-40B4-BE49-F238E27FC236}">
                <a16:creationId xmlns:a16="http://schemas.microsoft.com/office/drawing/2014/main" id="{4DBA3CC9-9CAB-4AFF-9B63-4E10D598B4C8}"/>
              </a:ext>
            </a:extLst>
          </p:cNvPr>
          <p:cNvPicPr>
            <a:picLocks noChangeAspect="1"/>
          </p:cNvPicPr>
          <p:nvPr/>
        </p:nvPicPr>
        <p:blipFill rotWithShape="1">
          <a:blip r:embed="rId3"/>
          <a:srcRect l="33416" t="1789" r="9954" b="13320"/>
          <a:stretch/>
        </p:blipFill>
        <p:spPr>
          <a:xfrm flipH="1">
            <a:off x="1013124" y="2429651"/>
            <a:ext cx="2768515" cy="2768515"/>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spTree>
    <p:extLst>
      <p:ext uri="{BB962C8B-B14F-4D97-AF65-F5344CB8AC3E}">
        <p14:creationId xmlns:p14="http://schemas.microsoft.com/office/powerpoint/2010/main" val="297555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0DB7975-F615-4CC1-BEB2-4DB05EDEE6C1}"/>
              </a:ext>
            </a:extLst>
          </p:cNvPr>
          <p:cNvSpPr/>
          <p:nvPr/>
        </p:nvSpPr>
        <p:spPr>
          <a:xfrm>
            <a:off x="10265790" y="150829"/>
            <a:ext cx="1781666" cy="7258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pic>
        <p:nvPicPr>
          <p:cNvPr id="27" name="Picture 26" descr="A person sitting at a desk&#10;&#10;Description automatically generated with medium confidence">
            <a:extLst>
              <a:ext uri="{FF2B5EF4-FFF2-40B4-BE49-F238E27FC236}">
                <a16:creationId xmlns:a16="http://schemas.microsoft.com/office/drawing/2014/main" id="{3BDAC894-B933-4BDF-87EB-115EEA4E9F95}"/>
              </a:ext>
            </a:extLst>
          </p:cNvPr>
          <p:cNvPicPr>
            <a:picLocks noChangeAspect="1"/>
          </p:cNvPicPr>
          <p:nvPr/>
        </p:nvPicPr>
        <p:blipFill rotWithShape="1">
          <a:blip r:embed="rId3"/>
          <a:srcRect l="33416" t="1789" r="9954" b="13320"/>
          <a:stretch/>
        </p:blipFill>
        <p:spPr>
          <a:xfrm flipH="1">
            <a:off x="394891" y="270154"/>
            <a:ext cx="813816" cy="813816"/>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sp>
        <p:nvSpPr>
          <p:cNvPr id="31" name="Rectangle 30">
            <a:extLst>
              <a:ext uri="{FF2B5EF4-FFF2-40B4-BE49-F238E27FC236}">
                <a16:creationId xmlns:a16="http://schemas.microsoft.com/office/drawing/2014/main" id="{9FDA5BB2-3E1B-47A4-9285-77C10AB5F8A8}"/>
              </a:ext>
            </a:extLst>
          </p:cNvPr>
          <p:cNvSpPr/>
          <p:nvPr/>
        </p:nvSpPr>
        <p:spPr>
          <a:xfrm>
            <a:off x="848298" y="2108372"/>
            <a:ext cx="3200400" cy="42702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1600" b="1" i="0">
                <a:latin typeface="Arial"/>
                <a:cs typeface="Arial"/>
              </a:rPr>
              <a:t>Research</a:t>
            </a:r>
          </a:p>
        </p:txBody>
      </p:sp>
      <p:sp>
        <p:nvSpPr>
          <p:cNvPr id="32" name="Rectangle 31">
            <a:extLst>
              <a:ext uri="{FF2B5EF4-FFF2-40B4-BE49-F238E27FC236}">
                <a16:creationId xmlns:a16="http://schemas.microsoft.com/office/drawing/2014/main" id="{AB53D6AC-458F-4F15-B43F-FF773A326A09}"/>
              </a:ext>
            </a:extLst>
          </p:cNvPr>
          <p:cNvSpPr/>
          <p:nvPr/>
        </p:nvSpPr>
        <p:spPr>
          <a:xfrm>
            <a:off x="4717630" y="2094667"/>
            <a:ext cx="3200400" cy="45443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1600" b="1" i="0">
                <a:latin typeface="Arial"/>
                <a:cs typeface="Arial"/>
              </a:rPr>
              <a:t>Take Action</a:t>
            </a:r>
          </a:p>
        </p:txBody>
      </p:sp>
      <p:sp>
        <p:nvSpPr>
          <p:cNvPr id="33" name="Rectangle 32">
            <a:extLst>
              <a:ext uri="{FF2B5EF4-FFF2-40B4-BE49-F238E27FC236}">
                <a16:creationId xmlns:a16="http://schemas.microsoft.com/office/drawing/2014/main" id="{63F46EFA-5F99-4C03-BEA4-8C072A81C23E}"/>
              </a:ext>
            </a:extLst>
          </p:cNvPr>
          <p:cNvSpPr/>
          <p:nvPr/>
        </p:nvSpPr>
        <p:spPr>
          <a:xfrm>
            <a:off x="8609014" y="2108314"/>
            <a:ext cx="3200400" cy="42714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1600" b="1" i="0">
                <a:latin typeface="Arial"/>
                <a:cs typeface="Arial"/>
              </a:rPr>
              <a:t>Manage Data</a:t>
            </a:r>
          </a:p>
        </p:txBody>
      </p:sp>
      <p:sp>
        <p:nvSpPr>
          <p:cNvPr id="34" name="Rectangle 33">
            <a:extLst>
              <a:ext uri="{FF2B5EF4-FFF2-40B4-BE49-F238E27FC236}">
                <a16:creationId xmlns:a16="http://schemas.microsoft.com/office/drawing/2014/main" id="{503DA6B2-2D76-4218-A6CF-0B2219C3BA44}"/>
              </a:ext>
            </a:extLst>
          </p:cNvPr>
          <p:cNvSpPr/>
          <p:nvPr/>
        </p:nvSpPr>
        <p:spPr>
          <a:xfrm>
            <a:off x="848298" y="4370753"/>
            <a:ext cx="3200400" cy="4278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1600" b="1" i="0">
                <a:latin typeface="Arial"/>
                <a:cs typeface="Arial"/>
              </a:rPr>
              <a:t>Plan</a:t>
            </a:r>
          </a:p>
        </p:txBody>
      </p:sp>
      <p:sp>
        <p:nvSpPr>
          <p:cNvPr id="35" name="Rectangle 34">
            <a:extLst>
              <a:ext uri="{FF2B5EF4-FFF2-40B4-BE49-F238E27FC236}">
                <a16:creationId xmlns:a16="http://schemas.microsoft.com/office/drawing/2014/main" id="{39BA25C4-9883-487E-A3B5-4FEE56FEB912}"/>
              </a:ext>
            </a:extLst>
          </p:cNvPr>
          <p:cNvSpPr/>
          <p:nvPr/>
        </p:nvSpPr>
        <p:spPr>
          <a:xfrm>
            <a:off x="4753385" y="4370753"/>
            <a:ext cx="3200400" cy="42783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1600" b="1" i="0">
                <a:latin typeface="Arial"/>
                <a:cs typeface="Arial"/>
              </a:rPr>
              <a:t>Get Organized</a:t>
            </a:r>
          </a:p>
        </p:txBody>
      </p:sp>
      <p:sp>
        <p:nvSpPr>
          <p:cNvPr id="36" name="Rectangle 35">
            <a:extLst>
              <a:ext uri="{FF2B5EF4-FFF2-40B4-BE49-F238E27FC236}">
                <a16:creationId xmlns:a16="http://schemas.microsoft.com/office/drawing/2014/main" id="{F0F62330-D112-4637-B4F6-2FD17440E7D7}"/>
              </a:ext>
            </a:extLst>
          </p:cNvPr>
          <p:cNvSpPr/>
          <p:nvPr/>
        </p:nvSpPr>
        <p:spPr>
          <a:xfrm>
            <a:off x="4706561" y="2765800"/>
            <a:ext cx="3200400" cy="11541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spAutoFit/>
          </a:bodyPr>
          <a:lstStyle/>
          <a:p>
            <a:pPr marL="182880" indent="-182880">
              <a:spcAft>
                <a:spcPts val="600"/>
              </a:spcAft>
              <a:buClr>
                <a:schemeClr val="accent1"/>
              </a:buClr>
              <a:buFont typeface="Arial" panose="020B0604020202020204" pitchFamily="34" charset="0"/>
              <a:buChar char="•"/>
            </a:pPr>
            <a:r>
              <a:rPr lang="en-US" sz="1200">
                <a:solidFill>
                  <a:schemeClr val="tx1"/>
                </a:solidFill>
                <a:cs typeface="Arial"/>
              </a:rPr>
              <a:t>Match payments with invoices </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Track operational metrics</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Onboard suppliers </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Pre-populate documents for generating </a:t>
            </a:r>
            <a:br>
              <a:rPr lang="en-US" sz="1200">
                <a:solidFill>
                  <a:schemeClr val="tx1"/>
                </a:solidFill>
                <a:cs typeface="Arial"/>
              </a:rPr>
            </a:br>
            <a:r>
              <a:rPr lang="en-US" sz="1200">
                <a:solidFill>
                  <a:schemeClr val="tx1"/>
                </a:solidFill>
                <a:cs typeface="Arial"/>
              </a:rPr>
              <a:t>tax returns</a:t>
            </a:r>
          </a:p>
        </p:txBody>
      </p:sp>
      <p:sp>
        <p:nvSpPr>
          <p:cNvPr id="37" name="Rectangle 36">
            <a:extLst>
              <a:ext uri="{FF2B5EF4-FFF2-40B4-BE49-F238E27FC236}">
                <a16:creationId xmlns:a16="http://schemas.microsoft.com/office/drawing/2014/main" id="{A7B8402D-C0FD-4A56-BAD0-6AC368095CFC}"/>
              </a:ext>
            </a:extLst>
          </p:cNvPr>
          <p:cNvSpPr/>
          <p:nvPr/>
        </p:nvSpPr>
        <p:spPr>
          <a:xfrm>
            <a:off x="8609013" y="2765800"/>
            <a:ext cx="3200400" cy="96949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spAutoFit/>
          </a:bodyPr>
          <a:lstStyle/>
          <a:p>
            <a:pPr marL="182880" indent="-182880">
              <a:spcAft>
                <a:spcPts val="600"/>
              </a:spcAft>
              <a:buClr>
                <a:schemeClr val="accent1"/>
              </a:buClr>
              <a:buFont typeface="Arial" panose="020B0604020202020204" pitchFamily="34" charset="0"/>
              <a:buChar char="•"/>
            </a:pPr>
            <a:r>
              <a:rPr lang="en-US" sz="1200">
                <a:solidFill>
                  <a:schemeClr val="tx1"/>
                </a:solidFill>
                <a:cs typeface="Arial"/>
              </a:rPr>
              <a:t>Generate financial reports</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Analyze transactions</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Protect sensitive data</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Identify non-compliant data</a:t>
            </a:r>
          </a:p>
        </p:txBody>
      </p:sp>
      <p:sp>
        <p:nvSpPr>
          <p:cNvPr id="38" name="Rectangle 37">
            <a:extLst>
              <a:ext uri="{FF2B5EF4-FFF2-40B4-BE49-F238E27FC236}">
                <a16:creationId xmlns:a16="http://schemas.microsoft.com/office/drawing/2014/main" id="{8194600A-CB31-4C0D-813F-EEFA02B7CAF2}"/>
              </a:ext>
            </a:extLst>
          </p:cNvPr>
          <p:cNvSpPr/>
          <p:nvPr/>
        </p:nvSpPr>
        <p:spPr>
          <a:xfrm>
            <a:off x="848298" y="5131730"/>
            <a:ext cx="3200400" cy="96949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marL="182880" indent="-182880">
              <a:spcAft>
                <a:spcPts val="600"/>
              </a:spcAft>
              <a:buClr>
                <a:schemeClr val="accent1"/>
              </a:buClr>
              <a:buFont typeface="Arial" panose="020B0604020202020204" pitchFamily="34" charset="0"/>
              <a:buChar char="•"/>
            </a:pPr>
            <a:r>
              <a:rPr lang="en-US" sz="1200">
                <a:solidFill>
                  <a:schemeClr val="tx1"/>
                </a:solidFill>
                <a:cs typeface="Arial"/>
              </a:rPr>
              <a:t>Start her day by logging into all applications</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End her day by logging out of all applications</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Schedule meetings</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Automate her to-do list</a:t>
            </a:r>
          </a:p>
        </p:txBody>
      </p:sp>
      <p:sp>
        <p:nvSpPr>
          <p:cNvPr id="42" name="Rectangle 41">
            <a:extLst>
              <a:ext uri="{FF2B5EF4-FFF2-40B4-BE49-F238E27FC236}">
                <a16:creationId xmlns:a16="http://schemas.microsoft.com/office/drawing/2014/main" id="{C770E937-0267-45B8-B81C-CEC57C9BFC1A}"/>
              </a:ext>
            </a:extLst>
          </p:cNvPr>
          <p:cNvSpPr/>
          <p:nvPr/>
        </p:nvSpPr>
        <p:spPr>
          <a:xfrm>
            <a:off x="4753385" y="5131730"/>
            <a:ext cx="3200400" cy="7078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spAutoFit/>
          </a:bodyPr>
          <a:lstStyle/>
          <a:p>
            <a:pPr marL="182880" indent="-182880">
              <a:spcAft>
                <a:spcPts val="600"/>
              </a:spcAft>
              <a:buClr>
                <a:schemeClr val="accent1"/>
              </a:buClr>
              <a:buFont typeface="Arial" panose="020B0604020202020204" pitchFamily="34" charset="0"/>
              <a:buChar char="•"/>
            </a:pPr>
            <a:r>
              <a:rPr lang="en-US" sz="1200">
                <a:solidFill>
                  <a:schemeClr val="tx1"/>
                </a:solidFill>
                <a:cs typeface="Arial"/>
              </a:rPr>
              <a:t>Set up Out of Office replies</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Submit expense reports</a:t>
            </a:r>
          </a:p>
          <a:p>
            <a:pPr marL="182880" indent="-182880">
              <a:spcAft>
                <a:spcPts val="600"/>
              </a:spcAft>
              <a:buClr>
                <a:schemeClr val="accent1"/>
              </a:buClr>
              <a:buFont typeface="Arial" panose="020B0604020202020204" pitchFamily="34" charset="0"/>
              <a:buChar char="•"/>
            </a:pPr>
            <a:r>
              <a:rPr lang="en-US" sz="1200">
                <a:solidFill>
                  <a:schemeClr val="tx1"/>
                </a:solidFill>
                <a:cs typeface="Arial"/>
              </a:rPr>
              <a:t>Check her benefits information</a:t>
            </a:r>
          </a:p>
        </p:txBody>
      </p:sp>
      <p:sp>
        <p:nvSpPr>
          <p:cNvPr id="43" name="Rectangle 42">
            <a:extLst>
              <a:ext uri="{FF2B5EF4-FFF2-40B4-BE49-F238E27FC236}">
                <a16:creationId xmlns:a16="http://schemas.microsoft.com/office/drawing/2014/main" id="{98B318B6-94FC-4900-BE2D-D7F24467E4A6}"/>
              </a:ext>
            </a:extLst>
          </p:cNvPr>
          <p:cNvSpPr/>
          <p:nvPr/>
        </p:nvSpPr>
        <p:spPr>
          <a:xfrm>
            <a:off x="821003" y="2765800"/>
            <a:ext cx="3200400" cy="96949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spAutoFit/>
          </a:bodyPr>
          <a:lstStyle/>
          <a:p>
            <a:pPr marL="182880" indent="-182880">
              <a:spcAft>
                <a:spcPts val="600"/>
              </a:spcAft>
              <a:buClr>
                <a:schemeClr val="accent1"/>
              </a:buClr>
              <a:buFont typeface="Arial" panose="020B0604020202020204" pitchFamily="34" charset="0"/>
              <a:buChar char="•"/>
            </a:pPr>
            <a:r>
              <a:rPr lang="en-GB" sz="1200">
                <a:solidFill>
                  <a:schemeClr val="tx1"/>
                </a:solidFill>
              </a:rPr>
              <a:t>Evaluate market trends</a:t>
            </a:r>
          </a:p>
          <a:p>
            <a:pPr marL="182880" indent="-182880">
              <a:spcAft>
                <a:spcPts val="600"/>
              </a:spcAft>
              <a:buClr>
                <a:schemeClr val="accent1"/>
              </a:buClr>
              <a:buFont typeface="Arial" panose="020B0604020202020204" pitchFamily="34" charset="0"/>
              <a:buChar char="•"/>
            </a:pPr>
            <a:r>
              <a:rPr lang="en-US" sz="1200">
                <a:solidFill>
                  <a:schemeClr val="tx1"/>
                </a:solidFill>
              </a:rPr>
              <a:t>Measure financial risks</a:t>
            </a:r>
          </a:p>
          <a:p>
            <a:pPr marL="182880" indent="-182880">
              <a:spcAft>
                <a:spcPts val="600"/>
              </a:spcAft>
              <a:buClr>
                <a:schemeClr val="accent1"/>
              </a:buClr>
              <a:buFont typeface="Arial" panose="020B0604020202020204" pitchFamily="34" charset="0"/>
              <a:buChar char="•"/>
            </a:pPr>
            <a:r>
              <a:rPr lang="en-US" sz="1200" b="0" i="0">
                <a:solidFill>
                  <a:schemeClr val="tx1"/>
                </a:solidFill>
                <a:effectLst/>
              </a:rPr>
              <a:t>Perform </a:t>
            </a:r>
            <a:r>
              <a:rPr lang="en-US" sz="1200" b="0" i="0" u="none" strike="noStrike">
                <a:solidFill>
                  <a:schemeClr val="tx1"/>
                </a:solidFill>
                <a:effectLst/>
              </a:rPr>
              <a:t>financial forecasting</a:t>
            </a:r>
          </a:p>
          <a:p>
            <a:pPr marL="182880" indent="-182880">
              <a:spcAft>
                <a:spcPts val="600"/>
              </a:spcAft>
              <a:buClr>
                <a:schemeClr val="accent1"/>
              </a:buClr>
              <a:buFont typeface="Arial" panose="020B0604020202020204" pitchFamily="34" charset="0"/>
              <a:buChar char="•"/>
            </a:pPr>
            <a:r>
              <a:rPr lang="en-GB" sz="1200">
                <a:solidFill>
                  <a:schemeClr val="tx1"/>
                </a:solidFill>
              </a:rPr>
              <a:t>Conduct benchmarking analysis</a:t>
            </a:r>
            <a:endParaRPr lang="en-US" sz="1200">
              <a:solidFill>
                <a:schemeClr val="tx1"/>
              </a:solidFill>
            </a:endParaRPr>
          </a:p>
        </p:txBody>
      </p:sp>
      <p:pic>
        <p:nvPicPr>
          <p:cNvPr id="46" name="Picture 45" descr="A picture containing table, blue, sitting, food&#10;&#10;Description automatically generated">
            <a:extLst>
              <a:ext uri="{FF2B5EF4-FFF2-40B4-BE49-F238E27FC236}">
                <a16:creationId xmlns:a16="http://schemas.microsoft.com/office/drawing/2014/main" id="{3F4D8F04-56B5-4C61-86F7-389AD39FACD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5100" y="2016571"/>
            <a:ext cx="830094" cy="610631"/>
          </a:xfrm>
          <a:prstGeom prst="rect">
            <a:avLst/>
          </a:prstGeom>
        </p:spPr>
      </p:pic>
      <p:pic>
        <p:nvPicPr>
          <p:cNvPr id="47" name="Picture 46" descr="A picture containing table, blue, sitting, food&#10;&#10;Description automatically generated">
            <a:extLst>
              <a:ext uri="{FF2B5EF4-FFF2-40B4-BE49-F238E27FC236}">
                <a16:creationId xmlns:a16="http://schemas.microsoft.com/office/drawing/2014/main" id="{39560FD7-7A96-4340-BBCA-CB509579605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38338" y="2016571"/>
            <a:ext cx="830094" cy="610631"/>
          </a:xfrm>
          <a:prstGeom prst="rect">
            <a:avLst/>
          </a:prstGeom>
        </p:spPr>
      </p:pic>
      <p:pic>
        <p:nvPicPr>
          <p:cNvPr id="49" name="Picture 48" descr="A picture containing table, blue, sitting, food&#10;&#10;Description automatically generated">
            <a:extLst>
              <a:ext uri="{FF2B5EF4-FFF2-40B4-BE49-F238E27FC236}">
                <a16:creationId xmlns:a16="http://schemas.microsoft.com/office/drawing/2014/main" id="{390EA7B2-71AF-4B40-A7AA-6DC1BFB791D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5100" y="4279356"/>
            <a:ext cx="830094" cy="610631"/>
          </a:xfrm>
          <a:prstGeom prst="rect">
            <a:avLst/>
          </a:prstGeom>
        </p:spPr>
      </p:pic>
      <p:pic>
        <p:nvPicPr>
          <p:cNvPr id="54" name="Picture 53" descr="A picture containing table, blue, sitting, food&#10;&#10;Description automatically generated">
            <a:extLst>
              <a:ext uri="{FF2B5EF4-FFF2-40B4-BE49-F238E27FC236}">
                <a16:creationId xmlns:a16="http://schemas.microsoft.com/office/drawing/2014/main" id="{C4BB3773-96B5-4C18-8506-C4CEE15303C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38338" y="4279356"/>
            <a:ext cx="830094" cy="610631"/>
          </a:xfrm>
          <a:prstGeom prst="rect">
            <a:avLst/>
          </a:prstGeom>
        </p:spPr>
      </p:pic>
      <p:pic>
        <p:nvPicPr>
          <p:cNvPr id="55" name="Picture 54" descr="A picture containing table, blue, sitting, food&#10;&#10;Description automatically generated">
            <a:extLst>
              <a:ext uri="{FF2B5EF4-FFF2-40B4-BE49-F238E27FC236}">
                <a16:creationId xmlns:a16="http://schemas.microsoft.com/office/drawing/2014/main" id="{3334EB2B-C85F-45BE-B0E7-FDC6A5FEEC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08943" y="2016571"/>
            <a:ext cx="830094" cy="610631"/>
          </a:xfrm>
          <a:prstGeom prst="rect">
            <a:avLst/>
          </a:prstGeom>
        </p:spPr>
      </p:pic>
      <p:sp>
        <p:nvSpPr>
          <p:cNvPr id="26" name="TextBox 25">
            <a:extLst>
              <a:ext uri="{FF2B5EF4-FFF2-40B4-BE49-F238E27FC236}">
                <a16:creationId xmlns:a16="http://schemas.microsoft.com/office/drawing/2014/main" id="{22FFB4A9-CFFC-4FDA-A9B4-94799AC1F5C6}"/>
              </a:ext>
            </a:extLst>
          </p:cNvPr>
          <p:cNvSpPr txBox="1"/>
          <p:nvPr/>
        </p:nvSpPr>
        <p:spPr>
          <a:xfrm>
            <a:off x="392976" y="1449272"/>
            <a:ext cx="6346086" cy="276999"/>
          </a:xfrm>
          <a:prstGeom prst="rect">
            <a:avLst/>
          </a:prstGeom>
          <a:noFill/>
        </p:spPr>
        <p:txBody>
          <a:bodyPr wrap="square" lIns="0" tIns="0" rIns="0" bIns="0">
            <a:spAutoFit/>
          </a:bodyPr>
          <a:lstStyle/>
          <a:p>
            <a:r>
              <a:rPr lang="en-US" b="1" dirty="0"/>
              <a:t>Automation can help Jane…</a:t>
            </a:r>
          </a:p>
        </p:txBody>
      </p:sp>
      <p:sp>
        <p:nvSpPr>
          <p:cNvPr id="22" name="Title 1">
            <a:extLst>
              <a:ext uri="{FF2B5EF4-FFF2-40B4-BE49-F238E27FC236}">
                <a16:creationId xmlns:a16="http://schemas.microsoft.com/office/drawing/2014/main" id="{19FCA61E-AB88-4AF6-BEA8-CEC5674F6077}"/>
              </a:ext>
            </a:extLst>
          </p:cNvPr>
          <p:cNvSpPr txBox="1">
            <a:spLocks/>
          </p:cNvSpPr>
          <p:nvPr/>
        </p:nvSpPr>
        <p:spPr>
          <a:xfrm>
            <a:off x="1431235" y="357721"/>
            <a:ext cx="6777708" cy="690029"/>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cs typeface="Arial"/>
              </a:rPr>
              <a:t>Software robots help Jane get </a:t>
            </a:r>
            <a:r>
              <a:rPr lang="en-US">
                <a:solidFill>
                  <a:schemeClr val="tx1"/>
                </a:solidFill>
              </a:rPr>
              <a:t>work done faster &amp; more accurately</a:t>
            </a:r>
            <a:endParaRPr lang="en-PH"/>
          </a:p>
        </p:txBody>
      </p:sp>
    </p:spTree>
    <p:extLst>
      <p:ext uri="{BB962C8B-B14F-4D97-AF65-F5344CB8AC3E}">
        <p14:creationId xmlns:p14="http://schemas.microsoft.com/office/powerpoint/2010/main" val="2707584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74CDFE98-B31C-483C-9AA2-47CB352E4A8D}"/>
              </a:ext>
            </a:extLst>
          </p:cNvPr>
          <p:cNvSpPr/>
          <p:nvPr/>
        </p:nvSpPr>
        <p:spPr>
          <a:xfrm>
            <a:off x="4392630" y="0"/>
            <a:ext cx="3900471" cy="6858000"/>
          </a:xfrm>
          <a:prstGeom prst="rect">
            <a:avLst/>
          </a:prstGeom>
          <a:solidFill>
            <a:srgbClr val="DFE3E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13" name="Rectangle 12">
            <a:extLst>
              <a:ext uri="{FF2B5EF4-FFF2-40B4-BE49-F238E27FC236}">
                <a16:creationId xmlns:a16="http://schemas.microsoft.com/office/drawing/2014/main" id="{DF288E1D-3964-4121-84FB-A193E9DEA17C}"/>
              </a:ext>
            </a:extLst>
          </p:cNvPr>
          <p:cNvSpPr/>
          <p:nvPr/>
        </p:nvSpPr>
        <p:spPr>
          <a:xfrm>
            <a:off x="8288353" y="0"/>
            <a:ext cx="3900471"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49" name="Title 45">
            <a:extLst>
              <a:ext uri="{FF2B5EF4-FFF2-40B4-BE49-F238E27FC236}">
                <a16:creationId xmlns:a16="http://schemas.microsoft.com/office/drawing/2014/main" id="{C8A8F1F6-C4F8-43A0-AEB8-2897C23E3F88}"/>
              </a:ext>
            </a:extLst>
          </p:cNvPr>
          <p:cNvSpPr>
            <a:spLocks noGrp="1"/>
          </p:cNvSpPr>
          <p:nvPr>
            <p:ph type="ctrTitle" idx="4294967295"/>
          </p:nvPr>
        </p:nvSpPr>
        <p:spPr>
          <a:xfrm>
            <a:off x="384850" y="2245795"/>
            <a:ext cx="3799992" cy="941796"/>
          </a:xfrm>
        </p:spPr>
        <p:txBody>
          <a:bodyPr>
            <a:spAutoFit/>
          </a:bodyPr>
          <a:lstStyle/>
          <a:p>
            <a:pPr>
              <a:tabLst>
                <a:tab pos="2227263" algn="l"/>
                <a:tab pos="3200400" algn="l"/>
              </a:tabLst>
            </a:pPr>
            <a:r>
              <a:rPr lang="en-US" sz="2400" b="0"/>
              <a:t>For example, robots help Jane </a:t>
            </a:r>
            <a:r>
              <a:rPr lang="en-US" sz="2400"/>
              <a:t>create</a:t>
            </a:r>
            <a:r>
              <a:rPr lang="en-US" sz="2400" b="0"/>
              <a:t> </a:t>
            </a:r>
            <a:r>
              <a:rPr lang="en-US" sz="2400"/>
              <a:t>financial reports faster </a:t>
            </a:r>
          </a:p>
        </p:txBody>
      </p:sp>
      <p:sp>
        <p:nvSpPr>
          <p:cNvPr id="68" name="Text Placeholder 67">
            <a:extLst>
              <a:ext uri="{FF2B5EF4-FFF2-40B4-BE49-F238E27FC236}">
                <a16:creationId xmlns:a16="http://schemas.microsoft.com/office/drawing/2014/main" id="{5A734FEA-5A1B-C24B-9566-9486C936C8AE}"/>
              </a:ext>
            </a:extLst>
          </p:cNvPr>
          <p:cNvSpPr>
            <a:spLocks noGrp="1"/>
          </p:cNvSpPr>
          <p:nvPr>
            <p:ph type="body" sz="quarter" idx="4294967295"/>
          </p:nvPr>
        </p:nvSpPr>
        <p:spPr>
          <a:xfrm>
            <a:off x="4990744" y="926151"/>
            <a:ext cx="2560320" cy="430887"/>
          </a:xfrm>
          <a:noFill/>
        </p:spPr>
        <p:txBody>
          <a:bodyPr>
            <a:spAutoFit/>
          </a:bodyPr>
          <a:lstStyle/>
          <a:p>
            <a:pPr algn="ctr"/>
            <a:r>
              <a:rPr lang="en-US" sz="1400" b="1">
                <a:solidFill>
                  <a:schemeClr val="accent2"/>
                </a:solidFill>
              </a:rPr>
              <a:t>Jane spent 30% of her time to generate financial reports</a:t>
            </a:r>
          </a:p>
        </p:txBody>
      </p:sp>
      <p:sp>
        <p:nvSpPr>
          <p:cNvPr id="73" name="TextBox 72">
            <a:extLst>
              <a:ext uri="{FF2B5EF4-FFF2-40B4-BE49-F238E27FC236}">
                <a16:creationId xmlns:a16="http://schemas.microsoft.com/office/drawing/2014/main" id="{97F482F1-1669-46F2-B7EE-012F71BC93FC}"/>
              </a:ext>
            </a:extLst>
          </p:cNvPr>
          <p:cNvSpPr txBox="1"/>
          <p:nvPr/>
        </p:nvSpPr>
        <p:spPr>
          <a:xfrm>
            <a:off x="9145301" y="252882"/>
            <a:ext cx="2560320" cy="523220"/>
          </a:xfrm>
          <a:prstGeom prst="rect">
            <a:avLst/>
          </a:prstGeom>
          <a:noFill/>
        </p:spPr>
        <p:txBody>
          <a:bodyPr wrap="square">
            <a:spAutoFit/>
          </a:bodyPr>
          <a:lstStyle/>
          <a:p>
            <a:pPr algn="ctr"/>
            <a:r>
              <a:rPr lang="en-US" sz="2800" b="1"/>
              <a:t>AFTER</a:t>
            </a:r>
          </a:p>
        </p:txBody>
      </p:sp>
      <p:sp>
        <p:nvSpPr>
          <p:cNvPr id="77" name="TextBox 76">
            <a:extLst>
              <a:ext uri="{FF2B5EF4-FFF2-40B4-BE49-F238E27FC236}">
                <a16:creationId xmlns:a16="http://schemas.microsoft.com/office/drawing/2014/main" id="{1732A9FC-C681-400C-BB72-A206906D6EC4}"/>
              </a:ext>
            </a:extLst>
          </p:cNvPr>
          <p:cNvSpPr txBox="1"/>
          <p:nvPr/>
        </p:nvSpPr>
        <p:spPr>
          <a:xfrm>
            <a:off x="9145301" y="1637571"/>
            <a:ext cx="2560320" cy="215444"/>
          </a:xfrm>
          <a:prstGeom prst="rect">
            <a:avLst/>
          </a:prstGeom>
          <a:noFill/>
        </p:spPr>
        <p:txBody>
          <a:bodyPr wrap="square" lIns="0" tIns="0" rIns="0" bIns="0" rtlCol="0" anchor="ctr">
            <a:spAutoFit/>
          </a:bodyPr>
          <a:lstStyle/>
          <a:p>
            <a:pPr algn="ctr"/>
            <a:r>
              <a:rPr lang="en-US" sz="1400" b="1"/>
              <a:t>100% </a:t>
            </a:r>
            <a:r>
              <a:rPr lang="en-US" sz="1400"/>
              <a:t>robot effort</a:t>
            </a:r>
          </a:p>
        </p:txBody>
      </p:sp>
      <p:cxnSp>
        <p:nvCxnSpPr>
          <p:cNvPr id="51" name="Straight Arrow Connector 50">
            <a:extLst>
              <a:ext uri="{FF2B5EF4-FFF2-40B4-BE49-F238E27FC236}">
                <a16:creationId xmlns:a16="http://schemas.microsoft.com/office/drawing/2014/main" id="{CEEC871A-00C3-47D7-8352-194465A3B027}"/>
              </a:ext>
            </a:extLst>
          </p:cNvPr>
          <p:cNvCxnSpPr>
            <a:cxnSpLocks/>
          </p:cNvCxnSpPr>
          <p:nvPr/>
        </p:nvCxnSpPr>
        <p:spPr>
          <a:xfrm>
            <a:off x="10425461" y="2066833"/>
            <a:ext cx="0" cy="3326481"/>
          </a:xfrm>
          <a:prstGeom prst="straightConnector1">
            <a:avLst/>
          </a:prstGeom>
          <a:ln>
            <a:solidFill>
              <a:schemeClr val="accent1"/>
            </a:solidFill>
            <a:headEnd type="oval" w="lg" len="lg"/>
            <a:tailEnd type="none"/>
          </a:ln>
        </p:spPr>
        <p:style>
          <a:lnRef idx="1">
            <a:schemeClr val="accent2"/>
          </a:lnRef>
          <a:fillRef idx="0">
            <a:schemeClr val="accent2"/>
          </a:fillRef>
          <a:effectRef idx="0">
            <a:schemeClr val="accent2"/>
          </a:effectRef>
          <a:fontRef idx="minor">
            <a:schemeClr val="tx1"/>
          </a:fontRef>
        </p:style>
      </p:cxnSp>
      <p:sp>
        <p:nvSpPr>
          <p:cNvPr id="115" name="Text Placeholder 39">
            <a:extLst>
              <a:ext uri="{FF2B5EF4-FFF2-40B4-BE49-F238E27FC236}">
                <a16:creationId xmlns:a16="http://schemas.microsoft.com/office/drawing/2014/main" id="{EDDDAC67-F543-4237-9175-4B32EC04290A}"/>
              </a:ext>
            </a:extLst>
          </p:cNvPr>
          <p:cNvSpPr txBox="1">
            <a:spLocks/>
          </p:cNvSpPr>
          <p:nvPr/>
        </p:nvSpPr>
        <p:spPr>
          <a:xfrm>
            <a:off x="9145301" y="2340426"/>
            <a:ext cx="2560320" cy="400110"/>
          </a:xfrm>
          <a:prstGeom prst="rect">
            <a:avLst/>
          </a:prstGeom>
          <a:solidFill>
            <a:schemeClr val="accent1"/>
          </a:solidFill>
          <a:ln>
            <a:noFill/>
          </a:ln>
        </p:spPr>
        <p:txBody>
          <a:bodyPr vert="horz" wrap="square" lIns="109728" tIns="45720" rIns="109728" bIns="45720" rtlCol="0" anchor="t" anchorCtr="0">
            <a:spAutoFit/>
          </a:bodyPr>
          <a:lstStyle>
            <a:lvl1pPr marL="0" marR="0" indent="0" algn="ctr" defTabSz="777240" rtl="0" eaLnBrk="1" fontAlgn="auto" latinLnBrk="0" hangingPunct="1">
              <a:lnSpc>
                <a:spcPct val="100000"/>
              </a:lnSpc>
              <a:spcBef>
                <a:spcPts val="0"/>
              </a:spcBef>
              <a:spcAft>
                <a:spcPts val="0"/>
              </a:spcAft>
              <a:buClrTx/>
              <a:buSzTx/>
              <a:buFont typeface="Arial" panose="020B0604020202020204" pitchFamily="34" charset="0"/>
              <a:buNone/>
              <a:tabLst/>
              <a:defRPr sz="1000" b="0" i="0" kern="1200">
                <a:solidFill>
                  <a:schemeClr val="bg1"/>
                </a:solidFill>
                <a:latin typeface="+mj-lt"/>
                <a:ea typeface="+mn-ea"/>
                <a:cs typeface="Arial"/>
              </a:defRPr>
            </a:lvl1pPr>
            <a:lvl2pPr marL="174625" indent="-174625" algn="l" defTabSz="457200" rtl="0" eaLnBrk="1" latinLnBrk="0" hangingPunct="1">
              <a:spcBef>
                <a:spcPts val="500"/>
              </a:spcBef>
              <a:buClr>
                <a:schemeClr val="accent1"/>
              </a:buClr>
              <a:buFont typeface="Arial"/>
              <a:buChar char="•"/>
              <a:defRPr sz="12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2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2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latin typeface="Arial"/>
              </a:rPr>
              <a:t>Robot generate 15 NetSuite reports with the automatic period and entity selection</a:t>
            </a:r>
          </a:p>
        </p:txBody>
      </p:sp>
      <p:sp>
        <p:nvSpPr>
          <p:cNvPr id="116" name="Text Placeholder 158">
            <a:extLst>
              <a:ext uri="{FF2B5EF4-FFF2-40B4-BE49-F238E27FC236}">
                <a16:creationId xmlns:a16="http://schemas.microsoft.com/office/drawing/2014/main" id="{167C9D49-CBF0-40F0-A8BE-E1BF8C506BB5}"/>
              </a:ext>
            </a:extLst>
          </p:cNvPr>
          <p:cNvSpPr txBox="1">
            <a:spLocks/>
          </p:cNvSpPr>
          <p:nvPr/>
        </p:nvSpPr>
        <p:spPr>
          <a:xfrm>
            <a:off x="9145301" y="3444190"/>
            <a:ext cx="2560320" cy="553998"/>
          </a:xfrm>
          <a:prstGeom prst="rect">
            <a:avLst/>
          </a:prstGeom>
          <a:solidFill>
            <a:schemeClr val="accent1"/>
          </a:solidFill>
          <a:ln>
            <a:noFill/>
          </a:ln>
        </p:spPr>
        <p:txBody>
          <a:bodyPr vert="horz" wrap="square" lIns="182880" tIns="45720" rIns="182880" bIns="45720" rtlCol="0" anchor="t" anchorCtr="0">
            <a:spAutoFit/>
          </a:bodyPr>
          <a:lstStyle>
            <a:lvl1pPr marL="0" indent="0" algn="ctr" defTabSz="457200" rtl="0" eaLnBrk="1" latinLnBrk="0" hangingPunct="1">
              <a:lnSpc>
                <a:spcPct val="100000"/>
              </a:lnSpc>
              <a:spcBef>
                <a:spcPts val="0"/>
              </a:spcBef>
              <a:buFont typeface="Arial"/>
              <a:buNone/>
              <a:defRPr sz="1000" b="0" i="0" kern="1200">
                <a:solidFill>
                  <a:schemeClr val="bg1"/>
                </a:solidFill>
                <a:latin typeface="+mj-lt"/>
                <a:ea typeface="+mn-ea"/>
                <a:cs typeface="Arial"/>
              </a:defRPr>
            </a:lvl1pPr>
            <a:lvl2pPr marL="174625" indent="-174625" algn="l" defTabSz="457200" rtl="0" eaLnBrk="1" latinLnBrk="0" hangingPunct="1">
              <a:spcBef>
                <a:spcPts val="500"/>
              </a:spcBef>
              <a:buClr>
                <a:schemeClr val="accent1"/>
              </a:buClr>
              <a:buFont typeface="Arial"/>
              <a:buChar char="•"/>
              <a:defRPr sz="12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2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2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latin typeface="Arial"/>
              </a:rPr>
              <a:t>Robot formats reports and consolidates them in one pack that is presented to Jane</a:t>
            </a:r>
          </a:p>
        </p:txBody>
      </p:sp>
      <p:sp>
        <p:nvSpPr>
          <p:cNvPr id="128" name="Text Placeholder 158">
            <a:extLst>
              <a:ext uri="{FF2B5EF4-FFF2-40B4-BE49-F238E27FC236}">
                <a16:creationId xmlns:a16="http://schemas.microsoft.com/office/drawing/2014/main" id="{5EE82CDD-A404-4E4E-8E4A-2CA9B04EE4F0}"/>
              </a:ext>
            </a:extLst>
          </p:cNvPr>
          <p:cNvSpPr txBox="1">
            <a:spLocks/>
          </p:cNvSpPr>
          <p:nvPr/>
        </p:nvSpPr>
        <p:spPr>
          <a:xfrm>
            <a:off x="9145301" y="2965417"/>
            <a:ext cx="2560320" cy="253891"/>
          </a:xfrm>
          <a:prstGeom prst="rect">
            <a:avLst/>
          </a:prstGeom>
          <a:solidFill>
            <a:schemeClr val="accent1"/>
          </a:solidFill>
          <a:ln>
            <a:noFill/>
          </a:ln>
        </p:spPr>
        <p:txBody>
          <a:bodyPr vert="horz" wrap="square" lIns="109699" tIns="45708" rIns="109699" bIns="45708" rtlCol="0" anchor="t" anchorCtr="0">
            <a:spAutoFit/>
          </a:bodyPr>
          <a:lstStyle>
            <a:lvl1pPr marL="0" indent="0" algn="ctr" defTabSz="457200" rtl="0" eaLnBrk="1" latinLnBrk="0" hangingPunct="1">
              <a:lnSpc>
                <a:spcPct val="100000"/>
              </a:lnSpc>
              <a:spcBef>
                <a:spcPts val="0"/>
              </a:spcBef>
              <a:buFont typeface="Arial"/>
              <a:buNone/>
              <a:defRPr sz="1000" b="0" i="0" kern="1200">
                <a:solidFill>
                  <a:schemeClr val="bg1"/>
                </a:solidFill>
                <a:latin typeface="+mj-lt"/>
                <a:ea typeface="+mn-ea"/>
                <a:cs typeface="Arial"/>
              </a:defRPr>
            </a:lvl1pPr>
            <a:lvl2pPr marL="174625" indent="-174625" algn="l" defTabSz="457200" rtl="0" eaLnBrk="1" latinLnBrk="0" hangingPunct="1">
              <a:spcBef>
                <a:spcPts val="500"/>
              </a:spcBef>
              <a:buClr>
                <a:schemeClr val="accent1"/>
              </a:buClr>
              <a:buFont typeface="Arial"/>
              <a:buChar char="•"/>
              <a:defRPr sz="12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2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2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063"/>
            <a:r>
              <a:rPr lang="en-US">
                <a:solidFill>
                  <a:srgbClr val="FFFFFF"/>
                </a:solidFill>
                <a:latin typeface="Arial"/>
              </a:rPr>
              <a:t>Robot downloads reports</a:t>
            </a:r>
          </a:p>
        </p:txBody>
      </p:sp>
      <p:pic>
        <p:nvPicPr>
          <p:cNvPr id="61" name="Picture 60">
            <a:extLst>
              <a:ext uri="{FF2B5EF4-FFF2-40B4-BE49-F238E27FC236}">
                <a16:creationId xmlns:a16="http://schemas.microsoft.com/office/drawing/2014/main" id="{3AF7A133-807D-4657-91B5-8EFDEA4BDA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33515" y="2966119"/>
            <a:ext cx="669375" cy="433125"/>
          </a:xfrm>
          <a:prstGeom prst="rect">
            <a:avLst/>
          </a:prstGeom>
        </p:spPr>
      </p:pic>
      <p:pic>
        <p:nvPicPr>
          <p:cNvPr id="62" name="Picture 61">
            <a:extLst>
              <a:ext uri="{FF2B5EF4-FFF2-40B4-BE49-F238E27FC236}">
                <a16:creationId xmlns:a16="http://schemas.microsoft.com/office/drawing/2014/main" id="{9818FCC1-2068-46C2-9089-7B78089BB1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37124" y="3579180"/>
            <a:ext cx="669375" cy="433125"/>
          </a:xfrm>
          <a:prstGeom prst="rect">
            <a:avLst/>
          </a:prstGeom>
        </p:spPr>
      </p:pic>
      <p:pic>
        <p:nvPicPr>
          <p:cNvPr id="64" name="Picture 63">
            <a:extLst>
              <a:ext uri="{FF2B5EF4-FFF2-40B4-BE49-F238E27FC236}">
                <a16:creationId xmlns:a16="http://schemas.microsoft.com/office/drawing/2014/main" id="{EB284DD1-3C31-481A-946B-FF602E4B3C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33514" y="2309639"/>
            <a:ext cx="669375" cy="433125"/>
          </a:xfrm>
          <a:prstGeom prst="rect">
            <a:avLst/>
          </a:prstGeom>
        </p:spPr>
      </p:pic>
      <p:sp>
        <p:nvSpPr>
          <p:cNvPr id="71" name="Oval 70">
            <a:extLst>
              <a:ext uri="{FF2B5EF4-FFF2-40B4-BE49-F238E27FC236}">
                <a16:creationId xmlns:a16="http://schemas.microsoft.com/office/drawing/2014/main" id="{DC3FC268-6381-46DE-B1F1-9341FD7ACF28}"/>
              </a:ext>
            </a:extLst>
          </p:cNvPr>
          <p:cNvSpPr/>
          <p:nvPr/>
        </p:nvSpPr>
        <p:spPr>
          <a:xfrm>
            <a:off x="9944635" y="4217429"/>
            <a:ext cx="961653" cy="914641"/>
          </a:xfrm>
          <a:prstGeom prst="ellipse">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br>
              <a:rPr lang="en-US" sz="1000">
                <a:solidFill>
                  <a:schemeClr val="tx1"/>
                </a:solidFill>
                <a:latin typeface="Arial"/>
                <a:cs typeface="Arial"/>
              </a:rPr>
            </a:br>
            <a:r>
              <a:rPr lang="en-US" sz="1000">
                <a:solidFill>
                  <a:schemeClr val="tx1"/>
                </a:solidFill>
                <a:latin typeface="Arial"/>
                <a:cs typeface="Arial"/>
              </a:rPr>
              <a:t>Report generation completed</a:t>
            </a:r>
            <a:br>
              <a:rPr lang="en-US" sz="1000">
                <a:solidFill>
                  <a:schemeClr val="tx1"/>
                </a:solidFill>
                <a:latin typeface="Arial"/>
                <a:cs typeface="Arial"/>
              </a:rPr>
            </a:br>
            <a:endParaRPr lang="en-US" sz="1000" b="0" i="0">
              <a:solidFill>
                <a:schemeClr val="tx1"/>
              </a:solidFill>
              <a:latin typeface="Arial"/>
              <a:cs typeface="Arial"/>
            </a:endParaRPr>
          </a:p>
        </p:txBody>
      </p:sp>
      <p:sp>
        <p:nvSpPr>
          <p:cNvPr id="74" name="TextBox 73">
            <a:extLst>
              <a:ext uri="{FF2B5EF4-FFF2-40B4-BE49-F238E27FC236}">
                <a16:creationId xmlns:a16="http://schemas.microsoft.com/office/drawing/2014/main" id="{CCB0F9F0-2319-4EAA-A316-C0CC26BFFA07}"/>
              </a:ext>
            </a:extLst>
          </p:cNvPr>
          <p:cNvSpPr txBox="1"/>
          <p:nvPr/>
        </p:nvSpPr>
        <p:spPr>
          <a:xfrm>
            <a:off x="9145301" y="5402332"/>
            <a:ext cx="2560320" cy="1231106"/>
          </a:xfrm>
          <a:prstGeom prst="rect">
            <a:avLst/>
          </a:prstGeom>
          <a:solidFill>
            <a:schemeClr val="bg1"/>
          </a:solidFill>
          <a:ln>
            <a:solidFill>
              <a:schemeClr val="accent1"/>
            </a:solidFill>
          </a:ln>
        </p:spPr>
        <p:txBody>
          <a:bodyPr wrap="square" tIns="91440" bIns="91440">
            <a:spAutoFit/>
          </a:bodyPr>
          <a:lstStyle/>
          <a:p>
            <a:pPr marL="182880" indent="-182880">
              <a:spcBef>
                <a:spcPts val="200"/>
              </a:spcBef>
              <a:buClr>
                <a:schemeClr val="accent1"/>
              </a:buClr>
              <a:buFont typeface="Arial" panose="020B0604020202020204" pitchFamily="34" charset="0"/>
              <a:buChar char="•"/>
            </a:pPr>
            <a:r>
              <a:rPr lang="en-US" sz="1000" b="1">
                <a:solidFill>
                  <a:schemeClr val="tx1"/>
                </a:solidFill>
                <a:latin typeface="Arial"/>
                <a:cs typeface="Arial"/>
              </a:rPr>
              <a:t>1 app</a:t>
            </a:r>
          </a:p>
          <a:p>
            <a:pPr marL="182880" indent="-182880">
              <a:spcBef>
                <a:spcPts val="200"/>
              </a:spcBef>
              <a:buClr>
                <a:schemeClr val="accent1"/>
              </a:buClr>
              <a:buFont typeface="Arial" panose="020B0604020202020204" pitchFamily="34" charset="0"/>
              <a:buChar char="•"/>
            </a:pPr>
            <a:r>
              <a:rPr lang="en-US" sz="1000" b="1">
                <a:solidFill>
                  <a:schemeClr val="tx1"/>
                </a:solidFill>
                <a:latin typeface="Arial"/>
                <a:cs typeface="Arial"/>
              </a:rPr>
              <a:t>1 step</a:t>
            </a:r>
          </a:p>
          <a:p>
            <a:pPr marL="182880" indent="-182880">
              <a:spcBef>
                <a:spcPts val="200"/>
              </a:spcBef>
              <a:buClr>
                <a:schemeClr val="accent1"/>
              </a:buClr>
              <a:buFont typeface="Arial" panose="020B0604020202020204" pitchFamily="34" charset="0"/>
              <a:buChar char="•"/>
            </a:pPr>
            <a:r>
              <a:rPr lang="en-US" sz="1000" b="1">
                <a:solidFill>
                  <a:schemeClr val="tx1"/>
                </a:solidFill>
                <a:latin typeface="Arial"/>
                <a:cs typeface="Arial"/>
              </a:rPr>
              <a:t>1 click</a:t>
            </a:r>
          </a:p>
          <a:p>
            <a:pPr marL="182880" indent="-182880">
              <a:spcBef>
                <a:spcPts val="200"/>
              </a:spcBef>
              <a:buClr>
                <a:schemeClr val="accent1"/>
              </a:buClr>
              <a:buFont typeface="Arial" panose="020B0604020202020204" pitchFamily="34" charset="0"/>
              <a:buChar char="•"/>
            </a:pPr>
            <a:r>
              <a:rPr lang="en-US" sz="1000" b="1">
                <a:latin typeface="Arial"/>
                <a:cs typeface="Arial"/>
              </a:rPr>
              <a:t>Jane gets time back to spend on higher-value work </a:t>
            </a:r>
            <a:r>
              <a:rPr lang="en-US" sz="1000">
                <a:latin typeface="Arial"/>
                <a:cs typeface="Arial"/>
              </a:rPr>
              <a:t>– like performing financial reviews</a:t>
            </a:r>
            <a:endParaRPr lang="en-US" sz="1000" i="0">
              <a:solidFill>
                <a:schemeClr val="tx1"/>
              </a:solidFill>
              <a:latin typeface="Arial"/>
              <a:cs typeface="Arial"/>
            </a:endParaRPr>
          </a:p>
        </p:txBody>
      </p:sp>
      <p:sp>
        <p:nvSpPr>
          <p:cNvPr id="67" name="TextBox 66">
            <a:extLst>
              <a:ext uri="{FF2B5EF4-FFF2-40B4-BE49-F238E27FC236}">
                <a16:creationId xmlns:a16="http://schemas.microsoft.com/office/drawing/2014/main" id="{5BDA10D0-7856-E444-B05E-D204864B7191}"/>
              </a:ext>
            </a:extLst>
          </p:cNvPr>
          <p:cNvSpPr txBox="1"/>
          <p:nvPr/>
        </p:nvSpPr>
        <p:spPr>
          <a:xfrm>
            <a:off x="4976155" y="1637571"/>
            <a:ext cx="2560320" cy="215444"/>
          </a:xfrm>
          <a:prstGeom prst="rect">
            <a:avLst/>
          </a:prstGeom>
          <a:noFill/>
        </p:spPr>
        <p:txBody>
          <a:bodyPr wrap="square" lIns="0" tIns="0" rIns="0" bIns="0" rtlCol="0" anchor="ctr">
            <a:spAutoFit/>
          </a:bodyPr>
          <a:lstStyle/>
          <a:p>
            <a:pPr algn="ctr"/>
            <a:r>
              <a:rPr lang="en-US" sz="1400" b="1"/>
              <a:t>100% </a:t>
            </a:r>
            <a:r>
              <a:rPr lang="en-US" sz="1400"/>
              <a:t>human effort</a:t>
            </a:r>
          </a:p>
        </p:txBody>
      </p:sp>
      <p:sp>
        <p:nvSpPr>
          <p:cNvPr id="70" name="Rectangle 69">
            <a:extLst>
              <a:ext uri="{FF2B5EF4-FFF2-40B4-BE49-F238E27FC236}">
                <a16:creationId xmlns:a16="http://schemas.microsoft.com/office/drawing/2014/main" id="{EAA60099-2A2C-41CA-9325-61D2825CD85D}"/>
              </a:ext>
            </a:extLst>
          </p:cNvPr>
          <p:cNvSpPr/>
          <p:nvPr/>
        </p:nvSpPr>
        <p:spPr>
          <a:xfrm>
            <a:off x="5252345" y="0"/>
            <a:ext cx="2627871" cy="8938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solidFill>
                <a:schemeClr val="bg1">
                  <a:lumMod val="65000"/>
                </a:schemeClr>
              </a:solidFill>
              <a:latin typeface="Arial"/>
              <a:cs typeface="Arial"/>
            </a:endParaRPr>
          </a:p>
        </p:txBody>
      </p:sp>
      <p:sp>
        <p:nvSpPr>
          <p:cNvPr id="63" name="TextBox 62">
            <a:extLst>
              <a:ext uri="{FF2B5EF4-FFF2-40B4-BE49-F238E27FC236}">
                <a16:creationId xmlns:a16="http://schemas.microsoft.com/office/drawing/2014/main" id="{98116E40-4221-442B-9404-24B9217D784C}"/>
              </a:ext>
            </a:extLst>
          </p:cNvPr>
          <p:cNvSpPr txBox="1"/>
          <p:nvPr/>
        </p:nvSpPr>
        <p:spPr>
          <a:xfrm>
            <a:off x="4976155" y="252882"/>
            <a:ext cx="2560320" cy="523220"/>
          </a:xfrm>
          <a:prstGeom prst="rect">
            <a:avLst/>
          </a:prstGeom>
          <a:noFill/>
        </p:spPr>
        <p:txBody>
          <a:bodyPr wrap="square">
            <a:spAutoFit/>
          </a:bodyPr>
          <a:lstStyle/>
          <a:p>
            <a:pPr algn="ctr"/>
            <a:r>
              <a:rPr lang="en-US" sz="2800" b="1"/>
              <a:t>BEFORE</a:t>
            </a:r>
          </a:p>
        </p:txBody>
      </p:sp>
      <p:sp>
        <p:nvSpPr>
          <p:cNvPr id="76" name="Text Placeholder 67">
            <a:extLst>
              <a:ext uri="{FF2B5EF4-FFF2-40B4-BE49-F238E27FC236}">
                <a16:creationId xmlns:a16="http://schemas.microsoft.com/office/drawing/2014/main" id="{B22A3C10-9945-470A-B522-FB383B185A45}"/>
              </a:ext>
            </a:extLst>
          </p:cNvPr>
          <p:cNvSpPr txBox="1">
            <a:spLocks/>
          </p:cNvSpPr>
          <p:nvPr/>
        </p:nvSpPr>
        <p:spPr>
          <a:xfrm>
            <a:off x="8849582" y="916212"/>
            <a:ext cx="2943677" cy="430887"/>
          </a:xfrm>
          <a:prstGeom prst="rect">
            <a:avLst/>
          </a:prstGeom>
          <a:noFill/>
        </p:spPr>
        <p:txBody>
          <a:bodyPr vert="horz" wrap="square" lIns="0" tIns="0" rIns="0" bIns="0" rtlCol="0" anchor="t" anchorCtr="0">
            <a:spAutoFit/>
          </a:bodyPr>
          <a:lstStyle>
            <a:lvl1pPr marL="0" indent="0" algn="ctr" defTabSz="457200" rtl="0" eaLnBrk="1" latinLnBrk="0" hangingPunct="1">
              <a:spcBef>
                <a:spcPts val="0"/>
              </a:spcBef>
              <a:buFont typeface="Arial" panose="020B0604020202020204" pitchFamily="34" charset="0"/>
              <a:buNone/>
              <a:defRPr sz="1200" b="1" kern="1200">
                <a:solidFill>
                  <a:schemeClr val="accent2"/>
                </a:solidFill>
                <a:latin typeface="Arial"/>
                <a:ea typeface="+mn-ea"/>
                <a:cs typeface="Arial"/>
              </a:defRPr>
            </a:lvl1pPr>
            <a:lvl2pPr marL="0" indent="0" algn="ctr" defTabSz="457200" rtl="0" eaLnBrk="1" latinLnBrk="0" hangingPunct="1">
              <a:spcBef>
                <a:spcPts val="0"/>
              </a:spcBef>
              <a:buClr>
                <a:schemeClr val="accent1"/>
              </a:buClr>
              <a:buFont typeface="Arial"/>
              <a:buNone/>
              <a:defRPr sz="1000" kern="1200">
                <a:solidFill>
                  <a:schemeClr val="tx1"/>
                </a:solidFill>
                <a:latin typeface="Arial"/>
                <a:ea typeface="+mn-ea"/>
                <a:cs typeface="Arial"/>
              </a:defRPr>
            </a:lvl2pPr>
            <a:lvl3pPr marL="174625" indent="0" algn="ctr" defTabSz="457200" rtl="0" eaLnBrk="1" latinLnBrk="0" hangingPunct="1">
              <a:spcBef>
                <a:spcPts val="300"/>
              </a:spcBef>
              <a:buClr>
                <a:schemeClr val="accent1"/>
              </a:buClr>
              <a:buFont typeface="Lucida Grande"/>
              <a:buNone/>
              <a:defRPr sz="2000" kern="1200">
                <a:solidFill>
                  <a:schemeClr val="tx1"/>
                </a:solidFill>
                <a:latin typeface="Arial"/>
                <a:ea typeface="+mn-ea"/>
                <a:cs typeface="Arial"/>
              </a:defRPr>
            </a:lvl3pPr>
            <a:lvl4pPr marL="339725" indent="0" algn="ctr" defTabSz="457200" rtl="0" eaLnBrk="1" latinLnBrk="0" hangingPunct="1">
              <a:spcBef>
                <a:spcPts val="200"/>
              </a:spcBef>
              <a:buClr>
                <a:schemeClr val="accent1"/>
              </a:buClr>
              <a:buFont typeface="Arial"/>
              <a:buNone/>
              <a:defRPr sz="2000" kern="1200">
                <a:solidFill>
                  <a:schemeClr val="tx1"/>
                </a:solidFill>
                <a:latin typeface="Arial"/>
                <a:ea typeface="+mn-ea"/>
                <a:cs typeface="Arial"/>
              </a:defRPr>
            </a:lvl4pPr>
            <a:lvl5pPr marL="512763" indent="0" algn="ctr" defTabSz="457200" rtl="0" eaLnBrk="1" latinLnBrk="0" hangingPunct="1">
              <a:spcBef>
                <a:spcPts val="100"/>
              </a:spcBef>
              <a:buClr>
                <a:schemeClr val="accent1"/>
              </a:buClr>
              <a:buFont typeface="Lucida Grande"/>
              <a:buNone/>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a:solidFill>
                  <a:schemeClr val="accent1"/>
                </a:solidFill>
              </a:rPr>
              <a:t>With a digital assistant, Jane now spends 5% of her time on this task</a:t>
            </a:r>
          </a:p>
        </p:txBody>
      </p:sp>
      <p:sp>
        <p:nvSpPr>
          <p:cNvPr id="6" name="Rectangle 5">
            <a:extLst>
              <a:ext uri="{FF2B5EF4-FFF2-40B4-BE49-F238E27FC236}">
                <a16:creationId xmlns:a16="http://schemas.microsoft.com/office/drawing/2014/main" id="{E1A9895E-6F2C-4209-9756-49D9B57DDE7F}"/>
              </a:ext>
            </a:extLst>
          </p:cNvPr>
          <p:cNvSpPr/>
          <p:nvPr/>
        </p:nvSpPr>
        <p:spPr>
          <a:xfrm>
            <a:off x="4830063" y="5201328"/>
            <a:ext cx="3071191" cy="37768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cxnSp>
        <p:nvCxnSpPr>
          <p:cNvPr id="143" name="Straight Arrow Connector 142">
            <a:extLst>
              <a:ext uri="{FF2B5EF4-FFF2-40B4-BE49-F238E27FC236}">
                <a16:creationId xmlns:a16="http://schemas.microsoft.com/office/drawing/2014/main" id="{CA8DC148-7EAE-4591-902D-59D956F53256}"/>
              </a:ext>
            </a:extLst>
          </p:cNvPr>
          <p:cNvCxnSpPr>
            <a:cxnSpLocks/>
          </p:cNvCxnSpPr>
          <p:nvPr/>
        </p:nvCxnSpPr>
        <p:spPr>
          <a:xfrm flipH="1">
            <a:off x="6242919" y="2066833"/>
            <a:ext cx="26793" cy="3667539"/>
          </a:xfrm>
          <a:prstGeom prst="straightConnector1">
            <a:avLst/>
          </a:prstGeom>
          <a:ln>
            <a:headEnd type="oval" w="lg" len="lg"/>
            <a:tailEnd type="none"/>
          </a:ln>
        </p:spPr>
        <p:style>
          <a:lnRef idx="1">
            <a:schemeClr val="accent2"/>
          </a:lnRef>
          <a:fillRef idx="0">
            <a:schemeClr val="accent2"/>
          </a:fillRef>
          <a:effectRef idx="0">
            <a:schemeClr val="accent2"/>
          </a:effectRef>
          <a:fontRef idx="minor">
            <a:schemeClr val="tx1"/>
          </a:fontRef>
        </p:style>
      </p:cxnSp>
      <p:sp>
        <p:nvSpPr>
          <p:cNvPr id="119" name="Text Placeholder 130">
            <a:extLst>
              <a:ext uri="{FF2B5EF4-FFF2-40B4-BE49-F238E27FC236}">
                <a16:creationId xmlns:a16="http://schemas.microsoft.com/office/drawing/2014/main" id="{117EA9B0-9258-4AF6-A448-EBAB1D1B3396}"/>
              </a:ext>
            </a:extLst>
          </p:cNvPr>
          <p:cNvSpPr txBox="1">
            <a:spLocks/>
          </p:cNvSpPr>
          <p:nvPr/>
        </p:nvSpPr>
        <p:spPr>
          <a:xfrm>
            <a:off x="4976155" y="2340426"/>
            <a:ext cx="2560320" cy="253916"/>
          </a:xfrm>
          <a:prstGeom prst="rect">
            <a:avLst/>
          </a:prstGeom>
          <a:solidFill>
            <a:schemeClr val="bg1"/>
          </a:solidFill>
          <a:ln>
            <a:noFill/>
          </a:ln>
        </p:spPr>
        <p:txBody>
          <a:bodyPr vert="horz" wrap="square" lIns="109728" tIns="45720" rIns="109728" bIns="45720" rtlCol="0" anchor="t" anchorCtr="0">
            <a:spAutoFit/>
          </a:bodyPr>
          <a:lstStyle>
            <a:lvl1pPr marL="0" indent="0" algn="ctr" defTabSz="457200" rtl="0" eaLnBrk="1" latinLnBrk="0" hangingPunct="1">
              <a:lnSpc>
                <a:spcPct val="100000"/>
              </a:lnSpc>
              <a:spcBef>
                <a:spcPts val="1000"/>
              </a:spcBef>
              <a:buFont typeface="Arial"/>
              <a:buNone/>
              <a:defRPr sz="800" b="0" i="0" kern="1200">
                <a:solidFill>
                  <a:schemeClr val="accent2"/>
                </a:solidFill>
                <a:latin typeface="+mj-lt"/>
                <a:ea typeface="+mn-ea"/>
                <a:cs typeface="Arial"/>
              </a:defRPr>
            </a:lvl1pPr>
            <a:lvl2pPr marL="174625" indent="-174625" algn="l" defTabSz="457200" rtl="0" eaLnBrk="1" latinLnBrk="0" hangingPunct="1">
              <a:spcBef>
                <a:spcPts val="500"/>
              </a:spcBef>
              <a:buClr>
                <a:schemeClr val="accent1"/>
              </a:buClr>
              <a:buFont typeface="Arial"/>
              <a:buChar char="•"/>
              <a:defRPr sz="12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2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2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a:solidFill>
                  <a:srgbClr val="0067DF"/>
                </a:solidFill>
                <a:latin typeface="Arial"/>
              </a:rPr>
              <a:t>Open NetSuite</a:t>
            </a:r>
          </a:p>
        </p:txBody>
      </p:sp>
      <p:sp>
        <p:nvSpPr>
          <p:cNvPr id="120" name="Text Placeholder 132">
            <a:extLst>
              <a:ext uri="{FF2B5EF4-FFF2-40B4-BE49-F238E27FC236}">
                <a16:creationId xmlns:a16="http://schemas.microsoft.com/office/drawing/2014/main" id="{77D530B2-4927-4B38-9694-9EA630DFF0D7}"/>
              </a:ext>
            </a:extLst>
          </p:cNvPr>
          <p:cNvSpPr txBox="1">
            <a:spLocks/>
          </p:cNvSpPr>
          <p:nvPr/>
        </p:nvSpPr>
        <p:spPr>
          <a:xfrm>
            <a:off x="4976155" y="3440002"/>
            <a:ext cx="2560320" cy="246221"/>
          </a:xfrm>
          <a:prstGeom prst="rect">
            <a:avLst/>
          </a:prstGeom>
          <a:solidFill>
            <a:schemeClr val="bg1"/>
          </a:solidFill>
          <a:ln>
            <a:noFill/>
          </a:ln>
        </p:spPr>
        <p:txBody>
          <a:bodyPr vert="horz" wrap="square" lIns="109728" tIns="45720" rIns="109728" bIns="45720" rtlCol="0" anchor="t" anchorCtr="0">
            <a:spAutoFit/>
          </a:bodyPr>
          <a:lstStyle>
            <a:lvl1pPr marL="0" indent="0" algn="ctr" defTabSz="457200" rtl="0" eaLnBrk="1" latinLnBrk="0" hangingPunct="1">
              <a:lnSpc>
                <a:spcPct val="100000"/>
              </a:lnSpc>
              <a:spcBef>
                <a:spcPts val="1000"/>
              </a:spcBef>
              <a:buFont typeface="Arial"/>
              <a:buNone/>
              <a:defRPr sz="800" b="0" i="0" kern="1200">
                <a:solidFill>
                  <a:schemeClr val="accent2"/>
                </a:solidFill>
                <a:latin typeface="+mj-lt"/>
                <a:ea typeface="+mn-ea"/>
                <a:cs typeface="Arial"/>
              </a:defRPr>
            </a:lvl1pPr>
            <a:lvl2pPr marL="174625" indent="-174625" algn="l" defTabSz="457200" rtl="0" eaLnBrk="1" latinLnBrk="0" hangingPunct="1">
              <a:spcBef>
                <a:spcPts val="500"/>
              </a:spcBef>
              <a:buClr>
                <a:schemeClr val="accent1"/>
              </a:buClr>
              <a:buFont typeface="Arial"/>
              <a:buChar char="•"/>
              <a:defRPr sz="12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2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2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a:solidFill>
                  <a:srgbClr val="0067DF"/>
                </a:solidFill>
                <a:latin typeface="Arial"/>
              </a:rPr>
              <a:t>Download reports</a:t>
            </a:r>
          </a:p>
        </p:txBody>
      </p:sp>
      <p:sp>
        <p:nvSpPr>
          <p:cNvPr id="121" name="Text Placeholder 134">
            <a:extLst>
              <a:ext uri="{FF2B5EF4-FFF2-40B4-BE49-F238E27FC236}">
                <a16:creationId xmlns:a16="http://schemas.microsoft.com/office/drawing/2014/main" id="{72C8B5F4-0BAC-46FB-B58C-5A768652EB18}"/>
              </a:ext>
            </a:extLst>
          </p:cNvPr>
          <p:cNvSpPr txBox="1">
            <a:spLocks/>
          </p:cNvSpPr>
          <p:nvPr/>
        </p:nvSpPr>
        <p:spPr>
          <a:xfrm>
            <a:off x="4976155" y="4224129"/>
            <a:ext cx="2560320" cy="253916"/>
          </a:xfrm>
          <a:prstGeom prst="rect">
            <a:avLst/>
          </a:prstGeom>
          <a:solidFill>
            <a:schemeClr val="bg1"/>
          </a:solidFill>
          <a:ln>
            <a:noFill/>
          </a:ln>
        </p:spPr>
        <p:txBody>
          <a:bodyPr vert="horz" wrap="square" lIns="109728" tIns="45720" rIns="109728" bIns="45720" rtlCol="0" anchor="t" anchorCtr="0">
            <a:spAutoFit/>
          </a:bodyPr>
          <a:lstStyle>
            <a:lvl1pPr marL="0" indent="0" algn="ctr" defTabSz="457200" rtl="0" eaLnBrk="1" latinLnBrk="0" hangingPunct="1">
              <a:lnSpc>
                <a:spcPct val="100000"/>
              </a:lnSpc>
              <a:spcBef>
                <a:spcPts val="1000"/>
              </a:spcBef>
              <a:buFont typeface="Arial"/>
              <a:buNone/>
              <a:defRPr sz="800" b="0" i="0" kern="1200">
                <a:solidFill>
                  <a:schemeClr val="accent2"/>
                </a:solidFill>
                <a:latin typeface="+mj-lt"/>
                <a:ea typeface="+mn-ea"/>
                <a:cs typeface="Arial"/>
              </a:defRPr>
            </a:lvl1pPr>
            <a:lvl2pPr marL="174625" indent="-174625" algn="l" defTabSz="457200" rtl="0" eaLnBrk="1" latinLnBrk="0" hangingPunct="1">
              <a:spcBef>
                <a:spcPts val="500"/>
              </a:spcBef>
              <a:buClr>
                <a:schemeClr val="accent1"/>
              </a:buClr>
              <a:buFont typeface="Arial"/>
              <a:buChar char="•"/>
              <a:defRPr sz="12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2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2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a:solidFill>
                  <a:srgbClr val="0067DF"/>
                </a:solidFill>
                <a:latin typeface="Arial"/>
              </a:rPr>
              <a:t>Format report in Excel</a:t>
            </a:r>
          </a:p>
        </p:txBody>
      </p:sp>
      <p:sp>
        <p:nvSpPr>
          <p:cNvPr id="127" name="Text Placeholder 132">
            <a:extLst>
              <a:ext uri="{FF2B5EF4-FFF2-40B4-BE49-F238E27FC236}">
                <a16:creationId xmlns:a16="http://schemas.microsoft.com/office/drawing/2014/main" id="{77B68614-7AAE-40E0-A2FE-324493A4AFB9}"/>
              </a:ext>
            </a:extLst>
          </p:cNvPr>
          <p:cNvSpPr txBox="1">
            <a:spLocks/>
          </p:cNvSpPr>
          <p:nvPr/>
        </p:nvSpPr>
        <p:spPr>
          <a:xfrm>
            <a:off x="4976155" y="2740185"/>
            <a:ext cx="2560320" cy="553974"/>
          </a:xfrm>
          <a:prstGeom prst="rect">
            <a:avLst/>
          </a:prstGeom>
          <a:solidFill>
            <a:schemeClr val="bg1"/>
          </a:solidFill>
          <a:ln>
            <a:noFill/>
          </a:ln>
        </p:spPr>
        <p:txBody>
          <a:bodyPr vert="horz" wrap="square" lIns="109699" tIns="45708" rIns="109699" bIns="45708" rtlCol="0" anchor="t" anchorCtr="0">
            <a:spAutoFit/>
          </a:bodyPr>
          <a:lstStyle>
            <a:lvl1pPr marL="0" indent="0" algn="ctr" defTabSz="457200" rtl="0" eaLnBrk="1" latinLnBrk="0" hangingPunct="1">
              <a:lnSpc>
                <a:spcPct val="100000"/>
              </a:lnSpc>
              <a:spcBef>
                <a:spcPts val="1000"/>
              </a:spcBef>
              <a:buFont typeface="Arial"/>
              <a:buNone/>
              <a:defRPr sz="800" b="0" i="0" kern="1200">
                <a:solidFill>
                  <a:schemeClr val="accent2"/>
                </a:solidFill>
                <a:latin typeface="+mj-lt"/>
                <a:ea typeface="+mn-ea"/>
                <a:cs typeface="Arial"/>
              </a:defRPr>
            </a:lvl1pPr>
            <a:lvl2pPr marL="174625" indent="-174625" algn="l" defTabSz="457200" rtl="0" eaLnBrk="1" latinLnBrk="0" hangingPunct="1">
              <a:spcBef>
                <a:spcPts val="500"/>
              </a:spcBef>
              <a:buClr>
                <a:schemeClr val="accent1"/>
              </a:buClr>
              <a:buFont typeface="Arial"/>
              <a:buChar char="•"/>
              <a:defRPr sz="12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2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2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063"/>
            <a:r>
              <a:rPr lang="en-US" sz="1000">
                <a:solidFill>
                  <a:srgbClr val="0067DF"/>
                </a:solidFill>
                <a:latin typeface="Arial"/>
              </a:rPr>
              <a:t>Select an entity and dates and generate 15 reports (e.g. balance sheet, income statement)</a:t>
            </a:r>
          </a:p>
        </p:txBody>
      </p:sp>
      <p:sp>
        <p:nvSpPr>
          <p:cNvPr id="17" name="Oval 16">
            <a:extLst>
              <a:ext uri="{FF2B5EF4-FFF2-40B4-BE49-F238E27FC236}">
                <a16:creationId xmlns:a16="http://schemas.microsoft.com/office/drawing/2014/main" id="{71D858D5-A3FA-4657-A000-ABC53D77380E}"/>
              </a:ext>
            </a:extLst>
          </p:cNvPr>
          <p:cNvSpPr/>
          <p:nvPr/>
        </p:nvSpPr>
        <p:spPr>
          <a:xfrm>
            <a:off x="5776255" y="4678527"/>
            <a:ext cx="960120" cy="914400"/>
          </a:xfrm>
          <a:prstGeom prst="ellipse">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br>
              <a:rPr lang="en-US" sz="1000">
                <a:solidFill>
                  <a:schemeClr val="tx1"/>
                </a:solidFill>
                <a:latin typeface="Arial"/>
                <a:cs typeface="Arial"/>
              </a:rPr>
            </a:br>
            <a:r>
              <a:rPr lang="en-US" sz="1000">
                <a:solidFill>
                  <a:schemeClr val="tx1"/>
                </a:solidFill>
                <a:latin typeface="Arial"/>
                <a:cs typeface="Arial"/>
              </a:rPr>
              <a:t>Report generation completed</a:t>
            </a:r>
            <a:br>
              <a:rPr lang="en-US" sz="1000">
                <a:solidFill>
                  <a:schemeClr val="tx1"/>
                </a:solidFill>
                <a:latin typeface="Arial"/>
                <a:cs typeface="Arial"/>
              </a:rPr>
            </a:br>
            <a:endParaRPr lang="en-US" sz="1000" b="0" i="0">
              <a:solidFill>
                <a:schemeClr val="tx1"/>
              </a:solidFill>
              <a:latin typeface="Arial"/>
              <a:cs typeface="Arial"/>
            </a:endParaRPr>
          </a:p>
        </p:txBody>
      </p:sp>
      <p:sp>
        <p:nvSpPr>
          <p:cNvPr id="65" name="TextBox 64">
            <a:extLst>
              <a:ext uri="{FF2B5EF4-FFF2-40B4-BE49-F238E27FC236}">
                <a16:creationId xmlns:a16="http://schemas.microsoft.com/office/drawing/2014/main" id="{70AD3122-3B88-4B21-8905-A8AECB4C62E6}"/>
              </a:ext>
            </a:extLst>
          </p:cNvPr>
          <p:cNvSpPr txBox="1"/>
          <p:nvPr/>
        </p:nvSpPr>
        <p:spPr>
          <a:xfrm>
            <a:off x="4976155" y="5725497"/>
            <a:ext cx="2560320" cy="907941"/>
          </a:xfrm>
          <a:prstGeom prst="rect">
            <a:avLst/>
          </a:prstGeom>
          <a:solidFill>
            <a:schemeClr val="bg1"/>
          </a:solidFill>
          <a:ln>
            <a:solidFill>
              <a:schemeClr val="accent2"/>
            </a:solidFill>
          </a:ln>
        </p:spPr>
        <p:txBody>
          <a:bodyPr wrap="square" tIns="91440" bIns="91440">
            <a:spAutoFit/>
          </a:bodyPr>
          <a:lstStyle/>
          <a:p>
            <a:pPr marL="182880" indent="-182880">
              <a:spcBef>
                <a:spcPts val="200"/>
              </a:spcBef>
              <a:buClr>
                <a:schemeClr val="accent2"/>
              </a:buClr>
              <a:buFont typeface="Arial" panose="020B0604020202020204" pitchFamily="34" charset="0"/>
              <a:buChar char="•"/>
            </a:pPr>
            <a:r>
              <a:rPr lang="en-US" sz="1000" b="1">
                <a:solidFill>
                  <a:schemeClr val="tx1"/>
                </a:solidFill>
                <a:latin typeface="Arial"/>
                <a:cs typeface="Arial"/>
              </a:rPr>
              <a:t>Multiple apps</a:t>
            </a:r>
          </a:p>
          <a:p>
            <a:pPr marL="182880" indent="-182880">
              <a:spcBef>
                <a:spcPts val="200"/>
              </a:spcBef>
              <a:buClr>
                <a:schemeClr val="accent2"/>
              </a:buClr>
              <a:buFont typeface="Arial" panose="020B0604020202020204" pitchFamily="34" charset="0"/>
              <a:buChar char="•"/>
            </a:pPr>
            <a:r>
              <a:rPr lang="en-US" sz="1000" b="1">
                <a:solidFill>
                  <a:schemeClr val="tx1"/>
                </a:solidFill>
                <a:latin typeface="Arial"/>
                <a:cs typeface="Arial"/>
              </a:rPr>
              <a:t>5 steps</a:t>
            </a:r>
          </a:p>
          <a:p>
            <a:pPr marL="182880" indent="-182880">
              <a:spcBef>
                <a:spcPts val="200"/>
              </a:spcBef>
              <a:buClr>
                <a:schemeClr val="accent2"/>
              </a:buClr>
              <a:buFont typeface="Arial" panose="020B0604020202020204" pitchFamily="34" charset="0"/>
              <a:buChar char="•"/>
            </a:pPr>
            <a:r>
              <a:rPr lang="en-US" sz="1000" b="1">
                <a:solidFill>
                  <a:schemeClr val="tx1"/>
                </a:solidFill>
                <a:latin typeface="Arial"/>
                <a:cs typeface="Arial"/>
              </a:rPr>
              <a:t>135+ clicks</a:t>
            </a:r>
          </a:p>
          <a:p>
            <a:pPr marL="182880" indent="-182880">
              <a:spcBef>
                <a:spcPts val="200"/>
              </a:spcBef>
              <a:buClr>
                <a:schemeClr val="accent2"/>
              </a:buClr>
              <a:buFont typeface="Arial" panose="020B0604020202020204" pitchFamily="34" charset="0"/>
              <a:buChar char="•"/>
            </a:pPr>
            <a:r>
              <a:rPr lang="en-US" sz="1000" b="1">
                <a:latin typeface="Arial"/>
                <a:cs typeface="Arial"/>
              </a:rPr>
              <a:t>No</a:t>
            </a:r>
            <a:r>
              <a:rPr lang="en-US" sz="1000" b="1" i="0">
                <a:latin typeface="Arial"/>
                <a:cs typeface="Arial"/>
              </a:rPr>
              <a:t> time left for high-value work</a:t>
            </a:r>
            <a:endParaRPr lang="en-US" sz="1000" b="1" i="0">
              <a:solidFill>
                <a:schemeClr val="tx1"/>
              </a:solidFill>
              <a:latin typeface="Arial"/>
              <a:cs typeface="Arial"/>
            </a:endParaRPr>
          </a:p>
        </p:txBody>
      </p:sp>
      <p:sp>
        <p:nvSpPr>
          <p:cNvPr id="53" name="Text Placeholder 132">
            <a:extLst>
              <a:ext uri="{FF2B5EF4-FFF2-40B4-BE49-F238E27FC236}">
                <a16:creationId xmlns:a16="http://schemas.microsoft.com/office/drawing/2014/main" id="{F4582CED-ABA0-410B-A3C8-DABE96AC9EEF}"/>
              </a:ext>
            </a:extLst>
          </p:cNvPr>
          <p:cNvSpPr txBox="1">
            <a:spLocks/>
          </p:cNvSpPr>
          <p:nvPr/>
        </p:nvSpPr>
        <p:spPr>
          <a:xfrm>
            <a:off x="4976155" y="3832066"/>
            <a:ext cx="2560320" cy="246221"/>
          </a:xfrm>
          <a:prstGeom prst="rect">
            <a:avLst/>
          </a:prstGeom>
          <a:solidFill>
            <a:schemeClr val="bg1"/>
          </a:solidFill>
          <a:ln>
            <a:noFill/>
          </a:ln>
        </p:spPr>
        <p:txBody>
          <a:bodyPr vert="horz" wrap="square" lIns="109728" tIns="45720" rIns="109728" bIns="45720" rtlCol="0" anchor="t" anchorCtr="0">
            <a:spAutoFit/>
          </a:bodyPr>
          <a:lstStyle>
            <a:lvl1pPr marL="0" indent="0" algn="ctr" defTabSz="457200" rtl="0" eaLnBrk="1" latinLnBrk="0" hangingPunct="1">
              <a:lnSpc>
                <a:spcPct val="100000"/>
              </a:lnSpc>
              <a:spcBef>
                <a:spcPts val="1000"/>
              </a:spcBef>
              <a:buFont typeface="Arial"/>
              <a:buNone/>
              <a:defRPr sz="800" b="0" i="0" kern="1200">
                <a:solidFill>
                  <a:schemeClr val="accent2"/>
                </a:solidFill>
                <a:latin typeface="+mj-lt"/>
                <a:ea typeface="+mn-ea"/>
                <a:cs typeface="Arial"/>
              </a:defRPr>
            </a:lvl1pPr>
            <a:lvl2pPr marL="174625" indent="-174625" algn="l" defTabSz="457200" rtl="0" eaLnBrk="1" latinLnBrk="0" hangingPunct="1">
              <a:spcBef>
                <a:spcPts val="500"/>
              </a:spcBef>
              <a:buClr>
                <a:schemeClr val="accent1"/>
              </a:buClr>
              <a:buFont typeface="Arial"/>
              <a:buChar char="•"/>
              <a:defRPr sz="12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2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2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a:solidFill>
                  <a:srgbClr val="0067DF"/>
                </a:solidFill>
                <a:latin typeface="Arial"/>
              </a:rPr>
              <a:t>Repeat report generation for each entity</a:t>
            </a:r>
          </a:p>
        </p:txBody>
      </p:sp>
      <p:sp>
        <p:nvSpPr>
          <p:cNvPr id="66" name="Text Placeholder 2">
            <a:extLst>
              <a:ext uri="{FF2B5EF4-FFF2-40B4-BE49-F238E27FC236}">
                <a16:creationId xmlns:a16="http://schemas.microsoft.com/office/drawing/2014/main" id="{30E83DCE-08E2-458D-8047-DAF7CB76F3D1}"/>
              </a:ext>
            </a:extLst>
          </p:cNvPr>
          <p:cNvSpPr txBox="1">
            <a:spLocks/>
          </p:cNvSpPr>
          <p:nvPr/>
        </p:nvSpPr>
        <p:spPr>
          <a:xfrm>
            <a:off x="394853" y="3566631"/>
            <a:ext cx="3666172" cy="300117"/>
          </a:xfrm>
          <a:prstGeom prst="rect">
            <a:avLst/>
          </a:prstGeom>
        </p:spPr>
        <p:txBody>
          <a:bodyPr vert="horz" lIns="0" tIns="0" rIns="0" bIns="0" rtlCol="0" anchor="b" anchorCtr="0">
            <a:noAutofit/>
          </a:bodyPr>
          <a:lstStyle>
            <a:lvl1pPr marL="0" indent="0" algn="l" defTabSz="457200" rtl="0" eaLnBrk="1" latinLnBrk="0" hangingPunct="1">
              <a:spcBef>
                <a:spcPts val="1000"/>
              </a:spcBef>
              <a:buFont typeface="Arial"/>
              <a:buNone/>
              <a:defRPr sz="2000" b="1" kern="1200">
                <a:solidFill>
                  <a:schemeClr val="bg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solidFill>
                  <a:schemeClr val="tx1"/>
                </a:solidFill>
              </a:rPr>
              <a:t>As a result, Jane..</a:t>
            </a:r>
          </a:p>
        </p:txBody>
      </p:sp>
      <p:grpSp>
        <p:nvGrpSpPr>
          <p:cNvPr id="69" name="Group 68">
            <a:extLst>
              <a:ext uri="{FF2B5EF4-FFF2-40B4-BE49-F238E27FC236}">
                <a16:creationId xmlns:a16="http://schemas.microsoft.com/office/drawing/2014/main" id="{06D56E1C-FEF8-4982-B217-790D500AFCBE}"/>
              </a:ext>
            </a:extLst>
          </p:cNvPr>
          <p:cNvGrpSpPr/>
          <p:nvPr/>
        </p:nvGrpSpPr>
        <p:grpSpPr>
          <a:xfrm>
            <a:off x="394853" y="4152225"/>
            <a:ext cx="3857108" cy="473976"/>
            <a:chOff x="394853" y="3632157"/>
            <a:chExt cx="3857108" cy="473976"/>
          </a:xfrm>
        </p:grpSpPr>
        <p:sp>
          <p:nvSpPr>
            <p:cNvPr id="75" name="Subtitle 46">
              <a:extLst>
                <a:ext uri="{FF2B5EF4-FFF2-40B4-BE49-F238E27FC236}">
                  <a16:creationId xmlns:a16="http://schemas.microsoft.com/office/drawing/2014/main" id="{6457C70E-3F68-406A-B019-3D21A603FC5D}"/>
                </a:ext>
              </a:extLst>
            </p:cNvPr>
            <p:cNvSpPr txBox="1">
              <a:spLocks/>
            </p:cNvSpPr>
            <p:nvPr/>
          </p:nvSpPr>
          <p:spPr>
            <a:xfrm>
              <a:off x="914401" y="3632157"/>
              <a:ext cx="3337560" cy="473976"/>
            </a:xfrm>
            <a:prstGeom prst="rect">
              <a:avLst/>
            </a:prstGeom>
          </p:spPr>
          <p:txBody>
            <a:bodyPr vert="horz" wrap="square" lIns="0" tIns="0" rIns="0" bIns="0" rtlCol="0" anchor="ctr" anchorCtr="0">
              <a:spAutoFit/>
            </a:bodyPr>
            <a:lstStyle>
              <a:lvl1pPr marL="585216" indent="-365760" algn="l" defTabSz="457200" rtl="0" eaLnBrk="1" fontAlgn="ctr" latinLnBrk="0" hangingPunct="1">
                <a:lnSpc>
                  <a:spcPct val="100000"/>
                </a:lnSpc>
                <a:spcBef>
                  <a:spcPts val="0"/>
                </a:spcBef>
                <a:spcAft>
                  <a:spcPts val="2400"/>
                </a:spcAft>
                <a:buSzPct val="100000"/>
                <a:buFont typeface="Arial" panose="020B0604020202020204" pitchFamily="34" charset="0"/>
                <a:buChar char="•"/>
                <a:tabLst/>
                <a:defRPr sz="1800" b="1" i="0" kern="1200" spc="-50">
                  <a:solidFill>
                    <a:schemeClr val="bg1"/>
                  </a:solidFill>
                  <a:latin typeface="Arial"/>
                  <a:ea typeface="+mn-ea"/>
                  <a:cs typeface="Arial"/>
                </a:defRPr>
              </a:lvl1pPr>
              <a:lvl2pPr marL="457200" indent="0" algn="ctr" defTabSz="457200" rtl="0" eaLnBrk="1" latinLnBrk="0" hangingPunct="1">
                <a:spcBef>
                  <a:spcPts val="500"/>
                </a:spcBef>
                <a:buClr>
                  <a:schemeClr val="accent1"/>
                </a:buClr>
                <a:buFont typeface="Arial"/>
                <a:buNone/>
                <a:defRPr sz="2000" kern="1200">
                  <a:solidFill>
                    <a:schemeClr val="tx1">
                      <a:tint val="75000"/>
                    </a:schemeClr>
                  </a:solidFill>
                  <a:latin typeface="Arial"/>
                  <a:ea typeface="+mn-ea"/>
                  <a:cs typeface="Arial"/>
                </a:defRPr>
              </a:lvl2pPr>
              <a:lvl3pPr marL="914400" indent="0" algn="ctr" defTabSz="457200" rtl="0" eaLnBrk="1" latinLnBrk="0" hangingPunct="1">
                <a:spcBef>
                  <a:spcPts val="300"/>
                </a:spcBef>
                <a:buClr>
                  <a:schemeClr val="accent1"/>
                </a:buClr>
                <a:buFont typeface="Lucida Grande"/>
                <a:buNone/>
                <a:defRPr sz="2000" kern="1200">
                  <a:solidFill>
                    <a:schemeClr val="tx1">
                      <a:tint val="75000"/>
                    </a:schemeClr>
                  </a:solidFill>
                  <a:latin typeface="Arial"/>
                  <a:ea typeface="+mn-ea"/>
                  <a:cs typeface="Arial"/>
                </a:defRPr>
              </a:lvl3pPr>
              <a:lvl4pPr marL="1371600" indent="0" algn="ctr" defTabSz="457200" rtl="0" eaLnBrk="1" latinLnBrk="0" hangingPunct="1">
                <a:spcBef>
                  <a:spcPts val="200"/>
                </a:spcBef>
                <a:buClr>
                  <a:schemeClr val="accent1"/>
                </a:buClr>
                <a:buFont typeface="Arial"/>
                <a:buNone/>
                <a:defRPr sz="2000" kern="1200">
                  <a:solidFill>
                    <a:schemeClr val="tx1">
                      <a:tint val="75000"/>
                    </a:schemeClr>
                  </a:solidFill>
                  <a:latin typeface="Arial"/>
                  <a:ea typeface="+mn-ea"/>
                  <a:cs typeface="Arial"/>
                </a:defRPr>
              </a:lvl4pPr>
              <a:lvl5pPr marL="1828800" indent="0" algn="ctr" defTabSz="457200" rtl="0" eaLnBrk="1" latinLnBrk="0" hangingPunct="1">
                <a:spcBef>
                  <a:spcPts val="100"/>
                </a:spcBef>
                <a:buClr>
                  <a:schemeClr val="accent1"/>
                </a:buClr>
                <a:buFont typeface="Lucida Grande"/>
                <a:buNone/>
                <a:defRPr sz="20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indent="0">
                <a:lnSpc>
                  <a:spcPct val="110000"/>
                </a:lnSpc>
                <a:spcAft>
                  <a:spcPts val="0"/>
                </a:spcAft>
                <a:buFont typeface="Arial" panose="020B0604020202020204" pitchFamily="34" charset="0"/>
                <a:buNone/>
              </a:pPr>
              <a:r>
                <a:rPr lang="en-US" sz="1400" b="0" spc="0">
                  <a:solidFill>
                    <a:schemeClr val="tx1"/>
                  </a:solidFill>
                </a:rPr>
                <a:t>Created financial reports </a:t>
              </a:r>
              <a:r>
                <a:rPr lang="en-US" sz="1400" spc="0">
                  <a:solidFill>
                    <a:schemeClr val="tx1"/>
                  </a:solidFill>
                </a:rPr>
                <a:t>6x faster and more accurately</a:t>
              </a:r>
            </a:p>
          </p:txBody>
        </p:sp>
        <p:pic>
          <p:nvPicPr>
            <p:cNvPr id="78" name="Graphic 77">
              <a:extLst>
                <a:ext uri="{FF2B5EF4-FFF2-40B4-BE49-F238E27FC236}">
                  <a16:creationId xmlns:a16="http://schemas.microsoft.com/office/drawing/2014/main" id="{204AFBF7-BBE8-4517-96FB-94921DA035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4853" y="3735794"/>
              <a:ext cx="266700" cy="266700"/>
            </a:xfrm>
            <a:prstGeom prst="rect">
              <a:avLst/>
            </a:prstGeom>
          </p:spPr>
        </p:pic>
      </p:grpSp>
      <p:grpSp>
        <p:nvGrpSpPr>
          <p:cNvPr id="79" name="Group 78">
            <a:extLst>
              <a:ext uri="{FF2B5EF4-FFF2-40B4-BE49-F238E27FC236}">
                <a16:creationId xmlns:a16="http://schemas.microsoft.com/office/drawing/2014/main" id="{FE24B50D-20E9-48B2-BD34-46E83F15B0A0}"/>
              </a:ext>
            </a:extLst>
          </p:cNvPr>
          <p:cNvGrpSpPr/>
          <p:nvPr/>
        </p:nvGrpSpPr>
        <p:grpSpPr>
          <a:xfrm>
            <a:off x="394853" y="4877090"/>
            <a:ext cx="3857108" cy="473976"/>
            <a:chOff x="394853" y="3632157"/>
            <a:chExt cx="3857108" cy="473976"/>
          </a:xfrm>
        </p:grpSpPr>
        <p:sp>
          <p:nvSpPr>
            <p:cNvPr id="80" name="Subtitle 46">
              <a:extLst>
                <a:ext uri="{FF2B5EF4-FFF2-40B4-BE49-F238E27FC236}">
                  <a16:creationId xmlns:a16="http://schemas.microsoft.com/office/drawing/2014/main" id="{554ED595-D437-43F5-A37B-18425BD36604}"/>
                </a:ext>
              </a:extLst>
            </p:cNvPr>
            <p:cNvSpPr txBox="1">
              <a:spLocks/>
            </p:cNvSpPr>
            <p:nvPr/>
          </p:nvSpPr>
          <p:spPr>
            <a:xfrm>
              <a:off x="914401" y="3632157"/>
              <a:ext cx="3337560" cy="473976"/>
            </a:xfrm>
            <a:prstGeom prst="rect">
              <a:avLst/>
            </a:prstGeom>
          </p:spPr>
          <p:txBody>
            <a:bodyPr vert="horz" wrap="square" lIns="0" tIns="0" rIns="0" bIns="0" rtlCol="0" anchor="ctr" anchorCtr="0">
              <a:spAutoFit/>
            </a:bodyPr>
            <a:lstStyle>
              <a:lvl1pPr marL="585216" indent="-365760" algn="l" defTabSz="457200" rtl="0" eaLnBrk="1" fontAlgn="ctr" latinLnBrk="0" hangingPunct="1">
                <a:lnSpc>
                  <a:spcPct val="100000"/>
                </a:lnSpc>
                <a:spcBef>
                  <a:spcPts val="0"/>
                </a:spcBef>
                <a:spcAft>
                  <a:spcPts val="2400"/>
                </a:spcAft>
                <a:buSzPct val="100000"/>
                <a:buFont typeface="Arial" panose="020B0604020202020204" pitchFamily="34" charset="0"/>
                <a:buChar char="•"/>
                <a:tabLst/>
                <a:defRPr sz="1800" b="1" i="0" kern="1200" spc="-50">
                  <a:solidFill>
                    <a:schemeClr val="bg1"/>
                  </a:solidFill>
                  <a:latin typeface="Arial"/>
                  <a:ea typeface="+mn-ea"/>
                  <a:cs typeface="Arial"/>
                </a:defRPr>
              </a:lvl1pPr>
              <a:lvl2pPr marL="457200" indent="0" algn="ctr" defTabSz="457200" rtl="0" eaLnBrk="1" latinLnBrk="0" hangingPunct="1">
                <a:spcBef>
                  <a:spcPts val="500"/>
                </a:spcBef>
                <a:buClr>
                  <a:schemeClr val="accent1"/>
                </a:buClr>
                <a:buFont typeface="Arial"/>
                <a:buNone/>
                <a:defRPr sz="2000" kern="1200">
                  <a:solidFill>
                    <a:schemeClr val="tx1">
                      <a:tint val="75000"/>
                    </a:schemeClr>
                  </a:solidFill>
                  <a:latin typeface="Arial"/>
                  <a:ea typeface="+mn-ea"/>
                  <a:cs typeface="Arial"/>
                </a:defRPr>
              </a:lvl2pPr>
              <a:lvl3pPr marL="914400" indent="0" algn="ctr" defTabSz="457200" rtl="0" eaLnBrk="1" latinLnBrk="0" hangingPunct="1">
                <a:spcBef>
                  <a:spcPts val="300"/>
                </a:spcBef>
                <a:buClr>
                  <a:schemeClr val="accent1"/>
                </a:buClr>
                <a:buFont typeface="Lucida Grande"/>
                <a:buNone/>
                <a:defRPr sz="2000" kern="1200">
                  <a:solidFill>
                    <a:schemeClr val="tx1">
                      <a:tint val="75000"/>
                    </a:schemeClr>
                  </a:solidFill>
                  <a:latin typeface="Arial"/>
                  <a:ea typeface="+mn-ea"/>
                  <a:cs typeface="Arial"/>
                </a:defRPr>
              </a:lvl3pPr>
              <a:lvl4pPr marL="1371600" indent="0" algn="ctr" defTabSz="457200" rtl="0" eaLnBrk="1" latinLnBrk="0" hangingPunct="1">
                <a:spcBef>
                  <a:spcPts val="200"/>
                </a:spcBef>
                <a:buClr>
                  <a:schemeClr val="accent1"/>
                </a:buClr>
                <a:buFont typeface="Arial"/>
                <a:buNone/>
                <a:defRPr sz="2000" kern="1200">
                  <a:solidFill>
                    <a:schemeClr val="tx1">
                      <a:tint val="75000"/>
                    </a:schemeClr>
                  </a:solidFill>
                  <a:latin typeface="Arial"/>
                  <a:ea typeface="+mn-ea"/>
                  <a:cs typeface="Arial"/>
                </a:defRPr>
              </a:lvl4pPr>
              <a:lvl5pPr marL="1828800" indent="0" algn="ctr" defTabSz="457200" rtl="0" eaLnBrk="1" latinLnBrk="0" hangingPunct="1">
                <a:spcBef>
                  <a:spcPts val="100"/>
                </a:spcBef>
                <a:buClr>
                  <a:schemeClr val="accent1"/>
                </a:buClr>
                <a:buFont typeface="Lucida Grande"/>
                <a:buNone/>
                <a:defRPr sz="20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indent="0">
                <a:lnSpc>
                  <a:spcPct val="110000"/>
                </a:lnSpc>
                <a:spcAft>
                  <a:spcPts val="0"/>
                </a:spcAft>
                <a:buFont typeface="Arial" panose="020B0604020202020204" pitchFamily="34" charset="0"/>
                <a:buNone/>
              </a:pPr>
              <a:r>
                <a:rPr lang="en-US" sz="1400" spc="0">
                  <a:solidFill>
                    <a:schemeClr val="tx1"/>
                  </a:solidFill>
                </a:rPr>
                <a:t>Spent more time analyzing reports </a:t>
              </a:r>
              <a:r>
                <a:rPr lang="en-US" sz="1400" b="0" spc="0">
                  <a:solidFill>
                    <a:schemeClr val="tx1"/>
                  </a:solidFill>
                </a:rPr>
                <a:t>instead of copying &amp; pasting data</a:t>
              </a:r>
            </a:p>
          </p:txBody>
        </p:sp>
        <p:pic>
          <p:nvPicPr>
            <p:cNvPr id="81" name="Graphic 80">
              <a:extLst>
                <a:ext uri="{FF2B5EF4-FFF2-40B4-BE49-F238E27FC236}">
                  <a16:creationId xmlns:a16="http://schemas.microsoft.com/office/drawing/2014/main" id="{B2D7AFB3-9C0A-4999-8FC5-8F24FEEECE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4853" y="3735794"/>
              <a:ext cx="266700" cy="266700"/>
            </a:xfrm>
            <a:prstGeom prst="rect">
              <a:avLst/>
            </a:prstGeom>
          </p:spPr>
        </p:pic>
      </p:grpSp>
      <p:grpSp>
        <p:nvGrpSpPr>
          <p:cNvPr id="82" name="Group 81">
            <a:extLst>
              <a:ext uri="{FF2B5EF4-FFF2-40B4-BE49-F238E27FC236}">
                <a16:creationId xmlns:a16="http://schemas.microsoft.com/office/drawing/2014/main" id="{4590C83A-FA03-4304-8D18-BF68FBD92417}"/>
              </a:ext>
            </a:extLst>
          </p:cNvPr>
          <p:cNvGrpSpPr/>
          <p:nvPr/>
        </p:nvGrpSpPr>
        <p:grpSpPr>
          <a:xfrm>
            <a:off x="394853" y="5601954"/>
            <a:ext cx="3857108" cy="473976"/>
            <a:chOff x="394853" y="3632157"/>
            <a:chExt cx="3857108" cy="473976"/>
          </a:xfrm>
        </p:grpSpPr>
        <p:sp>
          <p:nvSpPr>
            <p:cNvPr id="83" name="Subtitle 46">
              <a:extLst>
                <a:ext uri="{FF2B5EF4-FFF2-40B4-BE49-F238E27FC236}">
                  <a16:creationId xmlns:a16="http://schemas.microsoft.com/office/drawing/2014/main" id="{4A2C8116-F420-4E18-9A07-95B8CA0C658A}"/>
                </a:ext>
              </a:extLst>
            </p:cNvPr>
            <p:cNvSpPr txBox="1">
              <a:spLocks/>
            </p:cNvSpPr>
            <p:nvPr/>
          </p:nvSpPr>
          <p:spPr>
            <a:xfrm>
              <a:off x="914401" y="3632157"/>
              <a:ext cx="3337560" cy="473976"/>
            </a:xfrm>
            <a:prstGeom prst="rect">
              <a:avLst/>
            </a:prstGeom>
          </p:spPr>
          <p:txBody>
            <a:bodyPr vert="horz" wrap="square" lIns="0" tIns="0" rIns="0" bIns="0" rtlCol="0" anchor="ctr" anchorCtr="0">
              <a:spAutoFit/>
            </a:bodyPr>
            <a:lstStyle>
              <a:lvl1pPr marL="585216" indent="-365760" algn="l" defTabSz="457200" rtl="0" eaLnBrk="1" fontAlgn="ctr" latinLnBrk="0" hangingPunct="1">
                <a:lnSpc>
                  <a:spcPct val="100000"/>
                </a:lnSpc>
                <a:spcBef>
                  <a:spcPts val="0"/>
                </a:spcBef>
                <a:spcAft>
                  <a:spcPts val="2400"/>
                </a:spcAft>
                <a:buSzPct val="100000"/>
                <a:buFont typeface="Arial" panose="020B0604020202020204" pitchFamily="34" charset="0"/>
                <a:buChar char="•"/>
                <a:tabLst/>
                <a:defRPr sz="1800" b="1" i="0" kern="1200" spc="-50">
                  <a:solidFill>
                    <a:schemeClr val="bg1"/>
                  </a:solidFill>
                  <a:latin typeface="Arial"/>
                  <a:ea typeface="+mn-ea"/>
                  <a:cs typeface="Arial"/>
                </a:defRPr>
              </a:lvl1pPr>
              <a:lvl2pPr marL="457200" indent="0" algn="ctr" defTabSz="457200" rtl="0" eaLnBrk="1" latinLnBrk="0" hangingPunct="1">
                <a:spcBef>
                  <a:spcPts val="500"/>
                </a:spcBef>
                <a:buClr>
                  <a:schemeClr val="accent1"/>
                </a:buClr>
                <a:buFont typeface="Arial"/>
                <a:buNone/>
                <a:defRPr sz="2000" kern="1200">
                  <a:solidFill>
                    <a:schemeClr val="tx1">
                      <a:tint val="75000"/>
                    </a:schemeClr>
                  </a:solidFill>
                  <a:latin typeface="Arial"/>
                  <a:ea typeface="+mn-ea"/>
                  <a:cs typeface="Arial"/>
                </a:defRPr>
              </a:lvl2pPr>
              <a:lvl3pPr marL="914400" indent="0" algn="ctr" defTabSz="457200" rtl="0" eaLnBrk="1" latinLnBrk="0" hangingPunct="1">
                <a:spcBef>
                  <a:spcPts val="300"/>
                </a:spcBef>
                <a:buClr>
                  <a:schemeClr val="accent1"/>
                </a:buClr>
                <a:buFont typeface="Lucida Grande"/>
                <a:buNone/>
                <a:defRPr sz="2000" kern="1200">
                  <a:solidFill>
                    <a:schemeClr val="tx1">
                      <a:tint val="75000"/>
                    </a:schemeClr>
                  </a:solidFill>
                  <a:latin typeface="Arial"/>
                  <a:ea typeface="+mn-ea"/>
                  <a:cs typeface="Arial"/>
                </a:defRPr>
              </a:lvl3pPr>
              <a:lvl4pPr marL="1371600" indent="0" algn="ctr" defTabSz="457200" rtl="0" eaLnBrk="1" latinLnBrk="0" hangingPunct="1">
                <a:spcBef>
                  <a:spcPts val="200"/>
                </a:spcBef>
                <a:buClr>
                  <a:schemeClr val="accent1"/>
                </a:buClr>
                <a:buFont typeface="Arial"/>
                <a:buNone/>
                <a:defRPr sz="2000" kern="1200">
                  <a:solidFill>
                    <a:schemeClr val="tx1">
                      <a:tint val="75000"/>
                    </a:schemeClr>
                  </a:solidFill>
                  <a:latin typeface="Arial"/>
                  <a:ea typeface="+mn-ea"/>
                  <a:cs typeface="Arial"/>
                </a:defRPr>
              </a:lvl4pPr>
              <a:lvl5pPr marL="1828800" indent="0" algn="ctr" defTabSz="457200" rtl="0" eaLnBrk="1" latinLnBrk="0" hangingPunct="1">
                <a:spcBef>
                  <a:spcPts val="100"/>
                </a:spcBef>
                <a:buClr>
                  <a:schemeClr val="accent1"/>
                </a:buClr>
                <a:buFont typeface="Lucida Grande"/>
                <a:buNone/>
                <a:defRPr sz="20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indent="0">
                <a:lnSpc>
                  <a:spcPct val="110000"/>
                </a:lnSpc>
                <a:spcAft>
                  <a:spcPts val="0"/>
                </a:spcAft>
                <a:buFont typeface="Arial" panose="020B0604020202020204" pitchFamily="34" charset="0"/>
                <a:buNone/>
              </a:pPr>
              <a:r>
                <a:rPr lang="en-US" sz="1400" b="0" spc="0">
                  <a:solidFill>
                    <a:schemeClr val="tx1"/>
                  </a:solidFill>
                </a:rPr>
                <a:t>Used extra time to identify </a:t>
              </a:r>
              <a:r>
                <a:rPr lang="en-US" sz="1400" spc="0">
                  <a:solidFill>
                    <a:schemeClr val="tx1"/>
                  </a:solidFill>
                </a:rPr>
                <a:t>business improvement opportunities</a:t>
              </a:r>
            </a:p>
          </p:txBody>
        </p:sp>
        <p:pic>
          <p:nvPicPr>
            <p:cNvPr id="84" name="Graphic 83">
              <a:extLst>
                <a:ext uri="{FF2B5EF4-FFF2-40B4-BE49-F238E27FC236}">
                  <a16:creationId xmlns:a16="http://schemas.microsoft.com/office/drawing/2014/main" id="{127CA3D4-41AE-45B5-BC7D-2A7E058143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4853" y="3735794"/>
              <a:ext cx="266700" cy="266700"/>
            </a:xfrm>
            <a:prstGeom prst="rect">
              <a:avLst/>
            </a:prstGeom>
          </p:spPr>
        </p:pic>
      </p:grpSp>
      <p:pic>
        <p:nvPicPr>
          <p:cNvPr id="92" name="Picture 91" descr="A person sitting at a desk&#10;&#10;Description automatically generated with medium confidence">
            <a:extLst>
              <a:ext uri="{FF2B5EF4-FFF2-40B4-BE49-F238E27FC236}">
                <a16:creationId xmlns:a16="http://schemas.microsoft.com/office/drawing/2014/main" id="{32E8F0C3-0FF9-4633-8868-266691DD4DA2}"/>
              </a:ext>
            </a:extLst>
          </p:cNvPr>
          <p:cNvPicPr>
            <a:picLocks noChangeAspect="1"/>
          </p:cNvPicPr>
          <p:nvPr/>
        </p:nvPicPr>
        <p:blipFill rotWithShape="1">
          <a:blip r:embed="rId6"/>
          <a:srcRect l="33416" t="1789" r="9954" b="13320"/>
          <a:stretch/>
        </p:blipFill>
        <p:spPr>
          <a:xfrm flipH="1">
            <a:off x="384850" y="454833"/>
            <a:ext cx="1418549" cy="1418549"/>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spTree>
    <p:extLst>
      <p:ext uri="{BB962C8B-B14F-4D97-AF65-F5344CB8AC3E}">
        <p14:creationId xmlns:p14="http://schemas.microsoft.com/office/powerpoint/2010/main" val="4090046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1">
            <a:extLst>
              <a:ext uri="{FF2B5EF4-FFF2-40B4-BE49-F238E27FC236}">
                <a16:creationId xmlns:a16="http://schemas.microsoft.com/office/drawing/2014/main" id="{54F37752-BFBC-46AC-9F64-C2DA68F33874}"/>
              </a:ext>
            </a:extLst>
          </p:cNvPr>
          <p:cNvSpPr txBox="1">
            <a:spLocks/>
          </p:cNvSpPr>
          <p:nvPr/>
        </p:nvSpPr>
        <p:spPr>
          <a:xfrm>
            <a:off x="381001" y="1976663"/>
            <a:ext cx="3383280" cy="1097280"/>
          </a:xfrm>
          <a:prstGeom prst="rect">
            <a:avLst/>
          </a:prstGeom>
          <a:solidFill>
            <a:schemeClr val="accent1"/>
          </a:solidFill>
        </p:spPr>
        <p:txBody>
          <a:bodyPr tIns="594360" bIns="9144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a:solidFill>
                  <a:schemeClr val="bg1"/>
                </a:solidFill>
              </a:rPr>
              <a:t>Hand-off work to a robot</a:t>
            </a:r>
          </a:p>
        </p:txBody>
      </p:sp>
      <p:sp>
        <p:nvSpPr>
          <p:cNvPr id="45" name="Text Placeholder 2">
            <a:extLst>
              <a:ext uri="{FF2B5EF4-FFF2-40B4-BE49-F238E27FC236}">
                <a16:creationId xmlns:a16="http://schemas.microsoft.com/office/drawing/2014/main" id="{A31E518B-EF91-4B45-87AE-F5A0795B84A4}"/>
              </a:ext>
            </a:extLst>
          </p:cNvPr>
          <p:cNvSpPr txBox="1">
            <a:spLocks/>
          </p:cNvSpPr>
          <p:nvPr/>
        </p:nvSpPr>
        <p:spPr>
          <a:xfrm>
            <a:off x="4402574" y="1976663"/>
            <a:ext cx="3383280" cy="1097280"/>
          </a:xfrm>
          <a:prstGeom prst="rect">
            <a:avLst/>
          </a:prstGeom>
          <a:solidFill>
            <a:schemeClr val="accent2"/>
          </a:solidFill>
        </p:spPr>
        <p:txBody>
          <a:bodyPr tIns="457200" bIns="9144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a:solidFill>
                  <a:schemeClr val="bg1"/>
                </a:solidFill>
              </a:rPr>
              <a:t>Work side-by-side </a:t>
            </a:r>
            <a:br>
              <a:rPr lang="en-US" sz="1600" b="1">
                <a:solidFill>
                  <a:schemeClr val="bg1"/>
                </a:solidFill>
              </a:rPr>
            </a:br>
            <a:r>
              <a:rPr lang="en-US" sz="1600" b="1">
                <a:solidFill>
                  <a:schemeClr val="bg1"/>
                </a:solidFill>
              </a:rPr>
              <a:t>with a robot</a:t>
            </a:r>
          </a:p>
        </p:txBody>
      </p:sp>
      <p:sp>
        <p:nvSpPr>
          <p:cNvPr id="46" name="Text Placeholder 4">
            <a:extLst>
              <a:ext uri="{FF2B5EF4-FFF2-40B4-BE49-F238E27FC236}">
                <a16:creationId xmlns:a16="http://schemas.microsoft.com/office/drawing/2014/main" id="{3438EF48-27C6-4690-8C2A-3F625EE4C357}"/>
              </a:ext>
            </a:extLst>
          </p:cNvPr>
          <p:cNvSpPr txBox="1">
            <a:spLocks/>
          </p:cNvSpPr>
          <p:nvPr/>
        </p:nvSpPr>
        <p:spPr>
          <a:xfrm>
            <a:off x="8424147" y="1976663"/>
            <a:ext cx="3383280" cy="1097280"/>
          </a:xfrm>
          <a:prstGeom prst="rect">
            <a:avLst/>
          </a:prstGeom>
          <a:solidFill>
            <a:schemeClr val="accent3"/>
          </a:solidFill>
        </p:spPr>
        <p:txBody>
          <a:bodyPr tIns="457200" bIns="9144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600"/>
              </a:spcBef>
              <a:spcAft>
                <a:spcPts val="0"/>
              </a:spcAft>
              <a:buClrTx/>
              <a:buSzTx/>
              <a:buFontTx/>
              <a:buNone/>
              <a:tabLst/>
              <a:defRPr/>
            </a:pPr>
            <a:r>
              <a:rPr lang="en-US" sz="1600" b="1">
                <a:solidFill>
                  <a:srgbClr val="FFFFFF"/>
                </a:solidFill>
                <a:latin typeface="Arial"/>
              </a:rPr>
              <a:t>E</a:t>
            </a:r>
            <a:r>
              <a:rPr kumimoji="0" lang="en-US" sz="1600" b="1" i="0" u="none" strike="noStrike" kern="1200" cap="none" spc="0" normalizeH="0" baseline="0" noProof="0" err="1">
                <a:ln>
                  <a:noFill/>
                </a:ln>
                <a:solidFill>
                  <a:srgbClr val="FFFFFF"/>
                </a:solidFill>
                <a:effectLst/>
                <a:uLnTx/>
                <a:uFillTx/>
                <a:latin typeface="Arial"/>
                <a:ea typeface="+mn-ea"/>
                <a:cs typeface="+mn-cs"/>
              </a:rPr>
              <a:t>ngage</a:t>
            </a:r>
            <a:r>
              <a:rPr kumimoji="0" lang="en-US" sz="1600" b="1" i="0" u="none" strike="noStrike" kern="1200" cap="none" spc="0" normalizeH="0" baseline="0" noProof="0">
                <a:ln>
                  <a:noFill/>
                </a:ln>
                <a:solidFill>
                  <a:srgbClr val="FFFFFF"/>
                </a:solidFill>
                <a:effectLst/>
                <a:uLnTx/>
                <a:uFillTx/>
                <a:latin typeface="Arial"/>
                <a:ea typeface="+mn-ea"/>
                <a:cs typeface="+mn-cs"/>
              </a:rPr>
              <a:t> with a robot before, after, or while it runs</a:t>
            </a:r>
          </a:p>
        </p:txBody>
      </p:sp>
      <p:sp>
        <p:nvSpPr>
          <p:cNvPr id="19" name="TextBox 18">
            <a:extLst>
              <a:ext uri="{FF2B5EF4-FFF2-40B4-BE49-F238E27FC236}">
                <a16:creationId xmlns:a16="http://schemas.microsoft.com/office/drawing/2014/main" id="{D14E1CDB-965D-4E70-A5A8-92129EF9A964}"/>
              </a:ext>
            </a:extLst>
          </p:cNvPr>
          <p:cNvSpPr txBox="1"/>
          <p:nvPr/>
        </p:nvSpPr>
        <p:spPr>
          <a:xfrm>
            <a:off x="381000" y="3188855"/>
            <a:ext cx="3383280" cy="369332"/>
          </a:xfrm>
          <a:prstGeom prst="rect">
            <a:avLst/>
          </a:prstGeom>
          <a:noFill/>
        </p:spPr>
        <p:txBody>
          <a:bodyPr wrap="square" lIns="0" tIns="0" rIns="0" bIns="0" anchor="t">
            <a:spAutoFit/>
          </a:bodyPr>
          <a:lstStyle/>
          <a:p>
            <a:pPr algn="ctr"/>
            <a:r>
              <a:rPr lang="en-GB" sz="1200"/>
              <a:t>Jane</a:t>
            </a:r>
            <a:r>
              <a:rPr lang="en-GB" sz="1200" b="0" i="0">
                <a:effectLst/>
              </a:rPr>
              <a:t> kicks off a robot. Robot takes control of her keyboard and mouse to complete a task.</a:t>
            </a:r>
            <a:endParaRPr lang="en-US" sz="1200"/>
          </a:p>
        </p:txBody>
      </p:sp>
      <p:sp>
        <p:nvSpPr>
          <p:cNvPr id="21" name="TextBox 20">
            <a:extLst>
              <a:ext uri="{FF2B5EF4-FFF2-40B4-BE49-F238E27FC236}">
                <a16:creationId xmlns:a16="http://schemas.microsoft.com/office/drawing/2014/main" id="{5011701B-9DE9-4C98-80CB-39ACEF7D3C85}"/>
              </a:ext>
            </a:extLst>
          </p:cNvPr>
          <p:cNvSpPr txBox="1"/>
          <p:nvPr/>
        </p:nvSpPr>
        <p:spPr>
          <a:xfrm>
            <a:off x="4402574" y="3188855"/>
            <a:ext cx="3383280" cy="553998"/>
          </a:xfrm>
          <a:prstGeom prst="rect">
            <a:avLst/>
          </a:prstGeom>
          <a:noFill/>
        </p:spPr>
        <p:txBody>
          <a:bodyPr wrap="square" lIns="0" tIns="0" rIns="0" bIns="0" anchor="t">
            <a:spAutoFit/>
          </a:bodyPr>
          <a:lstStyle/>
          <a:p>
            <a:pPr algn="ctr"/>
            <a:r>
              <a:rPr lang="en-GB" sz="1200"/>
              <a:t>A robot launches a copy of Jane’s desktop and runs in the background while she continues her work.</a:t>
            </a:r>
            <a:endParaRPr lang="en-US" sz="1200"/>
          </a:p>
        </p:txBody>
      </p:sp>
      <p:sp>
        <p:nvSpPr>
          <p:cNvPr id="2" name="Title 1">
            <a:extLst>
              <a:ext uri="{FF2B5EF4-FFF2-40B4-BE49-F238E27FC236}">
                <a16:creationId xmlns:a16="http://schemas.microsoft.com/office/drawing/2014/main" id="{AE516D3E-7D8D-4D20-AC8B-813E9936C51B}"/>
              </a:ext>
            </a:extLst>
          </p:cNvPr>
          <p:cNvSpPr>
            <a:spLocks noGrp="1"/>
          </p:cNvSpPr>
          <p:nvPr>
            <p:ph type="title"/>
          </p:nvPr>
        </p:nvSpPr>
        <p:spPr>
          <a:xfrm>
            <a:off x="1431235" y="357721"/>
            <a:ext cx="5558707" cy="690029"/>
          </a:xfrm>
        </p:spPr>
        <p:txBody>
          <a:bodyPr/>
          <a:lstStyle/>
          <a:p>
            <a:r>
              <a:rPr lang="en-US" sz="2800" b="1" dirty="0"/>
              <a:t>5 ways Jane can use automation in her daily work</a:t>
            </a:r>
            <a:endParaRPr lang="en-PH" dirty="0"/>
          </a:p>
        </p:txBody>
      </p:sp>
      <p:sp>
        <p:nvSpPr>
          <p:cNvPr id="31" name="Oval 30">
            <a:extLst>
              <a:ext uri="{FF2B5EF4-FFF2-40B4-BE49-F238E27FC236}">
                <a16:creationId xmlns:a16="http://schemas.microsoft.com/office/drawing/2014/main" id="{74B5366C-7EC4-4625-AF97-CE092F59FD4B}"/>
              </a:ext>
            </a:extLst>
          </p:cNvPr>
          <p:cNvSpPr/>
          <p:nvPr/>
        </p:nvSpPr>
        <p:spPr>
          <a:xfrm>
            <a:off x="1706881" y="1611647"/>
            <a:ext cx="731520" cy="731520"/>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800" b="1" i="0">
                <a:solidFill>
                  <a:schemeClr val="accent1"/>
                </a:solidFill>
                <a:latin typeface="Arial"/>
                <a:cs typeface="Arial"/>
              </a:rPr>
              <a:t>1</a:t>
            </a:r>
          </a:p>
        </p:txBody>
      </p:sp>
      <p:sp>
        <p:nvSpPr>
          <p:cNvPr id="50" name="Oval 49">
            <a:extLst>
              <a:ext uri="{FF2B5EF4-FFF2-40B4-BE49-F238E27FC236}">
                <a16:creationId xmlns:a16="http://schemas.microsoft.com/office/drawing/2014/main" id="{1431290F-55B1-40A2-B517-8A3C74BDFBA6}"/>
              </a:ext>
            </a:extLst>
          </p:cNvPr>
          <p:cNvSpPr/>
          <p:nvPr/>
        </p:nvSpPr>
        <p:spPr>
          <a:xfrm>
            <a:off x="5728455" y="1611647"/>
            <a:ext cx="731520" cy="731520"/>
          </a:xfrm>
          <a:prstGeom prst="ellipse">
            <a:avLst/>
          </a:prstGeom>
          <a:solidFill>
            <a:schemeClr val="bg1"/>
          </a:solid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800" b="1" i="0">
                <a:solidFill>
                  <a:schemeClr val="accent2"/>
                </a:solidFill>
                <a:latin typeface="Arial"/>
                <a:cs typeface="Arial"/>
              </a:rPr>
              <a:t>2</a:t>
            </a:r>
          </a:p>
        </p:txBody>
      </p:sp>
      <p:sp>
        <p:nvSpPr>
          <p:cNvPr id="51" name="Oval 50">
            <a:extLst>
              <a:ext uri="{FF2B5EF4-FFF2-40B4-BE49-F238E27FC236}">
                <a16:creationId xmlns:a16="http://schemas.microsoft.com/office/drawing/2014/main" id="{F0358C42-5783-4B9A-9E76-AD27037B2F58}"/>
              </a:ext>
            </a:extLst>
          </p:cNvPr>
          <p:cNvSpPr/>
          <p:nvPr/>
        </p:nvSpPr>
        <p:spPr>
          <a:xfrm>
            <a:off x="9750027" y="1611647"/>
            <a:ext cx="731520" cy="731520"/>
          </a:xfrm>
          <a:prstGeom prst="ellipse">
            <a:avLst/>
          </a:prstGeom>
          <a:solidFill>
            <a:schemeClr val="bg1"/>
          </a:solid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800" b="1" i="0">
                <a:solidFill>
                  <a:schemeClr val="accent3"/>
                </a:solidFill>
                <a:latin typeface="Arial"/>
                <a:cs typeface="Arial"/>
              </a:rPr>
              <a:t>3</a:t>
            </a:r>
          </a:p>
        </p:txBody>
      </p:sp>
      <p:sp>
        <p:nvSpPr>
          <p:cNvPr id="52" name="TextBox 51">
            <a:extLst>
              <a:ext uri="{FF2B5EF4-FFF2-40B4-BE49-F238E27FC236}">
                <a16:creationId xmlns:a16="http://schemas.microsoft.com/office/drawing/2014/main" id="{952F2CA0-59DD-41FB-97ED-99BA90B65259}"/>
              </a:ext>
            </a:extLst>
          </p:cNvPr>
          <p:cNvSpPr txBox="1"/>
          <p:nvPr/>
        </p:nvSpPr>
        <p:spPr>
          <a:xfrm>
            <a:off x="8424147" y="3188855"/>
            <a:ext cx="3383280" cy="553998"/>
          </a:xfrm>
          <a:prstGeom prst="rect">
            <a:avLst/>
          </a:prstGeom>
          <a:noFill/>
        </p:spPr>
        <p:txBody>
          <a:bodyPr wrap="square" lIns="0" tIns="0" rIns="0" bIns="0" anchor="t">
            <a:spAutoFit/>
          </a:bodyPr>
          <a:lstStyle/>
          <a:p>
            <a:pPr algn="ctr"/>
            <a:r>
              <a:rPr lang="en-US" sz="1200"/>
              <a:t>As a robot works on a task, it loops in Jane </a:t>
            </a:r>
            <a:br>
              <a:rPr lang="en-US" sz="1200"/>
            </a:br>
            <a:r>
              <a:rPr lang="en-US" sz="1200"/>
              <a:t>to make a decision, issue an approval, or for further analysis.</a:t>
            </a:r>
          </a:p>
        </p:txBody>
      </p:sp>
      <p:sp>
        <p:nvSpPr>
          <p:cNvPr id="53" name="Text Placeholder 1">
            <a:extLst>
              <a:ext uri="{FF2B5EF4-FFF2-40B4-BE49-F238E27FC236}">
                <a16:creationId xmlns:a16="http://schemas.microsoft.com/office/drawing/2014/main" id="{7598D012-8ED2-40E3-AB7E-4058C63C1F3F}"/>
              </a:ext>
            </a:extLst>
          </p:cNvPr>
          <p:cNvSpPr txBox="1">
            <a:spLocks/>
          </p:cNvSpPr>
          <p:nvPr/>
        </p:nvSpPr>
        <p:spPr>
          <a:xfrm>
            <a:off x="381001" y="4225471"/>
            <a:ext cx="3383280" cy="1097280"/>
          </a:xfrm>
          <a:prstGeom prst="rect">
            <a:avLst/>
          </a:prstGeom>
          <a:solidFill>
            <a:schemeClr val="accent4"/>
          </a:solidFill>
        </p:spPr>
        <p:txBody>
          <a:bodyPr tIns="594360" bIns="9144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a:solidFill>
                  <a:schemeClr val="bg1"/>
                </a:solidFill>
              </a:rPr>
              <a:t>Automatically trigger a robot</a:t>
            </a:r>
          </a:p>
        </p:txBody>
      </p:sp>
      <p:sp>
        <p:nvSpPr>
          <p:cNvPr id="54" name="Text Placeholder 2">
            <a:extLst>
              <a:ext uri="{FF2B5EF4-FFF2-40B4-BE49-F238E27FC236}">
                <a16:creationId xmlns:a16="http://schemas.microsoft.com/office/drawing/2014/main" id="{1653A9BF-F774-4BAD-AD9D-5ACC3057AC2C}"/>
              </a:ext>
            </a:extLst>
          </p:cNvPr>
          <p:cNvSpPr txBox="1">
            <a:spLocks/>
          </p:cNvSpPr>
          <p:nvPr/>
        </p:nvSpPr>
        <p:spPr>
          <a:xfrm>
            <a:off x="4402574" y="4225471"/>
            <a:ext cx="3383280" cy="1097280"/>
          </a:xfrm>
          <a:prstGeom prst="rect">
            <a:avLst/>
          </a:prstGeom>
          <a:solidFill>
            <a:schemeClr val="accent5"/>
          </a:solidFill>
        </p:spPr>
        <p:txBody>
          <a:bodyPr tIns="457200" bIns="9144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a:solidFill>
                  <a:schemeClr val="bg1"/>
                </a:solidFill>
              </a:rPr>
              <a:t>Collaborate with robots that </a:t>
            </a:r>
            <a:br>
              <a:rPr lang="en-US" sz="1600" b="1">
                <a:solidFill>
                  <a:schemeClr val="bg1"/>
                </a:solidFill>
              </a:rPr>
            </a:br>
            <a:r>
              <a:rPr lang="en-US" sz="1600" b="1">
                <a:solidFill>
                  <a:schemeClr val="bg1"/>
                </a:solidFill>
              </a:rPr>
              <a:t>run and react to each other</a:t>
            </a:r>
          </a:p>
        </p:txBody>
      </p:sp>
      <p:sp>
        <p:nvSpPr>
          <p:cNvPr id="55" name="TextBox 54">
            <a:extLst>
              <a:ext uri="{FF2B5EF4-FFF2-40B4-BE49-F238E27FC236}">
                <a16:creationId xmlns:a16="http://schemas.microsoft.com/office/drawing/2014/main" id="{E57F3DF0-3649-4598-9279-39E957C0064F}"/>
              </a:ext>
            </a:extLst>
          </p:cNvPr>
          <p:cNvSpPr txBox="1"/>
          <p:nvPr/>
        </p:nvSpPr>
        <p:spPr>
          <a:xfrm>
            <a:off x="381000" y="5437663"/>
            <a:ext cx="3383280" cy="738664"/>
          </a:xfrm>
          <a:prstGeom prst="rect">
            <a:avLst/>
          </a:prstGeom>
          <a:noFill/>
        </p:spPr>
        <p:txBody>
          <a:bodyPr wrap="square" lIns="0" tIns="0" rIns="0" bIns="0" anchor="t">
            <a:spAutoFit/>
          </a:bodyPr>
          <a:lstStyle/>
          <a:p>
            <a:pPr algn="ctr"/>
            <a:r>
              <a:rPr lang="en-GB" sz="1200"/>
              <a:t>A robot watches out for a specific action </a:t>
            </a:r>
            <a:br>
              <a:rPr lang="en-GB" sz="1200"/>
            </a:br>
            <a:r>
              <a:rPr lang="en-GB" sz="1200"/>
              <a:t>that occurs on Jane’s desktop. When the </a:t>
            </a:r>
            <a:br>
              <a:rPr lang="en-GB" sz="1200"/>
            </a:br>
            <a:r>
              <a:rPr lang="en-GB" sz="1200"/>
              <a:t>action occurs, it automatically starts running in </a:t>
            </a:r>
            <a:br>
              <a:rPr lang="en-GB" sz="1200"/>
            </a:br>
            <a:r>
              <a:rPr lang="en-GB" sz="1200"/>
              <a:t>the background.</a:t>
            </a:r>
            <a:endParaRPr lang="en-US" sz="1200"/>
          </a:p>
        </p:txBody>
      </p:sp>
      <p:sp>
        <p:nvSpPr>
          <p:cNvPr id="56" name="TextBox 55">
            <a:extLst>
              <a:ext uri="{FF2B5EF4-FFF2-40B4-BE49-F238E27FC236}">
                <a16:creationId xmlns:a16="http://schemas.microsoft.com/office/drawing/2014/main" id="{A4DC677A-5C60-40E0-BC8E-233E7268C0FB}"/>
              </a:ext>
            </a:extLst>
          </p:cNvPr>
          <p:cNvSpPr txBox="1"/>
          <p:nvPr/>
        </p:nvSpPr>
        <p:spPr>
          <a:xfrm>
            <a:off x="4402574" y="5437663"/>
            <a:ext cx="3383280" cy="553998"/>
          </a:xfrm>
          <a:prstGeom prst="rect">
            <a:avLst/>
          </a:prstGeom>
          <a:noFill/>
        </p:spPr>
        <p:txBody>
          <a:bodyPr wrap="square" lIns="0" tIns="0" rIns="0" bIns="0" anchor="t">
            <a:spAutoFit/>
          </a:bodyPr>
          <a:lstStyle/>
          <a:p>
            <a:pPr algn="ctr"/>
            <a:r>
              <a:rPr lang="en-US" sz="1200"/>
              <a:t>A robot can trigger other robots to complete actions. Robots working together can efficiently complete one of Jane’s tasks.</a:t>
            </a:r>
          </a:p>
        </p:txBody>
      </p:sp>
      <p:sp>
        <p:nvSpPr>
          <p:cNvPr id="57" name="Oval 56">
            <a:extLst>
              <a:ext uri="{FF2B5EF4-FFF2-40B4-BE49-F238E27FC236}">
                <a16:creationId xmlns:a16="http://schemas.microsoft.com/office/drawing/2014/main" id="{416F97FC-5A64-4953-8A7A-88B81A8E4AA4}"/>
              </a:ext>
            </a:extLst>
          </p:cNvPr>
          <p:cNvSpPr/>
          <p:nvPr/>
        </p:nvSpPr>
        <p:spPr>
          <a:xfrm>
            <a:off x="1706881" y="3860455"/>
            <a:ext cx="731520" cy="731520"/>
          </a:xfrm>
          <a:prstGeom prst="ellipse">
            <a:avLst/>
          </a:prstGeom>
          <a:solidFill>
            <a:schemeClr val="bg1"/>
          </a:solid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800" b="1">
                <a:solidFill>
                  <a:schemeClr val="accent4"/>
                </a:solidFill>
                <a:latin typeface="Arial"/>
                <a:cs typeface="Arial"/>
              </a:rPr>
              <a:t>4</a:t>
            </a:r>
            <a:endParaRPr lang="en-US" sz="2800" b="1" i="0">
              <a:solidFill>
                <a:schemeClr val="accent4"/>
              </a:solidFill>
              <a:latin typeface="Arial"/>
              <a:cs typeface="Arial"/>
            </a:endParaRPr>
          </a:p>
        </p:txBody>
      </p:sp>
      <p:sp>
        <p:nvSpPr>
          <p:cNvPr id="58" name="Oval 57">
            <a:extLst>
              <a:ext uri="{FF2B5EF4-FFF2-40B4-BE49-F238E27FC236}">
                <a16:creationId xmlns:a16="http://schemas.microsoft.com/office/drawing/2014/main" id="{3EF07D3C-3A87-438C-941D-00B221A86105}"/>
              </a:ext>
            </a:extLst>
          </p:cNvPr>
          <p:cNvSpPr/>
          <p:nvPr/>
        </p:nvSpPr>
        <p:spPr>
          <a:xfrm>
            <a:off x="5728455" y="3860455"/>
            <a:ext cx="731520" cy="731520"/>
          </a:xfrm>
          <a:prstGeom prst="ellipse">
            <a:avLst/>
          </a:prstGeom>
          <a:solidFill>
            <a:schemeClr val="bg1"/>
          </a:solid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800" b="1" i="0">
                <a:solidFill>
                  <a:schemeClr val="accent5"/>
                </a:solidFill>
                <a:latin typeface="Arial"/>
                <a:cs typeface="Arial"/>
              </a:rPr>
              <a:t>5</a:t>
            </a:r>
          </a:p>
        </p:txBody>
      </p:sp>
      <p:pic>
        <p:nvPicPr>
          <p:cNvPr id="65" name="Picture 64" descr="A person sitting at a desk&#10;&#10;Description automatically generated with medium confidence">
            <a:extLst>
              <a:ext uri="{FF2B5EF4-FFF2-40B4-BE49-F238E27FC236}">
                <a16:creationId xmlns:a16="http://schemas.microsoft.com/office/drawing/2014/main" id="{544A0E6E-F2D6-485D-87C2-A9803A3AB2B5}"/>
              </a:ext>
            </a:extLst>
          </p:cNvPr>
          <p:cNvPicPr>
            <a:picLocks noChangeAspect="1"/>
          </p:cNvPicPr>
          <p:nvPr/>
        </p:nvPicPr>
        <p:blipFill rotWithShape="1">
          <a:blip r:embed="rId3"/>
          <a:srcRect l="33416" t="1789" r="9954" b="13320"/>
          <a:stretch/>
        </p:blipFill>
        <p:spPr>
          <a:xfrm flipH="1">
            <a:off x="394891" y="270154"/>
            <a:ext cx="813816" cy="813816"/>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pic>
        <p:nvPicPr>
          <p:cNvPr id="69" name="Picture 68">
            <a:extLst>
              <a:ext uri="{FF2B5EF4-FFF2-40B4-BE49-F238E27FC236}">
                <a16:creationId xmlns:a16="http://schemas.microsoft.com/office/drawing/2014/main" id="{743D61A4-23C9-450C-8D3E-3C90E2659E2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941321" y="4678864"/>
            <a:ext cx="1852613" cy="1517597"/>
          </a:xfrm>
          <a:prstGeom prst="rect">
            <a:avLst/>
          </a:prstGeom>
        </p:spPr>
      </p:pic>
    </p:spTree>
    <p:extLst>
      <p:ext uri="{BB962C8B-B14F-4D97-AF65-F5344CB8AC3E}">
        <p14:creationId xmlns:p14="http://schemas.microsoft.com/office/powerpoint/2010/main" val="417618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0BAD30D8-C269-4867-9651-AF635B94C06E}"/>
              </a:ext>
            </a:extLst>
          </p:cNvPr>
          <p:cNvSpPr>
            <a:spLocks noGrp="1"/>
          </p:cNvSpPr>
          <p:nvPr>
            <p:ph type="title"/>
          </p:nvPr>
        </p:nvSpPr>
        <p:spPr>
          <a:xfrm>
            <a:off x="1431056" y="357188"/>
            <a:ext cx="6416579" cy="690562"/>
          </a:xfrm>
        </p:spPr>
        <p:txBody>
          <a:bodyPr/>
          <a:lstStyle/>
          <a:p>
            <a:r>
              <a:rPr lang="en-US" dirty="0"/>
              <a:t>Jane launches automations directly from her desktop </a:t>
            </a:r>
            <a:r>
              <a:rPr lang="en-US" dirty="0">
                <a:solidFill>
                  <a:schemeClr val="accent1"/>
                </a:solidFill>
              </a:rPr>
              <a:t>digital assistant</a:t>
            </a:r>
          </a:p>
        </p:txBody>
      </p:sp>
      <p:pic>
        <p:nvPicPr>
          <p:cNvPr id="22" name="Picture 21" descr="A person sitting at a desk&#10;&#10;Description automatically generated with medium confidence">
            <a:extLst>
              <a:ext uri="{FF2B5EF4-FFF2-40B4-BE49-F238E27FC236}">
                <a16:creationId xmlns:a16="http://schemas.microsoft.com/office/drawing/2014/main" id="{C7844931-EC0E-419B-A072-CBFC089F5641}"/>
              </a:ext>
            </a:extLst>
          </p:cNvPr>
          <p:cNvPicPr>
            <a:picLocks noChangeAspect="1"/>
          </p:cNvPicPr>
          <p:nvPr/>
        </p:nvPicPr>
        <p:blipFill rotWithShape="1">
          <a:blip r:embed="rId3"/>
          <a:srcRect l="33416" t="1789" r="9954" b="13320"/>
          <a:stretch/>
        </p:blipFill>
        <p:spPr>
          <a:xfrm flipH="1">
            <a:off x="394891" y="270154"/>
            <a:ext cx="813816" cy="813816"/>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sp>
        <p:nvSpPr>
          <p:cNvPr id="46" name="TextBox 45">
            <a:extLst>
              <a:ext uri="{FF2B5EF4-FFF2-40B4-BE49-F238E27FC236}">
                <a16:creationId xmlns:a16="http://schemas.microsoft.com/office/drawing/2014/main" id="{62A6E38D-3566-4F5C-93AC-11A9C58BE61E}"/>
              </a:ext>
            </a:extLst>
          </p:cNvPr>
          <p:cNvSpPr txBox="1"/>
          <p:nvPr/>
        </p:nvSpPr>
        <p:spPr>
          <a:xfrm>
            <a:off x="7509773" y="1787968"/>
            <a:ext cx="3907527" cy="830997"/>
          </a:xfrm>
          <a:prstGeom prst="rect">
            <a:avLst/>
          </a:prstGeom>
          <a:noFill/>
        </p:spPr>
        <p:txBody>
          <a:bodyPr wrap="square" lIns="91440" tIns="45720" rIns="91440" bIns="45720" anchor="t">
            <a:spAutoFit/>
          </a:bodyPr>
          <a:lstStyle/>
          <a:p>
            <a:r>
              <a:rPr lang="en-US" sz="1600" b="1" i="0" dirty="0">
                <a:effectLst/>
                <a:latin typeface="Arial"/>
                <a:cs typeface="Arial"/>
              </a:rPr>
              <a:t>Simple, user-friendly </a:t>
            </a:r>
            <a:r>
              <a:rPr lang="en-US" sz="1600" i="0" dirty="0">
                <a:effectLst/>
                <a:latin typeface="Arial"/>
                <a:cs typeface="Arial"/>
              </a:rPr>
              <a:t>automation experience for Jane and every employee in her organization</a:t>
            </a:r>
            <a:endParaRPr lang="en-US" sz="1600" dirty="0"/>
          </a:p>
        </p:txBody>
      </p:sp>
      <p:pic>
        <p:nvPicPr>
          <p:cNvPr id="30" name="Graphic 29">
            <a:extLst>
              <a:ext uri="{FF2B5EF4-FFF2-40B4-BE49-F238E27FC236}">
                <a16:creationId xmlns:a16="http://schemas.microsoft.com/office/drawing/2014/main" id="{F029257A-5F64-46D6-A573-AA6773AD3F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31040" y="2000449"/>
            <a:ext cx="406034" cy="406034"/>
          </a:xfrm>
          <a:prstGeom prst="rect">
            <a:avLst/>
          </a:prstGeom>
        </p:spPr>
      </p:pic>
      <p:sp>
        <p:nvSpPr>
          <p:cNvPr id="40" name="TextBox 39">
            <a:extLst>
              <a:ext uri="{FF2B5EF4-FFF2-40B4-BE49-F238E27FC236}">
                <a16:creationId xmlns:a16="http://schemas.microsoft.com/office/drawing/2014/main" id="{89C0B7B3-BE89-4416-AD69-04C58567799E}"/>
              </a:ext>
            </a:extLst>
          </p:cNvPr>
          <p:cNvSpPr txBox="1"/>
          <p:nvPr/>
        </p:nvSpPr>
        <p:spPr>
          <a:xfrm>
            <a:off x="7504030" y="2971030"/>
            <a:ext cx="4295442" cy="584775"/>
          </a:xfrm>
          <a:prstGeom prst="rect">
            <a:avLst/>
          </a:prstGeom>
          <a:noFill/>
        </p:spPr>
        <p:txBody>
          <a:bodyPr wrap="square" lIns="91440" tIns="45720" rIns="91440" bIns="45720" anchor="t">
            <a:spAutoFit/>
          </a:bodyPr>
          <a:lstStyle/>
          <a:p>
            <a:r>
              <a:rPr lang="en-US" sz="1600" b="1">
                <a:latin typeface="Arial"/>
                <a:cs typeface="Arial"/>
              </a:rPr>
              <a:t>One click to automate mundane tasks </a:t>
            </a:r>
            <a:r>
              <a:rPr lang="en-US" sz="1600">
                <a:latin typeface="Arial"/>
                <a:cs typeface="Arial"/>
              </a:rPr>
              <a:t>across web and desktop apps</a:t>
            </a:r>
            <a:endParaRPr lang="en-US" sz="1600">
              <a:cs typeface="Arial"/>
            </a:endParaRPr>
          </a:p>
        </p:txBody>
      </p:sp>
      <p:pic>
        <p:nvPicPr>
          <p:cNvPr id="38" name="Graphic 37">
            <a:extLst>
              <a:ext uri="{FF2B5EF4-FFF2-40B4-BE49-F238E27FC236}">
                <a16:creationId xmlns:a16="http://schemas.microsoft.com/office/drawing/2014/main" id="{56C7AAC3-5115-4CD1-892D-20FF2B9AE14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721100" y="3060400"/>
            <a:ext cx="406034" cy="406034"/>
          </a:xfrm>
          <a:prstGeom prst="rect">
            <a:avLst/>
          </a:prstGeom>
        </p:spPr>
      </p:pic>
      <p:sp>
        <p:nvSpPr>
          <p:cNvPr id="27" name="TextBox 26">
            <a:extLst>
              <a:ext uri="{FF2B5EF4-FFF2-40B4-BE49-F238E27FC236}">
                <a16:creationId xmlns:a16="http://schemas.microsoft.com/office/drawing/2014/main" id="{8D699B5C-AAC3-4D7E-ABB1-DFDF9B0F104E}"/>
              </a:ext>
            </a:extLst>
          </p:cNvPr>
          <p:cNvSpPr txBox="1"/>
          <p:nvPr/>
        </p:nvSpPr>
        <p:spPr>
          <a:xfrm>
            <a:off x="7533028" y="4037076"/>
            <a:ext cx="4011272" cy="830997"/>
          </a:xfrm>
          <a:prstGeom prst="rect">
            <a:avLst/>
          </a:prstGeom>
          <a:noFill/>
        </p:spPr>
        <p:txBody>
          <a:bodyPr wrap="square">
            <a:spAutoFit/>
          </a:bodyPr>
          <a:lstStyle/>
          <a:p>
            <a:r>
              <a:rPr lang="en-US" sz="1600" b="1">
                <a:latin typeface="Arial" panose="020B0604020202020204" pitchFamily="34" charset="0"/>
              </a:rPr>
              <a:t>Fully governed by Jane’s organization </a:t>
            </a:r>
            <a:r>
              <a:rPr lang="en-US" sz="1600">
                <a:latin typeface="Arial" panose="020B0604020202020204" pitchFamily="34" charset="0"/>
              </a:rPr>
              <a:t>to provide employees with secure, </a:t>
            </a:r>
            <a:br>
              <a:rPr lang="en-US" sz="1600">
                <a:latin typeface="Arial" panose="020B0604020202020204" pitchFamily="34" charset="0"/>
              </a:rPr>
            </a:br>
            <a:r>
              <a:rPr lang="en-US" sz="1600">
                <a:latin typeface="Arial" panose="020B0604020202020204" pitchFamily="34" charset="0"/>
              </a:rPr>
              <a:t>pre-approved automations</a:t>
            </a:r>
            <a:endParaRPr lang="en-US" sz="1600"/>
          </a:p>
        </p:txBody>
      </p:sp>
      <p:pic>
        <p:nvPicPr>
          <p:cNvPr id="42" name="Graphic 41">
            <a:extLst>
              <a:ext uri="{FF2B5EF4-FFF2-40B4-BE49-F238E27FC236}">
                <a16:creationId xmlns:a16="http://schemas.microsoft.com/office/drawing/2014/main" id="{4CD71719-75B8-4309-9513-8A2547E5327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731039" y="4249557"/>
            <a:ext cx="406034" cy="406034"/>
          </a:xfrm>
          <a:prstGeom prst="rect">
            <a:avLst/>
          </a:prstGeom>
        </p:spPr>
      </p:pic>
      <p:grpSp>
        <p:nvGrpSpPr>
          <p:cNvPr id="26" name="Group 25">
            <a:extLst>
              <a:ext uri="{FF2B5EF4-FFF2-40B4-BE49-F238E27FC236}">
                <a16:creationId xmlns:a16="http://schemas.microsoft.com/office/drawing/2014/main" id="{1BB65157-655C-428E-BBCD-6B72190C5E02}"/>
              </a:ext>
            </a:extLst>
          </p:cNvPr>
          <p:cNvGrpSpPr/>
          <p:nvPr/>
        </p:nvGrpSpPr>
        <p:grpSpPr>
          <a:xfrm>
            <a:off x="644524" y="1750551"/>
            <a:ext cx="2503094" cy="4774432"/>
            <a:chOff x="394891" y="1673393"/>
            <a:chExt cx="2422253" cy="4620235"/>
          </a:xfrm>
        </p:grpSpPr>
        <p:sp>
          <p:nvSpPr>
            <p:cNvPr id="28" name="TextBox 27">
              <a:extLst>
                <a:ext uri="{FF2B5EF4-FFF2-40B4-BE49-F238E27FC236}">
                  <a16:creationId xmlns:a16="http://schemas.microsoft.com/office/drawing/2014/main" id="{355C3220-13F7-4C6D-BC58-18A4898C9FB7}"/>
                </a:ext>
              </a:extLst>
            </p:cNvPr>
            <p:cNvSpPr txBox="1"/>
            <p:nvPr/>
          </p:nvSpPr>
          <p:spPr>
            <a:xfrm>
              <a:off x="394891" y="5955074"/>
              <a:ext cx="2205801" cy="338554"/>
            </a:xfrm>
            <a:prstGeom prst="rect">
              <a:avLst/>
            </a:prstGeom>
            <a:noFill/>
          </p:spPr>
          <p:txBody>
            <a:bodyPr wrap="square" lIns="91440" tIns="45720" rIns="91440" bIns="45720" anchor="t">
              <a:spAutoFit/>
            </a:bodyPr>
            <a:lstStyle/>
            <a:p>
              <a:pPr algn="ctr"/>
              <a:r>
                <a:rPr lang="en-US" sz="1600" b="1" i="1">
                  <a:solidFill>
                    <a:schemeClr val="accent1"/>
                  </a:solidFill>
                </a:rPr>
                <a:t>UiPath Assistant</a:t>
              </a:r>
              <a:endParaRPr lang="en-US" sz="1600" b="1" i="1"/>
            </a:p>
          </p:txBody>
        </p:sp>
        <p:pic>
          <p:nvPicPr>
            <p:cNvPr id="33" name="Picture 32" descr="Graphical user interface, text, application, Teams&#10;&#10;Description automatically generated">
              <a:extLst>
                <a:ext uri="{FF2B5EF4-FFF2-40B4-BE49-F238E27FC236}">
                  <a16:creationId xmlns:a16="http://schemas.microsoft.com/office/drawing/2014/main" id="{C89ED249-FE7E-40E4-B496-004B2DC691C0}"/>
                </a:ext>
              </a:extLst>
            </p:cNvPr>
            <p:cNvPicPr>
              <a:picLocks noChangeAspect="1"/>
            </p:cNvPicPr>
            <p:nvPr/>
          </p:nvPicPr>
          <p:blipFill rotWithShape="1">
            <a:blip r:embed="rId10"/>
            <a:srcRect l="7319" t="3187" r="8029" b="4167"/>
            <a:stretch/>
          </p:blipFill>
          <p:spPr>
            <a:xfrm>
              <a:off x="456692" y="1673393"/>
              <a:ext cx="2360452" cy="4243790"/>
            </a:xfrm>
            <a:prstGeom prst="rect">
              <a:avLst/>
            </a:prstGeom>
            <a:effectLst>
              <a:outerShdw blurRad="228600" dist="50800" dir="8100000" algn="tr" rotWithShape="0">
                <a:prstClr val="black">
                  <a:alpha val="20000"/>
                </a:prstClr>
              </a:outerShdw>
            </a:effectLst>
          </p:spPr>
        </p:pic>
      </p:grpSp>
      <p:sp>
        <p:nvSpPr>
          <p:cNvPr id="16" name="TextBox 15">
            <a:extLst>
              <a:ext uri="{FF2B5EF4-FFF2-40B4-BE49-F238E27FC236}">
                <a16:creationId xmlns:a16="http://schemas.microsoft.com/office/drawing/2014/main" id="{6D5E3991-CD60-405A-BB61-C3F4E78F4157}"/>
              </a:ext>
            </a:extLst>
          </p:cNvPr>
          <p:cNvSpPr txBox="1"/>
          <p:nvPr/>
        </p:nvSpPr>
        <p:spPr>
          <a:xfrm>
            <a:off x="7527064" y="5341542"/>
            <a:ext cx="4508726" cy="830997"/>
          </a:xfrm>
          <a:prstGeom prst="rect">
            <a:avLst/>
          </a:prstGeom>
          <a:noFill/>
        </p:spPr>
        <p:txBody>
          <a:bodyPr wrap="square">
            <a:spAutoFit/>
          </a:bodyPr>
          <a:lstStyle/>
          <a:p>
            <a:r>
              <a:rPr lang="en-US" sz="1600"/>
              <a:t>Can be shared with Jane’s colleagues who are using </a:t>
            </a:r>
            <a:r>
              <a:rPr lang="en-US" sz="1600" b="1"/>
              <a:t>Mac computers </a:t>
            </a:r>
            <a:r>
              <a:rPr lang="en-US" sz="1600"/>
              <a:t>(available in preview in Q4 2021)</a:t>
            </a:r>
          </a:p>
        </p:txBody>
      </p:sp>
      <p:pic>
        <p:nvPicPr>
          <p:cNvPr id="17" name="Graphic 16">
            <a:extLst>
              <a:ext uri="{FF2B5EF4-FFF2-40B4-BE49-F238E27FC236}">
                <a16:creationId xmlns:a16="http://schemas.microsoft.com/office/drawing/2014/main" id="{D11F2CD0-ABEB-4EBA-BE00-48A0E8787694}"/>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725076" y="5430912"/>
            <a:ext cx="406034" cy="406034"/>
          </a:xfrm>
          <a:prstGeom prst="rect">
            <a:avLst/>
          </a:prstGeom>
        </p:spPr>
      </p:pic>
      <p:pic>
        <p:nvPicPr>
          <p:cNvPr id="3" name="Picture 2" descr="Graphical user interface, application, Teams&#10;&#10;Description automatically generated">
            <a:extLst>
              <a:ext uri="{FF2B5EF4-FFF2-40B4-BE49-F238E27FC236}">
                <a16:creationId xmlns:a16="http://schemas.microsoft.com/office/drawing/2014/main" id="{A2CEC14D-8823-4BD0-B5D1-2036878D3A70}"/>
              </a:ext>
            </a:extLst>
          </p:cNvPr>
          <p:cNvPicPr>
            <a:picLocks noChangeAspect="1"/>
          </p:cNvPicPr>
          <p:nvPr/>
        </p:nvPicPr>
        <p:blipFill rotWithShape="1">
          <a:blip r:embed="rId13"/>
          <a:srcRect l="7470" t="3409" r="7659" b="2414"/>
          <a:stretch/>
        </p:blipFill>
        <p:spPr>
          <a:xfrm>
            <a:off x="2731626" y="1474809"/>
            <a:ext cx="2841946" cy="5053313"/>
          </a:xfrm>
          <a:prstGeom prst="rect">
            <a:avLst/>
          </a:prstGeom>
          <a:effectLst>
            <a:outerShdw blurRad="228600" dist="50800" dir="8100000" algn="ctr" rotWithShape="0">
              <a:srgbClr val="000000">
                <a:alpha val="20000"/>
              </a:srgbClr>
            </a:outerShdw>
          </a:effectLst>
        </p:spPr>
      </p:pic>
    </p:spTree>
    <p:extLst>
      <p:ext uri="{BB962C8B-B14F-4D97-AF65-F5344CB8AC3E}">
        <p14:creationId xmlns:p14="http://schemas.microsoft.com/office/powerpoint/2010/main" val="945054744"/>
      </p:ext>
    </p:extLst>
  </p:cSld>
  <p:clrMapOvr>
    <a:masterClrMapping/>
  </p:clrMapOvr>
  <mc:AlternateContent xmlns:mc="http://schemas.openxmlformats.org/markup-compatibility/2006" xmlns:p14="http://schemas.microsoft.com/office/powerpoint/2010/main">
    <mc:Choice Requires="p14">
      <p:transition spd="slow" p14:dur="2000" advTm="36181"/>
    </mc:Choice>
    <mc:Fallback xmlns="">
      <p:transition spd="slow" advTm="36181"/>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application&#10;&#10;Description automatically generated">
            <a:extLst>
              <a:ext uri="{FF2B5EF4-FFF2-40B4-BE49-F238E27FC236}">
                <a16:creationId xmlns:a16="http://schemas.microsoft.com/office/drawing/2014/main" id="{F79F4B83-FA3D-4F7F-B989-3F0211F1FF4B}"/>
              </a:ext>
            </a:extLst>
          </p:cNvPr>
          <p:cNvPicPr>
            <a:picLocks noChangeAspect="1"/>
          </p:cNvPicPr>
          <p:nvPr/>
        </p:nvPicPr>
        <p:blipFill rotWithShape="1">
          <a:blip r:embed="rId3"/>
          <a:srcRect l="7250" t="2701" r="7537" b="2363"/>
          <a:stretch/>
        </p:blipFill>
        <p:spPr>
          <a:xfrm>
            <a:off x="1111170" y="1261641"/>
            <a:ext cx="2604303" cy="5192661"/>
          </a:xfrm>
          <a:prstGeom prst="rect">
            <a:avLst/>
          </a:prstGeom>
          <a:effectLst>
            <a:outerShdw blurRad="228600" dist="50800" dir="8100000" algn="ctr" rotWithShape="0">
              <a:srgbClr val="000000">
                <a:alpha val="20000"/>
              </a:srgbClr>
            </a:outerShdw>
          </a:effectLst>
        </p:spPr>
      </p:pic>
      <p:sp>
        <p:nvSpPr>
          <p:cNvPr id="46" name="TextBox 45">
            <a:extLst>
              <a:ext uri="{FF2B5EF4-FFF2-40B4-BE49-F238E27FC236}">
                <a16:creationId xmlns:a16="http://schemas.microsoft.com/office/drawing/2014/main" id="{4FB2ED34-2654-43FE-BBC9-28CCD0CEC6A6}"/>
              </a:ext>
            </a:extLst>
          </p:cNvPr>
          <p:cNvSpPr txBox="1"/>
          <p:nvPr/>
        </p:nvSpPr>
        <p:spPr>
          <a:xfrm>
            <a:off x="6003235" y="4356057"/>
            <a:ext cx="5865812" cy="584775"/>
          </a:xfrm>
          <a:prstGeom prst="rect">
            <a:avLst/>
          </a:prstGeom>
          <a:noFill/>
        </p:spPr>
        <p:txBody>
          <a:bodyPr wrap="square" lIns="0" rIns="0">
            <a:spAutoFit/>
          </a:bodyPr>
          <a:lstStyle/>
          <a:p>
            <a:r>
              <a:rPr lang="en-US" sz="1600" b="1"/>
              <a:t>Automations</a:t>
            </a:r>
            <a:r>
              <a:rPr lang="en-US" sz="1600"/>
              <a:t> like “schedule a meeting” help Jane </a:t>
            </a:r>
            <a:r>
              <a:rPr lang="en-US" sz="1600" b="1"/>
              <a:t>plan &amp; organize her day</a:t>
            </a:r>
          </a:p>
        </p:txBody>
      </p:sp>
      <p:sp>
        <p:nvSpPr>
          <p:cNvPr id="55" name="TextBox 54">
            <a:extLst>
              <a:ext uri="{FF2B5EF4-FFF2-40B4-BE49-F238E27FC236}">
                <a16:creationId xmlns:a16="http://schemas.microsoft.com/office/drawing/2014/main" id="{E5902644-D0EC-4D79-ABDA-4506A1870C41}"/>
              </a:ext>
            </a:extLst>
          </p:cNvPr>
          <p:cNvSpPr txBox="1"/>
          <p:nvPr/>
        </p:nvSpPr>
        <p:spPr>
          <a:xfrm>
            <a:off x="6033052" y="5353614"/>
            <a:ext cx="5865812" cy="584775"/>
          </a:xfrm>
          <a:prstGeom prst="rect">
            <a:avLst/>
          </a:prstGeom>
          <a:noFill/>
        </p:spPr>
        <p:txBody>
          <a:bodyPr wrap="square" lIns="0" rIns="0">
            <a:spAutoFit/>
          </a:bodyPr>
          <a:lstStyle/>
          <a:p>
            <a:r>
              <a:rPr lang="en-US" sz="1600" b="1"/>
              <a:t>Automation-powered apps </a:t>
            </a:r>
            <a:r>
              <a:rPr lang="en-US" sz="1600"/>
              <a:t>help Jane get information from </a:t>
            </a:r>
            <a:r>
              <a:rPr lang="en-US" sz="1600" b="1"/>
              <a:t>multiple systems in one place</a:t>
            </a:r>
            <a:endParaRPr lang="en-GB" sz="1600" b="1">
              <a:cs typeface="Arial" panose="020B0604020202020204" pitchFamily="34" charset="0"/>
            </a:endParaRPr>
          </a:p>
        </p:txBody>
      </p:sp>
      <p:sp>
        <p:nvSpPr>
          <p:cNvPr id="33" name="TextBox 32">
            <a:extLst>
              <a:ext uri="{FF2B5EF4-FFF2-40B4-BE49-F238E27FC236}">
                <a16:creationId xmlns:a16="http://schemas.microsoft.com/office/drawing/2014/main" id="{4BF1867F-E9C3-49EF-9498-52BB081313EB}"/>
              </a:ext>
            </a:extLst>
          </p:cNvPr>
          <p:cNvSpPr txBox="1"/>
          <p:nvPr/>
        </p:nvSpPr>
        <p:spPr>
          <a:xfrm>
            <a:off x="6023113" y="2657251"/>
            <a:ext cx="5865812" cy="584775"/>
          </a:xfrm>
          <a:prstGeom prst="rect">
            <a:avLst/>
          </a:prstGeom>
          <a:noFill/>
        </p:spPr>
        <p:txBody>
          <a:bodyPr wrap="square" lIns="0" rIns="0">
            <a:spAutoFit/>
          </a:bodyPr>
          <a:lstStyle/>
          <a:p>
            <a:r>
              <a:rPr lang="en-US" sz="1600" b="1"/>
              <a:t>Automations</a:t>
            </a:r>
            <a:r>
              <a:rPr lang="en-US" sz="1600"/>
              <a:t> like “generate a finance report” help Jane with </a:t>
            </a:r>
            <a:r>
              <a:rPr lang="en-US" sz="1600" b="1"/>
              <a:t>tasks specific to her role</a:t>
            </a:r>
          </a:p>
        </p:txBody>
      </p:sp>
      <p:pic>
        <p:nvPicPr>
          <p:cNvPr id="27" name="Graphic 26">
            <a:extLst>
              <a:ext uri="{FF2B5EF4-FFF2-40B4-BE49-F238E27FC236}">
                <a16:creationId xmlns:a16="http://schemas.microsoft.com/office/drawing/2014/main" id="{B33FAEA3-3B85-43B6-89F4-2565A8606B17}"/>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114281" y="2746621"/>
            <a:ext cx="406034" cy="406034"/>
          </a:xfrm>
          <a:prstGeom prst="rect">
            <a:avLst/>
          </a:prstGeom>
        </p:spPr>
      </p:pic>
      <p:pic>
        <p:nvPicPr>
          <p:cNvPr id="31" name="Graphic 30">
            <a:extLst>
              <a:ext uri="{FF2B5EF4-FFF2-40B4-BE49-F238E27FC236}">
                <a16:creationId xmlns:a16="http://schemas.microsoft.com/office/drawing/2014/main" id="{B7385AD1-37FC-4D6B-8338-6148093222C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074102" y="4422371"/>
            <a:ext cx="446637" cy="446637"/>
          </a:xfrm>
          <a:prstGeom prst="rect">
            <a:avLst/>
          </a:prstGeom>
        </p:spPr>
      </p:pic>
      <p:pic>
        <p:nvPicPr>
          <p:cNvPr id="35" name="Graphic 34">
            <a:extLst>
              <a:ext uri="{FF2B5EF4-FFF2-40B4-BE49-F238E27FC236}">
                <a16:creationId xmlns:a16="http://schemas.microsoft.com/office/drawing/2014/main" id="{4E1177F4-BD65-46F5-B683-90B44E4D43B6}"/>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124220" y="5442984"/>
            <a:ext cx="406034" cy="406034"/>
          </a:xfrm>
          <a:prstGeom prst="rect">
            <a:avLst/>
          </a:prstGeom>
        </p:spPr>
      </p:pic>
      <p:cxnSp>
        <p:nvCxnSpPr>
          <p:cNvPr id="37" name="Straight Connector 36">
            <a:extLst>
              <a:ext uri="{FF2B5EF4-FFF2-40B4-BE49-F238E27FC236}">
                <a16:creationId xmlns:a16="http://schemas.microsoft.com/office/drawing/2014/main" id="{A58D078B-C54C-4494-9C3B-B4CDBB8DA539}"/>
              </a:ext>
            </a:extLst>
          </p:cNvPr>
          <p:cNvCxnSpPr>
            <a:cxnSpLocks/>
          </p:cNvCxnSpPr>
          <p:nvPr/>
        </p:nvCxnSpPr>
        <p:spPr>
          <a:xfrm>
            <a:off x="2562540" y="4658383"/>
            <a:ext cx="1900130" cy="0"/>
          </a:xfrm>
          <a:prstGeom prst="line">
            <a:avLst/>
          </a:prstGeom>
          <a:ln w="19050" cap="rnd" cmpd="sng" algn="ctr">
            <a:solidFill>
              <a:schemeClr val="accent1"/>
            </a:solidFill>
            <a:prstDash val="sysDot"/>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7C42E2A1-B1AB-46B6-8B1D-F1B979F0FF61}"/>
              </a:ext>
            </a:extLst>
          </p:cNvPr>
          <p:cNvCxnSpPr>
            <a:cxnSpLocks/>
          </p:cNvCxnSpPr>
          <p:nvPr/>
        </p:nvCxnSpPr>
        <p:spPr>
          <a:xfrm>
            <a:off x="3656736" y="5636061"/>
            <a:ext cx="736360" cy="0"/>
          </a:xfrm>
          <a:prstGeom prst="line">
            <a:avLst/>
          </a:prstGeom>
          <a:ln w="19050" cap="rnd" cmpd="sng" algn="ctr">
            <a:solidFill>
              <a:schemeClr val="accent1"/>
            </a:solidFill>
            <a:prstDash val="sysDot"/>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7F501A26-D660-4B10-94EA-C2F1DA8F7F8F}"/>
              </a:ext>
            </a:extLst>
          </p:cNvPr>
          <p:cNvSpPr txBox="1">
            <a:spLocks/>
          </p:cNvSpPr>
          <p:nvPr/>
        </p:nvSpPr>
        <p:spPr>
          <a:xfrm>
            <a:off x="1431056" y="357188"/>
            <a:ext cx="6416579" cy="690562"/>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t>Jane’s digital assistant </a:t>
            </a:r>
            <a:r>
              <a:rPr lang="en-US">
                <a:solidFill>
                  <a:schemeClr val="accent1"/>
                </a:solidFill>
              </a:rPr>
              <a:t>helps her with her work throughout the day</a:t>
            </a:r>
          </a:p>
        </p:txBody>
      </p:sp>
      <p:pic>
        <p:nvPicPr>
          <p:cNvPr id="18" name="Picture 17" descr="A person sitting at a desk&#10;&#10;Description automatically generated with medium confidence">
            <a:extLst>
              <a:ext uri="{FF2B5EF4-FFF2-40B4-BE49-F238E27FC236}">
                <a16:creationId xmlns:a16="http://schemas.microsoft.com/office/drawing/2014/main" id="{8FEE7047-2414-439D-8B4F-9638FC69E6DB}"/>
              </a:ext>
            </a:extLst>
          </p:cNvPr>
          <p:cNvPicPr>
            <a:picLocks noChangeAspect="1"/>
          </p:cNvPicPr>
          <p:nvPr/>
        </p:nvPicPr>
        <p:blipFill rotWithShape="1">
          <a:blip r:embed="rId10"/>
          <a:srcRect l="33416" t="1789" r="9954" b="13320"/>
          <a:stretch/>
        </p:blipFill>
        <p:spPr>
          <a:xfrm flipH="1">
            <a:off x="394891" y="270154"/>
            <a:ext cx="813816" cy="813816"/>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cxnSp>
        <p:nvCxnSpPr>
          <p:cNvPr id="19" name="Straight Connector 18">
            <a:extLst>
              <a:ext uri="{FF2B5EF4-FFF2-40B4-BE49-F238E27FC236}">
                <a16:creationId xmlns:a16="http://schemas.microsoft.com/office/drawing/2014/main" id="{D405F7AA-9161-471B-BCFE-7B5938C2E4B0}"/>
              </a:ext>
            </a:extLst>
          </p:cNvPr>
          <p:cNvCxnSpPr>
            <a:cxnSpLocks/>
          </p:cNvCxnSpPr>
          <p:nvPr/>
        </p:nvCxnSpPr>
        <p:spPr>
          <a:xfrm>
            <a:off x="2764636" y="2942227"/>
            <a:ext cx="1737790" cy="0"/>
          </a:xfrm>
          <a:prstGeom prst="line">
            <a:avLst/>
          </a:prstGeom>
          <a:ln w="19050" cap="rnd" cmpd="sng" algn="ctr">
            <a:solidFill>
              <a:schemeClr val="accent1"/>
            </a:solidFill>
            <a:prstDash val="sysDot"/>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84953746"/>
      </p:ext>
    </p:extLst>
  </p:cSld>
  <p:clrMapOvr>
    <a:masterClrMapping/>
  </p:clrMapOvr>
  <mc:AlternateContent xmlns:mc="http://schemas.openxmlformats.org/markup-compatibility/2006" xmlns:p14="http://schemas.microsoft.com/office/powerpoint/2010/main">
    <mc:Choice Requires="p14">
      <p:transition spd="slow" p14:dur="2000" advTm="37245"/>
    </mc:Choice>
    <mc:Fallback xmlns="">
      <p:transition spd="slow" advTm="37245"/>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F40D736-DCFB-4E80-AF88-8C3BDF949FB6}"/>
              </a:ext>
            </a:extLst>
          </p:cNvPr>
          <p:cNvGrpSpPr/>
          <p:nvPr/>
        </p:nvGrpSpPr>
        <p:grpSpPr>
          <a:xfrm>
            <a:off x="394892" y="1614750"/>
            <a:ext cx="5699520" cy="4490092"/>
            <a:chOff x="394892" y="1614750"/>
            <a:chExt cx="5699520" cy="4490092"/>
          </a:xfrm>
        </p:grpSpPr>
        <p:pic>
          <p:nvPicPr>
            <p:cNvPr id="7" name="Picture 6" descr="Graphical user interface, application, Word&#10;&#10;Description automatically generated">
              <a:extLst>
                <a:ext uri="{FF2B5EF4-FFF2-40B4-BE49-F238E27FC236}">
                  <a16:creationId xmlns:a16="http://schemas.microsoft.com/office/drawing/2014/main" id="{775D8C8C-32DD-45F3-A629-21CA74D1689C}"/>
                </a:ext>
              </a:extLst>
            </p:cNvPr>
            <p:cNvPicPr>
              <a:picLocks noChangeAspect="1"/>
            </p:cNvPicPr>
            <p:nvPr/>
          </p:nvPicPr>
          <p:blipFill>
            <a:blip r:embed="rId3"/>
            <a:stretch>
              <a:fillRect/>
            </a:stretch>
          </p:blipFill>
          <p:spPr>
            <a:xfrm>
              <a:off x="394892" y="1614750"/>
              <a:ext cx="5699520" cy="4490092"/>
            </a:xfrm>
            <a:prstGeom prst="rect">
              <a:avLst/>
            </a:prstGeom>
            <a:effectLst>
              <a:outerShdw blurRad="50800" dist="38100" dir="8100000" algn="tr" rotWithShape="0">
                <a:prstClr val="black">
                  <a:alpha val="20000"/>
                </a:prstClr>
              </a:outerShdw>
            </a:effectLst>
          </p:spPr>
        </p:pic>
        <p:sp>
          <p:nvSpPr>
            <p:cNvPr id="8" name="Rectangle 7">
              <a:extLst>
                <a:ext uri="{FF2B5EF4-FFF2-40B4-BE49-F238E27FC236}">
                  <a16:creationId xmlns:a16="http://schemas.microsoft.com/office/drawing/2014/main" id="{604E0023-7A1F-40E6-812B-421AD0820E1D}"/>
                </a:ext>
              </a:extLst>
            </p:cNvPr>
            <p:cNvSpPr/>
            <p:nvPr/>
          </p:nvSpPr>
          <p:spPr>
            <a:xfrm>
              <a:off x="4530683" y="1981011"/>
              <a:ext cx="1514273" cy="237824"/>
            </a:xfrm>
            <a:prstGeom prst="rect">
              <a:avLst/>
            </a:prstGeom>
            <a:solidFill>
              <a:srgbClr val="F9FB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grpSp>
      <p:sp>
        <p:nvSpPr>
          <p:cNvPr id="15" name="Title 1">
            <a:extLst>
              <a:ext uri="{FF2B5EF4-FFF2-40B4-BE49-F238E27FC236}">
                <a16:creationId xmlns:a16="http://schemas.microsoft.com/office/drawing/2014/main" id="{A59BC223-5E9B-40DF-920F-B75731A0C5AE}"/>
              </a:ext>
            </a:extLst>
          </p:cNvPr>
          <p:cNvSpPr>
            <a:spLocks noGrp="1"/>
          </p:cNvSpPr>
          <p:nvPr>
            <p:ph type="title"/>
          </p:nvPr>
        </p:nvSpPr>
        <p:spPr>
          <a:xfrm>
            <a:off x="1431056" y="357188"/>
            <a:ext cx="7956784" cy="690562"/>
          </a:xfrm>
        </p:spPr>
        <p:txBody>
          <a:bodyPr/>
          <a:lstStyle/>
          <a:p>
            <a:r>
              <a:rPr lang="en-US">
                <a:latin typeface="Arial"/>
              </a:rPr>
              <a:t>Jane launches an </a:t>
            </a:r>
            <a:r>
              <a:rPr lang="en-US">
                <a:solidFill>
                  <a:schemeClr val="accent1"/>
                </a:solidFill>
                <a:latin typeface="Arial"/>
              </a:rPr>
              <a:t>automation-powered app </a:t>
            </a:r>
            <a:r>
              <a:rPr lang="en-US">
                <a:latin typeface="Arial"/>
              </a:rPr>
              <a:t>from her assistant to make financial approvals easy</a:t>
            </a:r>
          </a:p>
        </p:txBody>
      </p:sp>
      <p:sp>
        <p:nvSpPr>
          <p:cNvPr id="20" name="Rectangle 19">
            <a:extLst>
              <a:ext uri="{FF2B5EF4-FFF2-40B4-BE49-F238E27FC236}">
                <a16:creationId xmlns:a16="http://schemas.microsoft.com/office/drawing/2014/main" id="{51FD12B0-A5CD-4037-A9E2-81BE5A963FDE}"/>
              </a:ext>
            </a:extLst>
          </p:cNvPr>
          <p:cNvSpPr/>
          <p:nvPr/>
        </p:nvSpPr>
        <p:spPr>
          <a:xfrm>
            <a:off x="624824" y="2625789"/>
            <a:ext cx="5239657" cy="3267011"/>
          </a:xfrm>
          <a:prstGeom prst="rect">
            <a:avLst/>
          </a:prstGeom>
          <a:solidFill>
            <a:srgbClr val="F1F6F8"/>
          </a:solidFill>
          <a:ln w="9525">
            <a:noFill/>
          </a:ln>
        </p:spPr>
        <p:style>
          <a:lnRef idx="2">
            <a:schemeClr val="dk1">
              <a:shade val="50000"/>
            </a:schemeClr>
          </a:lnRef>
          <a:fillRef idx="1">
            <a:schemeClr val="dk1"/>
          </a:fillRef>
          <a:effectRef idx="0">
            <a:schemeClr val="dk1"/>
          </a:effectRef>
          <a:fontRef idx="minor">
            <a:schemeClr val="lt1"/>
          </a:fontRef>
        </p:style>
        <p:txBody>
          <a:bodyPr lIns="182880" tIns="182880" rtlCol="0" anchor="t"/>
          <a:lstStyle/>
          <a:p>
            <a:pPr defTabSz="914126"/>
            <a:r>
              <a:rPr lang="en-US" sz="1050" b="1">
                <a:solidFill>
                  <a:schemeClr val="accent1"/>
                </a:solidFill>
              </a:rPr>
              <a:t>Jane’s Finance Approval Dashboard</a:t>
            </a:r>
            <a:endParaRPr lang="en-US" sz="1050" b="1">
              <a:solidFill>
                <a:schemeClr val="tx1"/>
              </a:solidFill>
            </a:endParaRPr>
          </a:p>
          <a:p>
            <a:pPr defTabSz="914126"/>
            <a:endParaRPr lang="en-US" sz="1050" b="1">
              <a:solidFill>
                <a:schemeClr val="tx1"/>
              </a:solidFill>
            </a:endParaRPr>
          </a:p>
          <a:p>
            <a:pPr defTabSz="914126"/>
            <a:endParaRPr lang="en-US" sz="1050" b="1">
              <a:solidFill>
                <a:schemeClr val="tx1"/>
              </a:solidFill>
            </a:endParaRPr>
          </a:p>
          <a:p>
            <a:pPr defTabSz="914126"/>
            <a:endParaRPr lang="en-US" sz="1050" b="1">
              <a:solidFill>
                <a:schemeClr val="tx1"/>
              </a:solidFill>
            </a:endParaRPr>
          </a:p>
          <a:p>
            <a:pPr defTabSz="914126"/>
            <a:endParaRPr lang="en-US" sz="1050" b="1">
              <a:solidFill>
                <a:schemeClr val="tx1"/>
              </a:solidFill>
            </a:endParaRPr>
          </a:p>
          <a:p>
            <a:pPr defTabSz="914126"/>
            <a:endParaRPr lang="en-US" sz="1050" b="1">
              <a:solidFill>
                <a:schemeClr val="tx1"/>
              </a:solidFill>
            </a:endParaRPr>
          </a:p>
          <a:p>
            <a:pPr defTabSz="914126"/>
            <a:endParaRPr lang="en-US" sz="1050" b="1">
              <a:solidFill>
                <a:schemeClr val="tx1"/>
              </a:solidFill>
            </a:endParaRPr>
          </a:p>
          <a:p>
            <a:pPr defTabSz="914126"/>
            <a:endParaRPr lang="en-US" sz="1050" b="1">
              <a:solidFill>
                <a:schemeClr val="tx1"/>
              </a:solidFill>
            </a:endParaRPr>
          </a:p>
          <a:p>
            <a:pPr defTabSz="914126"/>
            <a:endParaRPr lang="en-US" sz="1050" b="1">
              <a:solidFill>
                <a:schemeClr val="tx1"/>
              </a:solidFill>
            </a:endParaRPr>
          </a:p>
          <a:p>
            <a:pPr defTabSz="914126"/>
            <a:endParaRPr lang="en-US" sz="1050" b="1">
              <a:solidFill>
                <a:schemeClr val="tx1"/>
              </a:solidFill>
            </a:endParaRPr>
          </a:p>
        </p:txBody>
      </p:sp>
      <p:graphicFrame>
        <p:nvGraphicFramePr>
          <p:cNvPr id="22" name="Table 38">
            <a:extLst>
              <a:ext uri="{FF2B5EF4-FFF2-40B4-BE49-F238E27FC236}">
                <a16:creationId xmlns:a16="http://schemas.microsoft.com/office/drawing/2014/main" id="{388333D3-ECD7-4E55-B3F7-49990626E930}"/>
              </a:ext>
            </a:extLst>
          </p:cNvPr>
          <p:cNvGraphicFramePr>
            <a:graphicFrameLocks noGrp="1"/>
          </p:cNvGraphicFramePr>
          <p:nvPr/>
        </p:nvGraphicFramePr>
        <p:xfrm>
          <a:off x="809624" y="3082308"/>
          <a:ext cx="4867274" cy="2670790"/>
        </p:xfrm>
        <a:graphic>
          <a:graphicData uri="http://schemas.openxmlformats.org/drawingml/2006/table">
            <a:tbl>
              <a:tblPr firstRow="1" bandRow="1">
                <a:tableStyleId>{5C22544A-7EE6-4342-B048-85BDC9FD1C3A}</a:tableStyleId>
              </a:tblPr>
              <a:tblGrid>
                <a:gridCol w="2962100">
                  <a:extLst>
                    <a:ext uri="{9D8B030D-6E8A-4147-A177-3AD203B41FA5}">
                      <a16:colId xmlns:a16="http://schemas.microsoft.com/office/drawing/2014/main" val="505213296"/>
                    </a:ext>
                  </a:extLst>
                </a:gridCol>
                <a:gridCol w="635058">
                  <a:extLst>
                    <a:ext uri="{9D8B030D-6E8A-4147-A177-3AD203B41FA5}">
                      <a16:colId xmlns:a16="http://schemas.microsoft.com/office/drawing/2014/main" val="2068082696"/>
                    </a:ext>
                  </a:extLst>
                </a:gridCol>
                <a:gridCol w="635058">
                  <a:extLst>
                    <a:ext uri="{9D8B030D-6E8A-4147-A177-3AD203B41FA5}">
                      <a16:colId xmlns:a16="http://schemas.microsoft.com/office/drawing/2014/main" val="833844388"/>
                    </a:ext>
                  </a:extLst>
                </a:gridCol>
                <a:gridCol w="635058">
                  <a:extLst>
                    <a:ext uri="{9D8B030D-6E8A-4147-A177-3AD203B41FA5}">
                      <a16:colId xmlns:a16="http://schemas.microsoft.com/office/drawing/2014/main" val="3963774016"/>
                    </a:ext>
                  </a:extLst>
                </a:gridCol>
              </a:tblGrid>
              <a:tr h="534158">
                <a:tc>
                  <a:txBody>
                    <a:bodyPr/>
                    <a:lstStyle/>
                    <a:p>
                      <a:endParaRPr lang="en-PH" sz="500"/>
                    </a:p>
                  </a:txBody>
                  <a:tcPr marL="41695" marR="41695" marT="20848" marB="20848">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500" b="0" noProof="0">
                          <a:solidFill>
                            <a:schemeClr val="bg1"/>
                          </a:solidFill>
                        </a:rPr>
                        <a:t>Approve</a:t>
                      </a:r>
                      <a:endParaRPr lang="en-PH" sz="500" b="0">
                        <a:solidFill>
                          <a:schemeClr val="bg1"/>
                        </a:solidFill>
                      </a:endParaRPr>
                    </a:p>
                  </a:txBody>
                  <a:tcPr marL="41695" marR="41695" marT="20848" marB="20848" anchor="b">
                    <a:lnL w="12700" cmpd="sng">
                      <a:noFill/>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0" noProof="0">
                          <a:solidFill>
                            <a:schemeClr val="bg1"/>
                          </a:solidFill>
                        </a:rPr>
                        <a:t>Return</a:t>
                      </a:r>
                    </a:p>
                  </a:txBody>
                  <a:tcPr marL="41695" marR="41695" marT="20848" marB="20848"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0" noProof="0">
                          <a:solidFill>
                            <a:schemeClr val="bg1"/>
                          </a:solidFill>
                        </a:rPr>
                        <a:t>Deny</a:t>
                      </a:r>
                    </a:p>
                  </a:txBody>
                  <a:tcPr marL="41695" marR="41695" marT="20848" marB="20848"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377561222"/>
                  </a:ext>
                </a:extLst>
              </a:tr>
              <a:tr h="534158">
                <a:tc>
                  <a:txBody>
                    <a:bodyPr/>
                    <a:lstStyle/>
                    <a:p>
                      <a:endParaRPr lang="en-PH" sz="500"/>
                    </a:p>
                  </a:txBody>
                  <a:tcPr marL="41695" marR="41695" marT="20848" marB="20848">
                    <a:lnL w="635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500" b="0" noProof="0">
                          <a:solidFill>
                            <a:schemeClr val="bg1"/>
                          </a:solidFill>
                        </a:rPr>
                        <a:t>Approve</a:t>
                      </a:r>
                      <a:endParaRPr lang="en-PH" sz="500" b="0">
                        <a:solidFill>
                          <a:schemeClr val="bg1"/>
                        </a:solidFill>
                      </a:endParaRPr>
                    </a:p>
                  </a:txBody>
                  <a:tcPr marL="41695" marR="41695" marT="20848" marB="20848" anchor="b">
                    <a:lnL w="12700" cmpd="sng">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0" noProof="0">
                          <a:solidFill>
                            <a:schemeClr val="bg1"/>
                          </a:solidFill>
                        </a:rPr>
                        <a:t>Return</a:t>
                      </a:r>
                    </a:p>
                  </a:txBody>
                  <a:tcPr marL="41695" marR="41695" marT="20848" marB="20848"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0" noProof="0">
                          <a:solidFill>
                            <a:schemeClr val="bg1"/>
                          </a:solidFill>
                        </a:rPr>
                        <a:t>Deny</a:t>
                      </a:r>
                    </a:p>
                  </a:txBody>
                  <a:tcPr marL="41695" marR="41695" marT="20848" marB="20848"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38993887"/>
                  </a:ext>
                </a:extLst>
              </a:tr>
              <a:tr h="534158">
                <a:tc>
                  <a:txBody>
                    <a:bodyPr/>
                    <a:lstStyle/>
                    <a:p>
                      <a:endParaRPr lang="en-PH" sz="500"/>
                    </a:p>
                  </a:txBody>
                  <a:tcPr marL="41695" marR="41695" marT="20848" marB="20848">
                    <a:lnL w="635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500" b="0" noProof="0">
                          <a:solidFill>
                            <a:schemeClr val="bg1"/>
                          </a:solidFill>
                        </a:rPr>
                        <a:t>Approve</a:t>
                      </a:r>
                      <a:endParaRPr lang="en-PH" sz="500" b="0">
                        <a:solidFill>
                          <a:schemeClr val="bg1"/>
                        </a:solidFill>
                      </a:endParaRPr>
                    </a:p>
                  </a:txBody>
                  <a:tcPr marL="41695" marR="41695" marT="20848" marB="20848" anchor="b">
                    <a:lnL w="12700" cmpd="sng">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0" noProof="0">
                          <a:solidFill>
                            <a:schemeClr val="bg1"/>
                          </a:solidFill>
                        </a:rPr>
                        <a:t>Return</a:t>
                      </a:r>
                    </a:p>
                  </a:txBody>
                  <a:tcPr marL="41695" marR="41695" marT="20848" marB="20848"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0" noProof="0">
                          <a:solidFill>
                            <a:schemeClr val="bg1"/>
                          </a:solidFill>
                        </a:rPr>
                        <a:t>Deny</a:t>
                      </a:r>
                    </a:p>
                  </a:txBody>
                  <a:tcPr marL="41695" marR="41695" marT="20848" marB="20848"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78242800"/>
                  </a:ext>
                </a:extLst>
              </a:tr>
              <a:tr h="534158">
                <a:tc>
                  <a:txBody>
                    <a:bodyPr/>
                    <a:lstStyle/>
                    <a:p>
                      <a:endParaRPr lang="en-PH" sz="500"/>
                    </a:p>
                  </a:txBody>
                  <a:tcPr marL="41695" marR="41695" marT="20848" marB="20848">
                    <a:lnL w="635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500" b="0" noProof="0">
                          <a:solidFill>
                            <a:schemeClr val="bg1"/>
                          </a:solidFill>
                        </a:rPr>
                        <a:t>Approve</a:t>
                      </a:r>
                      <a:endParaRPr lang="en-PH" sz="500" b="0">
                        <a:solidFill>
                          <a:schemeClr val="bg1"/>
                        </a:solidFill>
                      </a:endParaRPr>
                    </a:p>
                  </a:txBody>
                  <a:tcPr marL="41695" marR="41695" marT="20848" marB="20848" anchor="b">
                    <a:lnL w="12700" cmpd="sng">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0" noProof="0">
                          <a:solidFill>
                            <a:schemeClr val="bg1"/>
                          </a:solidFill>
                        </a:rPr>
                        <a:t>Return</a:t>
                      </a:r>
                    </a:p>
                  </a:txBody>
                  <a:tcPr marL="41695" marR="41695" marT="20848" marB="20848"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0" noProof="0">
                          <a:solidFill>
                            <a:schemeClr val="bg1"/>
                          </a:solidFill>
                        </a:rPr>
                        <a:t>Deny</a:t>
                      </a:r>
                    </a:p>
                  </a:txBody>
                  <a:tcPr marL="41695" marR="41695" marT="20848" marB="20848"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21527260"/>
                  </a:ext>
                </a:extLst>
              </a:tr>
              <a:tr h="53415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b="1" i="1" u="sng">
                          <a:solidFill>
                            <a:schemeClr val="accent2"/>
                          </a:solidFill>
                        </a:rPr>
                        <a:t>24</a:t>
                      </a:r>
                      <a:r>
                        <a:rPr lang="en-US" sz="800" b="1" i="1">
                          <a:solidFill>
                            <a:schemeClr val="tx1"/>
                          </a:solidFill>
                        </a:rPr>
                        <a:t> </a:t>
                      </a:r>
                      <a:r>
                        <a:rPr lang="en-US" sz="800" b="0" i="1">
                          <a:solidFill>
                            <a:schemeClr val="tx1"/>
                          </a:solidFill>
                        </a:rPr>
                        <a:t>Total Pending Approvals</a:t>
                      </a:r>
                    </a:p>
                  </a:txBody>
                  <a:tcPr marR="41695" marT="20848" marB="20848" anchor="ctr">
                    <a:lnL w="635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500" b="1" noProof="0">
                          <a:solidFill>
                            <a:schemeClr val="bg1"/>
                          </a:solidFill>
                        </a:rPr>
                        <a:t>Approve All</a:t>
                      </a:r>
                      <a:endParaRPr lang="en-PH" sz="500" b="1">
                        <a:solidFill>
                          <a:schemeClr val="bg1"/>
                        </a:solidFill>
                      </a:endParaRPr>
                    </a:p>
                  </a:txBody>
                  <a:tcPr marL="41695" marR="41695" marT="20848" marB="20848" anchor="b">
                    <a:lnL w="12700" cmpd="sng">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1" noProof="0">
                          <a:solidFill>
                            <a:schemeClr val="bg1"/>
                          </a:solidFill>
                        </a:rPr>
                        <a:t>Return All</a:t>
                      </a:r>
                    </a:p>
                  </a:txBody>
                  <a:tcPr marL="41695" marR="41695" marT="20848" marB="20848"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500" b="1" noProof="0">
                          <a:solidFill>
                            <a:schemeClr val="bg1"/>
                          </a:solidFill>
                        </a:rPr>
                        <a:t>Deny All</a:t>
                      </a:r>
                    </a:p>
                  </a:txBody>
                  <a:tcPr marL="41695" marR="41695" marT="20848" marB="20848"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30247980"/>
                  </a:ext>
                </a:extLst>
              </a:tr>
            </a:tbl>
          </a:graphicData>
        </a:graphic>
      </p:graphicFrame>
      <p:pic>
        <p:nvPicPr>
          <p:cNvPr id="31" name="Picture 2" descr="Logo&#10;&#10;Description automatically generated">
            <a:extLst>
              <a:ext uri="{FF2B5EF4-FFF2-40B4-BE49-F238E27FC236}">
                <a16:creationId xmlns:a16="http://schemas.microsoft.com/office/drawing/2014/main" id="{F13D5E5E-CA44-44CE-BD86-25E1C9ACD2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2620" y="4289757"/>
            <a:ext cx="665554" cy="118658"/>
          </a:xfrm>
          <a:prstGeom prst="rect">
            <a:avLst/>
          </a:prstGeom>
          <a:noFill/>
        </p:spPr>
      </p:pic>
      <p:sp>
        <p:nvSpPr>
          <p:cNvPr id="32" name="Rectangle 31">
            <a:extLst>
              <a:ext uri="{FF2B5EF4-FFF2-40B4-BE49-F238E27FC236}">
                <a16:creationId xmlns:a16="http://schemas.microsoft.com/office/drawing/2014/main" id="{2E1F1CB5-FDD2-4945-B4F6-CCE1FC039DF2}"/>
              </a:ext>
            </a:extLst>
          </p:cNvPr>
          <p:cNvSpPr/>
          <p:nvPr/>
        </p:nvSpPr>
        <p:spPr>
          <a:xfrm>
            <a:off x="902620" y="4807302"/>
            <a:ext cx="1973425" cy="123111"/>
          </a:xfrm>
          <a:prstGeom prst="rect">
            <a:avLst/>
          </a:prstGeom>
          <a:noFill/>
        </p:spPr>
        <p:txBody>
          <a:bodyPr wrap="square" lIns="0" tIns="0" rIns="91440" bIns="0">
            <a:spAutoFit/>
          </a:bodyPr>
          <a:lstStyle/>
          <a:p>
            <a:pPr defTabSz="914126"/>
            <a:r>
              <a:rPr lang="en-US" sz="800" b="1"/>
              <a:t>Jane’s 30-Year-Old Mainframe System</a:t>
            </a:r>
          </a:p>
        </p:txBody>
      </p:sp>
      <p:sp>
        <p:nvSpPr>
          <p:cNvPr id="34" name="Rectangle 33">
            <a:extLst>
              <a:ext uri="{FF2B5EF4-FFF2-40B4-BE49-F238E27FC236}">
                <a16:creationId xmlns:a16="http://schemas.microsoft.com/office/drawing/2014/main" id="{B683B84B-DDB3-42E0-9248-9814558D9DEA}"/>
              </a:ext>
            </a:extLst>
          </p:cNvPr>
          <p:cNvSpPr/>
          <p:nvPr/>
        </p:nvSpPr>
        <p:spPr>
          <a:xfrm>
            <a:off x="902620" y="3368630"/>
            <a:ext cx="2170548" cy="123111"/>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rtlCol="0" anchor="b">
            <a:spAutoFit/>
          </a:bodyPr>
          <a:lstStyle/>
          <a:p>
            <a:pPr defTabSz="914126"/>
            <a:r>
              <a:rPr lang="en-US" sz="800" b="1" i="1" u="sng">
                <a:solidFill>
                  <a:schemeClr val="accent2"/>
                </a:solidFill>
              </a:rPr>
              <a:t>13</a:t>
            </a:r>
            <a:r>
              <a:rPr lang="en-US" sz="800" i="1">
                <a:solidFill>
                  <a:schemeClr val="tx1"/>
                </a:solidFill>
              </a:rPr>
              <a:t> Pending Approvals</a:t>
            </a:r>
          </a:p>
        </p:txBody>
      </p:sp>
      <p:sp>
        <p:nvSpPr>
          <p:cNvPr id="35" name="Rectangle 34">
            <a:extLst>
              <a:ext uri="{FF2B5EF4-FFF2-40B4-BE49-F238E27FC236}">
                <a16:creationId xmlns:a16="http://schemas.microsoft.com/office/drawing/2014/main" id="{315048A9-EB9D-428C-B60F-1BCF9E4BBAFD}"/>
              </a:ext>
            </a:extLst>
          </p:cNvPr>
          <p:cNvSpPr/>
          <p:nvPr/>
        </p:nvSpPr>
        <p:spPr>
          <a:xfrm>
            <a:off x="902620" y="3887559"/>
            <a:ext cx="2170548" cy="123111"/>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rtlCol="0" anchor="b">
            <a:spAutoFit/>
          </a:bodyPr>
          <a:lstStyle/>
          <a:p>
            <a:pPr defTabSz="914126"/>
            <a:r>
              <a:rPr lang="en-US" sz="800" b="1" i="1" u="sng">
                <a:solidFill>
                  <a:schemeClr val="accent2"/>
                </a:solidFill>
              </a:rPr>
              <a:t>5</a:t>
            </a:r>
            <a:r>
              <a:rPr lang="en-US" sz="800" i="1">
                <a:solidFill>
                  <a:schemeClr val="tx1"/>
                </a:solidFill>
              </a:rPr>
              <a:t> Pending Approvals</a:t>
            </a:r>
          </a:p>
        </p:txBody>
      </p:sp>
      <p:sp>
        <p:nvSpPr>
          <p:cNvPr id="36" name="Rectangle 35">
            <a:extLst>
              <a:ext uri="{FF2B5EF4-FFF2-40B4-BE49-F238E27FC236}">
                <a16:creationId xmlns:a16="http://schemas.microsoft.com/office/drawing/2014/main" id="{668F8B50-E220-4EFB-A437-A43D07C21E54}"/>
              </a:ext>
            </a:extLst>
          </p:cNvPr>
          <p:cNvSpPr/>
          <p:nvPr/>
        </p:nvSpPr>
        <p:spPr>
          <a:xfrm>
            <a:off x="902620" y="4437798"/>
            <a:ext cx="2170548" cy="123111"/>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rtlCol="0" anchor="b">
            <a:spAutoFit/>
          </a:bodyPr>
          <a:lstStyle/>
          <a:p>
            <a:pPr defTabSz="914126"/>
            <a:r>
              <a:rPr lang="en-US" sz="800" b="1" i="1" u="sng">
                <a:solidFill>
                  <a:schemeClr val="accent2"/>
                </a:solidFill>
              </a:rPr>
              <a:t>2</a:t>
            </a:r>
            <a:r>
              <a:rPr lang="en-US" sz="800" i="1">
                <a:solidFill>
                  <a:schemeClr val="tx1"/>
                </a:solidFill>
              </a:rPr>
              <a:t> Pending Approvals</a:t>
            </a:r>
          </a:p>
        </p:txBody>
      </p:sp>
      <p:sp>
        <p:nvSpPr>
          <p:cNvPr id="37" name="Rectangle 36">
            <a:extLst>
              <a:ext uri="{FF2B5EF4-FFF2-40B4-BE49-F238E27FC236}">
                <a16:creationId xmlns:a16="http://schemas.microsoft.com/office/drawing/2014/main" id="{412C01B2-A9CF-4B7A-9658-71A66D567A0B}"/>
              </a:ext>
            </a:extLst>
          </p:cNvPr>
          <p:cNvSpPr/>
          <p:nvPr/>
        </p:nvSpPr>
        <p:spPr>
          <a:xfrm>
            <a:off x="902620" y="4960026"/>
            <a:ext cx="2170548" cy="123111"/>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rtlCol="0" anchor="b">
            <a:spAutoFit/>
          </a:bodyPr>
          <a:lstStyle/>
          <a:p>
            <a:pPr defTabSz="914126"/>
            <a:r>
              <a:rPr lang="en-US" sz="800" b="1" i="1" u="sng">
                <a:solidFill>
                  <a:schemeClr val="accent2"/>
                </a:solidFill>
              </a:rPr>
              <a:t>4</a:t>
            </a:r>
            <a:r>
              <a:rPr lang="en-US" sz="800" i="1">
                <a:solidFill>
                  <a:schemeClr val="tx1"/>
                </a:solidFill>
              </a:rPr>
              <a:t> Pending Approvals</a:t>
            </a:r>
          </a:p>
        </p:txBody>
      </p:sp>
      <p:pic>
        <p:nvPicPr>
          <p:cNvPr id="27" name="Picture 2" descr="Circle&#10;&#10;Description automatically generated with medium confidence">
            <a:extLst>
              <a:ext uri="{FF2B5EF4-FFF2-40B4-BE49-F238E27FC236}">
                <a16:creationId xmlns:a16="http://schemas.microsoft.com/office/drawing/2014/main" id="{4D71F511-3D4A-4945-B484-F3BA52BFD72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620" y="3188758"/>
            <a:ext cx="209395" cy="146587"/>
          </a:xfrm>
          <a:prstGeom prst="rect">
            <a:avLst/>
          </a:prstGeom>
          <a:noFill/>
        </p:spPr>
      </p:pic>
      <p:pic>
        <p:nvPicPr>
          <p:cNvPr id="30" name="Picture 2" descr="Logo&#10;&#10;Description automatically generated">
            <a:extLst>
              <a:ext uri="{FF2B5EF4-FFF2-40B4-BE49-F238E27FC236}">
                <a16:creationId xmlns:a16="http://schemas.microsoft.com/office/drawing/2014/main" id="{F346593F-2418-4D6F-9E33-A25B116AE2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2620" y="3736737"/>
            <a:ext cx="402744" cy="120824"/>
          </a:xfrm>
          <a:prstGeom prst="rect">
            <a:avLst/>
          </a:prstGeom>
          <a:noFill/>
        </p:spPr>
      </p:pic>
      <p:pic>
        <p:nvPicPr>
          <p:cNvPr id="24" name="Graphic 23">
            <a:extLst>
              <a:ext uri="{FF2B5EF4-FFF2-40B4-BE49-F238E27FC236}">
                <a16:creationId xmlns:a16="http://schemas.microsoft.com/office/drawing/2014/main" id="{6395E77A-92D6-4069-A313-CC199E95D1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71780" y="3211135"/>
            <a:ext cx="204655" cy="204654"/>
          </a:xfrm>
          <a:prstGeom prst="rect">
            <a:avLst/>
          </a:prstGeom>
          <a:effectLst/>
        </p:spPr>
      </p:pic>
      <p:pic>
        <p:nvPicPr>
          <p:cNvPr id="44" name="Graphic 43">
            <a:extLst>
              <a:ext uri="{FF2B5EF4-FFF2-40B4-BE49-F238E27FC236}">
                <a16:creationId xmlns:a16="http://schemas.microsoft.com/office/drawing/2014/main" id="{0DA59DDE-6C7C-47A9-9007-D01A6A53AEF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606558" y="3212936"/>
            <a:ext cx="232798" cy="201050"/>
          </a:xfrm>
          <a:prstGeom prst="rect">
            <a:avLst/>
          </a:prstGeom>
          <a:effectLst/>
        </p:spPr>
      </p:pic>
      <p:pic>
        <p:nvPicPr>
          <p:cNvPr id="50" name="Graphic 49">
            <a:extLst>
              <a:ext uri="{FF2B5EF4-FFF2-40B4-BE49-F238E27FC236}">
                <a16:creationId xmlns:a16="http://schemas.microsoft.com/office/drawing/2014/main" id="{88B26FE5-B085-4F91-A22F-3FD9CCBA52C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267608" y="3212936"/>
            <a:ext cx="201050" cy="201050"/>
          </a:xfrm>
          <a:prstGeom prst="rect">
            <a:avLst/>
          </a:prstGeom>
          <a:effectLst/>
        </p:spPr>
      </p:pic>
      <p:pic>
        <p:nvPicPr>
          <p:cNvPr id="55" name="Graphic 54">
            <a:extLst>
              <a:ext uri="{FF2B5EF4-FFF2-40B4-BE49-F238E27FC236}">
                <a16:creationId xmlns:a16="http://schemas.microsoft.com/office/drawing/2014/main" id="{DBF7F06A-BE6C-420E-A90C-A4DE80CC32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71780" y="3738153"/>
            <a:ext cx="204655" cy="204654"/>
          </a:xfrm>
          <a:prstGeom prst="rect">
            <a:avLst/>
          </a:prstGeom>
          <a:effectLst/>
        </p:spPr>
      </p:pic>
      <p:pic>
        <p:nvPicPr>
          <p:cNvPr id="56" name="Graphic 55">
            <a:extLst>
              <a:ext uri="{FF2B5EF4-FFF2-40B4-BE49-F238E27FC236}">
                <a16:creationId xmlns:a16="http://schemas.microsoft.com/office/drawing/2014/main" id="{60E1AD88-4EB3-41EE-9DA2-80A10D33B290}"/>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606558" y="3739954"/>
            <a:ext cx="232798" cy="201050"/>
          </a:xfrm>
          <a:prstGeom prst="rect">
            <a:avLst/>
          </a:prstGeom>
          <a:effectLst/>
        </p:spPr>
      </p:pic>
      <p:pic>
        <p:nvPicPr>
          <p:cNvPr id="57" name="Graphic 56">
            <a:extLst>
              <a:ext uri="{FF2B5EF4-FFF2-40B4-BE49-F238E27FC236}">
                <a16:creationId xmlns:a16="http://schemas.microsoft.com/office/drawing/2014/main" id="{8B14367D-D747-4641-B99F-1C5971E2188B}"/>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267608" y="3739954"/>
            <a:ext cx="201050" cy="201050"/>
          </a:xfrm>
          <a:prstGeom prst="rect">
            <a:avLst/>
          </a:prstGeom>
          <a:effectLst/>
        </p:spPr>
      </p:pic>
      <p:pic>
        <p:nvPicPr>
          <p:cNvPr id="58" name="Graphic 57">
            <a:extLst>
              <a:ext uri="{FF2B5EF4-FFF2-40B4-BE49-F238E27FC236}">
                <a16:creationId xmlns:a16="http://schemas.microsoft.com/office/drawing/2014/main" id="{D98A5D28-582F-4994-8EDC-7541900A3A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71780" y="4268004"/>
            <a:ext cx="204655" cy="204654"/>
          </a:xfrm>
          <a:prstGeom prst="rect">
            <a:avLst/>
          </a:prstGeom>
          <a:effectLst/>
        </p:spPr>
      </p:pic>
      <p:pic>
        <p:nvPicPr>
          <p:cNvPr id="59" name="Graphic 58">
            <a:extLst>
              <a:ext uri="{FF2B5EF4-FFF2-40B4-BE49-F238E27FC236}">
                <a16:creationId xmlns:a16="http://schemas.microsoft.com/office/drawing/2014/main" id="{0725BCB6-D713-4D05-AAD5-A556165CB59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606558" y="4269805"/>
            <a:ext cx="232798" cy="201050"/>
          </a:xfrm>
          <a:prstGeom prst="rect">
            <a:avLst/>
          </a:prstGeom>
          <a:effectLst/>
        </p:spPr>
      </p:pic>
      <p:pic>
        <p:nvPicPr>
          <p:cNvPr id="60" name="Graphic 59">
            <a:extLst>
              <a:ext uri="{FF2B5EF4-FFF2-40B4-BE49-F238E27FC236}">
                <a16:creationId xmlns:a16="http://schemas.microsoft.com/office/drawing/2014/main" id="{723A11D7-8B02-42B0-A5A2-9953D9447C4F}"/>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267608" y="4269805"/>
            <a:ext cx="201050" cy="201050"/>
          </a:xfrm>
          <a:prstGeom prst="rect">
            <a:avLst/>
          </a:prstGeom>
          <a:effectLst/>
        </p:spPr>
      </p:pic>
      <p:pic>
        <p:nvPicPr>
          <p:cNvPr id="61" name="Graphic 60">
            <a:extLst>
              <a:ext uri="{FF2B5EF4-FFF2-40B4-BE49-F238E27FC236}">
                <a16:creationId xmlns:a16="http://schemas.microsoft.com/office/drawing/2014/main" id="{C22AD792-BB09-41D4-8376-2A780D9160A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71780" y="4817689"/>
            <a:ext cx="204655" cy="204654"/>
          </a:xfrm>
          <a:prstGeom prst="rect">
            <a:avLst/>
          </a:prstGeom>
          <a:effectLst/>
        </p:spPr>
      </p:pic>
      <p:pic>
        <p:nvPicPr>
          <p:cNvPr id="62" name="Graphic 61">
            <a:extLst>
              <a:ext uri="{FF2B5EF4-FFF2-40B4-BE49-F238E27FC236}">
                <a16:creationId xmlns:a16="http://schemas.microsoft.com/office/drawing/2014/main" id="{FB443AD5-13F9-4798-A112-CCE2F3D493DD}"/>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606558" y="4819490"/>
            <a:ext cx="232798" cy="201050"/>
          </a:xfrm>
          <a:prstGeom prst="rect">
            <a:avLst/>
          </a:prstGeom>
          <a:effectLst/>
        </p:spPr>
      </p:pic>
      <p:pic>
        <p:nvPicPr>
          <p:cNvPr id="63" name="Graphic 62">
            <a:extLst>
              <a:ext uri="{FF2B5EF4-FFF2-40B4-BE49-F238E27FC236}">
                <a16:creationId xmlns:a16="http://schemas.microsoft.com/office/drawing/2014/main" id="{CE9C8B62-C512-4CFE-BF5D-D90F8BA04BE5}"/>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267608" y="4819490"/>
            <a:ext cx="201050" cy="201050"/>
          </a:xfrm>
          <a:prstGeom prst="rect">
            <a:avLst/>
          </a:prstGeom>
          <a:effectLst/>
        </p:spPr>
      </p:pic>
      <p:pic>
        <p:nvPicPr>
          <p:cNvPr id="64" name="Graphic 63">
            <a:extLst>
              <a:ext uri="{FF2B5EF4-FFF2-40B4-BE49-F238E27FC236}">
                <a16:creationId xmlns:a16="http://schemas.microsoft.com/office/drawing/2014/main" id="{C8D9632E-0037-49F2-9AC6-0249582E40C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71780" y="5339040"/>
            <a:ext cx="204655" cy="204654"/>
          </a:xfrm>
          <a:prstGeom prst="rect">
            <a:avLst/>
          </a:prstGeom>
          <a:effectLst/>
        </p:spPr>
      </p:pic>
      <p:pic>
        <p:nvPicPr>
          <p:cNvPr id="65" name="Graphic 64">
            <a:extLst>
              <a:ext uri="{FF2B5EF4-FFF2-40B4-BE49-F238E27FC236}">
                <a16:creationId xmlns:a16="http://schemas.microsoft.com/office/drawing/2014/main" id="{1D2A0714-5D28-4199-BB4A-7DFDE8748638}"/>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606558" y="5340841"/>
            <a:ext cx="232798" cy="201050"/>
          </a:xfrm>
          <a:prstGeom prst="rect">
            <a:avLst/>
          </a:prstGeom>
          <a:effectLst/>
        </p:spPr>
      </p:pic>
      <p:pic>
        <p:nvPicPr>
          <p:cNvPr id="66" name="Graphic 65">
            <a:extLst>
              <a:ext uri="{FF2B5EF4-FFF2-40B4-BE49-F238E27FC236}">
                <a16:creationId xmlns:a16="http://schemas.microsoft.com/office/drawing/2014/main" id="{D2233B03-E6A4-4A35-B75E-F31672EDC5F0}"/>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267608" y="5340841"/>
            <a:ext cx="201050" cy="201050"/>
          </a:xfrm>
          <a:prstGeom prst="rect">
            <a:avLst/>
          </a:prstGeom>
          <a:effectLst/>
        </p:spPr>
      </p:pic>
      <p:sp>
        <p:nvSpPr>
          <p:cNvPr id="67" name="TextBox 66">
            <a:extLst>
              <a:ext uri="{FF2B5EF4-FFF2-40B4-BE49-F238E27FC236}">
                <a16:creationId xmlns:a16="http://schemas.microsoft.com/office/drawing/2014/main" id="{EFF9B4FB-4B04-4CC1-B7C3-26EE5BDFFEAC}"/>
              </a:ext>
            </a:extLst>
          </p:cNvPr>
          <p:cNvSpPr txBox="1"/>
          <p:nvPr/>
        </p:nvSpPr>
        <p:spPr>
          <a:xfrm>
            <a:off x="2134013" y="6152925"/>
            <a:ext cx="2205801" cy="338554"/>
          </a:xfrm>
          <a:prstGeom prst="rect">
            <a:avLst/>
          </a:prstGeom>
          <a:noFill/>
        </p:spPr>
        <p:txBody>
          <a:bodyPr wrap="square" lIns="91440" tIns="45720" rIns="91440" bIns="45720" anchor="t">
            <a:spAutoFit/>
          </a:bodyPr>
          <a:lstStyle/>
          <a:p>
            <a:pPr algn="ctr"/>
            <a:r>
              <a:rPr lang="en-US" sz="1600" b="1" i="1">
                <a:solidFill>
                  <a:schemeClr val="accent1"/>
                </a:solidFill>
              </a:rPr>
              <a:t>UiPath Apps</a:t>
            </a:r>
          </a:p>
        </p:txBody>
      </p:sp>
      <p:sp>
        <p:nvSpPr>
          <p:cNvPr id="72" name="TextBox 71">
            <a:extLst>
              <a:ext uri="{FF2B5EF4-FFF2-40B4-BE49-F238E27FC236}">
                <a16:creationId xmlns:a16="http://schemas.microsoft.com/office/drawing/2014/main" id="{E457F822-8938-414E-A9A2-1AD279216C02}"/>
              </a:ext>
            </a:extLst>
          </p:cNvPr>
          <p:cNvSpPr txBox="1"/>
          <p:nvPr/>
        </p:nvSpPr>
        <p:spPr>
          <a:xfrm>
            <a:off x="7499834" y="2350566"/>
            <a:ext cx="4299639" cy="830997"/>
          </a:xfrm>
          <a:prstGeom prst="rect">
            <a:avLst/>
          </a:prstGeom>
          <a:noFill/>
        </p:spPr>
        <p:txBody>
          <a:bodyPr wrap="square" lIns="91440" tIns="45720" rIns="91440" bIns="45720" anchor="t">
            <a:spAutoFit/>
          </a:bodyPr>
          <a:lstStyle/>
          <a:p>
            <a:r>
              <a:rPr lang="en-US" sz="1600" b="1"/>
              <a:t>A single web interface </a:t>
            </a:r>
            <a:r>
              <a:rPr lang="en-US" sz="1600"/>
              <a:t>for multiple processes across disparate systems, including older systems</a:t>
            </a:r>
          </a:p>
        </p:txBody>
      </p:sp>
      <p:pic>
        <p:nvPicPr>
          <p:cNvPr id="75" name="Graphic 74">
            <a:extLst>
              <a:ext uri="{FF2B5EF4-FFF2-40B4-BE49-F238E27FC236}">
                <a16:creationId xmlns:a16="http://schemas.microsoft.com/office/drawing/2014/main" id="{D333EAB7-C705-42F9-9390-1A81DDF937BB}"/>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721101" y="2563047"/>
            <a:ext cx="406034" cy="406034"/>
          </a:xfrm>
          <a:prstGeom prst="rect">
            <a:avLst/>
          </a:prstGeom>
        </p:spPr>
      </p:pic>
      <p:sp>
        <p:nvSpPr>
          <p:cNvPr id="76" name="TextBox 75">
            <a:extLst>
              <a:ext uri="{FF2B5EF4-FFF2-40B4-BE49-F238E27FC236}">
                <a16:creationId xmlns:a16="http://schemas.microsoft.com/office/drawing/2014/main" id="{CF7E77D8-CACB-4648-BEF1-217A6A13146F}"/>
              </a:ext>
            </a:extLst>
          </p:cNvPr>
          <p:cNvSpPr txBox="1"/>
          <p:nvPr/>
        </p:nvSpPr>
        <p:spPr>
          <a:xfrm>
            <a:off x="7523909" y="3513749"/>
            <a:ext cx="4295442" cy="584775"/>
          </a:xfrm>
          <a:prstGeom prst="rect">
            <a:avLst/>
          </a:prstGeom>
          <a:noFill/>
        </p:spPr>
        <p:txBody>
          <a:bodyPr wrap="square" lIns="91440" tIns="45720" rIns="91440" bIns="45720" anchor="t">
            <a:spAutoFit/>
          </a:bodyPr>
          <a:lstStyle/>
          <a:p>
            <a:r>
              <a:rPr lang="en-US" sz="1600" b="1">
                <a:latin typeface="Arial"/>
                <a:cs typeface="Arial"/>
              </a:rPr>
              <a:t>Access to automation on the go </a:t>
            </a:r>
            <a:r>
              <a:rPr lang="en-US" sz="1600">
                <a:latin typeface="Arial"/>
                <a:cs typeface="Arial"/>
              </a:rPr>
              <a:t>via mobile or tablet</a:t>
            </a:r>
            <a:endParaRPr lang="en-US" sz="1600">
              <a:cs typeface="Arial"/>
            </a:endParaRPr>
          </a:p>
        </p:txBody>
      </p:sp>
      <p:pic>
        <p:nvPicPr>
          <p:cNvPr id="79" name="Graphic 78">
            <a:extLst>
              <a:ext uri="{FF2B5EF4-FFF2-40B4-BE49-F238E27FC236}">
                <a16:creationId xmlns:a16="http://schemas.microsoft.com/office/drawing/2014/main" id="{9DB6B2C1-B337-4527-B230-F74879469825}"/>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6740979" y="3603119"/>
            <a:ext cx="406034" cy="406034"/>
          </a:xfrm>
          <a:prstGeom prst="rect">
            <a:avLst/>
          </a:prstGeom>
        </p:spPr>
      </p:pic>
      <p:sp>
        <p:nvSpPr>
          <p:cNvPr id="80" name="TextBox 79">
            <a:extLst>
              <a:ext uri="{FF2B5EF4-FFF2-40B4-BE49-F238E27FC236}">
                <a16:creationId xmlns:a16="http://schemas.microsoft.com/office/drawing/2014/main" id="{6DA32785-9156-45A2-8F90-1B64662613B3}"/>
              </a:ext>
            </a:extLst>
          </p:cNvPr>
          <p:cNvSpPr txBox="1"/>
          <p:nvPr/>
        </p:nvSpPr>
        <p:spPr>
          <a:xfrm>
            <a:off x="7572784" y="4514063"/>
            <a:ext cx="4276385" cy="584775"/>
          </a:xfrm>
          <a:prstGeom prst="rect">
            <a:avLst/>
          </a:prstGeom>
          <a:noFill/>
        </p:spPr>
        <p:txBody>
          <a:bodyPr wrap="square">
            <a:spAutoFit/>
          </a:bodyPr>
          <a:lstStyle/>
          <a:p>
            <a:r>
              <a:rPr lang="en-US" sz="1600"/>
              <a:t>Can be shared with Jane’s colleagues who are using </a:t>
            </a:r>
            <a:r>
              <a:rPr lang="en-US" sz="1600" b="1"/>
              <a:t>Mac or Linux computers</a:t>
            </a:r>
          </a:p>
        </p:txBody>
      </p:sp>
      <p:pic>
        <p:nvPicPr>
          <p:cNvPr id="83" name="Graphic 82">
            <a:extLst>
              <a:ext uri="{FF2B5EF4-FFF2-40B4-BE49-F238E27FC236}">
                <a16:creationId xmlns:a16="http://schemas.microsoft.com/office/drawing/2014/main" id="{5909D1B9-07A9-4C84-ACEF-26007ED6973A}"/>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6770796" y="4603433"/>
            <a:ext cx="406034" cy="406034"/>
          </a:xfrm>
          <a:prstGeom prst="rect">
            <a:avLst/>
          </a:prstGeom>
        </p:spPr>
      </p:pic>
      <p:pic>
        <p:nvPicPr>
          <p:cNvPr id="47" name="Picture 46" descr="A person sitting at a desk&#10;&#10;Description automatically generated with medium confidence">
            <a:extLst>
              <a:ext uri="{FF2B5EF4-FFF2-40B4-BE49-F238E27FC236}">
                <a16:creationId xmlns:a16="http://schemas.microsoft.com/office/drawing/2014/main" id="{4867C187-D9B4-4561-B4E4-E74A16389B1A}"/>
              </a:ext>
            </a:extLst>
          </p:cNvPr>
          <p:cNvPicPr>
            <a:picLocks noChangeAspect="1"/>
          </p:cNvPicPr>
          <p:nvPr/>
        </p:nvPicPr>
        <p:blipFill rotWithShape="1">
          <a:blip r:embed="rId19"/>
          <a:srcRect l="33416" t="1789" r="9954" b="13320"/>
          <a:stretch/>
        </p:blipFill>
        <p:spPr>
          <a:xfrm flipH="1">
            <a:off x="394891" y="270154"/>
            <a:ext cx="813816" cy="813816"/>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spTree>
    <p:extLst>
      <p:ext uri="{BB962C8B-B14F-4D97-AF65-F5344CB8AC3E}">
        <p14:creationId xmlns:p14="http://schemas.microsoft.com/office/powerpoint/2010/main" val="24183666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application, Teams&#10;&#10;Description automatically generated">
            <a:extLst>
              <a:ext uri="{FF2B5EF4-FFF2-40B4-BE49-F238E27FC236}">
                <a16:creationId xmlns:a16="http://schemas.microsoft.com/office/drawing/2014/main" id="{CC16B6EF-87C1-4BD6-A8A1-545C2C4C6D84}"/>
              </a:ext>
            </a:extLst>
          </p:cNvPr>
          <p:cNvPicPr>
            <a:picLocks noChangeAspect="1"/>
          </p:cNvPicPr>
          <p:nvPr/>
        </p:nvPicPr>
        <p:blipFill rotWithShape="1">
          <a:blip r:embed="rId3"/>
          <a:srcRect r="23334"/>
          <a:stretch/>
        </p:blipFill>
        <p:spPr>
          <a:xfrm>
            <a:off x="803503" y="1510278"/>
            <a:ext cx="4865777" cy="3610361"/>
          </a:xfrm>
          <a:prstGeom prst="rect">
            <a:avLst/>
          </a:prstGeom>
        </p:spPr>
      </p:pic>
      <p:sp>
        <p:nvSpPr>
          <p:cNvPr id="21" name="Title 4">
            <a:extLst>
              <a:ext uri="{FF2B5EF4-FFF2-40B4-BE49-F238E27FC236}">
                <a16:creationId xmlns:a16="http://schemas.microsoft.com/office/drawing/2014/main" id="{C95E84A7-9A38-4FAA-86CF-A15E10846536}"/>
              </a:ext>
            </a:extLst>
          </p:cNvPr>
          <p:cNvSpPr>
            <a:spLocks noGrp="1"/>
          </p:cNvSpPr>
          <p:nvPr>
            <p:ph type="title"/>
          </p:nvPr>
        </p:nvSpPr>
        <p:spPr>
          <a:xfrm>
            <a:off x="1431055" y="357188"/>
            <a:ext cx="8916711" cy="690562"/>
          </a:xfrm>
        </p:spPr>
        <p:txBody>
          <a:bodyPr/>
          <a:lstStyle/>
          <a:p>
            <a:r>
              <a:rPr lang="en-US"/>
              <a:t>Jane interacts with automations directly in the </a:t>
            </a:r>
            <a:r>
              <a:rPr lang="en-US">
                <a:solidFill>
                  <a:schemeClr val="accent1"/>
                </a:solidFill>
              </a:rPr>
              <a:t>enterprise</a:t>
            </a:r>
            <a:r>
              <a:rPr lang="en-US"/>
              <a:t> </a:t>
            </a:r>
            <a:r>
              <a:rPr lang="en-US">
                <a:solidFill>
                  <a:schemeClr val="accent1"/>
                </a:solidFill>
              </a:rPr>
              <a:t>tools she uses every day</a:t>
            </a:r>
            <a:endParaRPr lang="en-US"/>
          </a:p>
        </p:txBody>
      </p:sp>
      <p:sp>
        <p:nvSpPr>
          <p:cNvPr id="17" name="TextBox 16">
            <a:extLst>
              <a:ext uri="{FF2B5EF4-FFF2-40B4-BE49-F238E27FC236}">
                <a16:creationId xmlns:a16="http://schemas.microsoft.com/office/drawing/2014/main" id="{F3767EE9-8144-4EC3-BCCF-DB533332BC97}"/>
              </a:ext>
            </a:extLst>
          </p:cNvPr>
          <p:cNvSpPr txBox="1"/>
          <p:nvPr/>
        </p:nvSpPr>
        <p:spPr>
          <a:xfrm>
            <a:off x="291853" y="5526548"/>
            <a:ext cx="5974477" cy="1015663"/>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500" b="1">
                <a:latin typeface="Arial"/>
                <a:cs typeface="Arial"/>
              </a:rPr>
              <a:t>Jane can l</a:t>
            </a:r>
            <a:r>
              <a:rPr lang="en-US" sz="1500" b="1" i="0">
                <a:effectLst/>
                <a:latin typeface="Arial"/>
                <a:cs typeface="Arial"/>
              </a:rPr>
              <a:t>aunch and manage her automations directly from MS Teams</a:t>
            </a:r>
          </a:p>
          <a:p>
            <a:pPr marL="285750" indent="-285750">
              <a:buFont typeface="Arial" panose="020B0604020202020204" pitchFamily="34" charset="0"/>
              <a:buChar char="•"/>
            </a:pPr>
            <a:r>
              <a:rPr lang="en-US" sz="1500">
                <a:latin typeface="Arial"/>
                <a:cs typeface="Arial"/>
              </a:rPr>
              <a:t>She can also</a:t>
            </a:r>
            <a:r>
              <a:rPr lang="en-US" sz="1500" b="1">
                <a:latin typeface="Arial"/>
                <a:cs typeface="Arial"/>
              </a:rPr>
              <a:t> talk to an HR Chatbot and ask for help with administrative requests, </a:t>
            </a:r>
            <a:r>
              <a:rPr lang="en-US" sz="1500">
                <a:latin typeface="Arial"/>
                <a:cs typeface="Arial"/>
              </a:rPr>
              <a:t>like creating an employment certificate</a:t>
            </a:r>
            <a:endParaRPr lang="en-US" sz="1500"/>
          </a:p>
        </p:txBody>
      </p:sp>
      <p:pic>
        <p:nvPicPr>
          <p:cNvPr id="34" name="Picture 33" descr="A person sitting at a desk&#10;&#10;Description automatically generated with medium confidence">
            <a:extLst>
              <a:ext uri="{FF2B5EF4-FFF2-40B4-BE49-F238E27FC236}">
                <a16:creationId xmlns:a16="http://schemas.microsoft.com/office/drawing/2014/main" id="{AAE202B3-CD3A-45EA-B599-4DC4FE42FE53}"/>
              </a:ext>
            </a:extLst>
          </p:cNvPr>
          <p:cNvPicPr>
            <a:picLocks noChangeAspect="1"/>
          </p:cNvPicPr>
          <p:nvPr/>
        </p:nvPicPr>
        <p:blipFill rotWithShape="1">
          <a:blip r:embed="rId4"/>
          <a:srcRect l="33416" t="1789" r="9954" b="13320"/>
          <a:stretch/>
        </p:blipFill>
        <p:spPr>
          <a:xfrm flipH="1">
            <a:off x="394891" y="270154"/>
            <a:ext cx="813816" cy="813816"/>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pic>
        <p:nvPicPr>
          <p:cNvPr id="6" name="Picture 5" descr="Graphical user interface, application, Teams&#10;&#10;Description automatically generated">
            <a:extLst>
              <a:ext uri="{FF2B5EF4-FFF2-40B4-BE49-F238E27FC236}">
                <a16:creationId xmlns:a16="http://schemas.microsoft.com/office/drawing/2014/main" id="{05D802B2-B87C-49AD-8982-E329ED1347C4}"/>
              </a:ext>
            </a:extLst>
          </p:cNvPr>
          <p:cNvPicPr>
            <a:picLocks noChangeAspect="1"/>
          </p:cNvPicPr>
          <p:nvPr/>
        </p:nvPicPr>
        <p:blipFill rotWithShape="1">
          <a:blip r:embed="rId5"/>
          <a:srcRect l="15747" t="70528" r="36304" b="12745"/>
          <a:stretch/>
        </p:blipFill>
        <p:spPr>
          <a:xfrm>
            <a:off x="215153" y="4262718"/>
            <a:ext cx="2003612" cy="578224"/>
          </a:xfrm>
          <a:prstGeom prst="rect">
            <a:avLst/>
          </a:prstGeom>
          <a:effectLst>
            <a:outerShdw blurRad="228600" dist="50800" dir="8100000" algn="ctr" rotWithShape="0">
              <a:srgbClr val="000000">
                <a:alpha val="20000"/>
              </a:srgbClr>
            </a:outerShdw>
          </a:effectLst>
        </p:spPr>
      </p:pic>
      <p:pic>
        <p:nvPicPr>
          <p:cNvPr id="16" name="Picture 15">
            <a:extLst>
              <a:ext uri="{FF2B5EF4-FFF2-40B4-BE49-F238E27FC236}">
                <a16:creationId xmlns:a16="http://schemas.microsoft.com/office/drawing/2014/main" id="{EEC435F8-2184-44B8-A094-F36747F52F22}"/>
              </a:ext>
            </a:extLst>
          </p:cNvPr>
          <p:cNvPicPr>
            <a:picLocks noChangeAspect="1"/>
          </p:cNvPicPr>
          <p:nvPr/>
        </p:nvPicPr>
        <p:blipFill rotWithShape="1">
          <a:blip r:embed="rId6"/>
          <a:srcRect l="29033"/>
          <a:stretch/>
        </p:blipFill>
        <p:spPr>
          <a:xfrm>
            <a:off x="6829742" y="1529361"/>
            <a:ext cx="4694387" cy="3503832"/>
          </a:xfrm>
          <a:prstGeom prst="rect">
            <a:avLst/>
          </a:prstGeom>
          <a:effectLst>
            <a:outerShdw blurRad="50800" dist="50800" dir="2700000" algn="ctr" rotWithShape="0">
              <a:srgbClr val="000000">
                <a:alpha val="40000"/>
              </a:srgbClr>
            </a:outerShdw>
          </a:effectLst>
        </p:spPr>
      </p:pic>
      <p:pic>
        <p:nvPicPr>
          <p:cNvPr id="12" name="Picture 11">
            <a:extLst>
              <a:ext uri="{FF2B5EF4-FFF2-40B4-BE49-F238E27FC236}">
                <a16:creationId xmlns:a16="http://schemas.microsoft.com/office/drawing/2014/main" id="{4386388B-CA4D-421E-B713-99619D66C049}"/>
              </a:ext>
            </a:extLst>
          </p:cNvPr>
          <p:cNvPicPr>
            <a:picLocks noChangeAspect="1"/>
          </p:cNvPicPr>
          <p:nvPr/>
        </p:nvPicPr>
        <p:blipFill rotWithShape="1">
          <a:blip r:embed="rId6"/>
          <a:srcRect l="72692" t="35674" b="3696"/>
          <a:stretch/>
        </p:blipFill>
        <p:spPr>
          <a:xfrm>
            <a:off x="9396381" y="2460812"/>
            <a:ext cx="2401172" cy="2823882"/>
          </a:xfrm>
          <a:prstGeom prst="rect">
            <a:avLst/>
          </a:prstGeom>
          <a:effectLst>
            <a:outerShdw blurRad="228600" dist="50800" dir="8100000" algn="ctr" rotWithShape="0">
              <a:srgbClr val="000000">
                <a:alpha val="20000"/>
              </a:srgbClr>
            </a:outerShdw>
          </a:effectLst>
        </p:spPr>
      </p:pic>
      <p:sp>
        <p:nvSpPr>
          <p:cNvPr id="15" name="TextBox 14">
            <a:extLst>
              <a:ext uri="{FF2B5EF4-FFF2-40B4-BE49-F238E27FC236}">
                <a16:creationId xmlns:a16="http://schemas.microsoft.com/office/drawing/2014/main" id="{5D290225-BBD8-41B7-825F-7A77261DF5C1}"/>
              </a:ext>
            </a:extLst>
          </p:cNvPr>
          <p:cNvSpPr txBox="1"/>
          <p:nvPr/>
        </p:nvSpPr>
        <p:spPr>
          <a:xfrm>
            <a:off x="6543411" y="5453262"/>
            <a:ext cx="5276553" cy="553998"/>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500">
                <a:latin typeface="Arial"/>
                <a:cs typeface="Arial"/>
              </a:rPr>
              <a:t>Whenever Jane is working on a budget report,</a:t>
            </a:r>
            <a:r>
              <a:rPr lang="en-US" sz="1500" b="1">
                <a:latin typeface="Arial"/>
                <a:cs typeface="Arial"/>
              </a:rPr>
              <a:t> she can run an automation directly from MS Excel.</a:t>
            </a:r>
            <a:endParaRPr lang="en-US" sz="1500" b="1"/>
          </a:p>
        </p:txBody>
      </p:sp>
      <p:pic>
        <p:nvPicPr>
          <p:cNvPr id="18" name="Picture 17" descr="Graphical user interface, application, Teams&#10;&#10;Description automatically generated">
            <a:extLst>
              <a:ext uri="{FF2B5EF4-FFF2-40B4-BE49-F238E27FC236}">
                <a16:creationId xmlns:a16="http://schemas.microsoft.com/office/drawing/2014/main" id="{29651232-FB03-4918-8FF0-666600DF9C65}"/>
              </a:ext>
            </a:extLst>
          </p:cNvPr>
          <p:cNvPicPr>
            <a:picLocks noChangeAspect="1"/>
          </p:cNvPicPr>
          <p:nvPr/>
        </p:nvPicPr>
        <p:blipFill rotWithShape="1">
          <a:blip r:embed="rId3"/>
          <a:srcRect l="27151" t="14174" r="37261" b="43731"/>
          <a:stretch/>
        </p:blipFill>
        <p:spPr>
          <a:xfrm>
            <a:off x="2231136" y="1328927"/>
            <a:ext cx="3913632" cy="2633319"/>
          </a:xfrm>
          <a:prstGeom prst="rect">
            <a:avLst/>
          </a:prstGeom>
          <a:effectLst>
            <a:outerShdw blurRad="228600" dist="50800" dir="8100000" algn="ctr" rotWithShape="0">
              <a:srgbClr val="000000">
                <a:alpha val="20000"/>
              </a:srgbClr>
            </a:outerShdw>
          </a:effectLst>
        </p:spPr>
      </p:pic>
    </p:spTree>
    <p:extLst>
      <p:ext uri="{BB962C8B-B14F-4D97-AF65-F5344CB8AC3E}">
        <p14:creationId xmlns:p14="http://schemas.microsoft.com/office/powerpoint/2010/main" val="1890921290"/>
      </p:ext>
    </p:extLst>
  </p:cSld>
  <p:clrMapOvr>
    <a:masterClrMapping/>
  </p:clrMapOvr>
  <mc:AlternateContent xmlns:mc="http://schemas.openxmlformats.org/markup-compatibility/2006" xmlns:p14="http://schemas.microsoft.com/office/powerpoint/2010/main">
    <mc:Choice Requires="p14">
      <p:transition spd="slow" p14:dur="2000" advTm="56471"/>
    </mc:Choice>
    <mc:Fallback xmlns="">
      <p:transition spd="slow" advTm="56471"/>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2A500-604A-4B47-BBBB-E3B433B87334}"/>
              </a:ext>
            </a:extLst>
          </p:cNvPr>
          <p:cNvSpPr>
            <a:spLocks noGrp="1"/>
          </p:cNvSpPr>
          <p:nvPr>
            <p:ph type="title"/>
          </p:nvPr>
        </p:nvSpPr>
        <p:spPr/>
        <p:txBody>
          <a:bodyPr/>
          <a:lstStyle/>
          <a:p>
            <a:r>
              <a:rPr lang="en-US"/>
              <a:t>Agenda</a:t>
            </a:r>
          </a:p>
        </p:txBody>
      </p:sp>
      <p:sp>
        <p:nvSpPr>
          <p:cNvPr id="4" name="TextBox 3">
            <a:extLst>
              <a:ext uri="{FF2B5EF4-FFF2-40B4-BE49-F238E27FC236}">
                <a16:creationId xmlns:a16="http://schemas.microsoft.com/office/drawing/2014/main" id="{48DC913A-69CF-4951-A458-B0E119E9A383}"/>
              </a:ext>
            </a:extLst>
          </p:cNvPr>
          <p:cNvSpPr txBox="1"/>
          <p:nvPr/>
        </p:nvSpPr>
        <p:spPr>
          <a:xfrm>
            <a:off x="1942889" y="1701579"/>
            <a:ext cx="9416143" cy="3788229"/>
          </a:xfrm>
          <a:prstGeom prst="rect">
            <a:avLst/>
          </a:prstGeom>
          <a:noFill/>
        </p:spPr>
        <p:txBody>
          <a:bodyPr wrap="square" lIns="0" tIns="0" rIns="0" bIns="0" rtlCol="0">
            <a:noAutofit/>
          </a:bodyPr>
          <a:lstStyle/>
          <a:p>
            <a:pPr marL="285750" indent="-285750">
              <a:lnSpc>
                <a:spcPct val="150000"/>
              </a:lnSpc>
              <a:buFont typeface="Arial" panose="020B0604020202020204" pitchFamily="34" charset="0"/>
              <a:buChar char="•"/>
            </a:pPr>
            <a:endParaRPr lang="en-US">
              <a:latin typeface="Arial"/>
              <a:cs typeface="Arial"/>
            </a:endParaRPr>
          </a:p>
        </p:txBody>
      </p:sp>
      <p:grpSp>
        <p:nvGrpSpPr>
          <p:cNvPr id="5" name="Group 4">
            <a:extLst>
              <a:ext uri="{FF2B5EF4-FFF2-40B4-BE49-F238E27FC236}">
                <a16:creationId xmlns:a16="http://schemas.microsoft.com/office/drawing/2014/main" id="{8B1B20F1-5274-4378-9C49-0C1FBD87B298}"/>
              </a:ext>
            </a:extLst>
          </p:cNvPr>
          <p:cNvGrpSpPr/>
          <p:nvPr/>
        </p:nvGrpSpPr>
        <p:grpSpPr>
          <a:xfrm>
            <a:off x="359536" y="1095545"/>
            <a:ext cx="11448518" cy="3479865"/>
            <a:chOff x="1924364" y="1698675"/>
            <a:chExt cx="9883689" cy="2384126"/>
          </a:xfrm>
        </p:grpSpPr>
        <p:grpSp>
          <p:nvGrpSpPr>
            <p:cNvPr id="6" name="Group 5">
              <a:extLst>
                <a:ext uri="{FF2B5EF4-FFF2-40B4-BE49-F238E27FC236}">
                  <a16:creationId xmlns:a16="http://schemas.microsoft.com/office/drawing/2014/main" id="{8EAD5572-879E-4718-9128-91FFE5CF186A}"/>
                </a:ext>
              </a:extLst>
            </p:cNvPr>
            <p:cNvGrpSpPr/>
            <p:nvPr/>
          </p:nvGrpSpPr>
          <p:grpSpPr>
            <a:xfrm>
              <a:off x="1941525" y="1698675"/>
              <a:ext cx="9866528" cy="481042"/>
              <a:chOff x="1941525" y="2782876"/>
              <a:chExt cx="4287825" cy="481042"/>
            </a:xfrm>
          </p:grpSpPr>
          <p:sp>
            <p:nvSpPr>
              <p:cNvPr id="16" name="TextBox 15">
                <a:extLst>
                  <a:ext uri="{FF2B5EF4-FFF2-40B4-BE49-F238E27FC236}">
                    <a16:creationId xmlns:a16="http://schemas.microsoft.com/office/drawing/2014/main" id="{FA79AE0E-CC23-4739-A036-97CE9EAAC0D4}"/>
                  </a:ext>
                </a:extLst>
              </p:cNvPr>
              <p:cNvSpPr txBox="1"/>
              <p:nvPr/>
            </p:nvSpPr>
            <p:spPr>
              <a:xfrm>
                <a:off x="2343149" y="2782876"/>
                <a:ext cx="3886201" cy="481040"/>
              </a:xfrm>
              <a:prstGeom prst="rect">
                <a:avLst/>
              </a:prstGeom>
              <a:solidFill>
                <a:schemeClr val="accent1"/>
              </a:solidFill>
            </p:spPr>
            <p:txBody>
              <a:bodyPr wrap="square" lIns="182880" tIns="91440" rIns="0" bIns="91440" rtlCol="0" anchor="ctr">
                <a:noAutofit/>
              </a:bodyPr>
              <a:lstStyle/>
              <a:p>
                <a:pPr>
                  <a:spcBef>
                    <a:spcPts val="1400"/>
                  </a:spcBef>
                </a:pPr>
                <a:r>
                  <a:rPr lang="en-US" sz="2200" b="1">
                    <a:solidFill>
                      <a:schemeClr val="bg1"/>
                    </a:solidFill>
                    <a:latin typeface="+mj-lt"/>
                    <a:cs typeface="Arial"/>
                  </a:rPr>
                  <a:t>Setting the stage</a:t>
                </a:r>
              </a:p>
            </p:txBody>
          </p:sp>
          <p:sp>
            <p:nvSpPr>
              <p:cNvPr id="17" name="Rectangle 16">
                <a:extLst>
                  <a:ext uri="{FF2B5EF4-FFF2-40B4-BE49-F238E27FC236}">
                    <a16:creationId xmlns:a16="http://schemas.microsoft.com/office/drawing/2014/main" id="{11C5BAEC-F2FD-4825-A40B-DCE9DFF0F617}"/>
                  </a:ext>
                </a:extLst>
              </p:cNvPr>
              <p:cNvSpPr/>
              <p:nvPr/>
            </p:nvSpPr>
            <p:spPr>
              <a:xfrm>
                <a:off x="1941525" y="2782877"/>
                <a:ext cx="401625" cy="481041"/>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400" b="1" i="0">
                    <a:latin typeface="Arial"/>
                    <a:cs typeface="Arial"/>
                  </a:rPr>
                  <a:t>1</a:t>
                </a:r>
              </a:p>
            </p:txBody>
          </p:sp>
        </p:grpSp>
        <p:grpSp>
          <p:nvGrpSpPr>
            <p:cNvPr id="7" name="Group 6">
              <a:extLst>
                <a:ext uri="{FF2B5EF4-FFF2-40B4-BE49-F238E27FC236}">
                  <a16:creationId xmlns:a16="http://schemas.microsoft.com/office/drawing/2014/main" id="{1746B1D3-B4A5-4ACF-ACFE-91B5B3F3ED21}"/>
                </a:ext>
              </a:extLst>
            </p:cNvPr>
            <p:cNvGrpSpPr/>
            <p:nvPr/>
          </p:nvGrpSpPr>
          <p:grpSpPr>
            <a:xfrm>
              <a:off x="1941525" y="2330765"/>
              <a:ext cx="9866528" cy="481042"/>
              <a:chOff x="1941525" y="2544542"/>
              <a:chExt cx="4287825" cy="481042"/>
            </a:xfrm>
          </p:grpSpPr>
          <p:sp>
            <p:nvSpPr>
              <p:cNvPr id="14" name="TextBox 13">
                <a:extLst>
                  <a:ext uri="{FF2B5EF4-FFF2-40B4-BE49-F238E27FC236}">
                    <a16:creationId xmlns:a16="http://schemas.microsoft.com/office/drawing/2014/main" id="{624FD229-5207-4AAD-B380-39FF8D22C9C7}"/>
                  </a:ext>
                </a:extLst>
              </p:cNvPr>
              <p:cNvSpPr txBox="1"/>
              <p:nvPr/>
            </p:nvSpPr>
            <p:spPr>
              <a:xfrm>
                <a:off x="2343149" y="2544542"/>
                <a:ext cx="3886201" cy="481040"/>
              </a:xfrm>
              <a:prstGeom prst="rect">
                <a:avLst/>
              </a:prstGeom>
              <a:solidFill>
                <a:schemeClr val="accent2"/>
              </a:solidFill>
            </p:spPr>
            <p:txBody>
              <a:bodyPr wrap="square" lIns="182880" tIns="91440" rIns="0" bIns="91440" rtlCol="0" anchor="ctr">
                <a:noAutofit/>
              </a:bodyPr>
              <a:lstStyle/>
              <a:p>
                <a:pPr>
                  <a:spcBef>
                    <a:spcPts val="1400"/>
                  </a:spcBef>
                </a:pPr>
                <a:r>
                  <a:rPr lang="en-US" sz="2200" b="1">
                    <a:solidFill>
                      <a:schemeClr val="bg1"/>
                    </a:solidFill>
                    <a:latin typeface="+mj-lt"/>
                    <a:cs typeface="Arial"/>
                  </a:rPr>
                  <a:t>Why humans &amp; robots working together helps your business</a:t>
                </a:r>
              </a:p>
            </p:txBody>
          </p:sp>
          <p:sp>
            <p:nvSpPr>
              <p:cNvPr id="15" name="Rectangle 14">
                <a:extLst>
                  <a:ext uri="{FF2B5EF4-FFF2-40B4-BE49-F238E27FC236}">
                    <a16:creationId xmlns:a16="http://schemas.microsoft.com/office/drawing/2014/main" id="{9F7BF5B4-FA4C-46F1-BCA6-CDC7E2212896}"/>
                  </a:ext>
                </a:extLst>
              </p:cNvPr>
              <p:cNvSpPr/>
              <p:nvPr/>
            </p:nvSpPr>
            <p:spPr>
              <a:xfrm>
                <a:off x="1941525" y="2544544"/>
                <a:ext cx="401625" cy="481040"/>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400" b="1">
                    <a:latin typeface="Arial"/>
                    <a:cs typeface="Arial"/>
                  </a:rPr>
                  <a:t>2</a:t>
                </a:r>
                <a:endParaRPr lang="en-US" sz="2400" b="1" i="0">
                  <a:latin typeface="Arial"/>
                  <a:cs typeface="Arial"/>
                </a:endParaRPr>
              </a:p>
            </p:txBody>
          </p:sp>
        </p:grpSp>
        <p:grpSp>
          <p:nvGrpSpPr>
            <p:cNvPr id="8" name="Group 7">
              <a:extLst>
                <a:ext uri="{FF2B5EF4-FFF2-40B4-BE49-F238E27FC236}">
                  <a16:creationId xmlns:a16="http://schemas.microsoft.com/office/drawing/2014/main" id="{67418B92-8367-40CE-BBB3-DFA47E577999}"/>
                </a:ext>
              </a:extLst>
            </p:cNvPr>
            <p:cNvGrpSpPr/>
            <p:nvPr/>
          </p:nvGrpSpPr>
          <p:grpSpPr>
            <a:xfrm>
              <a:off x="1941525" y="2956048"/>
              <a:ext cx="9866528" cy="481042"/>
              <a:chOff x="1941525" y="2299401"/>
              <a:chExt cx="4287825" cy="481042"/>
            </a:xfrm>
          </p:grpSpPr>
          <p:sp>
            <p:nvSpPr>
              <p:cNvPr id="12" name="TextBox 11">
                <a:extLst>
                  <a:ext uri="{FF2B5EF4-FFF2-40B4-BE49-F238E27FC236}">
                    <a16:creationId xmlns:a16="http://schemas.microsoft.com/office/drawing/2014/main" id="{33F26EF2-9E85-43D5-9B97-8BBE7402F0F4}"/>
                  </a:ext>
                </a:extLst>
              </p:cNvPr>
              <p:cNvSpPr txBox="1"/>
              <p:nvPr/>
            </p:nvSpPr>
            <p:spPr>
              <a:xfrm>
                <a:off x="2343149" y="2299401"/>
                <a:ext cx="3886201" cy="481040"/>
              </a:xfrm>
              <a:prstGeom prst="rect">
                <a:avLst/>
              </a:prstGeom>
              <a:solidFill>
                <a:schemeClr val="accent3"/>
              </a:solidFill>
            </p:spPr>
            <p:txBody>
              <a:bodyPr wrap="square" lIns="182880" tIns="91440" rIns="0" bIns="91440" rtlCol="0" anchor="ctr">
                <a:noAutofit/>
              </a:bodyPr>
              <a:lstStyle/>
              <a:p>
                <a:pPr>
                  <a:spcBef>
                    <a:spcPts val="1400"/>
                  </a:spcBef>
                </a:pPr>
                <a:r>
                  <a:rPr lang="en-US" sz="2200" b="1">
                    <a:solidFill>
                      <a:schemeClr val="bg1"/>
                    </a:solidFill>
                    <a:latin typeface="+mj-lt"/>
                    <a:cs typeface="Arial"/>
                  </a:rPr>
                  <a:t>How employees work with robots</a:t>
                </a:r>
              </a:p>
            </p:txBody>
          </p:sp>
          <p:sp>
            <p:nvSpPr>
              <p:cNvPr id="13" name="Rectangle 12">
                <a:extLst>
                  <a:ext uri="{FF2B5EF4-FFF2-40B4-BE49-F238E27FC236}">
                    <a16:creationId xmlns:a16="http://schemas.microsoft.com/office/drawing/2014/main" id="{69C8BCEB-8E60-4A70-8CF5-ABD53D159A38}"/>
                  </a:ext>
                </a:extLst>
              </p:cNvPr>
              <p:cNvSpPr/>
              <p:nvPr/>
            </p:nvSpPr>
            <p:spPr>
              <a:xfrm>
                <a:off x="1941525" y="2299403"/>
                <a:ext cx="401625" cy="48104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400" b="1">
                    <a:latin typeface="Arial"/>
                    <a:cs typeface="Arial"/>
                  </a:rPr>
                  <a:t>3</a:t>
                </a:r>
                <a:endParaRPr lang="en-US" sz="2400" b="1" i="0">
                  <a:latin typeface="Arial"/>
                  <a:cs typeface="Arial"/>
                </a:endParaRPr>
              </a:p>
            </p:txBody>
          </p:sp>
        </p:grpSp>
        <p:grpSp>
          <p:nvGrpSpPr>
            <p:cNvPr id="9" name="Group 8">
              <a:extLst>
                <a:ext uri="{FF2B5EF4-FFF2-40B4-BE49-F238E27FC236}">
                  <a16:creationId xmlns:a16="http://schemas.microsoft.com/office/drawing/2014/main" id="{9D26E0E7-7E0E-46D0-92DB-0F8FF4F357F2}"/>
                </a:ext>
              </a:extLst>
            </p:cNvPr>
            <p:cNvGrpSpPr/>
            <p:nvPr/>
          </p:nvGrpSpPr>
          <p:grpSpPr>
            <a:xfrm>
              <a:off x="1924364" y="3601759"/>
              <a:ext cx="9866528" cy="481042"/>
              <a:chOff x="1934067" y="2074688"/>
              <a:chExt cx="4287825" cy="481042"/>
            </a:xfrm>
          </p:grpSpPr>
          <p:sp>
            <p:nvSpPr>
              <p:cNvPr id="10" name="TextBox 9">
                <a:extLst>
                  <a:ext uri="{FF2B5EF4-FFF2-40B4-BE49-F238E27FC236}">
                    <a16:creationId xmlns:a16="http://schemas.microsoft.com/office/drawing/2014/main" id="{3620A195-256C-45D3-A8C5-96C369BAD31E}"/>
                  </a:ext>
                </a:extLst>
              </p:cNvPr>
              <p:cNvSpPr txBox="1"/>
              <p:nvPr/>
            </p:nvSpPr>
            <p:spPr>
              <a:xfrm>
                <a:off x="2335691" y="2074688"/>
                <a:ext cx="3886201" cy="481040"/>
              </a:xfrm>
              <a:prstGeom prst="rect">
                <a:avLst/>
              </a:prstGeom>
              <a:solidFill>
                <a:schemeClr val="accent4"/>
              </a:solidFill>
            </p:spPr>
            <p:txBody>
              <a:bodyPr wrap="square" lIns="182880" tIns="91440" rIns="0" bIns="91440" rtlCol="0" anchor="ctr">
                <a:noAutofit/>
              </a:bodyPr>
              <a:lstStyle/>
              <a:p>
                <a:pPr>
                  <a:spcBef>
                    <a:spcPts val="1400"/>
                  </a:spcBef>
                </a:pPr>
                <a:r>
                  <a:rPr lang="en-IE" sz="2200" b="1">
                    <a:solidFill>
                      <a:schemeClr val="bg1"/>
                    </a:solidFill>
                    <a:latin typeface="+mj-lt"/>
                    <a:cs typeface="Arial"/>
                  </a:rPr>
                  <a:t>The leap to democratized development</a:t>
                </a:r>
              </a:p>
            </p:txBody>
          </p:sp>
          <p:sp>
            <p:nvSpPr>
              <p:cNvPr id="11" name="Rectangle 10">
                <a:extLst>
                  <a:ext uri="{FF2B5EF4-FFF2-40B4-BE49-F238E27FC236}">
                    <a16:creationId xmlns:a16="http://schemas.microsoft.com/office/drawing/2014/main" id="{56964536-C48B-45E3-9C76-643B3DCF3953}"/>
                  </a:ext>
                </a:extLst>
              </p:cNvPr>
              <p:cNvSpPr/>
              <p:nvPr/>
            </p:nvSpPr>
            <p:spPr>
              <a:xfrm>
                <a:off x="1934067" y="2074690"/>
                <a:ext cx="401625" cy="481040"/>
              </a:xfrm>
              <a:prstGeom prst="rect">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400" b="1">
                    <a:latin typeface="Arial"/>
                    <a:cs typeface="Arial"/>
                  </a:rPr>
                  <a:t>4</a:t>
                </a:r>
                <a:endParaRPr lang="en-US" sz="2400" b="1" i="0">
                  <a:latin typeface="Arial"/>
                  <a:cs typeface="Arial"/>
                </a:endParaRPr>
              </a:p>
            </p:txBody>
          </p:sp>
        </p:grpSp>
      </p:grpSp>
      <p:sp>
        <p:nvSpPr>
          <p:cNvPr id="18" name="TextBox 17">
            <a:extLst>
              <a:ext uri="{FF2B5EF4-FFF2-40B4-BE49-F238E27FC236}">
                <a16:creationId xmlns:a16="http://schemas.microsoft.com/office/drawing/2014/main" id="{B7904F31-894F-4405-9D43-C3D191B84047}"/>
              </a:ext>
            </a:extLst>
          </p:cNvPr>
          <p:cNvSpPr txBox="1"/>
          <p:nvPr/>
        </p:nvSpPr>
        <p:spPr>
          <a:xfrm>
            <a:off x="1443265" y="4840693"/>
            <a:ext cx="10358163" cy="702125"/>
          </a:xfrm>
          <a:prstGeom prst="rect">
            <a:avLst/>
          </a:prstGeom>
          <a:solidFill>
            <a:schemeClr val="accent5"/>
          </a:solidFill>
        </p:spPr>
        <p:txBody>
          <a:bodyPr wrap="square" lIns="182880" tIns="91440" rIns="0" bIns="91440" rtlCol="0" anchor="ctr">
            <a:noAutofit/>
          </a:bodyPr>
          <a:lstStyle/>
          <a:p>
            <a:pPr>
              <a:spcBef>
                <a:spcPts val="1400"/>
              </a:spcBef>
            </a:pPr>
            <a:r>
              <a:rPr lang="en-US" sz="2200" b="1">
                <a:solidFill>
                  <a:schemeClr val="bg1"/>
                </a:solidFill>
                <a:latin typeface="+mj-lt"/>
                <a:cs typeface="Arial"/>
              </a:rPr>
              <a:t>Making it a reality at your organization</a:t>
            </a:r>
          </a:p>
        </p:txBody>
      </p:sp>
      <p:sp>
        <p:nvSpPr>
          <p:cNvPr id="19" name="Rectangle 18">
            <a:extLst>
              <a:ext uri="{FF2B5EF4-FFF2-40B4-BE49-F238E27FC236}">
                <a16:creationId xmlns:a16="http://schemas.microsoft.com/office/drawing/2014/main" id="{D7DAD0DF-93E7-4EB5-B381-CD8970F38A2F}"/>
              </a:ext>
            </a:extLst>
          </p:cNvPr>
          <p:cNvSpPr/>
          <p:nvPr/>
        </p:nvSpPr>
        <p:spPr>
          <a:xfrm>
            <a:off x="372788" y="4840696"/>
            <a:ext cx="1070479" cy="702125"/>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400" b="1" i="0">
                <a:latin typeface="Arial"/>
                <a:cs typeface="Arial"/>
              </a:rPr>
              <a:t>5</a:t>
            </a:r>
          </a:p>
        </p:txBody>
      </p:sp>
      <p:sp>
        <p:nvSpPr>
          <p:cNvPr id="22" name="TextBox 21">
            <a:extLst>
              <a:ext uri="{FF2B5EF4-FFF2-40B4-BE49-F238E27FC236}">
                <a16:creationId xmlns:a16="http://schemas.microsoft.com/office/drawing/2014/main" id="{1FD7C87F-8D6D-4FF3-B6AD-B90314E9817F}"/>
              </a:ext>
            </a:extLst>
          </p:cNvPr>
          <p:cNvSpPr txBox="1"/>
          <p:nvPr/>
        </p:nvSpPr>
        <p:spPr>
          <a:xfrm>
            <a:off x="1449891" y="5808102"/>
            <a:ext cx="10358163" cy="702125"/>
          </a:xfrm>
          <a:prstGeom prst="rect">
            <a:avLst/>
          </a:prstGeom>
          <a:solidFill>
            <a:schemeClr val="accent6"/>
          </a:solidFill>
        </p:spPr>
        <p:txBody>
          <a:bodyPr wrap="square" lIns="182880" tIns="91440" rIns="0" bIns="91440" rtlCol="0" anchor="ctr">
            <a:noAutofit/>
          </a:bodyPr>
          <a:lstStyle/>
          <a:p>
            <a:pPr>
              <a:spcBef>
                <a:spcPts val="1400"/>
              </a:spcBef>
            </a:pPr>
            <a:r>
              <a:rPr lang="en-US" sz="2200" b="1">
                <a:solidFill>
                  <a:schemeClr val="bg1"/>
                </a:solidFill>
                <a:latin typeface="+mj-lt"/>
                <a:cs typeface="Arial"/>
              </a:rPr>
              <a:t>What’s next?</a:t>
            </a:r>
          </a:p>
        </p:txBody>
      </p:sp>
      <p:sp>
        <p:nvSpPr>
          <p:cNvPr id="23" name="Rectangle 22">
            <a:extLst>
              <a:ext uri="{FF2B5EF4-FFF2-40B4-BE49-F238E27FC236}">
                <a16:creationId xmlns:a16="http://schemas.microsoft.com/office/drawing/2014/main" id="{0F8F5365-B610-40BF-AFFC-B51C1463A377}"/>
              </a:ext>
            </a:extLst>
          </p:cNvPr>
          <p:cNvSpPr/>
          <p:nvPr/>
        </p:nvSpPr>
        <p:spPr>
          <a:xfrm>
            <a:off x="379414" y="5808105"/>
            <a:ext cx="1070479" cy="70212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2400" b="1" i="0">
                <a:latin typeface="Arial"/>
                <a:cs typeface="Arial"/>
              </a:rPr>
              <a:t>6</a:t>
            </a:r>
          </a:p>
        </p:txBody>
      </p:sp>
    </p:spTree>
    <p:extLst>
      <p:ext uri="{BB962C8B-B14F-4D97-AF65-F5344CB8AC3E}">
        <p14:creationId xmlns:p14="http://schemas.microsoft.com/office/powerpoint/2010/main" val="6902383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03D555F1-0CED-434D-9178-DF6F06F5DD84}"/>
              </a:ext>
            </a:extLst>
          </p:cNvPr>
          <p:cNvSpPr>
            <a:spLocks noGrp="1"/>
          </p:cNvSpPr>
          <p:nvPr>
            <p:ph type="title"/>
          </p:nvPr>
        </p:nvSpPr>
        <p:spPr>
          <a:xfrm>
            <a:off x="1431056" y="357188"/>
            <a:ext cx="7296384" cy="690562"/>
          </a:xfrm>
        </p:spPr>
        <p:txBody>
          <a:bodyPr/>
          <a:lstStyle/>
          <a:p>
            <a:r>
              <a:rPr lang="en-US"/>
              <a:t>Jane’s assistant </a:t>
            </a:r>
            <a:r>
              <a:rPr lang="en-US">
                <a:solidFill>
                  <a:schemeClr val="accent1"/>
                </a:solidFill>
              </a:rPr>
              <a:t>monitors incoming emails </a:t>
            </a:r>
            <a:r>
              <a:rPr lang="en-US"/>
              <a:t>and </a:t>
            </a:r>
            <a:r>
              <a:rPr lang="en-US">
                <a:solidFill>
                  <a:schemeClr val="accent1"/>
                </a:solidFill>
              </a:rPr>
              <a:t>automatically processes new invoices</a:t>
            </a:r>
          </a:p>
        </p:txBody>
      </p:sp>
      <p:grpSp>
        <p:nvGrpSpPr>
          <p:cNvPr id="2" name="Group 1">
            <a:extLst>
              <a:ext uri="{FF2B5EF4-FFF2-40B4-BE49-F238E27FC236}">
                <a16:creationId xmlns:a16="http://schemas.microsoft.com/office/drawing/2014/main" id="{1806FDD5-74AC-4041-99AB-81CE590C5002}"/>
              </a:ext>
            </a:extLst>
          </p:cNvPr>
          <p:cNvGrpSpPr/>
          <p:nvPr/>
        </p:nvGrpSpPr>
        <p:grpSpPr>
          <a:xfrm>
            <a:off x="432563" y="1423414"/>
            <a:ext cx="5661010" cy="3986786"/>
            <a:chOff x="290617" y="1867709"/>
            <a:chExt cx="6284794" cy="4426087"/>
          </a:xfrm>
        </p:grpSpPr>
        <p:pic>
          <p:nvPicPr>
            <p:cNvPr id="3" name="Picture 2" descr="Graphical user interface, text, application, email&#10;&#10;Description automatically generated">
              <a:extLst>
                <a:ext uri="{FF2B5EF4-FFF2-40B4-BE49-F238E27FC236}">
                  <a16:creationId xmlns:a16="http://schemas.microsoft.com/office/drawing/2014/main" id="{377F4CE3-9FCB-46D1-B437-18D691A998DE}"/>
                </a:ext>
              </a:extLst>
            </p:cNvPr>
            <p:cNvPicPr>
              <a:picLocks noChangeAspect="1"/>
            </p:cNvPicPr>
            <p:nvPr/>
          </p:nvPicPr>
          <p:blipFill rotWithShape="1">
            <a:blip r:embed="rId3"/>
            <a:srcRect r="20117"/>
            <a:stretch/>
          </p:blipFill>
          <p:spPr>
            <a:xfrm>
              <a:off x="951144" y="1867709"/>
              <a:ext cx="5624267" cy="4426087"/>
            </a:xfrm>
            <a:prstGeom prst="rect">
              <a:avLst/>
            </a:prstGeom>
            <a:effectLst>
              <a:outerShdw blurRad="50800" dist="38100" dir="8100000" algn="tr" rotWithShape="0">
                <a:prstClr val="black">
                  <a:alpha val="20000"/>
                </a:prstClr>
              </a:outerShdw>
            </a:effectLst>
          </p:spPr>
        </p:pic>
        <p:pic>
          <p:nvPicPr>
            <p:cNvPr id="33" name="Picture 32" descr="Graphical user interface, text, application, email&#10;&#10;Description automatically generated">
              <a:extLst>
                <a:ext uri="{FF2B5EF4-FFF2-40B4-BE49-F238E27FC236}">
                  <a16:creationId xmlns:a16="http://schemas.microsoft.com/office/drawing/2014/main" id="{C114BB9A-14FE-4791-9DE3-2B485FDEA905}"/>
                </a:ext>
              </a:extLst>
            </p:cNvPr>
            <p:cNvPicPr>
              <a:picLocks noChangeAspect="1"/>
            </p:cNvPicPr>
            <p:nvPr/>
          </p:nvPicPr>
          <p:blipFill rotWithShape="1">
            <a:blip r:embed="rId3"/>
            <a:srcRect l="1042" t="21214" r="70536" b="70257"/>
            <a:stretch/>
          </p:blipFill>
          <p:spPr>
            <a:xfrm>
              <a:off x="290617" y="2633596"/>
              <a:ext cx="3298210" cy="614728"/>
            </a:xfrm>
            <a:prstGeom prst="rect">
              <a:avLst/>
            </a:prstGeom>
            <a:effectLst>
              <a:outerShdw blurRad="50800" dist="38100" dir="8100000" algn="tr" rotWithShape="0">
                <a:prstClr val="black">
                  <a:alpha val="40000"/>
                </a:prstClr>
              </a:outerShdw>
            </a:effectLst>
          </p:spPr>
        </p:pic>
      </p:grpSp>
      <p:pic>
        <p:nvPicPr>
          <p:cNvPr id="23" name="Picture 22">
            <a:extLst>
              <a:ext uri="{FF2B5EF4-FFF2-40B4-BE49-F238E27FC236}">
                <a16:creationId xmlns:a16="http://schemas.microsoft.com/office/drawing/2014/main" id="{262928E6-645A-4F34-B5DC-BE5F9A3C7E4C}"/>
              </a:ext>
            </a:extLst>
          </p:cNvPr>
          <p:cNvPicPr>
            <a:picLocks noChangeAspect="1" noChangeArrowheads="1"/>
          </p:cNvPicPr>
          <p:nvPr/>
        </p:nvPicPr>
        <p:blipFill>
          <a:blip r:embed="rId4"/>
          <a:srcRect/>
          <a:stretch/>
        </p:blipFill>
        <p:spPr bwMode="auto">
          <a:xfrm>
            <a:off x="2235146" y="2299263"/>
            <a:ext cx="1079554" cy="102575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DED6115A-CA8C-425A-B599-D5A3892F39E8}"/>
              </a:ext>
            </a:extLst>
          </p:cNvPr>
          <p:cNvSpPr txBox="1"/>
          <p:nvPr/>
        </p:nvSpPr>
        <p:spPr>
          <a:xfrm>
            <a:off x="792743" y="5818882"/>
            <a:ext cx="5760457" cy="830997"/>
          </a:xfrm>
          <a:prstGeom prst="rect">
            <a:avLst/>
          </a:prstGeom>
          <a:noFill/>
        </p:spPr>
        <p:txBody>
          <a:bodyPr wrap="square" lIns="91440" tIns="45720" rIns="91440" bIns="45720" anchor="t">
            <a:spAutoFit/>
          </a:bodyPr>
          <a:lstStyle/>
          <a:p>
            <a:r>
              <a:rPr lang="en-US" sz="1600" b="1" i="0">
                <a:effectLst/>
                <a:latin typeface="Arial"/>
                <a:cs typeface="Arial"/>
              </a:rPr>
              <a:t>A robot watches for a specific activity </a:t>
            </a:r>
            <a:r>
              <a:rPr lang="en-US" sz="1600" i="0">
                <a:effectLst/>
                <a:latin typeface="Arial"/>
                <a:cs typeface="Arial"/>
              </a:rPr>
              <a:t>(e.g. when Jane receives a new email with a specific keyword) </a:t>
            </a:r>
            <a:r>
              <a:rPr lang="en-US" sz="1600" b="1" i="0">
                <a:effectLst/>
                <a:latin typeface="Arial"/>
                <a:cs typeface="Arial"/>
              </a:rPr>
              <a:t>and runs an automation in the background</a:t>
            </a:r>
            <a:endParaRPr lang="en-US" sz="1600"/>
          </a:p>
        </p:txBody>
      </p:sp>
      <p:pic>
        <p:nvPicPr>
          <p:cNvPr id="36" name="Picture 35" descr="A person sitting at a desk&#10;&#10;Description automatically generated with medium confidence">
            <a:extLst>
              <a:ext uri="{FF2B5EF4-FFF2-40B4-BE49-F238E27FC236}">
                <a16:creationId xmlns:a16="http://schemas.microsoft.com/office/drawing/2014/main" id="{439712AF-4883-4FE5-8AC1-6C31512F6182}"/>
              </a:ext>
            </a:extLst>
          </p:cNvPr>
          <p:cNvPicPr>
            <a:picLocks noChangeAspect="1"/>
          </p:cNvPicPr>
          <p:nvPr/>
        </p:nvPicPr>
        <p:blipFill rotWithShape="1">
          <a:blip r:embed="rId5"/>
          <a:srcRect l="33416" t="1789" r="9954" b="13320"/>
          <a:stretch/>
        </p:blipFill>
        <p:spPr>
          <a:xfrm flipH="1">
            <a:off x="394891" y="270154"/>
            <a:ext cx="813816" cy="813816"/>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sp>
        <p:nvSpPr>
          <p:cNvPr id="16" name="TextBox 15">
            <a:extLst>
              <a:ext uri="{FF2B5EF4-FFF2-40B4-BE49-F238E27FC236}">
                <a16:creationId xmlns:a16="http://schemas.microsoft.com/office/drawing/2014/main" id="{0A0BB2D4-8E92-4417-A6DF-68A342E20795}"/>
              </a:ext>
            </a:extLst>
          </p:cNvPr>
          <p:cNvSpPr txBox="1"/>
          <p:nvPr/>
        </p:nvSpPr>
        <p:spPr>
          <a:xfrm>
            <a:off x="7306296" y="5757141"/>
            <a:ext cx="4619003" cy="830997"/>
          </a:xfrm>
          <a:prstGeom prst="rect">
            <a:avLst/>
          </a:prstGeom>
          <a:noFill/>
        </p:spPr>
        <p:txBody>
          <a:bodyPr wrap="square" lIns="91440" tIns="45720" rIns="91440" bIns="45720" anchor="t">
            <a:spAutoFit/>
          </a:bodyPr>
          <a:lstStyle/>
          <a:p>
            <a:r>
              <a:rPr lang="en-US" sz="1600">
                <a:latin typeface="Arial"/>
                <a:cs typeface="Arial"/>
              </a:rPr>
              <a:t>If a robot has a question or needs Jane’s validation, it will send her a note in </a:t>
            </a:r>
            <a:r>
              <a:rPr lang="en-US" sz="1600" b="1">
                <a:latin typeface="Arial"/>
                <a:cs typeface="Arial"/>
              </a:rPr>
              <a:t>Action Center </a:t>
            </a:r>
            <a:r>
              <a:rPr lang="en-US" sz="1600">
                <a:latin typeface="Arial"/>
                <a:cs typeface="Arial"/>
              </a:rPr>
              <a:t>(accessible via web or phone/tablet)</a:t>
            </a:r>
            <a:endParaRPr lang="en-US" sz="1600"/>
          </a:p>
        </p:txBody>
      </p:sp>
      <p:pic>
        <p:nvPicPr>
          <p:cNvPr id="6" name="Picture 5" descr="Graphical user interface, application&#10;&#10;Description automatically generated">
            <a:extLst>
              <a:ext uri="{FF2B5EF4-FFF2-40B4-BE49-F238E27FC236}">
                <a16:creationId xmlns:a16="http://schemas.microsoft.com/office/drawing/2014/main" id="{59A6B561-EF53-4E04-982C-CCF08A0CD4AF}"/>
              </a:ext>
            </a:extLst>
          </p:cNvPr>
          <p:cNvPicPr>
            <a:picLocks noChangeAspect="1"/>
          </p:cNvPicPr>
          <p:nvPr/>
        </p:nvPicPr>
        <p:blipFill>
          <a:blip r:embed="rId6"/>
          <a:stretch>
            <a:fillRect/>
          </a:stretch>
        </p:blipFill>
        <p:spPr>
          <a:xfrm>
            <a:off x="8276909" y="1323710"/>
            <a:ext cx="2186735" cy="4245818"/>
          </a:xfrm>
          <a:prstGeom prst="rect">
            <a:avLst/>
          </a:prstGeom>
        </p:spPr>
      </p:pic>
    </p:spTree>
    <p:extLst>
      <p:ext uri="{BB962C8B-B14F-4D97-AF65-F5344CB8AC3E}">
        <p14:creationId xmlns:p14="http://schemas.microsoft.com/office/powerpoint/2010/main" val="2249225741"/>
      </p:ext>
    </p:extLst>
  </p:cSld>
  <p:clrMapOvr>
    <a:masterClrMapping/>
  </p:clrMapOvr>
  <mc:AlternateContent xmlns:mc="http://schemas.openxmlformats.org/markup-compatibility/2006" xmlns:p14="http://schemas.microsoft.com/office/powerpoint/2010/main">
    <mc:Choice Requires="p14">
      <p:transition spd="slow" p14:dur="2000" advTm="42037"/>
    </mc:Choice>
    <mc:Fallback xmlns="">
      <p:transition spd="slow" advTm="42037"/>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Shape&#10;&#10;Description automatically generated with medium confidence">
            <a:extLst>
              <a:ext uri="{FF2B5EF4-FFF2-40B4-BE49-F238E27FC236}">
                <a16:creationId xmlns:a16="http://schemas.microsoft.com/office/drawing/2014/main" id="{2CCD2705-4984-4B07-9141-9D59292832BA}"/>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93864" y="5396030"/>
            <a:ext cx="2155635" cy="302772"/>
          </a:xfrm>
          <a:prstGeom prst="rect">
            <a:avLst/>
          </a:prstGeom>
        </p:spPr>
      </p:pic>
      <p:cxnSp>
        <p:nvCxnSpPr>
          <p:cNvPr id="15" name="Straight Connector 14">
            <a:extLst>
              <a:ext uri="{FF2B5EF4-FFF2-40B4-BE49-F238E27FC236}">
                <a16:creationId xmlns:a16="http://schemas.microsoft.com/office/drawing/2014/main" id="{378A8494-4016-4CD7-AD1A-BEE66DD9109A}"/>
              </a:ext>
            </a:extLst>
          </p:cNvPr>
          <p:cNvCxnSpPr>
            <a:cxnSpLocks/>
          </p:cNvCxnSpPr>
          <p:nvPr/>
        </p:nvCxnSpPr>
        <p:spPr>
          <a:xfrm>
            <a:off x="3212911" y="5233472"/>
            <a:ext cx="0" cy="627888"/>
          </a:xfrm>
          <a:prstGeom prst="lin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7" name="Text Placeholder 1">
            <a:extLst>
              <a:ext uri="{FF2B5EF4-FFF2-40B4-BE49-F238E27FC236}">
                <a16:creationId xmlns:a16="http://schemas.microsoft.com/office/drawing/2014/main" id="{DC3901CB-AD18-419B-BDD7-1806914A4FA2}"/>
              </a:ext>
            </a:extLst>
          </p:cNvPr>
          <p:cNvSpPr txBox="1">
            <a:spLocks/>
          </p:cNvSpPr>
          <p:nvPr/>
        </p:nvSpPr>
        <p:spPr>
          <a:xfrm>
            <a:off x="1134318" y="1701478"/>
            <a:ext cx="3958543" cy="972274"/>
          </a:xfrm>
          <a:prstGeom prst="rect">
            <a:avLst/>
          </a:prstGeom>
          <a:solidFill>
            <a:schemeClr val="accent1"/>
          </a:solidFill>
        </p:spPr>
        <p:txBody>
          <a:bodyPr lIns="182880" tIns="137160" rIns="182880" bIns="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endParaRPr lang="en-US" sz="1600" b="1" i="0">
              <a:solidFill>
                <a:schemeClr val="bg1"/>
              </a:solidFill>
              <a:latin typeface="Arial"/>
              <a:cs typeface="Arial"/>
            </a:endParaRPr>
          </a:p>
        </p:txBody>
      </p:sp>
      <p:sp>
        <p:nvSpPr>
          <p:cNvPr id="31" name="Text Placeholder 2">
            <a:extLst>
              <a:ext uri="{FF2B5EF4-FFF2-40B4-BE49-F238E27FC236}">
                <a16:creationId xmlns:a16="http://schemas.microsoft.com/office/drawing/2014/main" id="{0F4A1B4C-C3B4-4E85-B07D-B364C4F55A3F}"/>
              </a:ext>
            </a:extLst>
          </p:cNvPr>
          <p:cNvSpPr txBox="1">
            <a:spLocks/>
          </p:cNvSpPr>
          <p:nvPr/>
        </p:nvSpPr>
        <p:spPr>
          <a:xfrm>
            <a:off x="6643868" y="1633419"/>
            <a:ext cx="4872942" cy="994034"/>
          </a:xfrm>
          <a:prstGeom prst="rect">
            <a:avLst/>
          </a:prstGeom>
          <a:solidFill>
            <a:schemeClr val="accent2"/>
          </a:solidFill>
        </p:spPr>
        <p:txBody>
          <a:bodyPr lIns="182880" tIns="137160" rIns="182880" bIns="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endParaRPr lang="en-US" sz="1600" b="1" i="0">
              <a:solidFill>
                <a:schemeClr val="bg1"/>
              </a:solidFill>
              <a:latin typeface="Arial"/>
              <a:cs typeface="Arial"/>
            </a:endParaRPr>
          </a:p>
        </p:txBody>
      </p:sp>
      <p:sp>
        <p:nvSpPr>
          <p:cNvPr id="32" name="Text Placeholder 4">
            <a:extLst>
              <a:ext uri="{FF2B5EF4-FFF2-40B4-BE49-F238E27FC236}">
                <a16:creationId xmlns:a16="http://schemas.microsoft.com/office/drawing/2014/main" id="{EFBA87A3-C0C5-4E6A-A717-E55FD9267B34}"/>
              </a:ext>
            </a:extLst>
          </p:cNvPr>
          <p:cNvSpPr txBox="1">
            <a:spLocks/>
          </p:cNvSpPr>
          <p:nvPr/>
        </p:nvSpPr>
        <p:spPr>
          <a:xfrm>
            <a:off x="1932972" y="3518705"/>
            <a:ext cx="3178777" cy="821802"/>
          </a:xfrm>
          <a:prstGeom prst="rect">
            <a:avLst/>
          </a:prstGeom>
          <a:solidFill>
            <a:schemeClr val="accent3"/>
          </a:solidFill>
        </p:spPr>
        <p:txBody>
          <a:bodyPr lIns="182880" tIns="137160" rIns="182880" bIns="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endParaRPr lang="en-US" sz="1600" b="1" i="0">
              <a:solidFill>
                <a:schemeClr val="bg1"/>
              </a:solidFill>
              <a:latin typeface="Arial"/>
              <a:cs typeface="Arial"/>
            </a:endParaRPr>
          </a:p>
        </p:txBody>
      </p:sp>
      <p:sp>
        <p:nvSpPr>
          <p:cNvPr id="4" name="Title 3">
            <a:extLst>
              <a:ext uri="{FF2B5EF4-FFF2-40B4-BE49-F238E27FC236}">
                <a16:creationId xmlns:a16="http://schemas.microsoft.com/office/drawing/2014/main" id="{A698D4FB-4BAE-4150-96CB-1A3B94B3971D}"/>
              </a:ext>
            </a:extLst>
          </p:cNvPr>
          <p:cNvSpPr>
            <a:spLocks noGrp="1"/>
          </p:cNvSpPr>
          <p:nvPr>
            <p:ph type="title"/>
          </p:nvPr>
        </p:nvSpPr>
        <p:spPr>
          <a:xfrm>
            <a:off x="1382234" y="357721"/>
            <a:ext cx="7046150" cy="690029"/>
          </a:xfrm>
        </p:spPr>
        <p:txBody>
          <a:bodyPr/>
          <a:lstStyle/>
          <a:p>
            <a:r>
              <a:rPr lang="en-US"/>
              <a:t>The UiPath platform makes it </a:t>
            </a:r>
            <a:r>
              <a:rPr lang="en-US">
                <a:solidFill>
                  <a:schemeClr val="accent1"/>
                </a:solidFill>
              </a:rPr>
              <a:t>easy for Jane to work with automation</a:t>
            </a:r>
            <a:endParaRPr lang="en-PH"/>
          </a:p>
        </p:txBody>
      </p:sp>
      <p:pic>
        <p:nvPicPr>
          <p:cNvPr id="28" name="Picture 27">
            <a:extLst>
              <a:ext uri="{FF2B5EF4-FFF2-40B4-BE49-F238E27FC236}">
                <a16:creationId xmlns:a16="http://schemas.microsoft.com/office/drawing/2014/main" id="{C384BC8F-B7DD-4C84-8827-FDEF87B00BF9}"/>
              </a:ext>
            </a:extLst>
          </p:cNvPr>
          <p:cNvPicPr>
            <a:picLocks noChangeAspect="1"/>
          </p:cNvPicPr>
          <p:nvPr/>
        </p:nvPicPr>
        <p:blipFill rotWithShape="1">
          <a:blip r:embed="rId5"/>
          <a:srcRect l="-1" t="-308" r="223" b="601"/>
          <a:stretch/>
        </p:blipFill>
        <p:spPr>
          <a:xfrm>
            <a:off x="6157732" y="1482596"/>
            <a:ext cx="1906135" cy="1500990"/>
          </a:xfrm>
          <a:prstGeom prst="rect">
            <a:avLst/>
          </a:prstGeom>
          <a:effectLst>
            <a:outerShdw blurRad="50800" dist="38100" dir="8100000" algn="tr" rotWithShape="0">
              <a:prstClr val="black">
                <a:alpha val="20000"/>
              </a:prstClr>
            </a:outerShdw>
          </a:effectLst>
        </p:spPr>
      </p:pic>
      <p:pic>
        <p:nvPicPr>
          <p:cNvPr id="19" name="Picture 18" descr="A person sitting at a desk&#10;&#10;Description automatically generated with medium confidence">
            <a:extLst>
              <a:ext uri="{FF2B5EF4-FFF2-40B4-BE49-F238E27FC236}">
                <a16:creationId xmlns:a16="http://schemas.microsoft.com/office/drawing/2014/main" id="{BA0E2AE9-37B0-4DC6-91B4-0B3BCA3B9459}"/>
              </a:ext>
            </a:extLst>
          </p:cNvPr>
          <p:cNvPicPr>
            <a:picLocks noChangeAspect="1"/>
          </p:cNvPicPr>
          <p:nvPr/>
        </p:nvPicPr>
        <p:blipFill rotWithShape="1">
          <a:blip r:embed="rId6"/>
          <a:srcRect l="33416" t="1789" r="9954" b="13320"/>
          <a:stretch/>
        </p:blipFill>
        <p:spPr>
          <a:xfrm flipH="1">
            <a:off x="394891" y="270154"/>
            <a:ext cx="813816" cy="813816"/>
          </a:xfrm>
          <a:custGeom>
            <a:avLst/>
            <a:gdLst>
              <a:gd name="connsiteX0" fmla="*/ 1452792 w 2768515"/>
              <a:gd name="connsiteY0" fmla="*/ 0 h 2768515"/>
              <a:gd name="connsiteX1" fmla="*/ 1315724 w 2768515"/>
              <a:gd name="connsiteY1" fmla="*/ 0 h 2768515"/>
              <a:gd name="connsiteX2" fmla="*/ 1242548 w 2768515"/>
              <a:gd name="connsiteY2" fmla="*/ 3696 h 2768515"/>
              <a:gd name="connsiteX3" fmla="*/ 5425 w 2768515"/>
              <a:gd name="connsiteY3" fmla="*/ 1240818 h 2768515"/>
              <a:gd name="connsiteX4" fmla="*/ 0 w 2768515"/>
              <a:gd name="connsiteY4" fmla="*/ 1348260 h 2768515"/>
              <a:gd name="connsiteX5" fmla="*/ 0 w 2768515"/>
              <a:gd name="connsiteY5" fmla="*/ 1416794 h 2768515"/>
              <a:gd name="connsiteX6" fmla="*/ 5425 w 2768515"/>
              <a:gd name="connsiteY6" fmla="*/ 1524237 h 2768515"/>
              <a:gd name="connsiteX7" fmla="*/ 1384258 w 2768515"/>
              <a:gd name="connsiteY7" fmla="*/ 2768515 h 2768515"/>
              <a:gd name="connsiteX8" fmla="*/ 2763089 w 2768515"/>
              <a:gd name="connsiteY8" fmla="*/ 1524237 h 2768515"/>
              <a:gd name="connsiteX9" fmla="*/ 2768515 w 2768515"/>
              <a:gd name="connsiteY9" fmla="*/ 1416793 h 2768515"/>
              <a:gd name="connsiteX10" fmla="*/ 2768515 w 2768515"/>
              <a:gd name="connsiteY10" fmla="*/ 1348262 h 2768515"/>
              <a:gd name="connsiteX11" fmla="*/ 2763089 w 2768515"/>
              <a:gd name="connsiteY11" fmla="*/ 1240818 h 2768515"/>
              <a:gd name="connsiteX12" fmla="*/ 1525967 w 2768515"/>
              <a:gd name="connsiteY12" fmla="*/ 3696 h 2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8515" h="2768515">
                <a:moveTo>
                  <a:pt x="1452792" y="0"/>
                </a:moveTo>
                <a:lnTo>
                  <a:pt x="1315724" y="0"/>
                </a:lnTo>
                <a:lnTo>
                  <a:pt x="1242548" y="3696"/>
                </a:lnTo>
                <a:cubicBezTo>
                  <a:pt x="590249" y="69940"/>
                  <a:pt x="71670" y="588519"/>
                  <a:pt x="5425" y="1240818"/>
                </a:cubicBezTo>
                <a:lnTo>
                  <a:pt x="0" y="1348260"/>
                </a:lnTo>
                <a:lnTo>
                  <a:pt x="0" y="1416794"/>
                </a:lnTo>
                <a:lnTo>
                  <a:pt x="5425" y="1524237"/>
                </a:lnTo>
                <a:cubicBezTo>
                  <a:pt x="76402" y="2223129"/>
                  <a:pt x="666638" y="2768515"/>
                  <a:pt x="1384258" y="2768515"/>
                </a:cubicBezTo>
                <a:cubicBezTo>
                  <a:pt x="2101875" y="2768515"/>
                  <a:pt x="2692113" y="2223129"/>
                  <a:pt x="2763089" y="1524237"/>
                </a:cubicBezTo>
                <a:lnTo>
                  <a:pt x="2768515" y="1416793"/>
                </a:lnTo>
                <a:lnTo>
                  <a:pt x="2768515" y="1348262"/>
                </a:lnTo>
                <a:lnTo>
                  <a:pt x="2763089" y="1240818"/>
                </a:lnTo>
                <a:cubicBezTo>
                  <a:pt x="2696845" y="588519"/>
                  <a:pt x="2178266" y="69940"/>
                  <a:pt x="1525967" y="3696"/>
                </a:cubicBezTo>
                <a:close/>
              </a:path>
            </a:pathLst>
          </a:custGeom>
        </p:spPr>
      </p:pic>
      <p:sp>
        <p:nvSpPr>
          <p:cNvPr id="23" name="TextBox 22">
            <a:extLst>
              <a:ext uri="{FF2B5EF4-FFF2-40B4-BE49-F238E27FC236}">
                <a16:creationId xmlns:a16="http://schemas.microsoft.com/office/drawing/2014/main" id="{C0ADEDBB-A72A-489C-AF49-4613E8C10212}"/>
              </a:ext>
            </a:extLst>
          </p:cNvPr>
          <p:cNvSpPr txBox="1"/>
          <p:nvPr/>
        </p:nvSpPr>
        <p:spPr>
          <a:xfrm>
            <a:off x="1909823" y="1847087"/>
            <a:ext cx="3183038" cy="584775"/>
          </a:xfrm>
          <a:prstGeom prst="rect">
            <a:avLst/>
          </a:prstGeom>
          <a:noFill/>
        </p:spPr>
        <p:txBody>
          <a:bodyPr wrap="square">
            <a:spAutoFit/>
          </a:bodyPr>
          <a:lstStyle/>
          <a:p>
            <a:pPr algn="r"/>
            <a:r>
              <a:rPr lang="en-US" sz="1600" b="1">
                <a:solidFill>
                  <a:schemeClr val="bg1"/>
                </a:solidFill>
                <a:latin typeface="Arial"/>
                <a:cs typeface="Arial"/>
              </a:rPr>
              <a:t>Run and manage</a:t>
            </a:r>
            <a:r>
              <a:rPr lang="en-US" sz="1600" b="1" i="0">
                <a:solidFill>
                  <a:schemeClr val="bg1"/>
                </a:solidFill>
                <a:latin typeface="Arial"/>
                <a:cs typeface="Arial"/>
              </a:rPr>
              <a:t> automations from a launchpad</a:t>
            </a:r>
          </a:p>
        </p:txBody>
      </p:sp>
      <p:sp>
        <p:nvSpPr>
          <p:cNvPr id="24" name="TextBox 23">
            <a:extLst>
              <a:ext uri="{FF2B5EF4-FFF2-40B4-BE49-F238E27FC236}">
                <a16:creationId xmlns:a16="http://schemas.microsoft.com/office/drawing/2014/main" id="{05E2BE16-9E2A-44DC-AF56-88174B9718C6}"/>
              </a:ext>
            </a:extLst>
          </p:cNvPr>
          <p:cNvSpPr txBox="1"/>
          <p:nvPr/>
        </p:nvSpPr>
        <p:spPr>
          <a:xfrm>
            <a:off x="8299047" y="1777640"/>
            <a:ext cx="3102015" cy="584775"/>
          </a:xfrm>
          <a:prstGeom prst="rect">
            <a:avLst/>
          </a:prstGeom>
          <a:noFill/>
        </p:spPr>
        <p:txBody>
          <a:bodyPr wrap="square">
            <a:spAutoFit/>
          </a:bodyPr>
          <a:lstStyle/>
          <a:p>
            <a:pPr algn="r"/>
            <a:r>
              <a:rPr lang="en-US" sz="1600" b="1">
                <a:solidFill>
                  <a:schemeClr val="bg1"/>
                </a:solidFill>
                <a:latin typeface="Arial"/>
                <a:cs typeface="Arial"/>
              </a:rPr>
              <a:t>Interact with </a:t>
            </a:r>
            <a:br>
              <a:rPr lang="en-US" sz="1600" b="1">
                <a:solidFill>
                  <a:schemeClr val="bg1"/>
                </a:solidFill>
                <a:latin typeface="Arial"/>
                <a:cs typeface="Arial"/>
              </a:rPr>
            </a:br>
            <a:r>
              <a:rPr lang="en-US" sz="1600" b="1">
                <a:solidFill>
                  <a:schemeClr val="bg1"/>
                </a:solidFill>
                <a:latin typeface="Arial"/>
                <a:cs typeface="Arial"/>
              </a:rPr>
              <a:t>a</a:t>
            </a:r>
            <a:r>
              <a:rPr lang="en-US" sz="1600" b="1" i="0">
                <a:solidFill>
                  <a:schemeClr val="bg1"/>
                </a:solidFill>
                <a:latin typeface="Arial"/>
                <a:cs typeface="Arial"/>
              </a:rPr>
              <a:t>utomation-powered apps</a:t>
            </a:r>
          </a:p>
        </p:txBody>
      </p:sp>
      <p:pic>
        <p:nvPicPr>
          <p:cNvPr id="25" name="Picture 24" descr="Graphical user interface, application, Teams&#10;&#10;Description automatically generated">
            <a:extLst>
              <a:ext uri="{FF2B5EF4-FFF2-40B4-BE49-F238E27FC236}">
                <a16:creationId xmlns:a16="http://schemas.microsoft.com/office/drawing/2014/main" id="{4092B2B6-C5BA-4EEB-9B67-6CA7EB6BE451}"/>
              </a:ext>
            </a:extLst>
          </p:cNvPr>
          <p:cNvPicPr>
            <a:picLocks noChangeAspect="1"/>
          </p:cNvPicPr>
          <p:nvPr/>
        </p:nvPicPr>
        <p:blipFill>
          <a:blip r:embed="rId7"/>
          <a:stretch>
            <a:fillRect/>
          </a:stretch>
        </p:blipFill>
        <p:spPr>
          <a:xfrm>
            <a:off x="269622" y="3362473"/>
            <a:ext cx="1860790" cy="1302124"/>
          </a:xfrm>
          <a:prstGeom prst="rect">
            <a:avLst/>
          </a:prstGeom>
          <a:effectLst>
            <a:outerShdw blurRad="50800" dist="38100" dir="2700000" algn="ctr" rotWithShape="0">
              <a:srgbClr val="000000">
                <a:alpha val="40000"/>
              </a:srgbClr>
            </a:outerShdw>
          </a:effectLst>
        </p:spPr>
      </p:pic>
      <p:sp>
        <p:nvSpPr>
          <p:cNvPr id="29" name="Text Placeholder 4">
            <a:extLst>
              <a:ext uri="{FF2B5EF4-FFF2-40B4-BE49-F238E27FC236}">
                <a16:creationId xmlns:a16="http://schemas.microsoft.com/office/drawing/2014/main" id="{6F1B8311-39FB-4FDA-B0CA-3FD0DCC9A073}"/>
              </a:ext>
            </a:extLst>
          </p:cNvPr>
          <p:cNvSpPr txBox="1">
            <a:spLocks/>
          </p:cNvSpPr>
          <p:nvPr/>
        </p:nvSpPr>
        <p:spPr>
          <a:xfrm>
            <a:off x="7454096" y="3543783"/>
            <a:ext cx="4109013" cy="773574"/>
          </a:xfrm>
          <a:prstGeom prst="rect">
            <a:avLst/>
          </a:prstGeom>
          <a:solidFill>
            <a:schemeClr val="accent4"/>
          </a:solidFill>
        </p:spPr>
        <p:txBody>
          <a:bodyPr lIns="182880" tIns="137160" rIns="182880" bIns="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endParaRPr lang="en-US" sz="1600" b="1" i="0">
              <a:solidFill>
                <a:schemeClr val="bg1"/>
              </a:solidFill>
              <a:latin typeface="Arial"/>
              <a:cs typeface="Arial"/>
            </a:endParaRPr>
          </a:p>
        </p:txBody>
      </p:sp>
      <p:sp>
        <p:nvSpPr>
          <p:cNvPr id="34" name="TextBox 33">
            <a:extLst>
              <a:ext uri="{FF2B5EF4-FFF2-40B4-BE49-F238E27FC236}">
                <a16:creationId xmlns:a16="http://schemas.microsoft.com/office/drawing/2014/main" id="{A6C7C30C-3C57-4197-A02C-81D238565C01}"/>
              </a:ext>
            </a:extLst>
          </p:cNvPr>
          <p:cNvSpPr txBox="1"/>
          <p:nvPr/>
        </p:nvSpPr>
        <p:spPr>
          <a:xfrm>
            <a:off x="2569580" y="3664312"/>
            <a:ext cx="2453833" cy="584775"/>
          </a:xfrm>
          <a:prstGeom prst="rect">
            <a:avLst/>
          </a:prstGeom>
          <a:noFill/>
        </p:spPr>
        <p:txBody>
          <a:bodyPr wrap="square">
            <a:spAutoFit/>
          </a:bodyPr>
          <a:lstStyle/>
          <a:p>
            <a:pPr algn="r"/>
            <a:r>
              <a:rPr lang="en-US" sz="1600" b="1" i="0">
                <a:solidFill>
                  <a:schemeClr val="bg1"/>
                </a:solidFill>
                <a:latin typeface="Arial"/>
                <a:cs typeface="Arial"/>
              </a:rPr>
              <a:t>Talk to AI-powered chatbots</a:t>
            </a:r>
          </a:p>
        </p:txBody>
      </p:sp>
      <p:sp>
        <p:nvSpPr>
          <p:cNvPr id="35" name="TextBox 34">
            <a:extLst>
              <a:ext uri="{FF2B5EF4-FFF2-40B4-BE49-F238E27FC236}">
                <a16:creationId xmlns:a16="http://schemas.microsoft.com/office/drawing/2014/main" id="{89977313-749D-49D2-A6D5-BA1A87F46092}"/>
              </a:ext>
            </a:extLst>
          </p:cNvPr>
          <p:cNvSpPr txBox="1"/>
          <p:nvPr/>
        </p:nvSpPr>
        <p:spPr>
          <a:xfrm>
            <a:off x="8773611" y="3652739"/>
            <a:ext cx="2624559" cy="584775"/>
          </a:xfrm>
          <a:prstGeom prst="rect">
            <a:avLst/>
          </a:prstGeom>
          <a:noFill/>
        </p:spPr>
        <p:txBody>
          <a:bodyPr wrap="square">
            <a:spAutoFit/>
          </a:bodyPr>
          <a:lstStyle/>
          <a:p>
            <a:pPr algn="r"/>
            <a:r>
              <a:rPr lang="en-US" sz="1600" b="1">
                <a:solidFill>
                  <a:srgbClr val="FFFFFF"/>
                </a:solidFill>
              </a:rPr>
              <a:t>T</a:t>
            </a:r>
            <a:r>
              <a:rPr lang="en-US" sz="1600" b="1">
                <a:solidFill>
                  <a:srgbClr val="FFFFFF"/>
                </a:solidFill>
                <a:latin typeface="Arial"/>
                <a:cs typeface="Arial"/>
              </a:rPr>
              <a:t>ake action when robots need help</a:t>
            </a:r>
            <a:endParaRPr lang="en-US" sz="1600" b="1" i="0">
              <a:solidFill>
                <a:schemeClr val="bg1"/>
              </a:solidFill>
              <a:latin typeface="Arial"/>
              <a:cs typeface="Arial"/>
            </a:endParaRPr>
          </a:p>
        </p:txBody>
      </p:sp>
      <p:pic>
        <p:nvPicPr>
          <p:cNvPr id="41" name="Picture 40">
            <a:extLst>
              <a:ext uri="{FF2B5EF4-FFF2-40B4-BE49-F238E27FC236}">
                <a16:creationId xmlns:a16="http://schemas.microsoft.com/office/drawing/2014/main" id="{FF4641C9-9422-40C8-96B5-5BEC89A12F6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109228" y="3341098"/>
            <a:ext cx="1961451" cy="1346649"/>
          </a:xfrm>
          <a:prstGeom prst="rect">
            <a:avLst/>
          </a:prstGeom>
          <a:effectLst>
            <a:outerShdw blurRad="101600" dist="25400" dir="2520000" sx="101000" sy="101000" algn="ctr" rotWithShape="0">
              <a:srgbClr val="000000">
                <a:alpha val="15000"/>
              </a:srgbClr>
            </a:outerShdw>
          </a:effectLst>
        </p:spPr>
      </p:pic>
      <p:sp>
        <p:nvSpPr>
          <p:cNvPr id="42" name="Text Placeholder 4">
            <a:extLst>
              <a:ext uri="{FF2B5EF4-FFF2-40B4-BE49-F238E27FC236}">
                <a16:creationId xmlns:a16="http://schemas.microsoft.com/office/drawing/2014/main" id="{21767BCA-9167-4105-A4D1-EAF50E5A4004}"/>
              </a:ext>
            </a:extLst>
          </p:cNvPr>
          <p:cNvSpPr txBox="1">
            <a:spLocks/>
          </p:cNvSpPr>
          <p:nvPr/>
        </p:nvSpPr>
        <p:spPr>
          <a:xfrm>
            <a:off x="2073798" y="5129514"/>
            <a:ext cx="3065362" cy="912471"/>
          </a:xfrm>
          <a:prstGeom prst="rect">
            <a:avLst/>
          </a:prstGeom>
          <a:solidFill>
            <a:schemeClr val="accent5"/>
          </a:solidFill>
        </p:spPr>
        <p:txBody>
          <a:bodyPr lIns="182880" tIns="137160" rIns="182880" bIns="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endParaRPr lang="en-US" sz="1600" b="1" i="0">
              <a:solidFill>
                <a:schemeClr val="bg1"/>
              </a:solidFill>
              <a:latin typeface="Arial"/>
              <a:cs typeface="Arial"/>
            </a:endParaRPr>
          </a:p>
        </p:txBody>
      </p:sp>
      <p:sp>
        <p:nvSpPr>
          <p:cNvPr id="44" name="TextBox 43">
            <a:extLst>
              <a:ext uri="{FF2B5EF4-FFF2-40B4-BE49-F238E27FC236}">
                <a16:creationId xmlns:a16="http://schemas.microsoft.com/office/drawing/2014/main" id="{14417B00-FC24-418B-A7CB-ED3758F27494}"/>
              </a:ext>
            </a:extLst>
          </p:cNvPr>
          <p:cNvSpPr txBox="1"/>
          <p:nvPr/>
        </p:nvSpPr>
        <p:spPr>
          <a:xfrm>
            <a:off x="2280212" y="5275123"/>
            <a:ext cx="2766350" cy="584775"/>
          </a:xfrm>
          <a:prstGeom prst="rect">
            <a:avLst/>
          </a:prstGeom>
          <a:noFill/>
        </p:spPr>
        <p:txBody>
          <a:bodyPr wrap="square">
            <a:spAutoFit/>
          </a:bodyPr>
          <a:lstStyle/>
          <a:p>
            <a:pPr algn="r"/>
            <a:r>
              <a:rPr lang="en-US" sz="1600" b="1">
                <a:solidFill>
                  <a:schemeClr val="bg1"/>
                </a:solidFill>
                <a:latin typeface="Arial"/>
                <a:cs typeface="Arial"/>
              </a:rPr>
              <a:t>Run and manage automations from Teams</a:t>
            </a:r>
            <a:endParaRPr lang="en-US" sz="1600" b="1" i="0">
              <a:solidFill>
                <a:schemeClr val="bg1"/>
              </a:solidFill>
              <a:latin typeface="Arial"/>
              <a:cs typeface="Arial"/>
            </a:endParaRPr>
          </a:p>
        </p:txBody>
      </p:sp>
      <p:sp>
        <p:nvSpPr>
          <p:cNvPr id="45" name="TextBox 44">
            <a:extLst>
              <a:ext uri="{FF2B5EF4-FFF2-40B4-BE49-F238E27FC236}">
                <a16:creationId xmlns:a16="http://schemas.microsoft.com/office/drawing/2014/main" id="{8565E088-EA35-4975-A24F-36AD75C31925}"/>
              </a:ext>
            </a:extLst>
          </p:cNvPr>
          <p:cNvSpPr txBox="1"/>
          <p:nvPr/>
        </p:nvSpPr>
        <p:spPr>
          <a:xfrm>
            <a:off x="2569581" y="2743200"/>
            <a:ext cx="1945834" cy="307777"/>
          </a:xfrm>
          <a:prstGeom prst="rect">
            <a:avLst/>
          </a:prstGeom>
          <a:noFill/>
        </p:spPr>
        <p:txBody>
          <a:bodyPr wrap="square" lIns="91440" tIns="45720" rIns="91440" bIns="45720" anchor="t">
            <a:spAutoFit/>
          </a:bodyPr>
          <a:lstStyle/>
          <a:p>
            <a:pPr algn="ctr"/>
            <a:r>
              <a:rPr lang="en-US" sz="1400" i="1">
                <a:latin typeface="Arial"/>
                <a:cs typeface="Arial"/>
              </a:rPr>
              <a:t>UiPath Assistant</a:t>
            </a:r>
            <a:endParaRPr lang="en-US" sz="1400" i="1">
              <a:cs typeface="Arial"/>
            </a:endParaRPr>
          </a:p>
        </p:txBody>
      </p:sp>
      <p:sp>
        <p:nvSpPr>
          <p:cNvPr id="46" name="TextBox 45">
            <a:extLst>
              <a:ext uri="{FF2B5EF4-FFF2-40B4-BE49-F238E27FC236}">
                <a16:creationId xmlns:a16="http://schemas.microsoft.com/office/drawing/2014/main" id="{66A6F98C-2636-4448-9591-DA31CBD45A64}"/>
              </a:ext>
            </a:extLst>
          </p:cNvPr>
          <p:cNvSpPr txBox="1"/>
          <p:nvPr/>
        </p:nvSpPr>
        <p:spPr>
          <a:xfrm>
            <a:off x="8775540" y="2687256"/>
            <a:ext cx="1945834" cy="307777"/>
          </a:xfrm>
          <a:prstGeom prst="rect">
            <a:avLst/>
          </a:prstGeom>
          <a:noFill/>
        </p:spPr>
        <p:txBody>
          <a:bodyPr wrap="square" lIns="91440" tIns="45720" rIns="91440" bIns="45720" anchor="t">
            <a:spAutoFit/>
          </a:bodyPr>
          <a:lstStyle/>
          <a:p>
            <a:pPr algn="ctr"/>
            <a:r>
              <a:rPr lang="en-US" sz="1400" i="1">
                <a:latin typeface="Arial"/>
                <a:cs typeface="Arial"/>
              </a:rPr>
              <a:t>UiPath Apps</a:t>
            </a:r>
            <a:endParaRPr lang="en-US" sz="1400" i="1">
              <a:cs typeface="Arial"/>
            </a:endParaRPr>
          </a:p>
        </p:txBody>
      </p:sp>
      <p:sp>
        <p:nvSpPr>
          <p:cNvPr id="47" name="TextBox 46">
            <a:extLst>
              <a:ext uri="{FF2B5EF4-FFF2-40B4-BE49-F238E27FC236}">
                <a16:creationId xmlns:a16="http://schemas.microsoft.com/office/drawing/2014/main" id="{8C2F4273-17F3-4BD6-86C6-D824396A1FBA}"/>
              </a:ext>
            </a:extLst>
          </p:cNvPr>
          <p:cNvSpPr txBox="1"/>
          <p:nvPr/>
        </p:nvSpPr>
        <p:spPr>
          <a:xfrm>
            <a:off x="2502060" y="4400310"/>
            <a:ext cx="1945834" cy="307777"/>
          </a:xfrm>
          <a:prstGeom prst="rect">
            <a:avLst/>
          </a:prstGeom>
          <a:noFill/>
        </p:spPr>
        <p:txBody>
          <a:bodyPr wrap="square" lIns="91440" tIns="45720" rIns="91440" bIns="45720" anchor="t">
            <a:spAutoFit/>
          </a:bodyPr>
          <a:lstStyle/>
          <a:p>
            <a:pPr algn="ctr"/>
            <a:r>
              <a:rPr lang="en-US" sz="1400" i="1">
                <a:latin typeface="Arial"/>
                <a:cs typeface="Arial"/>
              </a:rPr>
              <a:t>UiPath Chatbots</a:t>
            </a:r>
            <a:endParaRPr lang="en-US" sz="1400" i="1">
              <a:cs typeface="Arial"/>
            </a:endParaRPr>
          </a:p>
        </p:txBody>
      </p:sp>
      <p:sp>
        <p:nvSpPr>
          <p:cNvPr id="49" name="TextBox 48">
            <a:extLst>
              <a:ext uri="{FF2B5EF4-FFF2-40B4-BE49-F238E27FC236}">
                <a16:creationId xmlns:a16="http://schemas.microsoft.com/office/drawing/2014/main" id="{3CE1DDDA-C157-4114-B3FB-277579C46274}"/>
              </a:ext>
            </a:extLst>
          </p:cNvPr>
          <p:cNvSpPr txBox="1"/>
          <p:nvPr/>
        </p:nvSpPr>
        <p:spPr>
          <a:xfrm>
            <a:off x="8661722" y="4390664"/>
            <a:ext cx="1945834" cy="307777"/>
          </a:xfrm>
          <a:prstGeom prst="rect">
            <a:avLst/>
          </a:prstGeom>
          <a:noFill/>
        </p:spPr>
        <p:txBody>
          <a:bodyPr wrap="square" lIns="91440" tIns="45720" rIns="91440" bIns="45720" anchor="t">
            <a:spAutoFit/>
          </a:bodyPr>
          <a:lstStyle/>
          <a:p>
            <a:pPr algn="ctr"/>
            <a:r>
              <a:rPr lang="en-US" sz="1400" i="1">
                <a:latin typeface="Arial"/>
                <a:cs typeface="Arial"/>
              </a:rPr>
              <a:t>UiPath Action Center</a:t>
            </a:r>
            <a:endParaRPr lang="en-US" sz="1400" i="1">
              <a:cs typeface="Arial"/>
            </a:endParaRPr>
          </a:p>
        </p:txBody>
      </p:sp>
      <p:sp>
        <p:nvSpPr>
          <p:cNvPr id="51" name="TextBox 50">
            <a:extLst>
              <a:ext uri="{FF2B5EF4-FFF2-40B4-BE49-F238E27FC236}">
                <a16:creationId xmlns:a16="http://schemas.microsoft.com/office/drawing/2014/main" id="{03FFD429-D901-408A-9C44-CAEBBE301D33}"/>
              </a:ext>
            </a:extLst>
          </p:cNvPr>
          <p:cNvSpPr txBox="1"/>
          <p:nvPr/>
        </p:nvSpPr>
        <p:spPr>
          <a:xfrm>
            <a:off x="2141317" y="6103718"/>
            <a:ext cx="3055716" cy="307777"/>
          </a:xfrm>
          <a:prstGeom prst="rect">
            <a:avLst/>
          </a:prstGeom>
          <a:noFill/>
        </p:spPr>
        <p:txBody>
          <a:bodyPr wrap="square" lIns="91440" tIns="45720" rIns="91440" bIns="45720" anchor="t">
            <a:spAutoFit/>
          </a:bodyPr>
          <a:lstStyle/>
          <a:p>
            <a:pPr algn="ctr"/>
            <a:r>
              <a:rPr lang="en-US" sz="1400" i="1">
                <a:latin typeface="Arial"/>
                <a:cs typeface="Arial"/>
              </a:rPr>
              <a:t>Native integration with MS Teams</a:t>
            </a:r>
            <a:endParaRPr lang="en-US" sz="1400" i="1">
              <a:cs typeface="Arial"/>
            </a:endParaRPr>
          </a:p>
        </p:txBody>
      </p:sp>
      <p:pic>
        <p:nvPicPr>
          <p:cNvPr id="52" name="Picture 51" descr="Shape&#10;&#10;Description automatically generated with medium confidence">
            <a:extLst>
              <a:ext uri="{FF2B5EF4-FFF2-40B4-BE49-F238E27FC236}">
                <a16:creationId xmlns:a16="http://schemas.microsoft.com/office/drawing/2014/main" id="{1A6A305C-D647-4D80-95FC-5124B6D0DAC5}"/>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406689" y="5432683"/>
            <a:ext cx="2155635" cy="302772"/>
          </a:xfrm>
          <a:prstGeom prst="rect">
            <a:avLst/>
          </a:prstGeom>
        </p:spPr>
      </p:pic>
      <p:cxnSp>
        <p:nvCxnSpPr>
          <p:cNvPr id="53" name="Straight Connector 52">
            <a:extLst>
              <a:ext uri="{FF2B5EF4-FFF2-40B4-BE49-F238E27FC236}">
                <a16:creationId xmlns:a16="http://schemas.microsoft.com/office/drawing/2014/main" id="{D955A939-A8C7-4CB5-8862-8E4DA5BC4905}"/>
              </a:ext>
            </a:extLst>
          </p:cNvPr>
          <p:cNvCxnSpPr>
            <a:cxnSpLocks/>
          </p:cNvCxnSpPr>
          <p:nvPr/>
        </p:nvCxnSpPr>
        <p:spPr>
          <a:xfrm>
            <a:off x="7925736" y="5270125"/>
            <a:ext cx="0" cy="627888"/>
          </a:xfrm>
          <a:prstGeom prst="lin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4" name="Text Placeholder 4">
            <a:extLst>
              <a:ext uri="{FF2B5EF4-FFF2-40B4-BE49-F238E27FC236}">
                <a16:creationId xmlns:a16="http://schemas.microsoft.com/office/drawing/2014/main" id="{633CA139-FEA3-4A94-9E16-D76A8D8264C8}"/>
              </a:ext>
            </a:extLst>
          </p:cNvPr>
          <p:cNvSpPr txBox="1">
            <a:spLocks/>
          </p:cNvSpPr>
          <p:nvPr/>
        </p:nvSpPr>
        <p:spPr>
          <a:xfrm>
            <a:off x="6910086" y="5143018"/>
            <a:ext cx="4689676" cy="898967"/>
          </a:xfrm>
          <a:prstGeom prst="rect">
            <a:avLst/>
          </a:prstGeom>
          <a:solidFill>
            <a:schemeClr val="accent6"/>
          </a:solidFill>
        </p:spPr>
        <p:txBody>
          <a:bodyPr lIns="182880" tIns="137160" rIns="182880" bIns="0" anchor="t" anchorCtr="0"/>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endParaRPr lang="en-US" sz="1600" b="1" i="0">
              <a:solidFill>
                <a:schemeClr val="bg1"/>
              </a:solidFill>
              <a:latin typeface="Arial"/>
              <a:cs typeface="Arial"/>
            </a:endParaRPr>
          </a:p>
        </p:txBody>
      </p:sp>
      <p:sp>
        <p:nvSpPr>
          <p:cNvPr id="55" name="TextBox 54">
            <a:extLst>
              <a:ext uri="{FF2B5EF4-FFF2-40B4-BE49-F238E27FC236}">
                <a16:creationId xmlns:a16="http://schemas.microsoft.com/office/drawing/2014/main" id="{6EFBFBE2-200E-4777-9218-EE2F34B39E69}"/>
              </a:ext>
            </a:extLst>
          </p:cNvPr>
          <p:cNvSpPr txBox="1"/>
          <p:nvPr/>
        </p:nvSpPr>
        <p:spPr>
          <a:xfrm>
            <a:off x="8484243" y="5277052"/>
            <a:ext cx="2988198" cy="584775"/>
          </a:xfrm>
          <a:prstGeom prst="rect">
            <a:avLst/>
          </a:prstGeom>
          <a:noFill/>
        </p:spPr>
        <p:txBody>
          <a:bodyPr wrap="square">
            <a:spAutoFit/>
          </a:bodyPr>
          <a:lstStyle/>
          <a:p>
            <a:pPr algn="r"/>
            <a:r>
              <a:rPr lang="en-US" sz="1600" b="1">
                <a:solidFill>
                  <a:schemeClr val="bg1"/>
                </a:solidFill>
                <a:latin typeface="Arial"/>
                <a:cs typeface="Arial"/>
              </a:rPr>
              <a:t>Run automations from web and desktop tools</a:t>
            </a:r>
            <a:endParaRPr lang="en-US" sz="1600" b="1" i="0">
              <a:solidFill>
                <a:schemeClr val="bg1"/>
              </a:solidFill>
              <a:latin typeface="Arial"/>
              <a:cs typeface="Arial"/>
            </a:endParaRPr>
          </a:p>
        </p:txBody>
      </p:sp>
      <p:sp>
        <p:nvSpPr>
          <p:cNvPr id="57" name="TextBox 56">
            <a:extLst>
              <a:ext uri="{FF2B5EF4-FFF2-40B4-BE49-F238E27FC236}">
                <a16:creationId xmlns:a16="http://schemas.microsoft.com/office/drawing/2014/main" id="{173855AB-CCE5-48BA-9C5A-862135E97464}"/>
              </a:ext>
            </a:extLst>
          </p:cNvPr>
          <p:cNvSpPr txBox="1"/>
          <p:nvPr/>
        </p:nvSpPr>
        <p:spPr>
          <a:xfrm>
            <a:off x="8582627" y="6105647"/>
            <a:ext cx="2091159" cy="307777"/>
          </a:xfrm>
          <a:prstGeom prst="rect">
            <a:avLst/>
          </a:prstGeom>
          <a:noFill/>
        </p:spPr>
        <p:txBody>
          <a:bodyPr wrap="square" lIns="91440" tIns="45720" rIns="91440" bIns="45720" anchor="t">
            <a:spAutoFit/>
          </a:bodyPr>
          <a:lstStyle/>
          <a:p>
            <a:pPr algn="ctr"/>
            <a:r>
              <a:rPr lang="en-US" sz="1400" i="1">
                <a:latin typeface="Arial"/>
                <a:cs typeface="Arial"/>
              </a:rPr>
              <a:t>Robot.JS &amp; API</a:t>
            </a:r>
            <a:endParaRPr lang="en-US" sz="1400" i="1">
              <a:cs typeface="Arial"/>
            </a:endParaRPr>
          </a:p>
        </p:txBody>
      </p:sp>
      <p:pic>
        <p:nvPicPr>
          <p:cNvPr id="58" name="Picture 57">
            <a:extLst>
              <a:ext uri="{FF2B5EF4-FFF2-40B4-BE49-F238E27FC236}">
                <a16:creationId xmlns:a16="http://schemas.microsoft.com/office/drawing/2014/main" id="{E7076456-CD12-47B7-90E6-5F438B0731CC}"/>
              </a:ext>
            </a:extLst>
          </p:cNvPr>
          <p:cNvPicPr>
            <a:picLocks noChangeAspect="1"/>
          </p:cNvPicPr>
          <p:nvPr/>
        </p:nvPicPr>
        <p:blipFill rotWithShape="1">
          <a:blip r:embed="rId9"/>
          <a:srcRect l="29033"/>
          <a:stretch/>
        </p:blipFill>
        <p:spPr>
          <a:xfrm>
            <a:off x="6076708" y="4896090"/>
            <a:ext cx="1984975" cy="1481561"/>
          </a:xfrm>
          <a:prstGeom prst="rect">
            <a:avLst/>
          </a:prstGeom>
          <a:effectLst>
            <a:outerShdw blurRad="50800" dist="50800" dir="2700000" algn="ctr" rotWithShape="0">
              <a:srgbClr val="000000">
                <a:alpha val="40000"/>
              </a:srgbClr>
            </a:outerShdw>
          </a:effectLst>
        </p:spPr>
      </p:pic>
      <p:pic>
        <p:nvPicPr>
          <p:cNvPr id="3" name="Picture 2" descr="Graphical user interface, application&#10;&#10;Description automatically generated">
            <a:extLst>
              <a:ext uri="{FF2B5EF4-FFF2-40B4-BE49-F238E27FC236}">
                <a16:creationId xmlns:a16="http://schemas.microsoft.com/office/drawing/2014/main" id="{1E935BFB-FC8F-421E-B6D2-99731D8D1C82}"/>
              </a:ext>
            </a:extLst>
          </p:cNvPr>
          <p:cNvPicPr>
            <a:picLocks noChangeAspect="1"/>
          </p:cNvPicPr>
          <p:nvPr/>
        </p:nvPicPr>
        <p:blipFill rotWithShape="1">
          <a:blip r:embed="rId10"/>
          <a:srcRect l="3038" t="2624" r="3832" b="3733"/>
          <a:stretch/>
        </p:blipFill>
        <p:spPr>
          <a:xfrm>
            <a:off x="285136" y="1380723"/>
            <a:ext cx="1740310" cy="1661530"/>
          </a:xfrm>
          <a:prstGeom prst="rect">
            <a:avLst/>
          </a:prstGeom>
          <a:effectLst>
            <a:outerShdw blurRad="228600" dist="50800" dir="8100000" algn="ctr" rotWithShape="0">
              <a:srgbClr val="000000">
                <a:alpha val="20000"/>
              </a:srgbClr>
            </a:outerShdw>
          </a:effectLst>
        </p:spPr>
      </p:pic>
      <p:pic>
        <p:nvPicPr>
          <p:cNvPr id="2" name="Picture 1" descr="Graphical user interface, application, Teams&#10;&#10;Description automatically generated">
            <a:extLst>
              <a:ext uri="{FF2B5EF4-FFF2-40B4-BE49-F238E27FC236}">
                <a16:creationId xmlns:a16="http://schemas.microsoft.com/office/drawing/2014/main" id="{18DC83F7-0906-49FF-9D0A-90AB57620394}"/>
              </a:ext>
            </a:extLst>
          </p:cNvPr>
          <p:cNvPicPr>
            <a:picLocks noChangeAspect="1"/>
          </p:cNvPicPr>
          <p:nvPr/>
        </p:nvPicPr>
        <p:blipFill rotWithShape="1">
          <a:blip r:embed="rId11"/>
          <a:srcRect r="23334"/>
          <a:stretch/>
        </p:blipFill>
        <p:spPr>
          <a:xfrm>
            <a:off x="284227" y="4958170"/>
            <a:ext cx="1863418" cy="1352700"/>
          </a:xfrm>
          <a:prstGeom prst="rect">
            <a:avLst/>
          </a:prstGeom>
        </p:spPr>
      </p:pic>
    </p:spTree>
    <p:extLst>
      <p:ext uri="{BB962C8B-B14F-4D97-AF65-F5344CB8AC3E}">
        <p14:creationId xmlns:p14="http://schemas.microsoft.com/office/powerpoint/2010/main" val="2552939759"/>
      </p:ext>
    </p:extLst>
  </p:cSld>
  <p:clrMapOvr>
    <a:masterClrMapping/>
  </p:clrMapOvr>
  <mc:AlternateContent xmlns:mc="http://schemas.openxmlformats.org/markup-compatibility/2006" xmlns:p14="http://schemas.microsoft.com/office/powerpoint/2010/main">
    <mc:Choice Requires="p14">
      <p:transition spd="slow" p14:dur="2000" advTm="36270"/>
    </mc:Choice>
    <mc:Fallback xmlns="">
      <p:transition spd="slow" advTm="3627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0CB383-D856-4138-942D-89EAB77D300B}"/>
              </a:ext>
            </a:extLst>
          </p:cNvPr>
          <p:cNvSpPr>
            <a:spLocks noGrp="1"/>
          </p:cNvSpPr>
          <p:nvPr>
            <p:ph type="body" sz="quarter" idx="12"/>
          </p:nvPr>
        </p:nvSpPr>
        <p:spPr>
          <a:xfrm>
            <a:off x="381001" y="2109132"/>
            <a:ext cx="3383280" cy="1538017"/>
          </a:xfrm>
        </p:spPr>
        <p:txBody>
          <a:bodyPr anchor="b" anchorCtr="0"/>
          <a:lstStyle/>
          <a:p>
            <a:r>
              <a:rPr lang="en-US" sz="2000"/>
              <a:t>Simple</a:t>
            </a:r>
          </a:p>
        </p:txBody>
      </p:sp>
      <p:sp>
        <p:nvSpPr>
          <p:cNvPr id="3" name="Text Placeholder 2">
            <a:extLst>
              <a:ext uri="{FF2B5EF4-FFF2-40B4-BE49-F238E27FC236}">
                <a16:creationId xmlns:a16="http://schemas.microsoft.com/office/drawing/2014/main" id="{0BC66172-C2E2-43BA-8F0C-E84193B05B2F}"/>
              </a:ext>
            </a:extLst>
          </p:cNvPr>
          <p:cNvSpPr>
            <a:spLocks noGrp="1"/>
          </p:cNvSpPr>
          <p:nvPr>
            <p:ph type="body" sz="quarter" idx="14"/>
          </p:nvPr>
        </p:nvSpPr>
        <p:spPr>
          <a:xfrm>
            <a:off x="4402575" y="2109132"/>
            <a:ext cx="3383280" cy="1538017"/>
          </a:xfrm>
        </p:spPr>
        <p:txBody>
          <a:bodyPr anchor="b" anchorCtr="0"/>
          <a:lstStyle/>
          <a:p>
            <a:r>
              <a:rPr lang="en-US" sz="2000"/>
              <a:t>Integrated</a:t>
            </a:r>
          </a:p>
        </p:txBody>
      </p:sp>
      <p:sp>
        <p:nvSpPr>
          <p:cNvPr id="5" name="Text Placeholder 4">
            <a:extLst>
              <a:ext uri="{FF2B5EF4-FFF2-40B4-BE49-F238E27FC236}">
                <a16:creationId xmlns:a16="http://schemas.microsoft.com/office/drawing/2014/main" id="{287563B7-9277-4867-ADFE-19E089FF03D0}"/>
              </a:ext>
            </a:extLst>
          </p:cNvPr>
          <p:cNvSpPr>
            <a:spLocks noGrp="1"/>
          </p:cNvSpPr>
          <p:nvPr>
            <p:ph type="body" sz="quarter" idx="16"/>
          </p:nvPr>
        </p:nvSpPr>
        <p:spPr>
          <a:xfrm>
            <a:off x="8424147" y="2109132"/>
            <a:ext cx="3383280" cy="1538017"/>
          </a:xfrm>
        </p:spPr>
        <p:txBody>
          <a:bodyPr anchor="b" anchorCtr="0"/>
          <a:lstStyle/>
          <a:p>
            <a:r>
              <a:rPr lang="en-US" sz="2000"/>
              <a:t>Scalable</a:t>
            </a:r>
          </a:p>
        </p:txBody>
      </p:sp>
      <p:sp>
        <p:nvSpPr>
          <p:cNvPr id="4" name="Title 3">
            <a:extLst>
              <a:ext uri="{FF2B5EF4-FFF2-40B4-BE49-F238E27FC236}">
                <a16:creationId xmlns:a16="http://schemas.microsoft.com/office/drawing/2014/main" id="{C68C33B5-1B04-41D2-A8FE-991E05A14584}"/>
              </a:ext>
            </a:extLst>
          </p:cNvPr>
          <p:cNvSpPr>
            <a:spLocks noGrp="1"/>
          </p:cNvSpPr>
          <p:nvPr>
            <p:ph type="title"/>
          </p:nvPr>
        </p:nvSpPr>
        <p:spPr>
          <a:xfrm>
            <a:off x="381001" y="357721"/>
            <a:ext cx="7386960" cy="690029"/>
          </a:xfrm>
        </p:spPr>
        <p:txBody>
          <a:bodyPr/>
          <a:lstStyle/>
          <a:p>
            <a:r>
              <a:rPr lang="en-US" dirty="0"/>
              <a:t>We strive to create a world-class experience for humans working with automation</a:t>
            </a:r>
          </a:p>
        </p:txBody>
      </p:sp>
      <p:sp>
        <p:nvSpPr>
          <p:cNvPr id="14" name="TextBox 13">
            <a:extLst>
              <a:ext uri="{FF2B5EF4-FFF2-40B4-BE49-F238E27FC236}">
                <a16:creationId xmlns:a16="http://schemas.microsoft.com/office/drawing/2014/main" id="{EB1D4227-B489-4B9F-8EFE-9899571FFD76}"/>
              </a:ext>
            </a:extLst>
          </p:cNvPr>
          <p:cNvSpPr txBox="1"/>
          <p:nvPr/>
        </p:nvSpPr>
        <p:spPr>
          <a:xfrm>
            <a:off x="379014" y="3881727"/>
            <a:ext cx="3383280" cy="246221"/>
          </a:xfrm>
          <a:prstGeom prst="rect">
            <a:avLst/>
          </a:prstGeom>
          <a:noFill/>
        </p:spPr>
        <p:txBody>
          <a:bodyPr wrap="square" lIns="0" tIns="0" rIns="0" bIns="0" rtlCol="0">
            <a:noAutofit/>
          </a:bodyPr>
          <a:lstStyle/>
          <a:p>
            <a:pPr algn="ctr"/>
            <a:r>
              <a:rPr lang="en-US" sz="1400">
                <a:latin typeface="Arial"/>
                <a:cs typeface="Arial"/>
              </a:rPr>
              <a:t>Unified login</a:t>
            </a:r>
          </a:p>
        </p:txBody>
      </p:sp>
      <p:sp>
        <p:nvSpPr>
          <p:cNvPr id="25" name="TextBox 24">
            <a:extLst>
              <a:ext uri="{FF2B5EF4-FFF2-40B4-BE49-F238E27FC236}">
                <a16:creationId xmlns:a16="http://schemas.microsoft.com/office/drawing/2014/main" id="{AF0BBE0A-2306-44DD-A2E7-1709828E6763}"/>
              </a:ext>
            </a:extLst>
          </p:cNvPr>
          <p:cNvSpPr txBox="1"/>
          <p:nvPr/>
        </p:nvSpPr>
        <p:spPr>
          <a:xfrm>
            <a:off x="4402575" y="3881727"/>
            <a:ext cx="3383280" cy="246221"/>
          </a:xfrm>
          <a:prstGeom prst="rect">
            <a:avLst/>
          </a:prstGeom>
          <a:noFill/>
        </p:spPr>
        <p:txBody>
          <a:bodyPr wrap="square" lIns="0" tIns="0" rIns="0" bIns="0" rtlCol="0">
            <a:noAutofit/>
          </a:bodyPr>
          <a:lstStyle/>
          <a:p>
            <a:pPr algn="ctr"/>
            <a:r>
              <a:rPr lang="en-US" sz="1400">
                <a:latin typeface="Arial"/>
                <a:cs typeface="Arial"/>
              </a:rPr>
              <a:t>Common framework for automations</a:t>
            </a:r>
          </a:p>
        </p:txBody>
      </p:sp>
      <p:sp>
        <p:nvSpPr>
          <p:cNvPr id="26" name="TextBox 25">
            <a:extLst>
              <a:ext uri="{FF2B5EF4-FFF2-40B4-BE49-F238E27FC236}">
                <a16:creationId xmlns:a16="http://schemas.microsoft.com/office/drawing/2014/main" id="{761EA39A-B93D-4928-952F-D2D11B28570E}"/>
              </a:ext>
            </a:extLst>
          </p:cNvPr>
          <p:cNvSpPr txBox="1"/>
          <p:nvPr/>
        </p:nvSpPr>
        <p:spPr>
          <a:xfrm>
            <a:off x="8424147" y="3881727"/>
            <a:ext cx="3383280" cy="246221"/>
          </a:xfrm>
          <a:prstGeom prst="rect">
            <a:avLst/>
          </a:prstGeom>
          <a:noFill/>
        </p:spPr>
        <p:txBody>
          <a:bodyPr wrap="square" lIns="0" tIns="0" rIns="0" bIns="0" rtlCol="0">
            <a:noAutofit/>
          </a:bodyPr>
          <a:lstStyle/>
          <a:p>
            <a:pPr algn="ctr"/>
            <a:r>
              <a:rPr lang="en-US" sz="1400">
                <a:latin typeface="Arial"/>
                <a:cs typeface="Arial"/>
              </a:rPr>
              <a:t>Built-in governance</a:t>
            </a:r>
          </a:p>
        </p:txBody>
      </p:sp>
      <p:sp>
        <p:nvSpPr>
          <p:cNvPr id="28" name="TextBox 27">
            <a:extLst>
              <a:ext uri="{FF2B5EF4-FFF2-40B4-BE49-F238E27FC236}">
                <a16:creationId xmlns:a16="http://schemas.microsoft.com/office/drawing/2014/main" id="{E0A9C350-BF0B-4ADC-8A8E-ECF83EAA90E4}"/>
              </a:ext>
            </a:extLst>
          </p:cNvPr>
          <p:cNvSpPr txBox="1"/>
          <p:nvPr/>
        </p:nvSpPr>
        <p:spPr>
          <a:xfrm>
            <a:off x="379013" y="1332220"/>
            <a:ext cx="11430399" cy="588396"/>
          </a:xfrm>
          <a:prstGeom prst="rect">
            <a:avLst/>
          </a:prstGeom>
          <a:solidFill>
            <a:schemeClr val="bg1">
              <a:lumMod val="95000"/>
            </a:schemeClr>
          </a:solidFill>
        </p:spPr>
        <p:txBody>
          <a:bodyPr wrap="square" lIns="91440" tIns="91440" rIns="0" bIns="91440" anchor="ctr">
            <a:noAutofit/>
          </a:bodyPr>
          <a:lstStyle/>
          <a:p>
            <a:pPr algn="ctr"/>
            <a:r>
              <a:rPr lang="en-US" sz="2000" b="1"/>
              <a:t>The UiPath platform experience is:</a:t>
            </a:r>
          </a:p>
        </p:txBody>
      </p:sp>
      <p:pic>
        <p:nvPicPr>
          <p:cNvPr id="11" name="Graphic 10">
            <a:extLst>
              <a:ext uri="{FF2B5EF4-FFF2-40B4-BE49-F238E27FC236}">
                <a16:creationId xmlns:a16="http://schemas.microsoft.com/office/drawing/2014/main" id="{11B7398F-088D-49C7-AFDE-092FBD3059A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805797" y="2418510"/>
            <a:ext cx="533689" cy="533689"/>
          </a:xfrm>
          <a:prstGeom prst="rect">
            <a:avLst/>
          </a:prstGeom>
        </p:spPr>
      </p:pic>
      <p:pic>
        <p:nvPicPr>
          <p:cNvPr id="16" name="Graphic 15">
            <a:extLst>
              <a:ext uri="{FF2B5EF4-FFF2-40B4-BE49-F238E27FC236}">
                <a16:creationId xmlns:a16="http://schemas.microsoft.com/office/drawing/2014/main" id="{0785F594-BDEA-4D01-9341-7D7E5C1CA29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848943" y="2418510"/>
            <a:ext cx="533689" cy="533689"/>
          </a:xfrm>
          <a:prstGeom prst="rect">
            <a:avLst/>
          </a:prstGeom>
        </p:spPr>
      </p:pic>
      <p:grpSp>
        <p:nvGrpSpPr>
          <p:cNvPr id="7" name="Group 6">
            <a:extLst>
              <a:ext uri="{FF2B5EF4-FFF2-40B4-BE49-F238E27FC236}">
                <a16:creationId xmlns:a16="http://schemas.microsoft.com/office/drawing/2014/main" id="{0C6290A7-5240-49D9-98A8-4E1B66524611}"/>
              </a:ext>
            </a:extLst>
          </p:cNvPr>
          <p:cNvGrpSpPr/>
          <p:nvPr/>
        </p:nvGrpSpPr>
        <p:grpSpPr>
          <a:xfrm>
            <a:off x="4083428" y="2109132"/>
            <a:ext cx="4021574" cy="4101168"/>
            <a:chOff x="4083428" y="1917290"/>
            <a:chExt cx="4021574" cy="4382282"/>
          </a:xfrm>
        </p:grpSpPr>
        <p:cxnSp>
          <p:nvCxnSpPr>
            <p:cNvPr id="17" name="Straight Connector 16">
              <a:extLst>
                <a:ext uri="{FF2B5EF4-FFF2-40B4-BE49-F238E27FC236}">
                  <a16:creationId xmlns:a16="http://schemas.microsoft.com/office/drawing/2014/main" id="{60F4CC30-FA9E-4F83-982A-72B499E14C3B}"/>
                </a:ext>
              </a:extLst>
            </p:cNvPr>
            <p:cNvCxnSpPr>
              <a:cxnSpLocks/>
            </p:cNvCxnSpPr>
            <p:nvPr/>
          </p:nvCxnSpPr>
          <p:spPr>
            <a:xfrm>
              <a:off x="4083428" y="1917290"/>
              <a:ext cx="0" cy="4382282"/>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F561C69D-DD80-4B71-9D4E-EA6A9863B786}"/>
                </a:ext>
              </a:extLst>
            </p:cNvPr>
            <p:cNvCxnSpPr>
              <a:cxnSpLocks/>
            </p:cNvCxnSpPr>
            <p:nvPr/>
          </p:nvCxnSpPr>
          <p:spPr>
            <a:xfrm>
              <a:off x="8105002" y="1917290"/>
              <a:ext cx="0" cy="4382282"/>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20" name="TextBox 19">
            <a:extLst>
              <a:ext uri="{FF2B5EF4-FFF2-40B4-BE49-F238E27FC236}">
                <a16:creationId xmlns:a16="http://schemas.microsoft.com/office/drawing/2014/main" id="{A6C52C9B-1BCE-4921-B063-B277E098148D}"/>
              </a:ext>
            </a:extLst>
          </p:cNvPr>
          <p:cNvSpPr txBox="1"/>
          <p:nvPr/>
        </p:nvSpPr>
        <p:spPr>
          <a:xfrm>
            <a:off x="379014" y="4435124"/>
            <a:ext cx="3383280" cy="246221"/>
          </a:xfrm>
          <a:prstGeom prst="rect">
            <a:avLst/>
          </a:prstGeom>
          <a:noFill/>
        </p:spPr>
        <p:txBody>
          <a:bodyPr wrap="square" lIns="0" tIns="0" rIns="0" bIns="0" rtlCol="0">
            <a:noAutofit/>
          </a:bodyPr>
          <a:lstStyle/>
          <a:p>
            <a:pPr algn="ctr"/>
            <a:r>
              <a:rPr lang="en-US" sz="1400">
                <a:latin typeface="Arial"/>
                <a:cs typeface="Arial"/>
              </a:rPr>
              <a:t>Common design system</a:t>
            </a:r>
          </a:p>
        </p:txBody>
      </p:sp>
      <p:sp>
        <p:nvSpPr>
          <p:cNvPr id="21" name="TextBox 20">
            <a:extLst>
              <a:ext uri="{FF2B5EF4-FFF2-40B4-BE49-F238E27FC236}">
                <a16:creationId xmlns:a16="http://schemas.microsoft.com/office/drawing/2014/main" id="{03DE119C-618E-4639-9F32-88F4C0157C78}"/>
              </a:ext>
            </a:extLst>
          </p:cNvPr>
          <p:cNvSpPr txBox="1"/>
          <p:nvPr/>
        </p:nvSpPr>
        <p:spPr>
          <a:xfrm>
            <a:off x="379014" y="5090913"/>
            <a:ext cx="3383280" cy="246221"/>
          </a:xfrm>
          <a:prstGeom prst="rect">
            <a:avLst/>
          </a:prstGeom>
          <a:noFill/>
        </p:spPr>
        <p:txBody>
          <a:bodyPr wrap="square" lIns="0" tIns="0" rIns="0" bIns="0" rtlCol="0">
            <a:noAutofit/>
          </a:bodyPr>
          <a:lstStyle/>
          <a:p>
            <a:pPr algn="ctr"/>
            <a:r>
              <a:rPr lang="en-US" sz="1400">
                <a:latin typeface="Arial"/>
                <a:cs typeface="Arial"/>
              </a:rPr>
              <a:t>Easy deployment</a:t>
            </a:r>
          </a:p>
        </p:txBody>
      </p:sp>
      <p:sp>
        <p:nvSpPr>
          <p:cNvPr id="22" name="TextBox 21">
            <a:extLst>
              <a:ext uri="{FF2B5EF4-FFF2-40B4-BE49-F238E27FC236}">
                <a16:creationId xmlns:a16="http://schemas.microsoft.com/office/drawing/2014/main" id="{C8A7918E-3534-4979-9345-FBF92C0B1FA0}"/>
              </a:ext>
            </a:extLst>
          </p:cNvPr>
          <p:cNvSpPr txBox="1"/>
          <p:nvPr/>
        </p:nvSpPr>
        <p:spPr>
          <a:xfrm>
            <a:off x="379014" y="5746700"/>
            <a:ext cx="3383280" cy="246221"/>
          </a:xfrm>
          <a:prstGeom prst="rect">
            <a:avLst/>
          </a:prstGeom>
          <a:noFill/>
        </p:spPr>
        <p:txBody>
          <a:bodyPr wrap="square" lIns="0" tIns="0" rIns="0" bIns="0" rtlCol="0">
            <a:noAutofit/>
          </a:bodyPr>
          <a:lstStyle/>
          <a:p>
            <a:pPr algn="ctr"/>
            <a:r>
              <a:rPr lang="en-US" sz="1400">
                <a:latin typeface="Arial"/>
                <a:cs typeface="Arial"/>
              </a:rPr>
              <a:t>Drag &amp; drop configuration</a:t>
            </a:r>
          </a:p>
        </p:txBody>
      </p:sp>
      <p:sp>
        <p:nvSpPr>
          <p:cNvPr id="23" name="TextBox 22">
            <a:extLst>
              <a:ext uri="{FF2B5EF4-FFF2-40B4-BE49-F238E27FC236}">
                <a16:creationId xmlns:a16="http://schemas.microsoft.com/office/drawing/2014/main" id="{ADB90480-BA11-4799-A4CF-04A48C6F51DE}"/>
              </a:ext>
            </a:extLst>
          </p:cNvPr>
          <p:cNvSpPr txBox="1"/>
          <p:nvPr/>
        </p:nvSpPr>
        <p:spPr>
          <a:xfrm>
            <a:off x="4402575" y="4435124"/>
            <a:ext cx="3383280" cy="492443"/>
          </a:xfrm>
          <a:prstGeom prst="rect">
            <a:avLst/>
          </a:prstGeom>
          <a:noFill/>
        </p:spPr>
        <p:txBody>
          <a:bodyPr wrap="square" lIns="0" tIns="0" rIns="0" bIns="0" rtlCol="0">
            <a:noAutofit/>
          </a:bodyPr>
          <a:lstStyle/>
          <a:p>
            <a:pPr algn="ctr"/>
            <a:r>
              <a:rPr lang="en-US" sz="1400">
                <a:latin typeface="Arial"/>
                <a:cs typeface="Arial"/>
              </a:rPr>
              <a:t>Flexible surfaces align with individual &amp; team needs</a:t>
            </a:r>
          </a:p>
        </p:txBody>
      </p:sp>
      <p:sp>
        <p:nvSpPr>
          <p:cNvPr id="24" name="TextBox 23">
            <a:extLst>
              <a:ext uri="{FF2B5EF4-FFF2-40B4-BE49-F238E27FC236}">
                <a16:creationId xmlns:a16="http://schemas.microsoft.com/office/drawing/2014/main" id="{61F2F2BF-53B5-4E52-83DD-AEFF9A61FB15}"/>
              </a:ext>
            </a:extLst>
          </p:cNvPr>
          <p:cNvSpPr txBox="1"/>
          <p:nvPr/>
        </p:nvSpPr>
        <p:spPr>
          <a:xfrm>
            <a:off x="8424147" y="4435124"/>
            <a:ext cx="3383280" cy="246221"/>
          </a:xfrm>
          <a:prstGeom prst="rect">
            <a:avLst/>
          </a:prstGeom>
          <a:noFill/>
        </p:spPr>
        <p:txBody>
          <a:bodyPr wrap="square" lIns="0" tIns="0" rIns="0" bIns="0" rtlCol="0">
            <a:noAutofit/>
          </a:bodyPr>
          <a:lstStyle/>
          <a:p>
            <a:pPr algn="ctr"/>
            <a:r>
              <a:rPr lang="en-US" sz="1400">
                <a:latin typeface="Arial"/>
                <a:cs typeface="Arial"/>
              </a:rPr>
              <a:t>True platform scale </a:t>
            </a:r>
          </a:p>
        </p:txBody>
      </p:sp>
      <p:sp>
        <p:nvSpPr>
          <p:cNvPr id="27" name="TextBox 26">
            <a:extLst>
              <a:ext uri="{FF2B5EF4-FFF2-40B4-BE49-F238E27FC236}">
                <a16:creationId xmlns:a16="http://schemas.microsoft.com/office/drawing/2014/main" id="{11B8AFE0-B43D-4DE2-8D3D-B4E2B715C5D6}"/>
              </a:ext>
            </a:extLst>
          </p:cNvPr>
          <p:cNvSpPr txBox="1"/>
          <p:nvPr/>
        </p:nvSpPr>
        <p:spPr>
          <a:xfrm>
            <a:off x="8424147" y="5090913"/>
            <a:ext cx="3383280" cy="492443"/>
          </a:xfrm>
          <a:prstGeom prst="rect">
            <a:avLst/>
          </a:prstGeom>
          <a:noFill/>
        </p:spPr>
        <p:txBody>
          <a:bodyPr wrap="square" lIns="0" tIns="0" rIns="0" bIns="0" rtlCol="0">
            <a:noAutofit/>
          </a:bodyPr>
          <a:lstStyle/>
          <a:p>
            <a:pPr algn="ctr"/>
            <a:r>
              <a:rPr lang="en-US" sz="1400">
                <a:latin typeface="Arial"/>
                <a:cs typeface="Arial"/>
              </a:rPr>
              <a:t>Easy access to a ready-to-go </a:t>
            </a:r>
            <a:br>
              <a:rPr lang="en-US" sz="1400">
                <a:latin typeface="Arial"/>
                <a:cs typeface="Arial"/>
              </a:rPr>
            </a:br>
            <a:r>
              <a:rPr lang="en-US" sz="1400">
                <a:latin typeface="Arial"/>
                <a:cs typeface="Arial"/>
              </a:rPr>
              <a:t>automation library</a:t>
            </a:r>
          </a:p>
        </p:txBody>
      </p:sp>
      <p:cxnSp>
        <p:nvCxnSpPr>
          <p:cNvPr id="31" name="Straight Connector 30">
            <a:extLst>
              <a:ext uri="{FF2B5EF4-FFF2-40B4-BE49-F238E27FC236}">
                <a16:creationId xmlns:a16="http://schemas.microsoft.com/office/drawing/2014/main" id="{508B415D-4B9E-46BB-8555-EB4EA4904B42}"/>
              </a:ext>
            </a:extLst>
          </p:cNvPr>
          <p:cNvCxnSpPr>
            <a:cxnSpLocks/>
          </p:cNvCxnSpPr>
          <p:nvPr/>
        </p:nvCxnSpPr>
        <p:spPr>
          <a:xfrm rot="10800000">
            <a:off x="381001" y="5541918"/>
            <a:ext cx="3383280"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40" name="Group 39">
            <a:extLst>
              <a:ext uri="{FF2B5EF4-FFF2-40B4-BE49-F238E27FC236}">
                <a16:creationId xmlns:a16="http://schemas.microsoft.com/office/drawing/2014/main" id="{240D2CA1-B355-4775-9D49-F0736F8E4A2E}"/>
              </a:ext>
            </a:extLst>
          </p:cNvPr>
          <p:cNvGrpSpPr/>
          <p:nvPr/>
        </p:nvGrpSpPr>
        <p:grpSpPr>
          <a:xfrm>
            <a:off x="381001" y="4230340"/>
            <a:ext cx="11421269" cy="0"/>
            <a:chOff x="381001" y="4205745"/>
            <a:chExt cx="11421269" cy="0"/>
          </a:xfrm>
        </p:grpSpPr>
        <p:cxnSp>
          <p:nvCxnSpPr>
            <p:cNvPr id="29" name="Straight Connector 28">
              <a:extLst>
                <a:ext uri="{FF2B5EF4-FFF2-40B4-BE49-F238E27FC236}">
                  <a16:creationId xmlns:a16="http://schemas.microsoft.com/office/drawing/2014/main" id="{1F879411-BE92-4621-949D-19B25B2ED4CD}"/>
                </a:ext>
              </a:extLst>
            </p:cNvPr>
            <p:cNvCxnSpPr>
              <a:cxnSpLocks/>
            </p:cNvCxnSpPr>
            <p:nvPr/>
          </p:nvCxnSpPr>
          <p:spPr>
            <a:xfrm rot="10800000">
              <a:off x="381001" y="4205745"/>
              <a:ext cx="3383280"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7EF1808A-6F52-49DA-AD21-38709237A143}"/>
                </a:ext>
              </a:extLst>
            </p:cNvPr>
            <p:cNvCxnSpPr>
              <a:cxnSpLocks/>
            </p:cNvCxnSpPr>
            <p:nvPr/>
          </p:nvCxnSpPr>
          <p:spPr>
            <a:xfrm rot="10800000">
              <a:off x="4402575" y="4205745"/>
              <a:ext cx="3383280"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6DB53C28-C8D8-4B23-AE9F-8A7365161D07}"/>
                </a:ext>
              </a:extLst>
            </p:cNvPr>
            <p:cNvCxnSpPr>
              <a:cxnSpLocks/>
            </p:cNvCxnSpPr>
            <p:nvPr/>
          </p:nvCxnSpPr>
          <p:spPr>
            <a:xfrm rot="10800000">
              <a:off x="8418990" y="4205745"/>
              <a:ext cx="3383280"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DDEF39A6-9BD0-4D45-8633-3FA76E3FD911}"/>
              </a:ext>
            </a:extLst>
          </p:cNvPr>
          <p:cNvGrpSpPr/>
          <p:nvPr/>
        </p:nvGrpSpPr>
        <p:grpSpPr>
          <a:xfrm>
            <a:off x="381001" y="4886129"/>
            <a:ext cx="11426426" cy="0"/>
            <a:chOff x="381001" y="4861534"/>
            <a:chExt cx="11426426" cy="0"/>
          </a:xfrm>
        </p:grpSpPr>
        <p:cxnSp>
          <p:nvCxnSpPr>
            <p:cNvPr id="30" name="Straight Connector 29">
              <a:extLst>
                <a:ext uri="{FF2B5EF4-FFF2-40B4-BE49-F238E27FC236}">
                  <a16:creationId xmlns:a16="http://schemas.microsoft.com/office/drawing/2014/main" id="{635DF8D0-D765-43FD-8B0A-158F6CB74B7B}"/>
                </a:ext>
              </a:extLst>
            </p:cNvPr>
            <p:cNvCxnSpPr>
              <a:cxnSpLocks/>
            </p:cNvCxnSpPr>
            <p:nvPr/>
          </p:nvCxnSpPr>
          <p:spPr>
            <a:xfrm rot="10800000">
              <a:off x="381001" y="4861534"/>
              <a:ext cx="3383280"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548659E4-FD8F-472A-983D-68D9D2E7DD32}"/>
                </a:ext>
              </a:extLst>
            </p:cNvPr>
            <p:cNvCxnSpPr>
              <a:cxnSpLocks/>
            </p:cNvCxnSpPr>
            <p:nvPr/>
          </p:nvCxnSpPr>
          <p:spPr>
            <a:xfrm rot="10800000">
              <a:off x="8424147" y="4861534"/>
              <a:ext cx="3383280"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pic>
        <p:nvPicPr>
          <p:cNvPr id="39" name="Graphic 38">
            <a:extLst>
              <a:ext uri="{FF2B5EF4-FFF2-40B4-BE49-F238E27FC236}">
                <a16:creationId xmlns:a16="http://schemas.microsoft.com/office/drawing/2014/main" id="{0952DC13-A84F-4969-8B55-82FF7544A98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827371" y="2418510"/>
            <a:ext cx="533689" cy="533689"/>
          </a:xfrm>
          <a:prstGeom prst="rect">
            <a:avLst/>
          </a:prstGeom>
        </p:spPr>
      </p:pic>
    </p:spTree>
    <p:extLst>
      <p:ext uri="{BB962C8B-B14F-4D97-AF65-F5344CB8AC3E}">
        <p14:creationId xmlns:p14="http://schemas.microsoft.com/office/powerpoint/2010/main" val="403835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A8B61-11A3-49CD-9FE0-19616567BC1B}"/>
              </a:ext>
            </a:extLst>
          </p:cNvPr>
          <p:cNvSpPr>
            <a:spLocks noGrp="1"/>
          </p:cNvSpPr>
          <p:nvPr>
            <p:ph type="ctrTitle"/>
          </p:nvPr>
        </p:nvSpPr>
        <p:spPr>
          <a:xfrm>
            <a:off x="382971" y="2350042"/>
            <a:ext cx="5711441" cy="2157916"/>
          </a:xfrm>
        </p:spPr>
        <p:txBody>
          <a:bodyPr/>
          <a:lstStyle/>
          <a:p>
            <a:r>
              <a:rPr lang="en-US"/>
              <a:t>The leap to democratized development</a:t>
            </a:r>
          </a:p>
        </p:txBody>
      </p:sp>
    </p:spTree>
    <p:extLst>
      <p:ext uri="{BB962C8B-B14F-4D97-AF65-F5344CB8AC3E}">
        <p14:creationId xmlns:p14="http://schemas.microsoft.com/office/powerpoint/2010/main" val="115160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BC4C4B-FA6D-48EE-B922-891191E17226}"/>
              </a:ext>
            </a:extLst>
          </p:cNvPr>
          <p:cNvSpPr>
            <a:spLocks noGrp="1"/>
          </p:cNvSpPr>
          <p:nvPr>
            <p:ph type="title"/>
          </p:nvPr>
        </p:nvSpPr>
        <p:spPr>
          <a:xfrm>
            <a:off x="381001" y="357721"/>
            <a:ext cx="7729329" cy="690029"/>
          </a:xfrm>
        </p:spPr>
        <p:txBody>
          <a:bodyPr/>
          <a:lstStyle/>
          <a:p>
            <a:r>
              <a:rPr lang="en-US"/>
              <a:t>People who work with </a:t>
            </a:r>
            <a:br>
              <a:rPr lang="en-US"/>
            </a:br>
            <a:r>
              <a:rPr lang="en-US"/>
              <a:t>robots want to build their own</a:t>
            </a:r>
          </a:p>
        </p:txBody>
      </p:sp>
      <p:sp>
        <p:nvSpPr>
          <p:cNvPr id="43" name="TextBox 42">
            <a:extLst>
              <a:ext uri="{FF2B5EF4-FFF2-40B4-BE49-F238E27FC236}">
                <a16:creationId xmlns:a16="http://schemas.microsoft.com/office/drawing/2014/main" id="{BCE2C468-63DB-464A-8527-CD351917F6FB}"/>
              </a:ext>
            </a:extLst>
          </p:cNvPr>
          <p:cNvSpPr txBox="1"/>
          <p:nvPr/>
        </p:nvSpPr>
        <p:spPr>
          <a:xfrm>
            <a:off x="1176477" y="3896562"/>
            <a:ext cx="3592996" cy="830997"/>
          </a:xfrm>
          <a:prstGeom prst="rect">
            <a:avLst/>
          </a:prstGeom>
          <a:noFill/>
        </p:spPr>
        <p:txBody>
          <a:bodyPr wrap="square">
            <a:spAutoFit/>
          </a:bodyPr>
          <a:lstStyle/>
          <a:p>
            <a:pPr algn="ctr"/>
            <a:r>
              <a:rPr lang="en-US" sz="1600" i="0">
                <a:solidFill>
                  <a:schemeClr val="tx1"/>
                </a:solidFill>
                <a:latin typeface="Arial"/>
                <a:cs typeface="Arial"/>
              </a:rPr>
              <a:t>of people who use automation want to become citizen developers – that is, build their own robots</a:t>
            </a:r>
            <a:r>
              <a:rPr lang="en-US" sz="1600" baseline="29440">
                <a:solidFill>
                  <a:srgbClr val="000000"/>
                </a:solidFill>
                <a:latin typeface="Arial"/>
                <a:cs typeface="Arial"/>
              </a:rPr>
              <a:t>1</a:t>
            </a:r>
            <a:endParaRPr lang="en-US" sz="1600" i="0">
              <a:solidFill>
                <a:schemeClr val="tx1"/>
              </a:solidFill>
              <a:latin typeface="Arial"/>
              <a:cs typeface="Arial"/>
            </a:endParaRPr>
          </a:p>
        </p:txBody>
      </p:sp>
      <p:sp>
        <p:nvSpPr>
          <p:cNvPr id="56" name="TextBox 55">
            <a:extLst>
              <a:ext uri="{FF2B5EF4-FFF2-40B4-BE49-F238E27FC236}">
                <a16:creationId xmlns:a16="http://schemas.microsoft.com/office/drawing/2014/main" id="{E8527FB8-5140-455C-850F-C3A4E369FD46}"/>
              </a:ext>
            </a:extLst>
          </p:cNvPr>
          <p:cNvSpPr txBox="1"/>
          <p:nvPr/>
        </p:nvSpPr>
        <p:spPr>
          <a:xfrm>
            <a:off x="6018143" y="1366488"/>
            <a:ext cx="6092686" cy="584775"/>
          </a:xfrm>
          <a:prstGeom prst="rect">
            <a:avLst/>
          </a:prstGeom>
          <a:noFill/>
        </p:spPr>
        <p:txBody>
          <a:bodyPr wrap="square">
            <a:spAutoFit/>
          </a:bodyPr>
          <a:lstStyle/>
          <a:p>
            <a:pPr algn="ctr"/>
            <a:r>
              <a:rPr lang="en-US" sz="1600" b="1" i="0">
                <a:solidFill>
                  <a:schemeClr val="tx1"/>
                </a:solidFill>
                <a:latin typeface="Arial"/>
                <a:cs typeface="Arial"/>
              </a:rPr>
              <a:t>Aspiring citizen developers are motivated </a:t>
            </a:r>
            <a:br>
              <a:rPr lang="en-US" sz="1600" b="1" i="0">
                <a:solidFill>
                  <a:schemeClr val="tx1"/>
                </a:solidFill>
                <a:latin typeface="Arial"/>
                <a:cs typeface="Arial"/>
              </a:rPr>
            </a:br>
            <a:r>
              <a:rPr lang="en-US" sz="1600" b="1" i="0">
                <a:solidFill>
                  <a:schemeClr val="tx1"/>
                </a:solidFill>
                <a:latin typeface="Arial"/>
                <a:cs typeface="Arial"/>
              </a:rPr>
              <a:t>by several drivers</a:t>
            </a:r>
            <a:r>
              <a:rPr lang="en-US" sz="1600" baseline="29440">
                <a:solidFill>
                  <a:srgbClr val="000000"/>
                </a:solidFill>
                <a:latin typeface="Arial"/>
                <a:cs typeface="Arial"/>
              </a:rPr>
              <a:t>1</a:t>
            </a:r>
            <a:endParaRPr lang="en-US" sz="1600" b="1" i="0">
              <a:solidFill>
                <a:schemeClr val="tx1"/>
              </a:solidFill>
              <a:latin typeface="Arial"/>
              <a:cs typeface="Arial"/>
            </a:endParaRPr>
          </a:p>
        </p:txBody>
      </p:sp>
      <p:sp>
        <p:nvSpPr>
          <p:cNvPr id="61" name="Rectangle 60">
            <a:extLst>
              <a:ext uri="{FF2B5EF4-FFF2-40B4-BE49-F238E27FC236}">
                <a16:creationId xmlns:a16="http://schemas.microsoft.com/office/drawing/2014/main" id="{7EF89B9D-0C81-4CB8-A211-F7190E849ABE}"/>
              </a:ext>
            </a:extLst>
          </p:cNvPr>
          <p:cNvSpPr/>
          <p:nvPr/>
        </p:nvSpPr>
        <p:spPr>
          <a:xfrm>
            <a:off x="7565808" y="2185347"/>
            <a:ext cx="4011386"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400">
                <a:solidFill>
                  <a:schemeClr val="tx1"/>
                </a:solidFill>
                <a:latin typeface="Arial"/>
                <a:cs typeface="Arial"/>
              </a:rPr>
              <a:t>Productivity increase</a:t>
            </a:r>
            <a:endParaRPr lang="en-US" sz="1400" i="0">
              <a:solidFill>
                <a:schemeClr val="tx1"/>
              </a:solidFill>
              <a:latin typeface="Arial"/>
              <a:cs typeface="Arial"/>
            </a:endParaRPr>
          </a:p>
        </p:txBody>
      </p:sp>
      <p:sp>
        <p:nvSpPr>
          <p:cNvPr id="62" name="Rectangle 61">
            <a:extLst>
              <a:ext uri="{FF2B5EF4-FFF2-40B4-BE49-F238E27FC236}">
                <a16:creationId xmlns:a16="http://schemas.microsoft.com/office/drawing/2014/main" id="{B3CDEAF6-D596-438F-AFD5-FEEF74E9F3A8}"/>
              </a:ext>
            </a:extLst>
          </p:cNvPr>
          <p:cNvSpPr/>
          <p:nvPr/>
        </p:nvSpPr>
        <p:spPr>
          <a:xfrm>
            <a:off x="6417364" y="2185347"/>
            <a:ext cx="994230"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2"/>
                </a:solidFill>
                <a:effectLst/>
                <a:uLnTx/>
                <a:uFillTx/>
                <a:latin typeface="Arial"/>
                <a:ea typeface="+mn-ea"/>
                <a:cs typeface="Arial"/>
                <a:sym typeface="Arial"/>
              </a:rPr>
              <a:t>30%</a:t>
            </a:r>
          </a:p>
        </p:txBody>
      </p:sp>
      <p:sp>
        <p:nvSpPr>
          <p:cNvPr id="64" name="Rectangle 63">
            <a:extLst>
              <a:ext uri="{FF2B5EF4-FFF2-40B4-BE49-F238E27FC236}">
                <a16:creationId xmlns:a16="http://schemas.microsoft.com/office/drawing/2014/main" id="{7A2848B0-EB55-4DF2-8CA7-A7597CA4A285}"/>
              </a:ext>
            </a:extLst>
          </p:cNvPr>
          <p:cNvSpPr/>
          <p:nvPr/>
        </p:nvSpPr>
        <p:spPr>
          <a:xfrm>
            <a:off x="7565808" y="4881922"/>
            <a:ext cx="4011386"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400">
                <a:solidFill>
                  <a:schemeClr val="tx1"/>
                </a:solidFill>
                <a:latin typeface="Arial"/>
                <a:cs typeface="Arial"/>
              </a:rPr>
              <a:t>Bots provide enhanced value to customers /  company</a:t>
            </a:r>
            <a:endParaRPr lang="en-US" sz="1400" i="0">
              <a:solidFill>
                <a:schemeClr val="tx1"/>
              </a:solidFill>
              <a:latin typeface="Arial"/>
              <a:cs typeface="Arial"/>
            </a:endParaRPr>
          </a:p>
        </p:txBody>
      </p:sp>
      <p:sp>
        <p:nvSpPr>
          <p:cNvPr id="66" name="Rectangle 65">
            <a:extLst>
              <a:ext uri="{FF2B5EF4-FFF2-40B4-BE49-F238E27FC236}">
                <a16:creationId xmlns:a16="http://schemas.microsoft.com/office/drawing/2014/main" id="{731BF97A-B3F1-4EB9-8113-32C1120EFFCC}"/>
              </a:ext>
            </a:extLst>
          </p:cNvPr>
          <p:cNvSpPr/>
          <p:nvPr/>
        </p:nvSpPr>
        <p:spPr>
          <a:xfrm>
            <a:off x="6417364" y="4881922"/>
            <a:ext cx="994230"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lang="en-US" sz="3200" b="1">
                <a:solidFill>
                  <a:schemeClr val="accent5"/>
                </a:solidFill>
                <a:latin typeface="Arial"/>
                <a:cs typeface="Arial"/>
                <a:sym typeface="Arial"/>
              </a:rPr>
              <a:t>19</a:t>
            </a:r>
            <a:r>
              <a:rPr kumimoji="0" lang="en-US" sz="3200" b="1" i="0" u="none" strike="noStrike" kern="1200" cap="none" spc="0" normalizeH="0" baseline="0" noProof="0">
                <a:ln>
                  <a:noFill/>
                </a:ln>
                <a:solidFill>
                  <a:schemeClr val="accent5"/>
                </a:solidFill>
                <a:effectLst/>
                <a:uLnTx/>
                <a:uFillTx/>
                <a:latin typeface="Arial"/>
                <a:ea typeface="+mn-ea"/>
                <a:cs typeface="Arial"/>
                <a:sym typeface="Arial"/>
              </a:rPr>
              <a:t>%</a:t>
            </a:r>
          </a:p>
        </p:txBody>
      </p:sp>
      <p:sp>
        <p:nvSpPr>
          <p:cNvPr id="67" name="Rectangle 66">
            <a:extLst>
              <a:ext uri="{FF2B5EF4-FFF2-40B4-BE49-F238E27FC236}">
                <a16:creationId xmlns:a16="http://schemas.microsoft.com/office/drawing/2014/main" id="{81E4FB6F-E365-42ED-8F51-292E6FA6258A}"/>
              </a:ext>
            </a:extLst>
          </p:cNvPr>
          <p:cNvSpPr/>
          <p:nvPr/>
        </p:nvSpPr>
        <p:spPr>
          <a:xfrm>
            <a:off x="7565808" y="3983063"/>
            <a:ext cx="4011386"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400">
                <a:solidFill>
                  <a:schemeClr val="tx1"/>
                </a:solidFill>
                <a:latin typeface="Arial"/>
                <a:cs typeface="Arial"/>
              </a:rPr>
              <a:t>Bots help in reducing errors and increasing accuracy</a:t>
            </a:r>
            <a:endParaRPr lang="en-US" sz="1400" i="0">
              <a:solidFill>
                <a:schemeClr val="tx1"/>
              </a:solidFill>
              <a:latin typeface="Arial"/>
              <a:cs typeface="Arial"/>
            </a:endParaRPr>
          </a:p>
        </p:txBody>
      </p:sp>
      <p:sp>
        <p:nvSpPr>
          <p:cNvPr id="70" name="Rectangle 69">
            <a:extLst>
              <a:ext uri="{FF2B5EF4-FFF2-40B4-BE49-F238E27FC236}">
                <a16:creationId xmlns:a16="http://schemas.microsoft.com/office/drawing/2014/main" id="{085A1EE0-402A-4A8D-A904-57D93A672975}"/>
              </a:ext>
            </a:extLst>
          </p:cNvPr>
          <p:cNvSpPr/>
          <p:nvPr/>
        </p:nvSpPr>
        <p:spPr>
          <a:xfrm>
            <a:off x="6417364" y="3983063"/>
            <a:ext cx="994230"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4"/>
                </a:solidFill>
                <a:effectLst/>
                <a:uLnTx/>
                <a:uFillTx/>
                <a:latin typeface="Arial"/>
                <a:ea typeface="+mn-ea"/>
                <a:cs typeface="Arial"/>
                <a:sym typeface="Arial"/>
              </a:rPr>
              <a:t>20%</a:t>
            </a:r>
          </a:p>
        </p:txBody>
      </p:sp>
      <p:sp>
        <p:nvSpPr>
          <p:cNvPr id="71" name="Rectangle 70">
            <a:extLst>
              <a:ext uri="{FF2B5EF4-FFF2-40B4-BE49-F238E27FC236}">
                <a16:creationId xmlns:a16="http://schemas.microsoft.com/office/drawing/2014/main" id="{5B24DD17-BC4A-4C8A-A0EC-F4EA8B3D8983}"/>
              </a:ext>
            </a:extLst>
          </p:cNvPr>
          <p:cNvSpPr/>
          <p:nvPr/>
        </p:nvSpPr>
        <p:spPr>
          <a:xfrm>
            <a:off x="7565808" y="3084205"/>
            <a:ext cx="4011386"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400">
                <a:solidFill>
                  <a:schemeClr val="tx1"/>
                </a:solidFill>
                <a:latin typeface="Arial"/>
                <a:cs typeface="Arial"/>
              </a:rPr>
              <a:t>Significant work can be automated, making time available for other tasks</a:t>
            </a:r>
            <a:endParaRPr lang="en-US" sz="1400" i="0">
              <a:solidFill>
                <a:schemeClr val="tx1"/>
              </a:solidFill>
              <a:latin typeface="Arial"/>
              <a:cs typeface="Arial"/>
            </a:endParaRPr>
          </a:p>
        </p:txBody>
      </p:sp>
      <p:sp>
        <p:nvSpPr>
          <p:cNvPr id="72" name="Rectangle 71">
            <a:extLst>
              <a:ext uri="{FF2B5EF4-FFF2-40B4-BE49-F238E27FC236}">
                <a16:creationId xmlns:a16="http://schemas.microsoft.com/office/drawing/2014/main" id="{0A2C02B9-27E0-4260-B8F7-8031DD6AB6F0}"/>
              </a:ext>
            </a:extLst>
          </p:cNvPr>
          <p:cNvSpPr/>
          <p:nvPr/>
        </p:nvSpPr>
        <p:spPr>
          <a:xfrm>
            <a:off x="6417364" y="3084205"/>
            <a:ext cx="994230"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3"/>
                </a:solidFill>
                <a:effectLst/>
                <a:uLnTx/>
                <a:uFillTx/>
                <a:latin typeface="Arial"/>
                <a:ea typeface="+mn-ea"/>
                <a:cs typeface="Arial"/>
                <a:sym typeface="Arial"/>
              </a:rPr>
              <a:t>22%</a:t>
            </a:r>
          </a:p>
        </p:txBody>
      </p:sp>
      <p:sp>
        <p:nvSpPr>
          <p:cNvPr id="73" name="Rectangle 72">
            <a:extLst>
              <a:ext uri="{FF2B5EF4-FFF2-40B4-BE49-F238E27FC236}">
                <a16:creationId xmlns:a16="http://schemas.microsoft.com/office/drawing/2014/main" id="{E89089AB-6632-4E81-8DA2-2B59876FC027}"/>
              </a:ext>
            </a:extLst>
          </p:cNvPr>
          <p:cNvSpPr/>
          <p:nvPr/>
        </p:nvSpPr>
        <p:spPr>
          <a:xfrm>
            <a:off x="7579060" y="5640609"/>
            <a:ext cx="4011386"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457063">
              <a:defRPr/>
            </a:pPr>
            <a:r>
              <a:rPr lang="en-US" sz="1400">
                <a:solidFill>
                  <a:schemeClr val="tx1"/>
                </a:solidFill>
                <a:latin typeface="Arial"/>
                <a:cs typeface="Arial"/>
              </a:rPr>
              <a:t>Org./top mgmt. encourages use of RPA</a:t>
            </a:r>
            <a:endParaRPr lang="en-US" sz="1400" i="0">
              <a:solidFill>
                <a:schemeClr val="tx1"/>
              </a:solidFill>
              <a:latin typeface="Arial"/>
              <a:cs typeface="Arial"/>
            </a:endParaRPr>
          </a:p>
        </p:txBody>
      </p:sp>
      <p:sp>
        <p:nvSpPr>
          <p:cNvPr id="74" name="Rectangle 73">
            <a:extLst>
              <a:ext uri="{FF2B5EF4-FFF2-40B4-BE49-F238E27FC236}">
                <a16:creationId xmlns:a16="http://schemas.microsoft.com/office/drawing/2014/main" id="{A4691D81-631F-488B-A67D-51106D1CF116}"/>
              </a:ext>
            </a:extLst>
          </p:cNvPr>
          <p:cNvSpPr/>
          <p:nvPr/>
        </p:nvSpPr>
        <p:spPr>
          <a:xfrm>
            <a:off x="6470373" y="5640609"/>
            <a:ext cx="994230"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lang="en-US" sz="3200" b="1">
                <a:solidFill>
                  <a:schemeClr val="accent6"/>
                </a:solidFill>
                <a:latin typeface="Arial"/>
                <a:cs typeface="Arial"/>
                <a:sym typeface="Arial"/>
              </a:rPr>
              <a:t>9</a:t>
            </a:r>
            <a:r>
              <a:rPr kumimoji="0" lang="en-US" sz="3200" b="1" i="0" u="none" strike="noStrike" kern="1200" cap="none" spc="0" normalizeH="0" baseline="0" noProof="0">
                <a:ln>
                  <a:noFill/>
                </a:ln>
                <a:solidFill>
                  <a:schemeClr val="accent6"/>
                </a:solidFill>
                <a:effectLst/>
                <a:uLnTx/>
                <a:uFillTx/>
                <a:latin typeface="Arial"/>
                <a:ea typeface="+mn-ea"/>
                <a:cs typeface="Arial"/>
                <a:sym typeface="Arial"/>
              </a:rPr>
              <a:t>%</a:t>
            </a:r>
          </a:p>
        </p:txBody>
      </p:sp>
      <p:sp>
        <p:nvSpPr>
          <p:cNvPr id="18" name="Rectangle 17">
            <a:extLst>
              <a:ext uri="{FF2B5EF4-FFF2-40B4-BE49-F238E27FC236}">
                <a16:creationId xmlns:a16="http://schemas.microsoft.com/office/drawing/2014/main" id="{5B7DA8A3-86D1-45B4-8B82-73E773F43358}"/>
              </a:ext>
            </a:extLst>
          </p:cNvPr>
          <p:cNvSpPr/>
          <p:nvPr/>
        </p:nvSpPr>
        <p:spPr>
          <a:xfrm>
            <a:off x="1945228" y="3016186"/>
            <a:ext cx="2055494" cy="6248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6600" b="1" i="0">
                <a:solidFill>
                  <a:schemeClr val="accent1"/>
                </a:solidFill>
                <a:latin typeface="Arial"/>
                <a:cs typeface="Arial"/>
              </a:rPr>
              <a:t>79%</a:t>
            </a:r>
            <a:endParaRPr lang="en-US" sz="6600" b="1" i="0">
              <a:solidFill>
                <a:schemeClr val="tx1"/>
              </a:solidFill>
              <a:latin typeface="Arial"/>
              <a:cs typeface="Arial"/>
            </a:endParaRPr>
          </a:p>
        </p:txBody>
      </p:sp>
      <p:pic>
        <p:nvPicPr>
          <p:cNvPr id="19" name="Graphic 18">
            <a:extLst>
              <a:ext uri="{FF2B5EF4-FFF2-40B4-BE49-F238E27FC236}">
                <a16:creationId xmlns:a16="http://schemas.microsoft.com/office/drawing/2014/main" id="{F3FC77D5-9F16-461F-B692-A9C02C1C44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95006" y="2047245"/>
            <a:ext cx="713408" cy="713406"/>
          </a:xfrm>
          <a:prstGeom prst="rect">
            <a:avLst/>
          </a:prstGeom>
        </p:spPr>
      </p:pic>
      <p:sp>
        <p:nvSpPr>
          <p:cNvPr id="20" name="Rectangle 19">
            <a:extLst>
              <a:ext uri="{FF2B5EF4-FFF2-40B4-BE49-F238E27FC236}">
                <a16:creationId xmlns:a16="http://schemas.microsoft.com/office/drawing/2014/main" id="{153FE344-8054-45C3-972D-F48DA7BA697A}"/>
              </a:ext>
            </a:extLst>
          </p:cNvPr>
          <p:cNvSpPr/>
          <p:nvPr/>
        </p:nvSpPr>
        <p:spPr>
          <a:xfrm>
            <a:off x="368030" y="6392246"/>
            <a:ext cx="11430000" cy="123111"/>
          </a:xfrm>
          <a:prstGeom prst="rect">
            <a:avLst/>
          </a:prstGeom>
        </p:spPr>
        <p:txBody>
          <a:bodyPr wrap="square" lIns="0" tIns="0" rIns="0" bIns="0" anchor="b">
            <a:spAutoFit/>
          </a:bodyPr>
          <a:lstStyle/>
          <a:p>
            <a:pPr marL="228600" indent="-228600">
              <a:buFont typeface="+mj-lt"/>
              <a:buAutoNum type="arabicPeriod"/>
            </a:pPr>
            <a:r>
              <a:rPr kumimoji="0" lang="en-US" sz="800" b="0" i="0" u="none" strike="noStrike" kern="1200" cap="none" spc="0" normalizeH="0" baseline="0" noProof="0" dirty="0">
                <a:ln>
                  <a:noFill/>
                </a:ln>
                <a:solidFill>
                  <a:srgbClr val="58595B"/>
                </a:solidFill>
                <a:effectLst/>
                <a:uLnTx/>
                <a:uFillTx/>
                <a:latin typeface="Arial"/>
              </a:rPr>
              <a:t>UiPath and </a:t>
            </a:r>
            <a:r>
              <a:rPr lang="en-US" sz="800" b="0" i="0" dirty="0">
                <a:solidFill>
                  <a:srgbClr val="000000"/>
                </a:solidFill>
                <a:effectLst/>
                <a:latin typeface="Calibri" panose="020F0502020204030204" pitchFamily="34" charset="0"/>
              </a:rPr>
              <a:t>Bain </a:t>
            </a:r>
            <a:r>
              <a:rPr lang="en-US" sz="800" dirty="0">
                <a:solidFill>
                  <a:srgbClr val="000000"/>
                </a:solidFill>
                <a:latin typeface="Calibri" panose="020F0502020204030204" pitchFamily="34" charset="0"/>
              </a:rPr>
              <a:t>&amp; </a:t>
            </a:r>
            <a:r>
              <a:rPr lang="en-US" sz="800" b="0" i="0" dirty="0">
                <a:solidFill>
                  <a:srgbClr val="000000"/>
                </a:solidFill>
                <a:effectLst/>
                <a:latin typeface="Calibri" panose="020F0502020204030204" pitchFamily="34" charset="0"/>
              </a:rPr>
              <a:t>Company research</a:t>
            </a:r>
            <a:r>
              <a:rPr lang="en-US" sz="800" b="0" i="0" dirty="0">
                <a:solidFill>
                  <a:srgbClr val="58595B"/>
                </a:solidFill>
                <a:effectLst/>
                <a:latin typeface="Arial"/>
              </a:rPr>
              <a:t>, </a:t>
            </a:r>
            <a:r>
              <a:rPr lang="en-US" sz="800" b="0" i="0" dirty="0">
                <a:solidFill>
                  <a:srgbClr val="000000"/>
                </a:solidFill>
                <a:effectLst/>
                <a:latin typeface="Graphik"/>
              </a:rPr>
              <a:t>Overcoming the Automation Paradox</a:t>
            </a:r>
          </a:p>
        </p:txBody>
      </p:sp>
    </p:spTree>
    <p:extLst>
      <p:ext uri="{BB962C8B-B14F-4D97-AF65-F5344CB8AC3E}">
        <p14:creationId xmlns:p14="http://schemas.microsoft.com/office/powerpoint/2010/main" val="49447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nterprise Automation Flywheel">
            <a:extLst>
              <a:ext uri="{FF2B5EF4-FFF2-40B4-BE49-F238E27FC236}">
                <a16:creationId xmlns:a16="http://schemas.microsoft.com/office/drawing/2014/main" id="{F8C608BB-8B09-4569-B459-BB95021085E2}"/>
              </a:ext>
            </a:extLst>
          </p:cNvPr>
          <p:cNvSpPr txBox="1"/>
          <p:nvPr/>
        </p:nvSpPr>
        <p:spPr>
          <a:xfrm>
            <a:off x="307848" y="179128"/>
            <a:ext cx="4035552" cy="13132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norm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1218925"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5E5E5E"/>
                </a:solidFill>
                <a:effectLst/>
                <a:uFillTx/>
                <a:latin typeface="+mn-lt"/>
                <a:ea typeface="+mn-ea"/>
                <a:cs typeface="+mn-cs"/>
                <a:sym typeface="Helvetica Neue"/>
              </a:defRPr>
            </a:lvl1pPr>
            <a:lvl2pPr marL="0" marR="0" indent="0" algn="ctr" defTabSz="1218925"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5E5E5E"/>
                </a:solidFill>
                <a:effectLst/>
                <a:uFillTx/>
                <a:latin typeface="+mn-lt"/>
                <a:ea typeface="+mn-ea"/>
                <a:cs typeface="+mn-cs"/>
                <a:sym typeface="Helvetica Neue"/>
              </a:defRPr>
            </a:lvl2pPr>
            <a:lvl3pPr marL="0" marR="0" indent="0" algn="ctr" defTabSz="1218925"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5E5E5E"/>
                </a:solidFill>
                <a:effectLst/>
                <a:uFillTx/>
                <a:latin typeface="+mn-lt"/>
                <a:ea typeface="+mn-ea"/>
                <a:cs typeface="+mn-cs"/>
                <a:sym typeface="Helvetica Neue"/>
              </a:defRPr>
            </a:lvl3pPr>
            <a:lvl4pPr marL="0" marR="0" indent="0" algn="ctr" defTabSz="1218925"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5E5E5E"/>
                </a:solidFill>
                <a:effectLst/>
                <a:uFillTx/>
                <a:latin typeface="+mn-lt"/>
                <a:ea typeface="+mn-ea"/>
                <a:cs typeface="+mn-cs"/>
                <a:sym typeface="Helvetica Neue"/>
              </a:defRPr>
            </a:lvl4pPr>
            <a:lvl5pPr marL="0" marR="0" indent="0" algn="ctr" defTabSz="1218925"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5E5E5E"/>
                </a:solidFill>
                <a:effectLst/>
                <a:uFillTx/>
                <a:latin typeface="+mn-lt"/>
                <a:ea typeface="+mn-ea"/>
                <a:cs typeface="+mn-cs"/>
                <a:sym typeface="Helvetica Neue"/>
              </a:defRPr>
            </a:lvl5pPr>
            <a:lvl6pPr marL="0" marR="0" indent="0" algn="ctr" defTabSz="1218925"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5E5E5E"/>
                </a:solidFill>
                <a:effectLst/>
                <a:uFillTx/>
                <a:latin typeface="+mn-lt"/>
                <a:ea typeface="+mn-ea"/>
                <a:cs typeface="+mn-cs"/>
                <a:sym typeface="Helvetica Neue"/>
              </a:defRPr>
            </a:lvl6pPr>
            <a:lvl7pPr marL="0" marR="0" indent="0" algn="ctr" defTabSz="1218925"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5E5E5E"/>
                </a:solidFill>
                <a:effectLst/>
                <a:uFillTx/>
                <a:latin typeface="+mn-lt"/>
                <a:ea typeface="+mn-ea"/>
                <a:cs typeface="+mn-cs"/>
                <a:sym typeface="Helvetica Neue"/>
              </a:defRPr>
            </a:lvl7pPr>
            <a:lvl8pPr marL="0" marR="0" indent="0" algn="ctr" defTabSz="1218925"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5E5E5E"/>
                </a:solidFill>
                <a:effectLst/>
                <a:uFillTx/>
                <a:latin typeface="+mn-lt"/>
                <a:ea typeface="+mn-ea"/>
                <a:cs typeface="+mn-cs"/>
                <a:sym typeface="Helvetica Neue"/>
              </a:defRPr>
            </a:lvl8pPr>
            <a:lvl9pPr marL="0" marR="0" indent="0" algn="ctr" defTabSz="1218925"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5E5E5E"/>
                </a:solidFill>
                <a:effectLst/>
                <a:uFillTx/>
                <a:latin typeface="+mn-lt"/>
                <a:ea typeface="+mn-ea"/>
                <a:cs typeface="+mn-cs"/>
                <a:sym typeface="Helvetica Neue"/>
              </a:defRPr>
            </a:lvl9pPr>
          </a:lstStyle>
          <a:p>
            <a:pPr marL="0" marR="0" lvl="0" indent="0" algn="l" defTabSz="1218925" rtl="0" eaLnBrk="1" fontAlgn="auto" latinLnBrk="0" hangingPunct="0">
              <a:lnSpc>
                <a:spcPct val="100000"/>
              </a:lnSpc>
              <a:spcBef>
                <a:spcPts val="0"/>
              </a:spcBef>
              <a:spcAft>
                <a:spcPts val="0"/>
              </a:spcAft>
              <a:buClrTx/>
              <a:buSzTx/>
              <a:buFontTx/>
              <a:buNone/>
              <a:tabLst/>
              <a:defRPr/>
            </a:pPr>
            <a:endParaRPr kumimoji="0" sz="3200" b="1" i="0" u="none" strike="noStrike" kern="1200" cap="none" spc="0" normalizeH="0" baseline="0" noProof="0">
              <a:ln>
                <a:noFill/>
              </a:ln>
              <a:solidFill>
                <a:srgbClr val="434B4B"/>
              </a:solidFill>
              <a:effectLst/>
              <a:uLnTx/>
              <a:uFillTx/>
              <a:latin typeface="Helvetica Neue"/>
              <a:sym typeface="Helvetica Neue"/>
            </a:endParaRPr>
          </a:p>
        </p:txBody>
      </p:sp>
      <p:sp>
        <p:nvSpPr>
          <p:cNvPr id="3" name="Title 2">
            <a:extLst>
              <a:ext uri="{FF2B5EF4-FFF2-40B4-BE49-F238E27FC236}">
                <a16:creationId xmlns:a16="http://schemas.microsoft.com/office/drawing/2014/main" id="{890ACB30-692E-437C-9C18-6ADC645C72A2}"/>
              </a:ext>
            </a:extLst>
          </p:cNvPr>
          <p:cNvSpPr>
            <a:spLocks noGrp="1"/>
          </p:cNvSpPr>
          <p:nvPr>
            <p:ph type="title"/>
          </p:nvPr>
        </p:nvSpPr>
        <p:spPr/>
        <p:txBody>
          <a:bodyPr/>
          <a:lstStyle/>
          <a:p>
            <a:r>
              <a:rPr kumimoji="0" lang="en-US" sz="2800" b="1" i="0" u="none" strike="noStrike" kern="1200" cap="none" spc="0" normalizeH="0" baseline="0" noProof="0">
                <a:ln>
                  <a:noFill/>
                </a:ln>
                <a:effectLst/>
                <a:uLnTx/>
                <a:uFillTx/>
                <a:latin typeface="Helvetica Neue"/>
                <a:sym typeface="Helvetica Neue"/>
              </a:rPr>
              <a:t>Automation consumption unlocks a continuous automation flywheel</a:t>
            </a:r>
            <a:br>
              <a:rPr kumimoji="0" lang="en-US" sz="2800" b="1" i="0" u="none" strike="noStrike" kern="1200" cap="none" spc="0" normalizeH="0" baseline="0" noProof="0">
                <a:ln>
                  <a:noFill/>
                </a:ln>
                <a:effectLst/>
                <a:uLnTx/>
                <a:uFillTx/>
                <a:latin typeface="Helvetica Neue"/>
                <a:sym typeface="Helvetica Neue"/>
              </a:rPr>
            </a:br>
            <a:endParaRPr lang="en-US"/>
          </a:p>
        </p:txBody>
      </p:sp>
      <p:pic>
        <p:nvPicPr>
          <p:cNvPr id="11" name="Picture 19" descr="Picture 19">
            <a:extLst>
              <a:ext uri="{FF2B5EF4-FFF2-40B4-BE49-F238E27FC236}">
                <a16:creationId xmlns:a16="http://schemas.microsoft.com/office/drawing/2014/main" id="{3507F3B8-AF7E-40AF-90EC-50882BA7C839}"/>
              </a:ext>
            </a:extLst>
          </p:cNvPr>
          <p:cNvPicPr>
            <a:picLocks noChangeAspect="1"/>
          </p:cNvPicPr>
          <p:nvPr/>
        </p:nvPicPr>
        <p:blipFill>
          <a:blip r:embed="rId3"/>
          <a:stretch>
            <a:fillRect/>
          </a:stretch>
        </p:blipFill>
        <p:spPr>
          <a:xfrm rot="19860000">
            <a:off x="3898868" y="2664848"/>
            <a:ext cx="898555" cy="951411"/>
          </a:xfrm>
          <a:prstGeom prst="rect">
            <a:avLst/>
          </a:prstGeom>
          <a:ln w="12700">
            <a:miter lim="400000"/>
          </a:ln>
        </p:spPr>
      </p:pic>
      <p:sp>
        <p:nvSpPr>
          <p:cNvPr id="12" name="Circle">
            <a:extLst>
              <a:ext uri="{FF2B5EF4-FFF2-40B4-BE49-F238E27FC236}">
                <a16:creationId xmlns:a16="http://schemas.microsoft.com/office/drawing/2014/main" id="{76DF1900-5D1C-45D9-AFDC-4F9242BCB1F4}"/>
              </a:ext>
            </a:extLst>
          </p:cNvPr>
          <p:cNvSpPr/>
          <p:nvPr/>
        </p:nvSpPr>
        <p:spPr>
          <a:xfrm rot="9919835">
            <a:off x="3918595" y="3229077"/>
            <a:ext cx="740193" cy="1363054"/>
          </a:xfrm>
          <a:prstGeom prst="ellipse">
            <a:avLst/>
          </a:prstGeom>
          <a:gradFill>
            <a:gsLst>
              <a:gs pos="0">
                <a:srgbClr val="FA4517"/>
              </a:gs>
              <a:gs pos="64000">
                <a:srgbClr val="EFA897">
                  <a:alpha val="27235"/>
                </a:srgbClr>
              </a:gs>
              <a:gs pos="100000">
                <a:srgbClr val="F7FBFF">
                  <a:alpha val="17947"/>
                </a:srgbClr>
              </a:gs>
            </a:gsLst>
            <a:path>
              <a:fillToRect l="49210" t="50510" r="50789" b="49489"/>
            </a:path>
          </a:gradFill>
          <a:ln w="12700">
            <a:miter lim="400000"/>
          </a:ln>
        </p:spPr>
        <p:txBody>
          <a:bodyPr lIns="0" tIns="0" rIns="0" bIns="0" anchor="ctr"/>
          <a:lstStyle/>
          <a:p>
            <a:pPr algn="ctr">
              <a:defRPr b="1">
                <a:solidFill>
                  <a:srgbClr val="FFFFFF"/>
                </a:solidFill>
                <a:latin typeface="Helvetica Neue"/>
                <a:ea typeface="Helvetica Neue"/>
                <a:cs typeface="Helvetica Neue"/>
                <a:sym typeface="Helvetica Neue"/>
              </a:defRPr>
            </a:pPr>
            <a:endParaRPr sz="1100"/>
          </a:p>
        </p:txBody>
      </p:sp>
      <p:sp>
        <p:nvSpPr>
          <p:cNvPr id="13" name="Star">
            <a:extLst>
              <a:ext uri="{FF2B5EF4-FFF2-40B4-BE49-F238E27FC236}">
                <a16:creationId xmlns:a16="http://schemas.microsoft.com/office/drawing/2014/main" id="{B692048C-BBA6-4438-B1B8-93ECE436F8C7}"/>
              </a:ext>
            </a:extLst>
          </p:cNvPr>
          <p:cNvSpPr/>
          <p:nvPr/>
        </p:nvSpPr>
        <p:spPr>
          <a:xfrm>
            <a:off x="3786569" y="3380766"/>
            <a:ext cx="976383" cy="9722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1612" y="6532"/>
                </a:lnTo>
                <a:lnTo>
                  <a:pt x="14718" y="736"/>
                </a:lnTo>
                <a:lnTo>
                  <a:pt x="13125" y="7121"/>
                </a:lnTo>
                <a:lnTo>
                  <a:pt x="18107" y="2843"/>
                </a:lnTo>
                <a:lnTo>
                  <a:pt x="14325" y="8220"/>
                </a:lnTo>
                <a:lnTo>
                  <a:pt x="20509" y="6037"/>
                </a:lnTo>
                <a:lnTo>
                  <a:pt x="15048" y="9679"/>
                </a:lnTo>
                <a:lnTo>
                  <a:pt x="21600" y="9888"/>
                </a:lnTo>
                <a:lnTo>
                  <a:pt x="15198" y="11302"/>
                </a:lnTo>
                <a:lnTo>
                  <a:pt x="21232" y="13874"/>
                </a:lnTo>
                <a:lnTo>
                  <a:pt x="14754" y="12870"/>
                </a:lnTo>
                <a:lnTo>
                  <a:pt x="19456" y="17457"/>
                </a:lnTo>
                <a:lnTo>
                  <a:pt x="13776" y="14171"/>
                </a:lnTo>
                <a:lnTo>
                  <a:pt x="16510" y="20154"/>
                </a:lnTo>
                <a:lnTo>
                  <a:pt x="12396" y="15029"/>
                </a:lnTo>
                <a:lnTo>
                  <a:pt x="12793" y="21600"/>
                </a:lnTo>
                <a:lnTo>
                  <a:pt x="10800" y="15329"/>
                </a:lnTo>
                <a:lnTo>
                  <a:pt x="8807" y="21600"/>
                </a:lnTo>
                <a:lnTo>
                  <a:pt x="9204" y="15029"/>
                </a:lnTo>
                <a:lnTo>
                  <a:pt x="5090" y="20154"/>
                </a:lnTo>
                <a:lnTo>
                  <a:pt x="7824" y="14171"/>
                </a:lnTo>
                <a:lnTo>
                  <a:pt x="2144" y="17457"/>
                </a:lnTo>
                <a:lnTo>
                  <a:pt x="6846" y="12870"/>
                </a:lnTo>
                <a:lnTo>
                  <a:pt x="368" y="13874"/>
                </a:lnTo>
                <a:lnTo>
                  <a:pt x="6402" y="11302"/>
                </a:lnTo>
                <a:lnTo>
                  <a:pt x="0" y="9888"/>
                </a:lnTo>
                <a:lnTo>
                  <a:pt x="6552" y="9679"/>
                </a:lnTo>
                <a:lnTo>
                  <a:pt x="1091" y="6037"/>
                </a:lnTo>
                <a:lnTo>
                  <a:pt x="7275" y="8220"/>
                </a:lnTo>
                <a:lnTo>
                  <a:pt x="3493" y="2843"/>
                </a:lnTo>
                <a:lnTo>
                  <a:pt x="8475" y="7121"/>
                </a:lnTo>
                <a:lnTo>
                  <a:pt x="6882" y="736"/>
                </a:lnTo>
                <a:lnTo>
                  <a:pt x="9988" y="6532"/>
                </a:lnTo>
                <a:close/>
              </a:path>
            </a:pathLst>
          </a:custGeom>
          <a:solidFill>
            <a:srgbClr val="FFFFFF"/>
          </a:solidFill>
          <a:ln w="12700">
            <a:miter lim="400000"/>
          </a:ln>
        </p:spPr>
        <p:txBody>
          <a:bodyPr lIns="0" tIns="0" rIns="0" bIns="0" anchor="ctr"/>
          <a:lstStyle/>
          <a:p>
            <a:endParaRPr sz="1100"/>
          </a:p>
        </p:txBody>
      </p:sp>
      <p:pic>
        <p:nvPicPr>
          <p:cNvPr id="14" name="Picture 84" descr="Picture 84">
            <a:extLst>
              <a:ext uri="{FF2B5EF4-FFF2-40B4-BE49-F238E27FC236}">
                <a16:creationId xmlns:a16="http://schemas.microsoft.com/office/drawing/2014/main" id="{916F0196-9C3B-4E72-AC18-BFF76A0CA516}"/>
              </a:ext>
            </a:extLst>
          </p:cNvPr>
          <p:cNvPicPr>
            <a:picLocks noChangeAspect="1"/>
          </p:cNvPicPr>
          <p:nvPr/>
        </p:nvPicPr>
        <p:blipFill>
          <a:blip r:embed="rId3"/>
          <a:stretch>
            <a:fillRect/>
          </a:stretch>
        </p:blipFill>
        <p:spPr>
          <a:xfrm rot="8880000">
            <a:off x="8121673" y="4021401"/>
            <a:ext cx="898555" cy="951412"/>
          </a:xfrm>
          <a:prstGeom prst="rect">
            <a:avLst/>
          </a:prstGeom>
          <a:ln w="12700">
            <a:miter lim="400000"/>
          </a:ln>
        </p:spPr>
      </p:pic>
      <p:sp>
        <p:nvSpPr>
          <p:cNvPr id="15" name="Circle">
            <a:extLst>
              <a:ext uri="{FF2B5EF4-FFF2-40B4-BE49-F238E27FC236}">
                <a16:creationId xmlns:a16="http://schemas.microsoft.com/office/drawing/2014/main" id="{56BBC3F6-1035-44DF-AF3C-07ADD095601B}"/>
              </a:ext>
            </a:extLst>
          </p:cNvPr>
          <p:cNvSpPr/>
          <p:nvPr/>
        </p:nvSpPr>
        <p:spPr>
          <a:xfrm>
            <a:off x="4279421" y="1655395"/>
            <a:ext cx="4376293" cy="4376292"/>
          </a:xfrm>
          <a:prstGeom prst="ellipse">
            <a:avLst/>
          </a:prstGeom>
          <a:ln w="127000">
            <a:solidFill>
              <a:schemeClr val="accent2"/>
            </a:solidFill>
          </a:ln>
        </p:spPr>
        <p:txBody>
          <a:bodyPr lIns="0" tIns="0" rIns="0" bIns="0" anchor="ctr"/>
          <a:lstStyle/>
          <a:p>
            <a:pPr>
              <a:defRPr sz="500">
                <a:solidFill>
                  <a:srgbClr val="5E5E5E"/>
                </a:solidFill>
                <a:latin typeface="Helvetica Neue"/>
                <a:ea typeface="Helvetica Neue"/>
                <a:cs typeface="Helvetica Neue"/>
                <a:sym typeface="Helvetica Neue"/>
              </a:defRPr>
            </a:pPr>
            <a:endParaRPr sz="100"/>
          </a:p>
        </p:txBody>
      </p:sp>
      <p:sp>
        <p:nvSpPr>
          <p:cNvPr id="16" name="Circle">
            <a:extLst>
              <a:ext uri="{FF2B5EF4-FFF2-40B4-BE49-F238E27FC236}">
                <a16:creationId xmlns:a16="http://schemas.microsoft.com/office/drawing/2014/main" id="{B9E1003F-E6F1-4AA9-9C63-9B44B26ECDE8}"/>
              </a:ext>
            </a:extLst>
          </p:cNvPr>
          <p:cNvSpPr/>
          <p:nvPr/>
        </p:nvSpPr>
        <p:spPr>
          <a:xfrm>
            <a:off x="4241141" y="2667166"/>
            <a:ext cx="2337037" cy="2337037"/>
          </a:xfrm>
          <a:prstGeom prst="ellipse">
            <a:avLst/>
          </a:prstGeom>
          <a:solidFill>
            <a:srgbClr val="FFFFFF"/>
          </a:solidFill>
          <a:ln w="63500">
            <a:solidFill>
              <a:srgbClr val="FA440C"/>
            </a:solidFill>
            <a:miter lim="400000"/>
          </a:ln>
        </p:spPr>
        <p:txBody>
          <a:bodyPr lIns="0" tIns="0" rIns="0" bIns="0" anchor="ctr"/>
          <a:lstStyle/>
          <a:p>
            <a:pPr>
              <a:defRPr>
                <a:solidFill>
                  <a:srgbClr val="5E5E5E"/>
                </a:solidFill>
                <a:latin typeface="Helvetica Neue"/>
                <a:ea typeface="Helvetica Neue"/>
                <a:cs typeface="Helvetica Neue"/>
                <a:sym typeface="Helvetica Neue"/>
              </a:defRPr>
            </a:pPr>
            <a:endParaRPr sz="1100" dirty="0"/>
          </a:p>
        </p:txBody>
      </p:sp>
      <p:sp>
        <p:nvSpPr>
          <p:cNvPr id="17" name="Employees…">
            <a:extLst>
              <a:ext uri="{FF2B5EF4-FFF2-40B4-BE49-F238E27FC236}">
                <a16:creationId xmlns:a16="http://schemas.microsoft.com/office/drawing/2014/main" id="{515BB610-A9BA-4ED6-81E0-970086811FE3}"/>
              </a:ext>
            </a:extLst>
          </p:cNvPr>
          <p:cNvSpPr txBox="1"/>
          <p:nvPr/>
        </p:nvSpPr>
        <p:spPr>
          <a:xfrm>
            <a:off x="4737371" y="2807274"/>
            <a:ext cx="1157592" cy="6652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Autofit/>
          </a:bodyPr>
          <a:lstStyle/>
          <a:p>
            <a:pPr algn="ctr" defTabSz="457200">
              <a:defRPr sz="1000">
                <a:solidFill>
                  <a:srgbClr val="5E5E5E"/>
                </a:solidFill>
              </a:defRPr>
            </a:pPr>
            <a:r>
              <a:rPr sz="1100" dirty="0">
                <a:solidFill>
                  <a:schemeClr val="tx1">
                    <a:lumMod val="95000"/>
                    <a:lumOff val="5000"/>
                  </a:schemeClr>
                </a:solidFill>
              </a:rPr>
              <a:t>Employees</a:t>
            </a:r>
            <a:r>
              <a:rPr sz="1100" spc="-83" dirty="0">
                <a:solidFill>
                  <a:schemeClr val="tx1">
                    <a:lumMod val="95000"/>
                    <a:lumOff val="5000"/>
                  </a:schemeClr>
                </a:solidFill>
              </a:rPr>
              <a:t> s</a:t>
            </a:r>
            <a:r>
              <a:rPr sz="1100" dirty="0">
                <a:solidFill>
                  <a:schemeClr val="tx1">
                    <a:lumMod val="95000"/>
                    <a:lumOff val="5000"/>
                  </a:schemeClr>
                </a:solidFill>
              </a:rPr>
              <a:t>ubmit automation ideas</a:t>
            </a:r>
            <a:r>
              <a:rPr sz="1100" spc="-83" dirty="0">
                <a:solidFill>
                  <a:schemeClr val="tx1">
                    <a:lumMod val="95000"/>
                    <a:lumOff val="5000"/>
                  </a:schemeClr>
                </a:solidFill>
              </a:rPr>
              <a:t> </a:t>
            </a:r>
            <a:r>
              <a:rPr sz="1100" dirty="0">
                <a:solidFill>
                  <a:schemeClr val="tx1">
                    <a:lumMod val="95000"/>
                    <a:lumOff val="5000"/>
                  </a:schemeClr>
                </a:solidFill>
              </a:rPr>
              <a:t>to </a:t>
            </a:r>
            <a:r>
              <a:rPr sz="1100" dirty="0" err="1">
                <a:solidFill>
                  <a:schemeClr val="tx1">
                    <a:lumMod val="95000"/>
                    <a:lumOff val="5000"/>
                  </a:schemeClr>
                </a:solidFill>
              </a:rPr>
              <a:t>CoE</a:t>
            </a:r>
            <a:endParaRPr sz="1100" dirty="0">
              <a:solidFill>
                <a:schemeClr val="tx1">
                  <a:lumMod val="95000"/>
                  <a:lumOff val="5000"/>
                </a:schemeClr>
              </a:solidFill>
            </a:endParaRPr>
          </a:p>
        </p:txBody>
      </p:sp>
      <p:sp>
        <p:nvSpPr>
          <p:cNvPr id="19" name="CoE provides…">
            <a:extLst>
              <a:ext uri="{FF2B5EF4-FFF2-40B4-BE49-F238E27FC236}">
                <a16:creationId xmlns:a16="http://schemas.microsoft.com/office/drawing/2014/main" id="{AA03E063-9209-45E0-8516-B80089CBD39A}"/>
              </a:ext>
            </a:extLst>
          </p:cNvPr>
          <p:cNvSpPr txBox="1"/>
          <p:nvPr/>
        </p:nvSpPr>
        <p:spPr>
          <a:xfrm>
            <a:off x="4796775" y="4252133"/>
            <a:ext cx="1153720" cy="4529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Autofit/>
          </a:bodyPr>
          <a:lstStyle/>
          <a:p>
            <a:pPr algn="ctr" defTabSz="457200">
              <a:defRPr sz="1000">
                <a:solidFill>
                  <a:srgbClr val="5E5E5E"/>
                </a:solidFill>
              </a:defRPr>
            </a:pPr>
            <a:r>
              <a:rPr sz="1100" dirty="0" err="1">
                <a:solidFill>
                  <a:schemeClr val="tx1">
                    <a:lumMod val="95000"/>
                    <a:lumOff val="5000"/>
                  </a:schemeClr>
                </a:solidFill>
              </a:rPr>
              <a:t>CoE</a:t>
            </a:r>
            <a:r>
              <a:rPr sz="1100" dirty="0">
                <a:solidFill>
                  <a:schemeClr val="tx1">
                    <a:lumMod val="95000"/>
                    <a:lumOff val="5000"/>
                  </a:schemeClr>
                </a:solidFill>
              </a:rPr>
              <a:t> provides automations </a:t>
            </a:r>
            <a:endParaRPr sz="1100" dirty="0">
              <a:solidFill>
                <a:schemeClr val="tx1">
                  <a:lumMod val="95000"/>
                  <a:lumOff val="5000"/>
                </a:schemeClr>
              </a:solidFill>
              <a:ea typeface="Helvetica Neue"/>
              <a:cs typeface="Helvetica Neue"/>
              <a:sym typeface="Helvetica Neue"/>
            </a:endParaRPr>
          </a:p>
          <a:p>
            <a:pPr algn="ctr" defTabSz="457200">
              <a:defRPr sz="1000">
                <a:solidFill>
                  <a:srgbClr val="5E5E5E"/>
                </a:solidFill>
              </a:defRPr>
            </a:pPr>
            <a:r>
              <a:rPr sz="1100" dirty="0">
                <a:solidFill>
                  <a:schemeClr val="tx1">
                    <a:lumMod val="95000"/>
                    <a:lumOff val="5000"/>
                  </a:schemeClr>
                </a:solidFill>
              </a:rPr>
              <a:t>to employees</a:t>
            </a:r>
          </a:p>
        </p:txBody>
      </p:sp>
      <p:sp>
        <p:nvSpPr>
          <p:cNvPr id="20" name="CoE builds…">
            <a:extLst>
              <a:ext uri="{FF2B5EF4-FFF2-40B4-BE49-F238E27FC236}">
                <a16:creationId xmlns:a16="http://schemas.microsoft.com/office/drawing/2014/main" id="{82120EE2-93F4-44BF-AACC-F9C1CCD4AEC1}"/>
              </a:ext>
            </a:extLst>
          </p:cNvPr>
          <p:cNvSpPr txBox="1"/>
          <p:nvPr/>
        </p:nvSpPr>
        <p:spPr>
          <a:xfrm>
            <a:off x="6879282" y="3548913"/>
            <a:ext cx="1330696" cy="5964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Autofit/>
          </a:bodyPr>
          <a:lstStyle>
            <a:lvl1pPr algn="ctr" defTabSz="457200">
              <a:defRPr sz="1000">
                <a:solidFill>
                  <a:srgbClr val="5E5E5E"/>
                </a:solidFill>
              </a:defRPr>
            </a:lvl1pPr>
          </a:lstStyle>
          <a:p>
            <a:pPr algn="l"/>
            <a:r>
              <a:rPr sz="1100">
                <a:solidFill>
                  <a:schemeClr val="tx1">
                    <a:lumMod val="95000"/>
                    <a:lumOff val="5000"/>
                  </a:schemeClr>
                </a:solidFill>
              </a:rPr>
              <a:t>The Center of Excellence (</a:t>
            </a:r>
            <a:r>
              <a:rPr sz="1100" err="1">
                <a:solidFill>
                  <a:schemeClr val="tx1">
                    <a:lumMod val="95000"/>
                    <a:lumOff val="5000"/>
                  </a:schemeClr>
                </a:solidFill>
              </a:rPr>
              <a:t>CoE</a:t>
            </a:r>
            <a:r>
              <a:rPr sz="1100">
                <a:solidFill>
                  <a:schemeClr val="tx1">
                    <a:lumMod val="95000"/>
                    <a:lumOff val="5000"/>
                  </a:schemeClr>
                </a:solidFill>
              </a:rPr>
              <a:t>) builds automation</a:t>
            </a:r>
          </a:p>
        </p:txBody>
      </p:sp>
      <p:sp>
        <p:nvSpPr>
          <p:cNvPr id="21" name="Submit code…">
            <a:extLst>
              <a:ext uri="{FF2B5EF4-FFF2-40B4-BE49-F238E27FC236}">
                <a16:creationId xmlns:a16="http://schemas.microsoft.com/office/drawing/2014/main" id="{4C9E57DC-446B-4101-9655-69E2A43EC5BA}"/>
              </a:ext>
            </a:extLst>
          </p:cNvPr>
          <p:cNvSpPr txBox="1"/>
          <p:nvPr/>
        </p:nvSpPr>
        <p:spPr>
          <a:xfrm>
            <a:off x="8899218" y="3596479"/>
            <a:ext cx="1400920" cy="4840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Autofit/>
          </a:bodyPr>
          <a:lstStyle>
            <a:lvl1pPr defTabSz="457200">
              <a:defRPr sz="1000">
                <a:solidFill>
                  <a:srgbClr val="5E5E5E"/>
                </a:solidFill>
              </a:defRPr>
            </a:lvl1pPr>
          </a:lstStyle>
          <a:p>
            <a:r>
              <a:rPr lang="en-US" sz="1100" dirty="0">
                <a:solidFill>
                  <a:schemeClr val="tx1">
                    <a:lumMod val="95000"/>
                    <a:lumOff val="5000"/>
                  </a:schemeClr>
                </a:solidFill>
              </a:rPr>
              <a:t>Employees submit self-built automations to </a:t>
            </a:r>
            <a:r>
              <a:rPr lang="en-US" sz="1100" dirty="0" err="1">
                <a:solidFill>
                  <a:schemeClr val="tx1">
                    <a:lumMod val="95000"/>
                    <a:lumOff val="5000"/>
                  </a:schemeClr>
                </a:solidFill>
              </a:rPr>
              <a:t>CoE</a:t>
            </a:r>
            <a:endParaRPr sz="1100" dirty="0">
              <a:solidFill>
                <a:schemeClr val="tx1">
                  <a:lumMod val="95000"/>
                  <a:lumOff val="5000"/>
                </a:schemeClr>
              </a:solidFill>
            </a:endParaRPr>
          </a:p>
        </p:txBody>
      </p:sp>
      <p:sp>
        <p:nvSpPr>
          <p:cNvPr id="22" name="CoE governs…">
            <a:extLst>
              <a:ext uri="{FF2B5EF4-FFF2-40B4-BE49-F238E27FC236}">
                <a16:creationId xmlns:a16="http://schemas.microsoft.com/office/drawing/2014/main" id="{43AEE74F-6DFB-434B-9862-225A7B6FF587}"/>
              </a:ext>
            </a:extLst>
          </p:cNvPr>
          <p:cNvSpPr txBox="1"/>
          <p:nvPr/>
        </p:nvSpPr>
        <p:spPr>
          <a:xfrm>
            <a:off x="5743885" y="5203032"/>
            <a:ext cx="1615137" cy="5964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Autofit/>
          </a:bodyPr>
          <a:lstStyle/>
          <a:p>
            <a:pPr algn="ctr" defTabSz="457200">
              <a:defRPr sz="1000">
                <a:solidFill>
                  <a:srgbClr val="5E5E5E"/>
                </a:solidFill>
              </a:defRPr>
            </a:pPr>
            <a:r>
              <a:rPr sz="1100" dirty="0" err="1">
                <a:solidFill>
                  <a:schemeClr val="tx1">
                    <a:lumMod val="95000"/>
                    <a:lumOff val="5000"/>
                  </a:schemeClr>
                </a:solidFill>
              </a:rPr>
              <a:t>CoE</a:t>
            </a:r>
            <a:r>
              <a:rPr sz="1100" dirty="0">
                <a:solidFill>
                  <a:schemeClr val="tx1">
                    <a:lumMod val="95000"/>
                    <a:lumOff val="5000"/>
                  </a:schemeClr>
                </a:solidFill>
              </a:rPr>
              <a:t> governs</a:t>
            </a:r>
            <a:r>
              <a:rPr lang="en-US" sz="1100" dirty="0">
                <a:solidFill>
                  <a:schemeClr val="tx1">
                    <a:lumMod val="95000"/>
                    <a:lumOff val="5000"/>
                  </a:schemeClr>
                </a:solidFill>
              </a:rPr>
              <a:t> and share approved automations with other employees</a:t>
            </a:r>
            <a:r>
              <a:rPr sz="1100" dirty="0">
                <a:solidFill>
                  <a:schemeClr val="tx1">
                    <a:lumMod val="95000"/>
                    <a:lumOff val="5000"/>
                  </a:schemeClr>
                </a:solidFill>
              </a:rPr>
              <a:t> </a:t>
            </a:r>
          </a:p>
        </p:txBody>
      </p:sp>
      <p:grpSp>
        <p:nvGrpSpPr>
          <p:cNvPr id="23" name="1">
            <a:extLst>
              <a:ext uri="{FF2B5EF4-FFF2-40B4-BE49-F238E27FC236}">
                <a16:creationId xmlns:a16="http://schemas.microsoft.com/office/drawing/2014/main" id="{74132D7E-D9C2-49DF-BA7B-AD87D1142AA3}"/>
              </a:ext>
            </a:extLst>
          </p:cNvPr>
          <p:cNvGrpSpPr/>
          <p:nvPr/>
        </p:nvGrpSpPr>
        <p:grpSpPr>
          <a:xfrm>
            <a:off x="6345780" y="3632125"/>
            <a:ext cx="452961" cy="452961"/>
            <a:chOff x="-1" y="-1"/>
            <a:chExt cx="573943" cy="573942"/>
          </a:xfrm>
          <a:solidFill>
            <a:srgbClr val="92D050"/>
          </a:solidFill>
        </p:grpSpPr>
        <p:sp>
          <p:nvSpPr>
            <p:cNvPr id="24" name="Circle">
              <a:extLst>
                <a:ext uri="{FF2B5EF4-FFF2-40B4-BE49-F238E27FC236}">
                  <a16:creationId xmlns:a16="http://schemas.microsoft.com/office/drawing/2014/main" id="{D340282D-4B3A-4FE5-A38A-0E4B9685146C}"/>
                </a:ext>
              </a:extLst>
            </p:cNvPr>
            <p:cNvSpPr/>
            <p:nvPr/>
          </p:nvSpPr>
          <p:spPr>
            <a:xfrm>
              <a:off x="-1" y="-1"/>
              <a:ext cx="573943" cy="573942"/>
            </a:xfrm>
            <a:prstGeom prst="ellipse">
              <a:avLst/>
            </a:prstGeom>
            <a:grpFill/>
            <a:ln w="57150" cap="flat">
              <a:solidFill>
                <a:srgbClr val="FFFFFF"/>
              </a:solidFill>
              <a:prstDash val="solid"/>
              <a:round/>
            </a:ln>
            <a:effectLst/>
          </p:spPr>
          <p:txBody>
            <a:bodyPr wrap="square" lIns="0" tIns="0" rIns="0" bIns="0" numCol="1" anchor="ctr">
              <a:noAutofit/>
            </a:bodyPr>
            <a:lstStyle/>
            <a:p>
              <a:pPr algn="ctr">
                <a:defRPr b="1">
                  <a:solidFill>
                    <a:srgbClr val="FFFFFF"/>
                  </a:solidFill>
                  <a:latin typeface="Helvetica Neue"/>
                  <a:ea typeface="Helvetica Neue"/>
                  <a:cs typeface="Helvetica Neue"/>
                  <a:sym typeface="Helvetica Neue"/>
                </a:defRPr>
              </a:pPr>
              <a:endParaRPr sz="1100"/>
            </a:p>
          </p:txBody>
        </p:sp>
        <p:sp>
          <p:nvSpPr>
            <p:cNvPr id="25" name="1">
              <a:extLst>
                <a:ext uri="{FF2B5EF4-FFF2-40B4-BE49-F238E27FC236}">
                  <a16:creationId xmlns:a16="http://schemas.microsoft.com/office/drawing/2014/main" id="{46499C14-535A-4371-908D-9F97C9196AFB}"/>
                </a:ext>
              </a:extLst>
            </p:cNvPr>
            <p:cNvSpPr txBox="1"/>
            <p:nvPr/>
          </p:nvSpPr>
          <p:spPr>
            <a:xfrm>
              <a:off x="116080" y="163988"/>
              <a:ext cx="347940" cy="262627"/>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algn="ctr">
                <a:defRPr b="1">
                  <a:solidFill>
                    <a:srgbClr val="FFFFFF"/>
                  </a:solidFill>
                </a:defRPr>
              </a:lvl1pPr>
            </a:lstStyle>
            <a:p>
              <a:r>
                <a:rPr sz="1100"/>
                <a:t>1</a:t>
              </a:r>
            </a:p>
          </p:txBody>
        </p:sp>
      </p:grpSp>
      <p:grpSp>
        <p:nvGrpSpPr>
          <p:cNvPr id="26" name="2">
            <a:extLst>
              <a:ext uri="{FF2B5EF4-FFF2-40B4-BE49-F238E27FC236}">
                <a16:creationId xmlns:a16="http://schemas.microsoft.com/office/drawing/2014/main" id="{A66DA1D8-9109-4D40-B447-B3AB834D7DFE}"/>
              </a:ext>
            </a:extLst>
          </p:cNvPr>
          <p:cNvGrpSpPr/>
          <p:nvPr/>
        </p:nvGrpSpPr>
        <p:grpSpPr>
          <a:xfrm>
            <a:off x="5233765" y="4828294"/>
            <a:ext cx="275199" cy="275199"/>
            <a:chOff x="-1" y="-1"/>
            <a:chExt cx="348702" cy="348702"/>
          </a:xfrm>
        </p:grpSpPr>
        <p:sp>
          <p:nvSpPr>
            <p:cNvPr id="27" name="Circle">
              <a:extLst>
                <a:ext uri="{FF2B5EF4-FFF2-40B4-BE49-F238E27FC236}">
                  <a16:creationId xmlns:a16="http://schemas.microsoft.com/office/drawing/2014/main" id="{88D1654B-426C-4314-8A5A-AB55BFABA5CC}"/>
                </a:ext>
              </a:extLst>
            </p:cNvPr>
            <p:cNvSpPr/>
            <p:nvPr/>
          </p:nvSpPr>
          <p:spPr>
            <a:xfrm>
              <a:off x="-1" y="-1"/>
              <a:ext cx="348702" cy="348702"/>
            </a:xfrm>
            <a:prstGeom prst="ellipse">
              <a:avLst/>
            </a:prstGeom>
            <a:solidFill>
              <a:srgbClr val="FA440C"/>
            </a:solidFill>
            <a:ln w="12700" cap="flat">
              <a:noFill/>
              <a:miter lim="400000"/>
            </a:ln>
            <a:effectLst/>
          </p:spPr>
          <p:txBody>
            <a:bodyPr wrap="square" lIns="0" tIns="0" rIns="0" bIns="0" numCol="1" anchor="ctr">
              <a:noAutofit/>
            </a:bodyPr>
            <a:lstStyle/>
            <a:p>
              <a:pPr algn="ctr">
                <a:defRPr b="1">
                  <a:solidFill>
                    <a:srgbClr val="FFFFFF"/>
                  </a:solidFill>
                  <a:latin typeface="Helvetica Neue"/>
                  <a:ea typeface="Helvetica Neue"/>
                  <a:cs typeface="Helvetica Neue"/>
                  <a:sym typeface="Helvetica Neue"/>
                </a:defRPr>
              </a:pPr>
              <a:endParaRPr sz="1100"/>
            </a:p>
          </p:txBody>
        </p:sp>
        <p:sp>
          <p:nvSpPr>
            <p:cNvPr id="28" name="2">
              <a:extLst>
                <a:ext uri="{FF2B5EF4-FFF2-40B4-BE49-F238E27FC236}">
                  <a16:creationId xmlns:a16="http://schemas.microsoft.com/office/drawing/2014/main" id="{16598B5C-0F4A-43D5-8F04-9901921646CE}"/>
                </a:ext>
              </a:extLst>
            </p:cNvPr>
            <p:cNvSpPr txBox="1"/>
            <p:nvPr/>
          </p:nvSpPr>
          <p:spPr>
            <a:xfrm>
              <a:off x="51065" y="59183"/>
              <a:ext cx="246569" cy="23054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algn="ctr">
                <a:defRPr b="1">
                  <a:solidFill>
                    <a:srgbClr val="FFFFFF"/>
                  </a:solidFill>
                </a:defRPr>
              </a:lvl1pPr>
            </a:lstStyle>
            <a:p>
              <a:r>
                <a:rPr sz="1100" dirty="0"/>
                <a:t>2</a:t>
              </a:r>
            </a:p>
          </p:txBody>
        </p:sp>
      </p:grpSp>
      <p:grpSp>
        <p:nvGrpSpPr>
          <p:cNvPr id="29" name="4">
            <a:extLst>
              <a:ext uri="{FF2B5EF4-FFF2-40B4-BE49-F238E27FC236}">
                <a16:creationId xmlns:a16="http://schemas.microsoft.com/office/drawing/2014/main" id="{0DB704D3-8375-4F51-83BE-1DEAA854DEC7}"/>
              </a:ext>
            </a:extLst>
          </p:cNvPr>
          <p:cNvGrpSpPr/>
          <p:nvPr/>
        </p:nvGrpSpPr>
        <p:grpSpPr>
          <a:xfrm>
            <a:off x="5201026" y="2563375"/>
            <a:ext cx="275199" cy="275199"/>
            <a:chOff x="-1" y="-1"/>
            <a:chExt cx="348702" cy="348702"/>
          </a:xfrm>
        </p:grpSpPr>
        <p:sp>
          <p:nvSpPr>
            <p:cNvPr id="30" name="Circle">
              <a:extLst>
                <a:ext uri="{FF2B5EF4-FFF2-40B4-BE49-F238E27FC236}">
                  <a16:creationId xmlns:a16="http://schemas.microsoft.com/office/drawing/2014/main" id="{67FB3C55-575A-4760-A1C4-CCD624D549E7}"/>
                </a:ext>
              </a:extLst>
            </p:cNvPr>
            <p:cNvSpPr/>
            <p:nvPr/>
          </p:nvSpPr>
          <p:spPr>
            <a:xfrm>
              <a:off x="-1" y="-1"/>
              <a:ext cx="348702" cy="348702"/>
            </a:xfrm>
            <a:prstGeom prst="ellipse">
              <a:avLst/>
            </a:prstGeom>
            <a:solidFill>
              <a:srgbClr val="FA440C"/>
            </a:solidFill>
            <a:ln w="12700" cap="flat">
              <a:noFill/>
              <a:miter lim="400000"/>
            </a:ln>
            <a:effectLst/>
          </p:spPr>
          <p:txBody>
            <a:bodyPr wrap="square" lIns="0" tIns="0" rIns="0" bIns="0" numCol="1" anchor="ctr">
              <a:noAutofit/>
            </a:bodyPr>
            <a:lstStyle/>
            <a:p>
              <a:pPr algn="ctr">
                <a:defRPr b="1">
                  <a:solidFill>
                    <a:srgbClr val="FFFFFF"/>
                  </a:solidFill>
                  <a:latin typeface="Helvetica Neue"/>
                  <a:ea typeface="Helvetica Neue"/>
                  <a:cs typeface="Helvetica Neue"/>
                  <a:sym typeface="Helvetica Neue"/>
                </a:defRPr>
              </a:pPr>
              <a:endParaRPr sz="1100"/>
            </a:p>
          </p:txBody>
        </p:sp>
        <p:sp>
          <p:nvSpPr>
            <p:cNvPr id="31" name="4">
              <a:extLst>
                <a:ext uri="{FF2B5EF4-FFF2-40B4-BE49-F238E27FC236}">
                  <a16:creationId xmlns:a16="http://schemas.microsoft.com/office/drawing/2014/main" id="{6FC23519-F62B-4773-AD1F-4FCC38241027}"/>
                </a:ext>
              </a:extLst>
            </p:cNvPr>
            <p:cNvSpPr txBox="1"/>
            <p:nvPr/>
          </p:nvSpPr>
          <p:spPr>
            <a:xfrm>
              <a:off x="38258" y="46376"/>
              <a:ext cx="246569" cy="23054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algn="ctr">
                <a:defRPr b="1">
                  <a:solidFill>
                    <a:srgbClr val="FFFFFF"/>
                  </a:solidFill>
                </a:defRPr>
              </a:lvl1pPr>
            </a:lstStyle>
            <a:p>
              <a:r>
                <a:rPr lang="en-US" sz="1050"/>
                <a:t>4a</a:t>
              </a:r>
              <a:endParaRPr sz="1050"/>
            </a:p>
          </p:txBody>
        </p:sp>
      </p:grpSp>
      <p:grpSp>
        <p:nvGrpSpPr>
          <p:cNvPr id="32" name="6">
            <a:extLst>
              <a:ext uri="{FF2B5EF4-FFF2-40B4-BE49-F238E27FC236}">
                <a16:creationId xmlns:a16="http://schemas.microsoft.com/office/drawing/2014/main" id="{DBA66368-2944-43E1-B30B-7C862E4B75B8}"/>
              </a:ext>
            </a:extLst>
          </p:cNvPr>
          <p:cNvGrpSpPr/>
          <p:nvPr/>
        </p:nvGrpSpPr>
        <p:grpSpPr>
          <a:xfrm>
            <a:off x="8506698" y="3704407"/>
            <a:ext cx="275200" cy="275200"/>
            <a:chOff x="-1" y="-1"/>
            <a:chExt cx="348702" cy="348702"/>
          </a:xfrm>
          <a:solidFill>
            <a:schemeClr val="accent2"/>
          </a:solidFill>
        </p:grpSpPr>
        <p:sp>
          <p:nvSpPr>
            <p:cNvPr id="33" name="Circle">
              <a:extLst>
                <a:ext uri="{FF2B5EF4-FFF2-40B4-BE49-F238E27FC236}">
                  <a16:creationId xmlns:a16="http://schemas.microsoft.com/office/drawing/2014/main" id="{9C786EBE-B75E-44F3-AFE8-EA7EC9CEAE81}"/>
                </a:ext>
              </a:extLst>
            </p:cNvPr>
            <p:cNvSpPr/>
            <p:nvPr/>
          </p:nvSpPr>
          <p:spPr>
            <a:xfrm>
              <a:off x="-1" y="-1"/>
              <a:ext cx="348702" cy="348702"/>
            </a:xfrm>
            <a:prstGeom prst="ellipse">
              <a:avLst/>
            </a:prstGeom>
            <a:grpFill/>
            <a:ln w="12700" cap="flat">
              <a:noFill/>
              <a:miter lim="400000"/>
            </a:ln>
            <a:effectLst/>
          </p:spPr>
          <p:txBody>
            <a:bodyPr wrap="square" lIns="0" tIns="0" rIns="0" bIns="0" numCol="1" anchor="ctr">
              <a:noAutofit/>
            </a:bodyPr>
            <a:lstStyle/>
            <a:p>
              <a:pPr algn="ctr">
                <a:defRPr b="1">
                  <a:solidFill>
                    <a:srgbClr val="FFFFFF"/>
                  </a:solidFill>
                  <a:latin typeface="Helvetica Neue"/>
                  <a:ea typeface="Helvetica Neue"/>
                  <a:cs typeface="Helvetica Neue"/>
                  <a:sym typeface="Helvetica Neue"/>
                </a:defRPr>
              </a:pPr>
              <a:endParaRPr sz="1100"/>
            </a:p>
          </p:txBody>
        </p:sp>
        <p:sp>
          <p:nvSpPr>
            <p:cNvPr id="34" name="6">
              <a:extLst>
                <a:ext uri="{FF2B5EF4-FFF2-40B4-BE49-F238E27FC236}">
                  <a16:creationId xmlns:a16="http://schemas.microsoft.com/office/drawing/2014/main" id="{FF70C5C2-FB5B-476F-91AD-D349DF0E1A1D}"/>
                </a:ext>
              </a:extLst>
            </p:cNvPr>
            <p:cNvSpPr txBox="1"/>
            <p:nvPr/>
          </p:nvSpPr>
          <p:spPr>
            <a:xfrm>
              <a:off x="51065" y="65426"/>
              <a:ext cx="246569" cy="230548"/>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algn="ctr">
                <a:defRPr b="1">
                  <a:solidFill>
                    <a:srgbClr val="FFFFFF"/>
                  </a:solidFill>
                </a:defRPr>
              </a:lvl1pPr>
            </a:lstStyle>
            <a:p>
              <a:r>
                <a:rPr lang="en-US" sz="1100" dirty="0"/>
                <a:t>5</a:t>
              </a:r>
              <a:endParaRPr sz="1100" dirty="0"/>
            </a:p>
          </p:txBody>
        </p:sp>
      </p:grpSp>
      <p:grpSp>
        <p:nvGrpSpPr>
          <p:cNvPr id="35" name="7">
            <a:extLst>
              <a:ext uri="{FF2B5EF4-FFF2-40B4-BE49-F238E27FC236}">
                <a16:creationId xmlns:a16="http://schemas.microsoft.com/office/drawing/2014/main" id="{D4C6F5F9-76ED-44F4-A943-1C7D827F9382}"/>
              </a:ext>
            </a:extLst>
          </p:cNvPr>
          <p:cNvGrpSpPr/>
          <p:nvPr/>
        </p:nvGrpSpPr>
        <p:grpSpPr>
          <a:xfrm>
            <a:off x="6413854" y="5888214"/>
            <a:ext cx="275200" cy="275200"/>
            <a:chOff x="-1" y="-1"/>
            <a:chExt cx="348702" cy="348702"/>
          </a:xfrm>
          <a:solidFill>
            <a:schemeClr val="accent2"/>
          </a:solidFill>
        </p:grpSpPr>
        <p:sp>
          <p:nvSpPr>
            <p:cNvPr id="36" name="Circle">
              <a:extLst>
                <a:ext uri="{FF2B5EF4-FFF2-40B4-BE49-F238E27FC236}">
                  <a16:creationId xmlns:a16="http://schemas.microsoft.com/office/drawing/2014/main" id="{5128B314-795D-40CE-8AC0-2EC2D5D1C971}"/>
                </a:ext>
              </a:extLst>
            </p:cNvPr>
            <p:cNvSpPr/>
            <p:nvPr/>
          </p:nvSpPr>
          <p:spPr>
            <a:xfrm>
              <a:off x="-1" y="-1"/>
              <a:ext cx="348702" cy="348702"/>
            </a:xfrm>
            <a:prstGeom prst="ellipse">
              <a:avLst/>
            </a:prstGeom>
            <a:grpFill/>
            <a:ln w="12700" cap="flat">
              <a:noFill/>
              <a:miter lim="400000"/>
            </a:ln>
            <a:effectLst/>
          </p:spPr>
          <p:txBody>
            <a:bodyPr wrap="square" lIns="0" tIns="0" rIns="0" bIns="0" numCol="1" anchor="ctr">
              <a:noAutofit/>
            </a:bodyPr>
            <a:lstStyle/>
            <a:p>
              <a:pPr algn="ctr">
                <a:defRPr b="1">
                  <a:solidFill>
                    <a:srgbClr val="FFFFFF"/>
                  </a:solidFill>
                  <a:latin typeface="Helvetica Neue"/>
                  <a:ea typeface="Helvetica Neue"/>
                  <a:cs typeface="Helvetica Neue"/>
                  <a:sym typeface="Helvetica Neue"/>
                </a:defRPr>
              </a:pPr>
              <a:endParaRPr sz="1100"/>
            </a:p>
          </p:txBody>
        </p:sp>
        <p:sp>
          <p:nvSpPr>
            <p:cNvPr id="37" name="7">
              <a:extLst>
                <a:ext uri="{FF2B5EF4-FFF2-40B4-BE49-F238E27FC236}">
                  <a16:creationId xmlns:a16="http://schemas.microsoft.com/office/drawing/2014/main" id="{685E5241-8457-4AEE-8ADE-6B81447CE788}"/>
                </a:ext>
              </a:extLst>
            </p:cNvPr>
            <p:cNvSpPr txBox="1"/>
            <p:nvPr/>
          </p:nvSpPr>
          <p:spPr>
            <a:xfrm>
              <a:off x="51065" y="59076"/>
              <a:ext cx="246569" cy="230548"/>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algn="ctr">
                <a:defRPr b="1">
                  <a:solidFill>
                    <a:srgbClr val="FFFFFF"/>
                  </a:solidFill>
                </a:defRPr>
              </a:lvl1pPr>
            </a:lstStyle>
            <a:p>
              <a:r>
                <a:rPr lang="en-US" sz="1100"/>
                <a:t>6</a:t>
              </a:r>
              <a:endParaRPr sz="1100"/>
            </a:p>
          </p:txBody>
        </p:sp>
      </p:grpSp>
      <p:grpSp>
        <p:nvGrpSpPr>
          <p:cNvPr id="38" name="5">
            <a:extLst>
              <a:ext uri="{FF2B5EF4-FFF2-40B4-BE49-F238E27FC236}">
                <a16:creationId xmlns:a16="http://schemas.microsoft.com/office/drawing/2014/main" id="{78D22EAA-4157-4F03-8A43-385F71C78738}"/>
              </a:ext>
            </a:extLst>
          </p:cNvPr>
          <p:cNvGrpSpPr/>
          <p:nvPr/>
        </p:nvGrpSpPr>
        <p:grpSpPr>
          <a:xfrm>
            <a:off x="6413854" y="1499178"/>
            <a:ext cx="275200" cy="275199"/>
            <a:chOff x="-1" y="-1"/>
            <a:chExt cx="348702" cy="348702"/>
          </a:xfrm>
          <a:solidFill>
            <a:schemeClr val="accent2"/>
          </a:solidFill>
        </p:grpSpPr>
        <p:sp>
          <p:nvSpPr>
            <p:cNvPr id="39" name="Circle">
              <a:extLst>
                <a:ext uri="{FF2B5EF4-FFF2-40B4-BE49-F238E27FC236}">
                  <a16:creationId xmlns:a16="http://schemas.microsoft.com/office/drawing/2014/main" id="{2E434E6D-CA67-4172-9E32-0D68591F30AE}"/>
                </a:ext>
              </a:extLst>
            </p:cNvPr>
            <p:cNvSpPr/>
            <p:nvPr/>
          </p:nvSpPr>
          <p:spPr>
            <a:xfrm>
              <a:off x="-1" y="-1"/>
              <a:ext cx="348702" cy="348702"/>
            </a:xfrm>
            <a:prstGeom prst="ellipse">
              <a:avLst/>
            </a:prstGeom>
            <a:grpFill/>
            <a:ln w="12700" cap="flat">
              <a:noFill/>
              <a:miter lim="400000"/>
            </a:ln>
            <a:effectLst/>
          </p:spPr>
          <p:txBody>
            <a:bodyPr wrap="square" lIns="0" tIns="0" rIns="0" bIns="0" numCol="1" anchor="ctr">
              <a:noAutofit/>
            </a:bodyPr>
            <a:lstStyle/>
            <a:p>
              <a:pPr algn="ctr">
                <a:defRPr b="1">
                  <a:solidFill>
                    <a:srgbClr val="FFFFFF"/>
                  </a:solidFill>
                  <a:latin typeface="Helvetica Neue"/>
                  <a:ea typeface="Helvetica Neue"/>
                  <a:cs typeface="Helvetica Neue"/>
                  <a:sym typeface="Helvetica Neue"/>
                </a:defRPr>
              </a:pPr>
              <a:endParaRPr sz="1100"/>
            </a:p>
          </p:txBody>
        </p:sp>
        <p:sp>
          <p:nvSpPr>
            <p:cNvPr id="40" name="5">
              <a:extLst>
                <a:ext uri="{FF2B5EF4-FFF2-40B4-BE49-F238E27FC236}">
                  <a16:creationId xmlns:a16="http://schemas.microsoft.com/office/drawing/2014/main" id="{551AB637-9062-4188-813D-1C80199EEBD7}"/>
                </a:ext>
              </a:extLst>
            </p:cNvPr>
            <p:cNvSpPr txBox="1"/>
            <p:nvPr/>
          </p:nvSpPr>
          <p:spPr>
            <a:xfrm>
              <a:off x="51065" y="46376"/>
              <a:ext cx="246569" cy="230548"/>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algn="ctr">
                <a:defRPr b="1">
                  <a:solidFill>
                    <a:srgbClr val="FFFFFF"/>
                  </a:solidFill>
                </a:defRPr>
              </a:lvl1pPr>
            </a:lstStyle>
            <a:p>
              <a:r>
                <a:rPr lang="en-US" sz="1050"/>
                <a:t>4b</a:t>
              </a:r>
              <a:endParaRPr sz="1050"/>
            </a:p>
          </p:txBody>
        </p:sp>
      </p:grpSp>
      <p:pic>
        <p:nvPicPr>
          <p:cNvPr id="41" name="Picture 22" descr="Picture 22">
            <a:extLst>
              <a:ext uri="{FF2B5EF4-FFF2-40B4-BE49-F238E27FC236}">
                <a16:creationId xmlns:a16="http://schemas.microsoft.com/office/drawing/2014/main" id="{BC9221E7-A0A3-4379-A209-599D36D5903B}"/>
              </a:ext>
            </a:extLst>
          </p:cNvPr>
          <p:cNvPicPr>
            <a:picLocks noChangeAspect="1"/>
          </p:cNvPicPr>
          <p:nvPr/>
        </p:nvPicPr>
        <p:blipFill>
          <a:blip r:embed="rId4"/>
          <a:stretch>
            <a:fillRect/>
          </a:stretch>
        </p:blipFill>
        <p:spPr>
          <a:xfrm rot="20760000">
            <a:off x="4198330" y="3255338"/>
            <a:ext cx="454626" cy="472455"/>
          </a:xfrm>
          <a:prstGeom prst="rect">
            <a:avLst/>
          </a:prstGeom>
          <a:ln w="12700">
            <a:miter lim="400000"/>
          </a:ln>
        </p:spPr>
      </p:pic>
      <p:pic>
        <p:nvPicPr>
          <p:cNvPr id="42" name="Picture 86" descr="Picture 86">
            <a:extLst>
              <a:ext uri="{FF2B5EF4-FFF2-40B4-BE49-F238E27FC236}">
                <a16:creationId xmlns:a16="http://schemas.microsoft.com/office/drawing/2014/main" id="{2ABADB5E-2377-4CCC-9CB7-6F234EE0A140}"/>
              </a:ext>
            </a:extLst>
          </p:cNvPr>
          <p:cNvPicPr>
            <a:picLocks noChangeAspect="1"/>
          </p:cNvPicPr>
          <p:nvPr/>
        </p:nvPicPr>
        <p:blipFill>
          <a:blip r:embed="rId4"/>
          <a:stretch>
            <a:fillRect/>
          </a:stretch>
        </p:blipFill>
        <p:spPr>
          <a:xfrm rot="4560000">
            <a:off x="5549058" y="2623007"/>
            <a:ext cx="454627" cy="472455"/>
          </a:xfrm>
          <a:prstGeom prst="rect">
            <a:avLst/>
          </a:prstGeom>
          <a:ln w="12700">
            <a:miter lim="400000"/>
          </a:ln>
        </p:spPr>
      </p:pic>
      <p:pic>
        <p:nvPicPr>
          <p:cNvPr id="43" name="Picture 87" descr="Picture 87">
            <a:extLst>
              <a:ext uri="{FF2B5EF4-FFF2-40B4-BE49-F238E27FC236}">
                <a16:creationId xmlns:a16="http://schemas.microsoft.com/office/drawing/2014/main" id="{B80BD0C9-C300-4E68-9464-3A1278D102AF}"/>
              </a:ext>
            </a:extLst>
          </p:cNvPr>
          <p:cNvPicPr>
            <a:picLocks noChangeAspect="1"/>
          </p:cNvPicPr>
          <p:nvPr/>
        </p:nvPicPr>
        <p:blipFill>
          <a:blip r:embed="rId4"/>
          <a:stretch>
            <a:fillRect/>
          </a:stretch>
        </p:blipFill>
        <p:spPr>
          <a:xfrm rot="10606057">
            <a:off x="6077566" y="4116628"/>
            <a:ext cx="454626" cy="472454"/>
          </a:xfrm>
          <a:prstGeom prst="rect">
            <a:avLst/>
          </a:prstGeom>
          <a:ln w="12700">
            <a:miter lim="400000"/>
          </a:ln>
        </p:spPr>
      </p:pic>
      <p:pic>
        <p:nvPicPr>
          <p:cNvPr id="44" name="Picture 88" descr="Picture 88">
            <a:extLst>
              <a:ext uri="{FF2B5EF4-FFF2-40B4-BE49-F238E27FC236}">
                <a16:creationId xmlns:a16="http://schemas.microsoft.com/office/drawing/2014/main" id="{D1FDC786-2155-43D3-A712-95F8F31B76E2}"/>
              </a:ext>
            </a:extLst>
          </p:cNvPr>
          <p:cNvPicPr>
            <a:picLocks noChangeAspect="1"/>
          </p:cNvPicPr>
          <p:nvPr/>
        </p:nvPicPr>
        <p:blipFill>
          <a:blip r:embed="rId4"/>
          <a:stretch>
            <a:fillRect/>
          </a:stretch>
        </p:blipFill>
        <p:spPr>
          <a:xfrm rot="15660000">
            <a:off x="4734424" y="4540840"/>
            <a:ext cx="454626" cy="472455"/>
          </a:xfrm>
          <a:prstGeom prst="rect">
            <a:avLst/>
          </a:prstGeom>
          <a:ln w="12700">
            <a:miter lim="400000"/>
          </a:ln>
        </p:spPr>
      </p:pic>
      <p:sp>
        <p:nvSpPr>
          <p:cNvPr id="45" name="Once employees become comfortable with automation they want more – there are two paths">
            <a:extLst>
              <a:ext uri="{FF2B5EF4-FFF2-40B4-BE49-F238E27FC236}">
                <a16:creationId xmlns:a16="http://schemas.microsoft.com/office/drawing/2014/main" id="{9406D8C1-536F-46CD-B4A8-F08D3B57E02E}"/>
              </a:ext>
            </a:extLst>
          </p:cNvPr>
          <p:cNvSpPr txBox="1"/>
          <p:nvPr/>
        </p:nvSpPr>
        <p:spPr>
          <a:xfrm>
            <a:off x="714185" y="3723153"/>
            <a:ext cx="2999184" cy="53825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noAutofit/>
          </a:bodyPr>
          <a:lstStyle>
            <a:lvl1pPr algn="r" defTabSz="457200">
              <a:defRPr sz="1000" i="1">
                <a:solidFill>
                  <a:srgbClr val="E6552F"/>
                </a:solidFill>
              </a:defRPr>
            </a:lvl1pPr>
          </a:lstStyle>
          <a:p>
            <a:pPr>
              <a:spcAft>
                <a:spcPts val="600"/>
              </a:spcAft>
            </a:pPr>
            <a:r>
              <a:rPr lang="en-US" sz="1400" b="1" i="0" dirty="0">
                <a:solidFill>
                  <a:schemeClr val="tx1">
                    <a:lumMod val="95000"/>
                    <a:lumOff val="5000"/>
                  </a:schemeClr>
                </a:solidFill>
              </a:rPr>
              <a:t>Employees use automations</a:t>
            </a:r>
          </a:p>
          <a:p>
            <a:endParaRPr lang="en-US" sz="1400" b="1" dirty="0"/>
          </a:p>
        </p:txBody>
      </p:sp>
      <p:grpSp>
        <p:nvGrpSpPr>
          <p:cNvPr id="46" name="Group">
            <a:extLst>
              <a:ext uri="{FF2B5EF4-FFF2-40B4-BE49-F238E27FC236}">
                <a16:creationId xmlns:a16="http://schemas.microsoft.com/office/drawing/2014/main" id="{FDA6F14E-61C2-429D-83B5-995DC4B28C5A}"/>
              </a:ext>
            </a:extLst>
          </p:cNvPr>
          <p:cNvGrpSpPr/>
          <p:nvPr/>
        </p:nvGrpSpPr>
        <p:grpSpPr>
          <a:xfrm>
            <a:off x="4096073" y="3703342"/>
            <a:ext cx="309586" cy="309586"/>
            <a:chOff x="-25879" y="-25879"/>
            <a:chExt cx="392274" cy="392274"/>
          </a:xfrm>
        </p:grpSpPr>
        <p:sp>
          <p:nvSpPr>
            <p:cNvPr id="47" name="Circle">
              <a:extLst>
                <a:ext uri="{FF2B5EF4-FFF2-40B4-BE49-F238E27FC236}">
                  <a16:creationId xmlns:a16="http://schemas.microsoft.com/office/drawing/2014/main" id="{D67D7FD3-C790-4AC2-B698-0ECE96B8ADA8}"/>
                </a:ext>
              </a:extLst>
            </p:cNvPr>
            <p:cNvSpPr/>
            <p:nvPr/>
          </p:nvSpPr>
          <p:spPr>
            <a:xfrm>
              <a:off x="-25879" y="-25879"/>
              <a:ext cx="392274" cy="392274"/>
            </a:xfrm>
            <a:prstGeom prst="ellipse">
              <a:avLst/>
            </a:prstGeom>
            <a:solidFill>
              <a:srgbClr val="2B65D7"/>
            </a:solidFill>
            <a:ln w="38100" cap="flat">
              <a:solidFill>
                <a:srgbClr val="FFFFFF"/>
              </a:solidFill>
              <a:prstDash val="solid"/>
              <a:round/>
            </a:ln>
            <a:effectLst/>
          </p:spPr>
          <p:txBody>
            <a:bodyPr wrap="square" lIns="0" tIns="0" rIns="0" bIns="0" numCol="1" anchor="ctr">
              <a:noAutofit/>
            </a:bodyPr>
            <a:lstStyle/>
            <a:p>
              <a:pPr algn="ctr">
                <a:defRPr b="1">
                  <a:solidFill>
                    <a:srgbClr val="FFFFFF"/>
                  </a:solidFill>
                  <a:latin typeface="Helvetica Neue"/>
                  <a:ea typeface="Helvetica Neue"/>
                  <a:cs typeface="Helvetica Neue"/>
                  <a:sym typeface="Helvetica Neue"/>
                </a:defRPr>
              </a:pPr>
              <a:endParaRPr sz="1100"/>
            </a:p>
          </p:txBody>
        </p:sp>
        <p:sp>
          <p:nvSpPr>
            <p:cNvPr id="48" name="3">
              <a:extLst>
                <a:ext uri="{FF2B5EF4-FFF2-40B4-BE49-F238E27FC236}">
                  <a16:creationId xmlns:a16="http://schemas.microsoft.com/office/drawing/2014/main" id="{5D916A30-B6FC-4408-91C6-EAA6BFB04035}"/>
                </a:ext>
              </a:extLst>
            </p:cNvPr>
            <p:cNvSpPr txBox="1"/>
            <p:nvPr/>
          </p:nvSpPr>
          <p:spPr>
            <a:xfrm>
              <a:off x="41540" y="62238"/>
              <a:ext cx="246569" cy="23054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algn="ctr">
                <a:defRPr b="1">
                  <a:solidFill>
                    <a:srgbClr val="FFFFFF"/>
                  </a:solidFill>
                </a:defRPr>
              </a:lvl1pPr>
            </a:lstStyle>
            <a:p>
              <a:r>
                <a:rPr sz="1100" dirty="0"/>
                <a:t>3</a:t>
              </a:r>
            </a:p>
          </p:txBody>
        </p:sp>
      </p:grpSp>
      <p:sp>
        <p:nvSpPr>
          <p:cNvPr id="49" name="CoE builds…">
            <a:extLst>
              <a:ext uri="{FF2B5EF4-FFF2-40B4-BE49-F238E27FC236}">
                <a16:creationId xmlns:a16="http://schemas.microsoft.com/office/drawing/2014/main" id="{F114EBEE-40D6-4114-87D9-86CDF3FE8BA2}"/>
              </a:ext>
            </a:extLst>
          </p:cNvPr>
          <p:cNvSpPr txBox="1"/>
          <p:nvPr/>
        </p:nvSpPr>
        <p:spPr>
          <a:xfrm>
            <a:off x="5855203" y="1898961"/>
            <a:ext cx="1379895" cy="447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Autofit/>
          </a:bodyPr>
          <a:lstStyle/>
          <a:p>
            <a:pPr algn="ctr" defTabSz="457200">
              <a:defRPr sz="1000">
                <a:solidFill>
                  <a:srgbClr val="5E5E5E"/>
                </a:solidFill>
              </a:defRPr>
            </a:pPr>
            <a:r>
              <a:rPr lang="en-US" sz="1100" dirty="0">
                <a:solidFill>
                  <a:schemeClr val="tx1">
                    <a:lumMod val="95000"/>
                    <a:lumOff val="5000"/>
                  </a:schemeClr>
                </a:solidFill>
              </a:rPr>
              <a:t>Employees build their own automations</a:t>
            </a:r>
            <a:endParaRPr sz="1100" dirty="0">
              <a:solidFill>
                <a:schemeClr val="tx1">
                  <a:lumMod val="95000"/>
                  <a:lumOff val="5000"/>
                </a:schemeClr>
              </a:solidFill>
            </a:endParaRPr>
          </a:p>
        </p:txBody>
      </p:sp>
      <p:sp>
        <p:nvSpPr>
          <p:cNvPr id="52" name="Employees…">
            <a:extLst>
              <a:ext uri="{FF2B5EF4-FFF2-40B4-BE49-F238E27FC236}">
                <a16:creationId xmlns:a16="http://schemas.microsoft.com/office/drawing/2014/main" id="{D1792C85-D4C8-4FAA-A3A5-D4F579C734AD}"/>
              </a:ext>
            </a:extLst>
          </p:cNvPr>
          <p:cNvSpPr txBox="1"/>
          <p:nvPr/>
        </p:nvSpPr>
        <p:spPr>
          <a:xfrm>
            <a:off x="1316253" y="4075611"/>
            <a:ext cx="2467471" cy="6652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noAutofit/>
          </a:bodyPr>
          <a:lstStyle/>
          <a:p>
            <a:pPr defTabSz="457200">
              <a:defRPr sz="1000">
                <a:solidFill>
                  <a:srgbClr val="5E5E5E"/>
                </a:solidFill>
              </a:defRPr>
            </a:pPr>
            <a:r>
              <a:rPr lang="en-US" sz="1100" dirty="0">
                <a:solidFill>
                  <a:schemeClr val="tx1">
                    <a:lumMod val="95000"/>
                    <a:lumOff val="5000"/>
                  </a:schemeClr>
                </a:solidFill>
              </a:rPr>
              <a:t>Once employees start using automation, a breakthrough moment occurs:</a:t>
            </a:r>
            <a:br>
              <a:rPr lang="en-US" sz="1100" dirty="0">
                <a:solidFill>
                  <a:schemeClr val="tx1">
                    <a:lumMod val="95000"/>
                    <a:lumOff val="5000"/>
                  </a:schemeClr>
                </a:solidFill>
              </a:rPr>
            </a:br>
            <a:br>
              <a:rPr lang="en-US" sz="1100" dirty="0">
                <a:solidFill>
                  <a:schemeClr val="tx1">
                    <a:lumMod val="95000"/>
                    <a:lumOff val="5000"/>
                  </a:schemeClr>
                </a:solidFill>
              </a:rPr>
            </a:br>
            <a:r>
              <a:rPr lang="en-US" sz="1100" dirty="0">
                <a:solidFill>
                  <a:schemeClr val="tx1">
                    <a:lumMod val="95000"/>
                    <a:lumOff val="5000"/>
                  </a:schemeClr>
                </a:solidFill>
              </a:rPr>
              <a:t>They can submit automation ideas to the </a:t>
            </a:r>
            <a:r>
              <a:rPr lang="en-US" sz="1100" dirty="0" err="1">
                <a:solidFill>
                  <a:schemeClr val="tx1">
                    <a:lumMod val="95000"/>
                    <a:lumOff val="5000"/>
                  </a:schemeClr>
                </a:solidFill>
              </a:rPr>
              <a:t>CoE</a:t>
            </a:r>
            <a:r>
              <a:rPr lang="en-US" sz="1100" dirty="0">
                <a:solidFill>
                  <a:schemeClr val="tx1">
                    <a:lumMod val="95000"/>
                    <a:lumOff val="5000"/>
                  </a:schemeClr>
                </a:solidFill>
              </a:rPr>
              <a:t> (4a) or build their own automations (4b)</a:t>
            </a:r>
            <a:endParaRPr sz="1100" dirty="0">
              <a:solidFill>
                <a:schemeClr val="tx1">
                  <a:lumMod val="95000"/>
                  <a:lumOff val="5000"/>
                </a:schemeClr>
              </a:solidFill>
            </a:endParaRPr>
          </a:p>
        </p:txBody>
      </p:sp>
      <p:sp>
        <p:nvSpPr>
          <p:cNvPr id="50" name="TextBox 49">
            <a:extLst>
              <a:ext uri="{FF2B5EF4-FFF2-40B4-BE49-F238E27FC236}">
                <a16:creationId xmlns:a16="http://schemas.microsoft.com/office/drawing/2014/main" id="{AAF102F1-321A-467A-AD79-21301BDAB3B3}"/>
              </a:ext>
            </a:extLst>
          </p:cNvPr>
          <p:cNvSpPr txBox="1"/>
          <p:nvPr/>
        </p:nvSpPr>
        <p:spPr>
          <a:xfrm>
            <a:off x="423582" y="6444734"/>
            <a:ext cx="8195982" cy="276999"/>
          </a:xfrm>
          <a:prstGeom prst="rect">
            <a:avLst/>
          </a:prstGeom>
          <a:noFill/>
        </p:spPr>
        <p:txBody>
          <a:bodyPr wrap="square">
            <a:spAutoFit/>
          </a:bodyPr>
          <a:lstStyle/>
          <a:p>
            <a:r>
              <a:rPr lang="en-US" sz="1200" dirty="0">
                <a:hlinkClick r:id="rId5"/>
              </a:rPr>
              <a:t>Watch this short video to learn more about the automation flywheel</a:t>
            </a:r>
            <a:endParaRPr lang="en-US" sz="1200" dirty="0"/>
          </a:p>
        </p:txBody>
      </p:sp>
    </p:spTree>
    <p:extLst>
      <p:ext uri="{BB962C8B-B14F-4D97-AF65-F5344CB8AC3E}">
        <p14:creationId xmlns:p14="http://schemas.microsoft.com/office/powerpoint/2010/main" val="3790379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4"/>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2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P spid="16" grpId="0" animBg="1"/>
      <p:bldP spid="17" grpId="0" animBg="1"/>
      <p:bldP spid="19" grpId="0" animBg="1"/>
      <p:bldP spid="20" grpId="0" animBg="1"/>
      <p:bldP spid="21" grpId="0" animBg="1"/>
      <p:bldP spid="22" grpId="0" animBg="1"/>
      <p:bldP spid="45" grpId="0" animBg="1"/>
      <p:bldP spid="49" grpId="0" animBg="1"/>
      <p:bldP spid="5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4" name="Image" descr="Imag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69502" y="3914949"/>
            <a:ext cx="84935" cy="73519"/>
          </a:xfrm>
          <a:prstGeom prst="rect">
            <a:avLst/>
          </a:prstGeom>
          <a:ln w="12700">
            <a:miter lim="400000"/>
          </a:ln>
        </p:spPr>
      </p:pic>
      <p:pic>
        <p:nvPicPr>
          <p:cNvPr id="391" name="Image" descr="Image"/>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0760000">
            <a:off x="10539477" y="3750652"/>
            <a:ext cx="148137" cy="127198"/>
          </a:xfrm>
          <a:prstGeom prst="rect">
            <a:avLst/>
          </a:prstGeom>
          <a:ln w="12700">
            <a:miter lim="400000"/>
          </a:ln>
        </p:spPr>
      </p:pic>
      <p:sp>
        <p:nvSpPr>
          <p:cNvPr id="4" name="Text Placeholder 16">
            <a:extLst>
              <a:ext uri="{FF2B5EF4-FFF2-40B4-BE49-F238E27FC236}">
                <a16:creationId xmlns:a16="http://schemas.microsoft.com/office/drawing/2014/main" id="{13C7BA1D-C251-477C-BABA-CCD172ECE102}"/>
              </a:ext>
            </a:extLst>
          </p:cNvPr>
          <p:cNvSpPr/>
          <p:nvPr/>
        </p:nvSpPr>
        <p:spPr>
          <a:xfrm rot="16200000">
            <a:off x="9517153" y="3482669"/>
            <a:ext cx="1905917" cy="2488992"/>
          </a:xfrm>
          <a:prstGeom prst="rect">
            <a:avLst/>
          </a:prstGeom>
          <a:solidFill>
            <a:srgbClr val="F7FBFF"/>
          </a:solidFill>
          <a:ln w="6350" cap="flat">
            <a:noFill/>
            <a:prstDash val="solid"/>
            <a:round/>
          </a:ln>
          <a:effectLst>
            <a:outerShdw blurRad="304800" dir="16745762" rotWithShape="0">
              <a:srgbClr val="131F2B">
                <a:alpha val="20000"/>
              </a:srgbClr>
            </a:outerShdw>
          </a:effectLst>
        </p:spPr>
        <p:txBody>
          <a:bodyPr wrap="square" lIns="0" tIns="0" rIns="0" bIns="0" numCol="1" anchor="ctr">
            <a:normAutofit/>
          </a:bodyPr>
          <a:lstStyle/>
          <a:p>
            <a:pPr defTabSz="228416">
              <a:spcBef>
                <a:spcPts val="500"/>
              </a:spcBef>
              <a:defRPr sz="2000">
                <a:solidFill>
                  <a:srgbClr val="FFFFFF"/>
                </a:solidFill>
                <a:latin typeface="Arial"/>
                <a:ea typeface="Arial"/>
                <a:cs typeface="Arial"/>
                <a:sym typeface="Arial"/>
              </a:defRPr>
            </a:pPr>
            <a:endParaRPr sz="1000">
              <a:solidFill>
                <a:srgbClr val="FFFFFF"/>
              </a:solidFill>
              <a:latin typeface="Arial"/>
              <a:cs typeface="Arial"/>
              <a:sym typeface="Arial"/>
            </a:endParaRPr>
          </a:p>
        </p:txBody>
      </p:sp>
      <p:sp>
        <p:nvSpPr>
          <p:cNvPr id="396" name="AI-Optimized…"/>
          <p:cNvSpPr txBox="1"/>
          <p:nvPr/>
        </p:nvSpPr>
        <p:spPr>
          <a:xfrm>
            <a:off x="9376169" y="4293667"/>
            <a:ext cx="2187884" cy="123586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379" tIns="25379" rIns="25379" bIns="25379" numCol="1" anchor="ctr">
            <a:noAutofit/>
          </a:bodyPr>
          <a:lstStyle/>
          <a:p>
            <a:pPr algn="ctr" defTabSz="228416">
              <a:defRPr sz="3000" b="1">
                <a:solidFill>
                  <a:srgbClr val="E6552F"/>
                </a:solidFill>
                <a:latin typeface="Arial"/>
                <a:ea typeface="Arial"/>
                <a:cs typeface="Arial"/>
                <a:sym typeface="Arial"/>
              </a:defRPr>
            </a:pPr>
            <a:r>
              <a:rPr lang="en-US" sz="1600" b="1">
                <a:solidFill>
                  <a:srgbClr val="E6552F"/>
                </a:solidFill>
                <a:latin typeface="Arial"/>
                <a:cs typeface="Arial"/>
                <a:sym typeface="Arial"/>
              </a:rPr>
              <a:t>Unleash AI across</a:t>
            </a:r>
            <a:br>
              <a:rPr lang="en-US" sz="1600" b="1">
                <a:latin typeface="Arial"/>
                <a:cs typeface="Arial"/>
              </a:rPr>
            </a:br>
            <a:r>
              <a:rPr lang="en-US" sz="1600" b="1">
                <a:solidFill>
                  <a:srgbClr val="E6552F"/>
                </a:solidFill>
                <a:latin typeface="Arial"/>
                <a:cs typeface="Arial"/>
                <a:sym typeface="Arial"/>
              </a:rPr>
              <a:t>every facet of work</a:t>
            </a:r>
          </a:p>
          <a:p>
            <a:pPr algn="ctr" defTabSz="228416">
              <a:lnSpc>
                <a:spcPct val="50000"/>
              </a:lnSpc>
              <a:defRPr sz="3000" b="1">
                <a:solidFill>
                  <a:srgbClr val="FFFFFF"/>
                </a:solidFill>
                <a:latin typeface="Arial"/>
                <a:ea typeface="Arial"/>
                <a:cs typeface="Arial"/>
                <a:sym typeface="Arial"/>
              </a:defRPr>
            </a:pPr>
            <a:endParaRPr lang="en-US" sz="1500" b="1">
              <a:solidFill>
                <a:srgbClr val="FFFFFF"/>
              </a:solidFill>
              <a:latin typeface="Arial"/>
              <a:cs typeface="Arial"/>
              <a:sym typeface="Arial"/>
            </a:endParaRPr>
          </a:p>
        </p:txBody>
      </p:sp>
      <p:pic>
        <p:nvPicPr>
          <p:cNvPr id="397" name="Image" descr="Image"/>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2553344" flipH="1">
            <a:off x="11226449" y="3376479"/>
            <a:ext cx="682482" cy="875457"/>
          </a:xfrm>
          <a:prstGeom prst="rect">
            <a:avLst/>
          </a:prstGeom>
          <a:ln w="12700" cap="flat">
            <a:noFill/>
            <a:miter lim="400000"/>
          </a:ln>
          <a:effectLst/>
        </p:spPr>
      </p:pic>
      <p:pic>
        <p:nvPicPr>
          <p:cNvPr id="76" name="Graphic 75">
            <a:extLst>
              <a:ext uri="{FF2B5EF4-FFF2-40B4-BE49-F238E27FC236}">
                <a16:creationId xmlns:a16="http://schemas.microsoft.com/office/drawing/2014/main" id="{712B535B-7196-DE4F-B2B9-C657F30CBD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66480" y="3881623"/>
            <a:ext cx="407263" cy="407264"/>
          </a:xfrm>
          <a:prstGeom prst="rect">
            <a:avLst/>
          </a:prstGeom>
        </p:spPr>
      </p:pic>
      <p:pic>
        <p:nvPicPr>
          <p:cNvPr id="381" name="Image" descr="Imag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1342786" y="3777449"/>
            <a:ext cx="84935" cy="73519"/>
          </a:xfrm>
          <a:prstGeom prst="rect">
            <a:avLst/>
          </a:prstGeom>
          <a:ln w="12700">
            <a:miter lim="400000"/>
          </a:ln>
        </p:spPr>
      </p:pic>
      <p:pic>
        <p:nvPicPr>
          <p:cNvPr id="388" name="Image" descr="Image"/>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0760000" flipH="1">
            <a:off x="1419846" y="3814104"/>
            <a:ext cx="148138" cy="127198"/>
          </a:xfrm>
          <a:prstGeom prst="rect">
            <a:avLst/>
          </a:prstGeom>
          <a:ln w="12700">
            <a:miter lim="400000"/>
          </a:ln>
        </p:spPr>
      </p:pic>
      <p:sp>
        <p:nvSpPr>
          <p:cNvPr id="399" name="Text Placeholder 16"/>
          <p:cNvSpPr/>
          <p:nvPr/>
        </p:nvSpPr>
        <p:spPr>
          <a:xfrm rot="16200000">
            <a:off x="947413" y="2628199"/>
            <a:ext cx="1905917" cy="2488997"/>
          </a:xfrm>
          <a:prstGeom prst="rect">
            <a:avLst/>
          </a:prstGeom>
          <a:solidFill>
            <a:srgbClr val="F7FBFF"/>
          </a:solidFill>
          <a:ln w="6350" cap="flat">
            <a:noFill/>
            <a:prstDash val="solid"/>
            <a:round/>
          </a:ln>
          <a:effectLst>
            <a:outerShdw blurRad="304800" dir="16745762" rotWithShape="0">
              <a:srgbClr val="131F2B">
                <a:alpha val="20000"/>
              </a:srgbClr>
            </a:outerShdw>
          </a:effectLst>
        </p:spPr>
        <p:txBody>
          <a:bodyPr wrap="square" lIns="0" tIns="0" rIns="0" bIns="0" numCol="1" anchor="ctr">
            <a:normAutofit/>
          </a:bodyPr>
          <a:lstStyle/>
          <a:p>
            <a:pPr defTabSz="228416">
              <a:spcBef>
                <a:spcPts val="500"/>
              </a:spcBef>
              <a:defRPr sz="2000">
                <a:solidFill>
                  <a:srgbClr val="FFFFFF"/>
                </a:solidFill>
                <a:latin typeface="Arial"/>
                <a:ea typeface="Arial"/>
                <a:cs typeface="Arial"/>
                <a:sym typeface="Arial"/>
              </a:defRPr>
            </a:pPr>
            <a:endParaRPr sz="1000">
              <a:solidFill>
                <a:srgbClr val="FFFFFF"/>
              </a:solidFill>
              <a:latin typeface="Arial"/>
              <a:cs typeface="Arial"/>
              <a:sym typeface="Arial"/>
            </a:endParaRPr>
          </a:p>
        </p:txBody>
      </p:sp>
      <p:sp>
        <p:nvSpPr>
          <p:cNvPr id="400" name="Back-Office…"/>
          <p:cNvSpPr txBox="1"/>
          <p:nvPr/>
        </p:nvSpPr>
        <p:spPr>
          <a:xfrm>
            <a:off x="878914" y="3408670"/>
            <a:ext cx="2042917" cy="134937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379" tIns="25379" rIns="25379" bIns="25379" numCol="1" anchor="ctr">
            <a:noAutofit/>
          </a:bodyPr>
          <a:lstStyle/>
          <a:p>
            <a:pPr algn="ctr" defTabSz="228416">
              <a:defRPr sz="3000" b="1">
                <a:solidFill>
                  <a:srgbClr val="E6552F"/>
                </a:solidFill>
                <a:latin typeface="Arial"/>
                <a:ea typeface="Arial"/>
                <a:cs typeface="Arial"/>
                <a:sym typeface="Arial"/>
              </a:defRPr>
            </a:pPr>
            <a:r>
              <a:rPr lang="en-US" sz="1600" b="1">
                <a:solidFill>
                  <a:srgbClr val="E6552F"/>
                </a:solidFill>
                <a:latin typeface="Arial"/>
                <a:cs typeface="Arial"/>
                <a:sym typeface="Arial"/>
              </a:rPr>
              <a:t> Assign </a:t>
            </a:r>
            <a:br>
              <a:rPr lang="en-US" sz="1600" b="1">
                <a:solidFill>
                  <a:srgbClr val="E6552F"/>
                </a:solidFill>
                <a:latin typeface="Arial"/>
                <a:cs typeface="Arial"/>
                <a:sym typeface="Arial"/>
              </a:rPr>
            </a:br>
            <a:r>
              <a:rPr lang="en-US" sz="1600" b="1">
                <a:solidFill>
                  <a:srgbClr val="E6552F"/>
                </a:solidFill>
                <a:latin typeface="Arial"/>
                <a:cs typeface="Arial"/>
                <a:sym typeface="Arial"/>
              </a:rPr>
              <a:t>automatable </a:t>
            </a:r>
            <a:br>
              <a:rPr lang="en-US" sz="1600" b="1">
                <a:solidFill>
                  <a:srgbClr val="E6552F"/>
                </a:solidFill>
                <a:latin typeface="Arial"/>
                <a:cs typeface="Arial"/>
                <a:sym typeface="Arial"/>
              </a:rPr>
            </a:br>
            <a:r>
              <a:rPr lang="en-US" sz="1600" b="1">
                <a:solidFill>
                  <a:srgbClr val="E6552F"/>
                </a:solidFill>
                <a:latin typeface="Arial"/>
                <a:cs typeface="Arial"/>
                <a:sym typeface="Arial"/>
              </a:rPr>
              <a:t>work to robots</a:t>
            </a:r>
          </a:p>
          <a:p>
            <a:pPr algn="ctr" defTabSz="228416">
              <a:defRPr sz="3000" b="1">
                <a:solidFill>
                  <a:srgbClr val="E6552F"/>
                </a:solidFill>
                <a:latin typeface="Arial"/>
                <a:ea typeface="Arial"/>
                <a:cs typeface="Arial"/>
                <a:sym typeface="Arial"/>
              </a:defRPr>
            </a:pPr>
            <a:endParaRPr lang="en-US" sz="900" b="1">
              <a:solidFill>
                <a:srgbClr val="E6552F"/>
              </a:solidFill>
              <a:latin typeface="Arial"/>
              <a:cs typeface="Arial"/>
              <a:sym typeface="Arial"/>
            </a:endParaRPr>
          </a:p>
        </p:txBody>
      </p:sp>
      <p:pic>
        <p:nvPicPr>
          <p:cNvPr id="46" name="Graphic 45">
            <a:extLst>
              <a:ext uri="{FF2B5EF4-FFF2-40B4-BE49-F238E27FC236}">
                <a16:creationId xmlns:a16="http://schemas.microsoft.com/office/drawing/2014/main" id="{A6F0C5FF-4BD1-AE4B-828C-6A7B760C2130}"/>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670534" y="3030417"/>
            <a:ext cx="459674" cy="459674"/>
          </a:xfrm>
          <a:prstGeom prst="rect">
            <a:avLst/>
          </a:prstGeom>
        </p:spPr>
      </p:pic>
      <p:pic>
        <p:nvPicPr>
          <p:cNvPr id="54" name="Picture 53">
            <a:extLst>
              <a:ext uri="{FF2B5EF4-FFF2-40B4-BE49-F238E27FC236}">
                <a16:creationId xmlns:a16="http://schemas.microsoft.com/office/drawing/2014/main" id="{20923869-560B-4707-96F7-5DEBB681EF7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08551" y="4359041"/>
            <a:ext cx="917766" cy="866274"/>
          </a:xfrm>
          <a:prstGeom prst="rect">
            <a:avLst/>
          </a:prstGeom>
        </p:spPr>
      </p:pic>
      <p:sp>
        <p:nvSpPr>
          <p:cNvPr id="8" name="Rectangle 7">
            <a:extLst>
              <a:ext uri="{FF2B5EF4-FFF2-40B4-BE49-F238E27FC236}">
                <a16:creationId xmlns:a16="http://schemas.microsoft.com/office/drawing/2014/main" id="{11EC6779-44A9-4410-B5F2-E43A43338E7D}"/>
              </a:ext>
            </a:extLst>
          </p:cNvPr>
          <p:cNvSpPr/>
          <p:nvPr/>
        </p:nvSpPr>
        <p:spPr>
          <a:xfrm>
            <a:off x="0" y="0"/>
            <a:ext cx="12188826" cy="6124452"/>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6926"/>
            <a:r>
              <a:rPr lang="en-US" sz="1400">
                <a:solidFill>
                  <a:srgbClr val="FFFFFF"/>
                </a:solidFill>
                <a:latin typeface="Arial"/>
                <a:cs typeface="Arial"/>
              </a:rPr>
              <a:t> 	</a:t>
            </a:r>
          </a:p>
        </p:txBody>
      </p:sp>
      <p:pic>
        <p:nvPicPr>
          <p:cNvPr id="377" name="Image" descr="Image"/>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496379" y="1701057"/>
            <a:ext cx="375907" cy="325382"/>
          </a:xfrm>
          <a:prstGeom prst="rect">
            <a:avLst/>
          </a:prstGeom>
          <a:ln w="12700">
            <a:miter lim="400000"/>
          </a:ln>
        </p:spPr>
      </p:pic>
      <p:pic>
        <p:nvPicPr>
          <p:cNvPr id="379" name="Image" descr="Imag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79760" y="4495890"/>
            <a:ext cx="84934" cy="73519"/>
          </a:xfrm>
          <a:prstGeom prst="rect">
            <a:avLst/>
          </a:prstGeom>
          <a:ln w="12700">
            <a:miter lim="400000"/>
          </a:ln>
        </p:spPr>
      </p:pic>
      <p:sp>
        <p:nvSpPr>
          <p:cNvPr id="372" name="The pillars of a fully automated enterprise"/>
          <p:cNvSpPr txBox="1"/>
          <p:nvPr/>
        </p:nvSpPr>
        <p:spPr>
          <a:xfrm>
            <a:off x="333381" y="361394"/>
            <a:ext cx="7902814" cy="6894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lnSpcReduction="10000"/>
          </a:bodyPr>
          <a:lstStyle>
            <a:lvl1pPr algn="l" defTabSz="914400">
              <a:lnSpc>
                <a:spcPct val="85000"/>
              </a:lnSpc>
              <a:tabLst>
                <a:tab pos="4445000" algn="l"/>
              </a:tabLst>
              <a:defRPr sz="5600" b="1" spc="-100">
                <a:solidFill>
                  <a:srgbClr val="FFFFFF"/>
                </a:solidFill>
                <a:latin typeface="Arial"/>
                <a:ea typeface="Arial"/>
                <a:cs typeface="Arial"/>
                <a:sym typeface="Arial"/>
              </a:defRPr>
            </a:lvl1pPr>
          </a:lstStyle>
          <a:p>
            <a:pPr defTabSz="913852">
              <a:tabLst>
                <a:tab pos="4442334" algn="l"/>
              </a:tabLst>
            </a:pPr>
            <a:r>
              <a:rPr lang="en-US" sz="2800">
                <a:solidFill>
                  <a:schemeClr val="tx1"/>
                </a:solidFill>
              </a:rPr>
              <a:t>At UiPath, we believe in a world where every company encourages robot-human collaboration</a:t>
            </a:r>
            <a:endParaRPr lang="en-US" sz="2000" b="0">
              <a:solidFill>
                <a:schemeClr val="tx1"/>
              </a:solidFill>
            </a:endParaRPr>
          </a:p>
        </p:txBody>
      </p:sp>
      <p:sp>
        <p:nvSpPr>
          <p:cNvPr id="370" name="Rectangle 9"/>
          <p:cNvSpPr/>
          <p:nvPr/>
        </p:nvSpPr>
        <p:spPr>
          <a:xfrm>
            <a:off x="-4763" y="6116876"/>
            <a:ext cx="12193588" cy="724953"/>
          </a:xfrm>
          <a:prstGeom prst="rect">
            <a:avLst/>
          </a:prstGeom>
          <a:solidFill>
            <a:srgbClr val="FA4616"/>
          </a:solidFill>
          <a:ln w="12700">
            <a:miter lim="400000"/>
          </a:ln>
        </p:spPr>
        <p:txBody>
          <a:bodyPr lIns="0" tIns="0" rIns="0" bIns="0" anchor="ctr"/>
          <a:lstStyle/>
          <a:p>
            <a:pPr defTabSz="456835">
              <a:defRPr sz="3600">
                <a:solidFill>
                  <a:srgbClr val="FFFFFF"/>
                </a:solidFill>
                <a:latin typeface="Arial"/>
                <a:ea typeface="Arial"/>
                <a:cs typeface="Arial"/>
                <a:sym typeface="Arial"/>
              </a:defRPr>
            </a:pPr>
            <a:endParaRPr sz="3598">
              <a:solidFill>
                <a:srgbClr val="FFFFFF"/>
              </a:solidFill>
              <a:latin typeface="Arial"/>
              <a:cs typeface="Arial"/>
              <a:sym typeface="Arial"/>
            </a:endParaRPr>
          </a:p>
        </p:txBody>
      </p:sp>
      <p:sp>
        <p:nvSpPr>
          <p:cNvPr id="373" name="Rectangle 9"/>
          <p:cNvSpPr/>
          <p:nvPr/>
        </p:nvSpPr>
        <p:spPr>
          <a:xfrm>
            <a:off x="4760" y="6823864"/>
            <a:ext cx="12179307" cy="45684"/>
          </a:xfrm>
          <a:prstGeom prst="rect">
            <a:avLst/>
          </a:prstGeom>
          <a:solidFill>
            <a:srgbClr val="FA4616"/>
          </a:solidFill>
          <a:ln w="12700">
            <a:miter lim="400000"/>
          </a:ln>
        </p:spPr>
        <p:txBody>
          <a:bodyPr lIns="0" tIns="0" rIns="0" bIns="0" anchor="ctr"/>
          <a:lstStyle/>
          <a:p>
            <a:pPr defTabSz="456835">
              <a:defRPr sz="3600">
                <a:solidFill>
                  <a:srgbClr val="FFFFFF"/>
                </a:solidFill>
                <a:latin typeface="Arial"/>
                <a:ea typeface="Arial"/>
                <a:cs typeface="Arial"/>
                <a:sym typeface="Arial"/>
              </a:defRPr>
            </a:pPr>
            <a:endParaRPr sz="3598">
              <a:solidFill>
                <a:srgbClr val="FFFFFF"/>
              </a:solidFill>
              <a:latin typeface="Arial"/>
              <a:cs typeface="Arial"/>
              <a:sym typeface="Arial"/>
            </a:endParaRPr>
          </a:p>
        </p:txBody>
      </p:sp>
      <p:sp>
        <p:nvSpPr>
          <p:cNvPr id="412" name="A fully automated enterprise is a digitally transformed enterprise."/>
          <p:cNvSpPr txBox="1">
            <a:spLocks noGrp="1"/>
          </p:cNvSpPr>
          <p:nvPr>
            <p:ph type="title" idx="4294967295"/>
          </p:nvPr>
        </p:nvSpPr>
        <p:spPr>
          <a:xfrm>
            <a:off x="285093" y="6212980"/>
            <a:ext cx="11618642" cy="548917"/>
          </a:xfrm>
          <a:prstGeom prst="rect">
            <a:avLst/>
          </a:prstGeom>
        </p:spPr>
        <p:txBody>
          <a:bodyPr vert="horz" lIns="0" tIns="0" rIns="0" bIns="0" rtlCol="0" anchor="ctr" anchorCtr="0">
            <a:noAutofit/>
          </a:bodyPr>
          <a:lstStyle>
            <a:lvl1pPr algn="ctr" defTabSz="914400">
              <a:lnSpc>
                <a:spcPct val="85000"/>
              </a:lnSpc>
              <a:tabLst>
                <a:tab pos="4445000" algn="l"/>
              </a:tabLst>
              <a:defRPr sz="4600" b="0" spc="-82">
                <a:solidFill>
                  <a:srgbClr val="FFFFFF"/>
                </a:solidFill>
                <a:latin typeface="Arial"/>
                <a:ea typeface="Arial"/>
                <a:cs typeface="Arial"/>
                <a:sym typeface="Arial"/>
              </a:defRPr>
            </a:lvl1pPr>
          </a:lstStyle>
          <a:p>
            <a:r>
              <a:rPr lang="en-US" sz="2399" b="1"/>
              <a:t>The 4 pillars of a fully automated enterprise™</a:t>
            </a:r>
          </a:p>
        </p:txBody>
      </p:sp>
      <p:sp>
        <p:nvSpPr>
          <p:cNvPr id="50" name="TextBox 49">
            <a:extLst>
              <a:ext uri="{FF2B5EF4-FFF2-40B4-BE49-F238E27FC236}">
                <a16:creationId xmlns:a16="http://schemas.microsoft.com/office/drawing/2014/main" id="{43A5BB14-D036-4AC1-9435-9025BF12CBD4}"/>
              </a:ext>
            </a:extLst>
          </p:cNvPr>
          <p:cNvSpPr txBox="1"/>
          <p:nvPr>
            <p:custDataLst>
              <p:tags r:id="rId1"/>
            </p:custDataLst>
          </p:nvPr>
        </p:nvSpPr>
        <p:spPr>
          <a:xfrm>
            <a:off x="11453345" y="6472144"/>
            <a:ext cx="352993" cy="122397"/>
          </a:xfrm>
          <a:prstGeom prst="rect">
            <a:avLst/>
          </a:prstGeom>
          <a:noFill/>
        </p:spPr>
        <p:txBody>
          <a:bodyPr wrap="square" lIns="0" tIns="0" rIns="0" bIns="0" rtlCol="0">
            <a:noAutofit/>
          </a:bodyPr>
          <a:lstStyle/>
          <a:p>
            <a:pPr algn="r"/>
            <a:fld id="{CDB435D5-777C-4922-976B-8C95AF7AC8DD}" type="slidenum">
              <a:rPr lang="en-US" sz="700" b="1">
                <a:solidFill>
                  <a:schemeClr val="bg1"/>
                </a:solidFill>
                <a:latin typeface="Arial"/>
                <a:cs typeface="Arial"/>
              </a:rPr>
              <a:pPr algn="r"/>
              <a:t>26</a:t>
            </a:fld>
            <a:endParaRPr lang="en-US" sz="700" b="1">
              <a:solidFill>
                <a:schemeClr val="bg1"/>
              </a:solidFill>
              <a:latin typeface="Arial"/>
              <a:cs typeface="Arial"/>
            </a:endParaRPr>
          </a:p>
        </p:txBody>
      </p:sp>
      <p:sp>
        <p:nvSpPr>
          <p:cNvPr id="2" name="Text Placeholder 16">
            <a:extLst>
              <a:ext uri="{FF2B5EF4-FFF2-40B4-BE49-F238E27FC236}">
                <a16:creationId xmlns:a16="http://schemas.microsoft.com/office/drawing/2014/main" id="{8E7E73F2-AF0C-415D-8F6A-36BDE03DCC5B}"/>
              </a:ext>
            </a:extLst>
          </p:cNvPr>
          <p:cNvSpPr/>
          <p:nvPr/>
        </p:nvSpPr>
        <p:spPr>
          <a:xfrm rot="16200000">
            <a:off x="3245757" y="1773151"/>
            <a:ext cx="2925515" cy="2667000"/>
          </a:xfrm>
          <a:prstGeom prst="rect">
            <a:avLst/>
          </a:prstGeom>
          <a:solidFill>
            <a:schemeClr val="bg1"/>
          </a:solidFill>
          <a:ln w="6350" cap="flat">
            <a:noFill/>
            <a:prstDash val="solid"/>
            <a:round/>
          </a:ln>
          <a:effectLst>
            <a:outerShdw blurRad="304800" dir="16745762" rotWithShape="0">
              <a:srgbClr val="131F2B">
                <a:alpha val="20000"/>
              </a:srgbClr>
            </a:outerShdw>
          </a:effectLst>
        </p:spPr>
        <p:txBody>
          <a:bodyPr wrap="square" lIns="0" tIns="0" rIns="0" bIns="0" numCol="1" anchor="ctr">
            <a:normAutofit/>
          </a:bodyPr>
          <a:lstStyle/>
          <a:p>
            <a:pPr defTabSz="228416">
              <a:spcBef>
                <a:spcPts val="500"/>
              </a:spcBef>
            </a:pPr>
            <a:endParaRPr sz="1000">
              <a:solidFill>
                <a:srgbClr val="FFFFFF"/>
              </a:solidFill>
              <a:latin typeface="Arial"/>
              <a:cs typeface="Arial"/>
              <a:sym typeface="Arial"/>
            </a:endParaRPr>
          </a:p>
        </p:txBody>
      </p:sp>
      <p:pic>
        <p:nvPicPr>
          <p:cNvPr id="409" name="Image" descr="Image"/>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rot="1269903" flipH="1">
            <a:off x="2870498" y="1801224"/>
            <a:ext cx="864625" cy="748413"/>
          </a:xfrm>
          <a:prstGeom prst="rect">
            <a:avLst/>
          </a:prstGeom>
          <a:ln w="12700" cap="flat">
            <a:noFill/>
            <a:miter lim="400000"/>
          </a:ln>
          <a:effectLst/>
        </p:spPr>
      </p:pic>
      <p:sp>
        <p:nvSpPr>
          <p:cNvPr id="17" name="Rectangle 16">
            <a:extLst>
              <a:ext uri="{FF2B5EF4-FFF2-40B4-BE49-F238E27FC236}">
                <a16:creationId xmlns:a16="http://schemas.microsoft.com/office/drawing/2014/main" id="{6B725304-4AF9-496F-A16D-247F0701CB7A}"/>
              </a:ext>
            </a:extLst>
          </p:cNvPr>
          <p:cNvSpPr/>
          <p:nvPr/>
        </p:nvSpPr>
        <p:spPr>
          <a:xfrm>
            <a:off x="3613551" y="2521403"/>
            <a:ext cx="2189926" cy="20066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2000" b="1" i="0">
                <a:solidFill>
                  <a:schemeClr val="accent1"/>
                </a:solidFill>
                <a:latin typeface="Arial"/>
                <a:cs typeface="Arial"/>
              </a:rPr>
              <a:t>Provide a robot for every person in the company</a:t>
            </a:r>
            <a:endParaRPr lang="en-US" sz="1400" b="0" i="0">
              <a:solidFill>
                <a:schemeClr val="accent1"/>
              </a:solidFill>
              <a:latin typeface="Arial"/>
              <a:cs typeface="Arial"/>
            </a:endParaRPr>
          </a:p>
          <a:p>
            <a:pPr algn="ctr"/>
            <a:r>
              <a:rPr lang="en-US" sz="1200" b="0" i="0">
                <a:solidFill>
                  <a:schemeClr val="tx1"/>
                </a:solidFill>
                <a:latin typeface="Arial"/>
                <a:cs typeface="Arial"/>
              </a:rPr>
              <a:t>Robot assistants augment and </a:t>
            </a:r>
            <a:br>
              <a:rPr lang="en-US" sz="1200" b="0" i="0">
                <a:solidFill>
                  <a:schemeClr val="tx1"/>
                </a:solidFill>
                <a:latin typeface="Arial"/>
                <a:cs typeface="Arial"/>
              </a:rPr>
            </a:br>
            <a:r>
              <a:rPr lang="en-US" sz="1200" b="0" i="0">
                <a:solidFill>
                  <a:schemeClr val="tx1"/>
                </a:solidFill>
                <a:latin typeface="Arial"/>
                <a:cs typeface="Arial"/>
              </a:rPr>
              <a:t>empower human workers</a:t>
            </a:r>
          </a:p>
        </p:txBody>
      </p:sp>
      <p:pic>
        <p:nvPicPr>
          <p:cNvPr id="49" name="Graphic 48">
            <a:extLst>
              <a:ext uri="{FF2B5EF4-FFF2-40B4-BE49-F238E27FC236}">
                <a16:creationId xmlns:a16="http://schemas.microsoft.com/office/drawing/2014/main" id="{6506E9CE-9A52-4760-8916-135CA18801A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317244" y="1879855"/>
            <a:ext cx="782540" cy="782540"/>
          </a:xfrm>
          <a:prstGeom prst="rect">
            <a:avLst/>
          </a:prstGeom>
        </p:spPr>
      </p:pic>
      <p:pic>
        <p:nvPicPr>
          <p:cNvPr id="371" name="Picture 12" descr="Picture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351934" y="351437"/>
            <a:ext cx="1418509" cy="325444"/>
          </a:xfrm>
          <a:prstGeom prst="rect">
            <a:avLst/>
          </a:prstGeom>
          <a:ln w="12700">
            <a:miter lim="400000"/>
          </a:ln>
        </p:spPr>
      </p:pic>
      <p:sp>
        <p:nvSpPr>
          <p:cNvPr id="3" name="Text Placeholder 16">
            <a:extLst>
              <a:ext uri="{FF2B5EF4-FFF2-40B4-BE49-F238E27FC236}">
                <a16:creationId xmlns:a16="http://schemas.microsoft.com/office/drawing/2014/main" id="{188E4353-4A34-4018-81DD-18E1ABA7ECF9}"/>
              </a:ext>
            </a:extLst>
          </p:cNvPr>
          <p:cNvSpPr/>
          <p:nvPr/>
        </p:nvSpPr>
        <p:spPr>
          <a:xfrm rot="16200000">
            <a:off x="6178650" y="1737405"/>
            <a:ext cx="2925516" cy="2738490"/>
          </a:xfrm>
          <a:prstGeom prst="rect">
            <a:avLst/>
          </a:prstGeom>
          <a:solidFill>
            <a:schemeClr val="bg1"/>
          </a:solidFill>
          <a:ln w="6350" cap="flat">
            <a:noFill/>
            <a:prstDash val="solid"/>
            <a:round/>
          </a:ln>
          <a:effectLst>
            <a:outerShdw blurRad="304800" dir="16745762" rotWithShape="0">
              <a:srgbClr val="131F2B">
                <a:alpha val="20000"/>
              </a:srgbClr>
            </a:outerShdw>
          </a:effectLst>
        </p:spPr>
        <p:txBody>
          <a:bodyPr wrap="square" lIns="0" tIns="0" rIns="0" bIns="0" numCol="1" anchor="ctr">
            <a:normAutofit/>
          </a:bodyPr>
          <a:lstStyle/>
          <a:p>
            <a:pPr defTabSz="228416">
              <a:spcBef>
                <a:spcPts val="500"/>
              </a:spcBef>
              <a:defRPr sz="2000">
                <a:solidFill>
                  <a:srgbClr val="FFFFFF"/>
                </a:solidFill>
                <a:latin typeface="Arial"/>
                <a:ea typeface="Arial"/>
                <a:cs typeface="Arial"/>
                <a:sym typeface="Arial"/>
              </a:defRPr>
            </a:pPr>
            <a:endParaRPr sz="1000">
              <a:solidFill>
                <a:srgbClr val="FFFFFF"/>
              </a:solidFill>
              <a:latin typeface="Arial"/>
              <a:cs typeface="Arial"/>
              <a:sym typeface="Arial"/>
            </a:endParaRPr>
          </a:p>
        </p:txBody>
      </p:sp>
      <p:pic>
        <p:nvPicPr>
          <p:cNvPr id="68" name="Graphic 67">
            <a:extLst>
              <a:ext uri="{FF2B5EF4-FFF2-40B4-BE49-F238E27FC236}">
                <a16:creationId xmlns:a16="http://schemas.microsoft.com/office/drawing/2014/main" id="{036BF57C-5424-0245-957F-A56F7202070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345046" y="2041207"/>
            <a:ext cx="592725" cy="592726"/>
          </a:xfrm>
          <a:prstGeom prst="rect">
            <a:avLst/>
          </a:prstGeom>
        </p:spPr>
      </p:pic>
      <p:pic>
        <p:nvPicPr>
          <p:cNvPr id="57" name="Picture 56">
            <a:extLst>
              <a:ext uri="{FF2B5EF4-FFF2-40B4-BE49-F238E27FC236}">
                <a16:creationId xmlns:a16="http://schemas.microsoft.com/office/drawing/2014/main" id="{504833A3-2ACD-4030-8688-3C04FE905E22}"/>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8283576" y="1809221"/>
            <a:ext cx="1087119" cy="876828"/>
          </a:xfrm>
          <a:prstGeom prst="rect">
            <a:avLst/>
          </a:prstGeom>
        </p:spPr>
      </p:pic>
      <p:sp>
        <p:nvSpPr>
          <p:cNvPr id="47" name="Rectangle 46">
            <a:extLst>
              <a:ext uri="{FF2B5EF4-FFF2-40B4-BE49-F238E27FC236}">
                <a16:creationId xmlns:a16="http://schemas.microsoft.com/office/drawing/2014/main" id="{58F09078-9A7A-498E-91A2-2029022843B7}"/>
              </a:ext>
            </a:extLst>
          </p:cNvPr>
          <p:cNvSpPr/>
          <p:nvPr/>
        </p:nvSpPr>
        <p:spPr>
          <a:xfrm>
            <a:off x="6546445" y="2496003"/>
            <a:ext cx="2189926" cy="17584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2000" b="1" i="0">
                <a:solidFill>
                  <a:schemeClr val="accent1"/>
                </a:solidFill>
                <a:latin typeface="Arial"/>
                <a:cs typeface="Arial"/>
              </a:rPr>
              <a:t>Democratize</a:t>
            </a:r>
            <a:br>
              <a:rPr lang="en-US" sz="2000" b="1" i="0">
                <a:solidFill>
                  <a:schemeClr val="accent1"/>
                </a:solidFill>
                <a:latin typeface="Arial"/>
                <a:cs typeface="Arial"/>
              </a:rPr>
            </a:br>
            <a:r>
              <a:rPr lang="en-US" sz="2000" b="1" i="0">
                <a:solidFill>
                  <a:schemeClr val="accent1"/>
                </a:solidFill>
                <a:latin typeface="Arial"/>
                <a:cs typeface="Arial"/>
              </a:rPr>
              <a:t>development </a:t>
            </a:r>
          </a:p>
          <a:p>
            <a:pPr algn="ctr"/>
            <a:r>
              <a:rPr lang="en-US" sz="1200" b="0" i="0">
                <a:solidFill>
                  <a:schemeClr val="tx1"/>
                </a:solidFill>
                <a:latin typeface="Arial"/>
                <a:cs typeface="Arial"/>
              </a:rPr>
              <a:t>Workers can automate simple </a:t>
            </a:r>
            <a:br>
              <a:rPr lang="en-US" sz="1200" b="0" i="0">
                <a:solidFill>
                  <a:schemeClr val="tx1"/>
                </a:solidFill>
                <a:latin typeface="Arial"/>
                <a:cs typeface="Arial"/>
              </a:rPr>
            </a:br>
            <a:r>
              <a:rPr lang="en-US" sz="1200" b="0" i="0">
                <a:solidFill>
                  <a:schemeClr val="tx1"/>
                </a:solidFill>
                <a:latin typeface="Arial"/>
                <a:cs typeface="Arial"/>
              </a:rPr>
              <a:t>tasks with low-code apps</a:t>
            </a:r>
          </a:p>
        </p:txBody>
      </p:sp>
      <p:sp>
        <p:nvSpPr>
          <p:cNvPr id="48" name="Rectangle 47">
            <a:extLst>
              <a:ext uri="{FF2B5EF4-FFF2-40B4-BE49-F238E27FC236}">
                <a16:creationId xmlns:a16="http://schemas.microsoft.com/office/drawing/2014/main" id="{4C0C3D5E-C49A-4292-BFDD-B5D5A0225A77}"/>
              </a:ext>
            </a:extLst>
          </p:cNvPr>
          <p:cNvSpPr/>
          <p:nvPr/>
        </p:nvSpPr>
        <p:spPr>
          <a:xfrm>
            <a:off x="3375013" y="4390137"/>
            <a:ext cx="2667001" cy="47214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1200" b="1" i="0">
                <a:latin typeface="Arial"/>
                <a:cs typeface="Arial"/>
              </a:rPr>
              <a:t>Automation consumption at scale</a:t>
            </a:r>
          </a:p>
        </p:txBody>
      </p:sp>
      <p:sp>
        <p:nvSpPr>
          <p:cNvPr id="51" name="Rectangle 50">
            <a:extLst>
              <a:ext uri="{FF2B5EF4-FFF2-40B4-BE49-F238E27FC236}">
                <a16:creationId xmlns:a16="http://schemas.microsoft.com/office/drawing/2014/main" id="{458E9378-765E-473C-B47E-133C0F6174C6}"/>
              </a:ext>
            </a:extLst>
          </p:cNvPr>
          <p:cNvSpPr/>
          <p:nvPr/>
        </p:nvSpPr>
        <p:spPr>
          <a:xfrm>
            <a:off x="6271299" y="4390137"/>
            <a:ext cx="2738490" cy="47214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1200" b="1" i="0">
                <a:latin typeface="Arial"/>
                <a:cs typeface="Arial"/>
              </a:rPr>
              <a:t>Citizen development</a:t>
            </a:r>
          </a:p>
        </p:txBody>
      </p:sp>
    </p:spTree>
    <p:extLst>
      <p:ext uri="{BB962C8B-B14F-4D97-AF65-F5344CB8AC3E}">
        <p14:creationId xmlns:p14="http://schemas.microsoft.com/office/powerpoint/2010/main" val="52195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A5B5C3AE-A8A2-4B5A-95A0-529FAB0EFD27}"/>
              </a:ext>
            </a:extLst>
          </p:cNvPr>
          <p:cNvCxnSpPr>
            <a:cxnSpLocks/>
          </p:cNvCxnSpPr>
          <p:nvPr/>
        </p:nvCxnSpPr>
        <p:spPr>
          <a:xfrm flipH="1">
            <a:off x="4302644" y="2902359"/>
            <a:ext cx="7356921"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64E7CF1F-939C-4F85-B869-6E1D5BF74E85}"/>
              </a:ext>
            </a:extLst>
          </p:cNvPr>
          <p:cNvCxnSpPr>
            <a:cxnSpLocks/>
          </p:cNvCxnSpPr>
          <p:nvPr/>
        </p:nvCxnSpPr>
        <p:spPr>
          <a:xfrm flipH="1">
            <a:off x="4368632" y="4320254"/>
            <a:ext cx="7261740"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EDC64111-6BD0-40C1-8F54-F27C36CF0420}"/>
              </a:ext>
            </a:extLst>
          </p:cNvPr>
          <p:cNvSpPr txBox="1"/>
          <p:nvPr/>
        </p:nvSpPr>
        <p:spPr>
          <a:xfrm>
            <a:off x="4359741" y="1838430"/>
            <a:ext cx="7446777" cy="430887"/>
          </a:xfrm>
          <a:prstGeom prst="rect">
            <a:avLst/>
          </a:prstGeom>
          <a:noFill/>
        </p:spPr>
        <p:txBody>
          <a:bodyPr wrap="square" lIns="0" tIns="0" rIns="0" bIns="0">
            <a:spAutoFit/>
          </a:bodyPr>
          <a:lstStyle/>
          <a:p>
            <a:pPr>
              <a:spcBef>
                <a:spcPts val="1800"/>
              </a:spcBef>
            </a:pPr>
            <a:r>
              <a:rPr lang="en-GB" sz="1400" b="1" i="0">
                <a:effectLst/>
                <a:latin typeface="+mj-lt"/>
                <a:hlinkClick r:id="rId3"/>
              </a:rPr>
              <a:t>AIS</a:t>
            </a:r>
            <a:r>
              <a:rPr lang="en-GB" sz="1400" b="0" i="0">
                <a:effectLst/>
                <a:latin typeface="+mj-lt"/>
              </a:rPr>
              <a:t> upskilled </a:t>
            </a:r>
            <a:r>
              <a:rPr lang="en-GB" sz="1400" b="1" i="0">
                <a:effectLst/>
                <a:latin typeface="+mj-lt"/>
              </a:rPr>
              <a:t>800 employees </a:t>
            </a:r>
            <a:r>
              <a:rPr lang="en-GB" sz="1400" i="0">
                <a:effectLst/>
                <a:latin typeface="+mj-lt"/>
              </a:rPr>
              <a:t>to</a:t>
            </a:r>
            <a:r>
              <a:rPr lang="en-GB" sz="1400" b="1" i="0">
                <a:effectLst/>
                <a:latin typeface="+mj-lt"/>
              </a:rPr>
              <a:t> </a:t>
            </a:r>
            <a:r>
              <a:rPr lang="en-GB" sz="1400" b="0" i="0">
                <a:effectLst/>
                <a:latin typeface="+mj-lt"/>
              </a:rPr>
              <a:t>develop their own automations. To date, there are now </a:t>
            </a:r>
            <a:r>
              <a:rPr lang="en-GB" sz="1400" b="1" i="0">
                <a:effectLst/>
                <a:latin typeface="+mj-lt"/>
              </a:rPr>
              <a:t>560 </a:t>
            </a:r>
            <a:r>
              <a:rPr lang="en-GB" sz="1400" b="1">
                <a:latin typeface="+mj-lt"/>
              </a:rPr>
              <a:t>automated p</a:t>
            </a:r>
            <a:r>
              <a:rPr lang="en-GB" sz="1400" b="1" i="0">
                <a:effectLst/>
                <a:latin typeface="+mj-lt"/>
              </a:rPr>
              <a:t>rocesses</a:t>
            </a:r>
            <a:r>
              <a:rPr lang="en-GB" sz="1400" b="0" i="0">
                <a:effectLst/>
                <a:latin typeface="+mj-lt"/>
              </a:rPr>
              <a:t>, saving more than </a:t>
            </a:r>
            <a:r>
              <a:rPr lang="en-US" sz="1400" b="0" i="0">
                <a:solidFill>
                  <a:srgbClr val="202124"/>
                </a:solidFill>
                <a:effectLst/>
                <a:latin typeface="arial" panose="020B0604020202020204" pitchFamily="34" charset="0"/>
              </a:rPr>
              <a:t>409k hours annually.</a:t>
            </a:r>
            <a:endParaRPr lang="en-GB" sz="1400" b="1">
              <a:latin typeface="+mj-lt"/>
            </a:endParaRPr>
          </a:p>
        </p:txBody>
      </p:sp>
      <p:sp>
        <p:nvSpPr>
          <p:cNvPr id="11" name="TextBox 10">
            <a:extLst>
              <a:ext uri="{FF2B5EF4-FFF2-40B4-BE49-F238E27FC236}">
                <a16:creationId xmlns:a16="http://schemas.microsoft.com/office/drawing/2014/main" id="{2CC4F85A-DCE0-4866-8EAC-9C6B214D4A13}"/>
              </a:ext>
            </a:extLst>
          </p:cNvPr>
          <p:cNvSpPr txBox="1"/>
          <p:nvPr/>
        </p:nvSpPr>
        <p:spPr>
          <a:xfrm>
            <a:off x="4373188" y="3395718"/>
            <a:ext cx="7446777" cy="430887"/>
          </a:xfrm>
          <a:prstGeom prst="rect">
            <a:avLst/>
          </a:prstGeom>
          <a:noFill/>
        </p:spPr>
        <p:txBody>
          <a:bodyPr wrap="square" lIns="0" tIns="0" rIns="0" bIns="0">
            <a:spAutoFit/>
          </a:bodyPr>
          <a:lstStyle/>
          <a:p>
            <a:pPr>
              <a:spcBef>
                <a:spcPts val="1800"/>
              </a:spcBef>
            </a:pPr>
            <a:r>
              <a:rPr lang="en-GB" sz="1400" b="1" i="0" dirty="0" err="1">
                <a:effectLst/>
                <a:latin typeface="+mj-lt"/>
                <a:hlinkClick r:id="rId4"/>
              </a:rPr>
              <a:t>Firstsource</a:t>
            </a:r>
            <a:r>
              <a:rPr lang="en-GB" sz="1400" b="0" i="0" dirty="0">
                <a:effectLst/>
                <a:latin typeface="+mj-lt"/>
              </a:rPr>
              <a:t> enabled more than </a:t>
            </a:r>
            <a:r>
              <a:rPr lang="en-GB" sz="1400" b="1" i="0" dirty="0">
                <a:effectLst/>
                <a:latin typeface="+mj-lt"/>
              </a:rPr>
              <a:t>1000 employees </a:t>
            </a:r>
            <a:r>
              <a:rPr lang="en-GB" sz="1400" b="0" i="0" dirty="0">
                <a:effectLst/>
                <a:latin typeface="+mj-lt"/>
              </a:rPr>
              <a:t>to use </a:t>
            </a:r>
            <a:r>
              <a:rPr lang="en-GB" sz="1400" dirty="0">
                <a:latin typeface="+mj-lt"/>
              </a:rPr>
              <a:t>and create automations. For example, o</a:t>
            </a:r>
            <a:r>
              <a:rPr lang="en-GB" sz="1400" b="0" i="0" dirty="0">
                <a:effectLst/>
                <a:latin typeface="+mj-lt"/>
              </a:rPr>
              <a:t>ne robot saves 460 days worth of employee hours each year.</a:t>
            </a:r>
            <a:endParaRPr lang="en-GB" sz="1400" b="1" i="0" dirty="0">
              <a:effectLst/>
              <a:latin typeface="+mj-lt"/>
            </a:endParaRPr>
          </a:p>
        </p:txBody>
      </p:sp>
      <p:sp>
        <p:nvSpPr>
          <p:cNvPr id="15" name="TextBox 14">
            <a:extLst>
              <a:ext uri="{FF2B5EF4-FFF2-40B4-BE49-F238E27FC236}">
                <a16:creationId xmlns:a16="http://schemas.microsoft.com/office/drawing/2014/main" id="{75225AD5-3589-432F-9CD4-184EA766111D}"/>
              </a:ext>
            </a:extLst>
          </p:cNvPr>
          <p:cNvSpPr txBox="1"/>
          <p:nvPr/>
        </p:nvSpPr>
        <p:spPr>
          <a:xfrm>
            <a:off x="4359741" y="4784588"/>
            <a:ext cx="7446777" cy="646331"/>
          </a:xfrm>
          <a:prstGeom prst="rect">
            <a:avLst/>
          </a:prstGeom>
          <a:noFill/>
        </p:spPr>
        <p:txBody>
          <a:bodyPr wrap="square" lIns="0" tIns="0" rIns="0" bIns="0">
            <a:spAutoFit/>
          </a:bodyPr>
          <a:lstStyle/>
          <a:p>
            <a:pPr>
              <a:spcBef>
                <a:spcPts val="1800"/>
              </a:spcBef>
            </a:pPr>
            <a:r>
              <a:rPr lang="en-GB" sz="1400" b="1" dirty="0">
                <a:latin typeface="+mj-lt"/>
                <a:hlinkClick r:id="rId5"/>
              </a:rPr>
              <a:t>Coke Canada Bottling </a:t>
            </a:r>
            <a:r>
              <a:rPr lang="en-GB" sz="1400" dirty="0">
                <a:latin typeface="+mj-lt"/>
              </a:rPr>
              <a:t>believes in unlocking the power of people with the help of digital workers. The company </a:t>
            </a:r>
            <a:r>
              <a:rPr lang="en-GB" sz="1400" b="1" dirty="0" err="1">
                <a:latin typeface="+mj-lt"/>
              </a:rPr>
              <a:t>prov</a:t>
            </a:r>
            <a:r>
              <a:rPr lang="en-US" sz="1400" b="1" dirty="0">
                <a:latin typeface="+mj-lt"/>
              </a:rPr>
              <a:t>ides</a:t>
            </a:r>
            <a:r>
              <a:rPr lang="en-GB" sz="1400" b="1" dirty="0">
                <a:latin typeface="+mj-lt"/>
              </a:rPr>
              <a:t> citizen developers with access to RPA tools </a:t>
            </a:r>
            <a:r>
              <a:rPr lang="en-GB" sz="1400" dirty="0">
                <a:latin typeface="+mj-lt"/>
              </a:rPr>
              <a:t>to help them automate business processes that directly affect their roles.</a:t>
            </a:r>
          </a:p>
        </p:txBody>
      </p:sp>
      <p:sp>
        <p:nvSpPr>
          <p:cNvPr id="19" name="Rectangle 18">
            <a:extLst>
              <a:ext uri="{FF2B5EF4-FFF2-40B4-BE49-F238E27FC236}">
                <a16:creationId xmlns:a16="http://schemas.microsoft.com/office/drawing/2014/main" id="{F869BF2A-F8E0-4E6C-BF04-BB9DC48F5B9D}"/>
              </a:ext>
            </a:extLst>
          </p:cNvPr>
          <p:cNvSpPr/>
          <p:nvPr/>
        </p:nvSpPr>
        <p:spPr>
          <a:xfrm>
            <a:off x="0" y="0"/>
            <a:ext cx="393647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Arial"/>
            </a:endParaRPr>
          </a:p>
        </p:txBody>
      </p:sp>
      <p:sp>
        <p:nvSpPr>
          <p:cNvPr id="20" name="Title 3">
            <a:extLst>
              <a:ext uri="{FF2B5EF4-FFF2-40B4-BE49-F238E27FC236}">
                <a16:creationId xmlns:a16="http://schemas.microsoft.com/office/drawing/2014/main" id="{9E3D030F-55A0-432B-853A-E0A0A3301B39}"/>
              </a:ext>
            </a:extLst>
          </p:cNvPr>
          <p:cNvSpPr>
            <a:spLocks noGrp="1"/>
          </p:cNvSpPr>
          <p:nvPr>
            <p:ph type="title"/>
          </p:nvPr>
        </p:nvSpPr>
        <p:spPr>
          <a:xfrm>
            <a:off x="381001" y="3025475"/>
            <a:ext cx="3111498" cy="1445679"/>
          </a:xfrm>
        </p:spPr>
        <p:txBody>
          <a:bodyPr/>
          <a:lstStyle/>
          <a:p>
            <a:r>
              <a:rPr lang="en-US">
                <a:solidFill>
                  <a:schemeClr val="bg1"/>
                </a:solidFill>
              </a:rPr>
              <a:t>Bottom-up innovation that leads to business growth at scale </a:t>
            </a:r>
          </a:p>
        </p:txBody>
      </p:sp>
      <p:pic>
        <p:nvPicPr>
          <p:cNvPr id="21" name="Graphic 20">
            <a:extLst>
              <a:ext uri="{FF2B5EF4-FFF2-40B4-BE49-F238E27FC236}">
                <a16:creationId xmlns:a16="http://schemas.microsoft.com/office/drawing/2014/main" id="{400FCFFA-E701-4FC2-A001-FB36491498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1" y="2099988"/>
            <a:ext cx="460593" cy="460593"/>
          </a:xfrm>
          <a:prstGeom prst="rect">
            <a:avLst/>
          </a:prstGeom>
        </p:spPr>
      </p:pic>
    </p:spTree>
    <p:extLst>
      <p:ext uri="{BB962C8B-B14F-4D97-AF65-F5344CB8AC3E}">
        <p14:creationId xmlns:p14="http://schemas.microsoft.com/office/powerpoint/2010/main" val="128344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88997-C5CB-4DB2-9E29-77E6E1DA74D5}"/>
              </a:ext>
            </a:extLst>
          </p:cNvPr>
          <p:cNvSpPr>
            <a:spLocks noGrp="1"/>
          </p:cNvSpPr>
          <p:nvPr>
            <p:ph type="ctrTitle"/>
          </p:nvPr>
        </p:nvSpPr>
        <p:spPr>
          <a:xfrm>
            <a:off x="382971" y="2616742"/>
            <a:ext cx="5711441" cy="2157916"/>
          </a:xfrm>
        </p:spPr>
        <p:txBody>
          <a:bodyPr/>
          <a:lstStyle/>
          <a:p>
            <a:r>
              <a:rPr lang="en-US"/>
              <a:t>Making ‘a robot </a:t>
            </a:r>
            <a:br>
              <a:rPr lang="en-US"/>
            </a:br>
            <a:r>
              <a:rPr lang="en-US"/>
              <a:t>for every person’ and ‘democratized development’ </a:t>
            </a:r>
            <a:br>
              <a:rPr lang="en-US"/>
            </a:br>
            <a:r>
              <a:rPr lang="en-US"/>
              <a:t>a reality</a:t>
            </a:r>
          </a:p>
        </p:txBody>
      </p:sp>
    </p:spTree>
    <p:extLst>
      <p:ext uri="{BB962C8B-B14F-4D97-AF65-F5344CB8AC3E}">
        <p14:creationId xmlns:p14="http://schemas.microsoft.com/office/powerpoint/2010/main" val="197251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179AA-7182-A048-B1A2-C35DF281791F}"/>
              </a:ext>
            </a:extLst>
          </p:cNvPr>
          <p:cNvSpPr>
            <a:spLocks noGrp="1"/>
          </p:cNvSpPr>
          <p:nvPr>
            <p:ph type="title"/>
          </p:nvPr>
        </p:nvSpPr>
        <p:spPr/>
        <p:txBody>
          <a:bodyPr anchor="t"/>
          <a:lstStyle/>
          <a:p>
            <a:r>
              <a:rPr lang="en-GB"/>
              <a:t>Key factors that contribute to successful program execution at scale</a:t>
            </a:r>
            <a:endParaRPr lang="en-US"/>
          </a:p>
        </p:txBody>
      </p:sp>
      <p:cxnSp>
        <p:nvCxnSpPr>
          <p:cNvPr id="7" name="Straight Connector 6">
            <a:extLst>
              <a:ext uri="{FF2B5EF4-FFF2-40B4-BE49-F238E27FC236}">
                <a16:creationId xmlns:a16="http://schemas.microsoft.com/office/drawing/2014/main" id="{0AEB7B6C-5397-4224-9A50-28C5524E75D7}"/>
              </a:ext>
            </a:extLst>
          </p:cNvPr>
          <p:cNvCxnSpPr>
            <a:cxnSpLocks/>
          </p:cNvCxnSpPr>
          <p:nvPr/>
        </p:nvCxnSpPr>
        <p:spPr>
          <a:xfrm>
            <a:off x="2563732" y="3867340"/>
            <a:ext cx="0" cy="116186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FA61310A-1F27-4791-878F-608C3916825A}"/>
              </a:ext>
            </a:extLst>
          </p:cNvPr>
          <p:cNvCxnSpPr>
            <a:cxnSpLocks/>
          </p:cNvCxnSpPr>
          <p:nvPr/>
        </p:nvCxnSpPr>
        <p:spPr>
          <a:xfrm>
            <a:off x="4917518" y="3867340"/>
            <a:ext cx="0" cy="1231434"/>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3987427C-2975-4F03-894B-51D826DFEE38}"/>
              </a:ext>
            </a:extLst>
          </p:cNvPr>
          <p:cNvCxnSpPr>
            <a:cxnSpLocks/>
          </p:cNvCxnSpPr>
          <p:nvPr/>
        </p:nvCxnSpPr>
        <p:spPr>
          <a:xfrm>
            <a:off x="7271304" y="3867340"/>
            <a:ext cx="0" cy="1201617"/>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55298A83-710E-4E22-8115-5F4D211DA8C9}"/>
              </a:ext>
            </a:extLst>
          </p:cNvPr>
          <p:cNvCxnSpPr>
            <a:cxnSpLocks/>
          </p:cNvCxnSpPr>
          <p:nvPr/>
        </p:nvCxnSpPr>
        <p:spPr>
          <a:xfrm>
            <a:off x="9625090" y="3867340"/>
            <a:ext cx="0" cy="1251312"/>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6" name="Group 5">
            <a:extLst>
              <a:ext uri="{FF2B5EF4-FFF2-40B4-BE49-F238E27FC236}">
                <a16:creationId xmlns:a16="http://schemas.microsoft.com/office/drawing/2014/main" id="{E7A04DC3-E9BC-4406-98BD-CDC340A91FAC}"/>
              </a:ext>
            </a:extLst>
          </p:cNvPr>
          <p:cNvGrpSpPr/>
          <p:nvPr/>
        </p:nvGrpSpPr>
        <p:grpSpPr>
          <a:xfrm>
            <a:off x="838199" y="2562868"/>
            <a:ext cx="1097280" cy="1097280"/>
            <a:chOff x="838199" y="2562868"/>
            <a:chExt cx="1097280" cy="1097280"/>
          </a:xfrm>
        </p:grpSpPr>
        <p:sp>
          <p:nvSpPr>
            <p:cNvPr id="36" name="Oval 35">
              <a:extLst>
                <a:ext uri="{FF2B5EF4-FFF2-40B4-BE49-F238E27FC236}">
                  <a16:creationId xmlns:a16="http://schemas.microsoft.com/office/drawing/2014/main" id="{FAEF092A-B2BF-4E18-AFC2-53DDC5F77CC4}"/>
                </a:ext>
              </a:extLst>
            </p:cNvPr>
            <p:cNvSpPr/>
            <p:nvPr/>
          </p:nvSpPr>
          <p:spPr>
            <a:xfrm>
              <a:off x="838199" y="2562868"/>
              <a:ext cx="1097280" cy="109728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cs typeface="Arial"/>
              </a:endParaRPr>
            </a:p>
          </p:txBody>
        </p:sp>
        <p:pic>
          <p:nvPicPr>
            <p:cNvPr id="35" name="Graphic 34">
              <a:extLst>
                <a:ext uri="{FF2B5EF4-FFF2-40B4-BE49-F238E27FC236}">
                  <a16:creationId xmlns:a16="http://schemas.microsoft.com/office/drawing/2014/main" id="{83F69B5F-3AD5-4F6B-995B-9EB4262087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15518" y="2866762"/>
              <a:ext cx="342642" cy="489492"/>
            </a:xfrm>
            <a:prstGeom prst="rect">
              <a:avLst/>
            </a:prstGeom>
          </p:spPr>
        </p:pic>
      </p:grpSp>
      <p:grpSp>
        <p:nvGrpSpPr>
          <p:cNvPr id="8" name="Group 7">
            <a:extLst>
              <a:ext uri="{FF2B5EF4-FFF2-40B4-BE49-F238E27FC236}">
                <a16:creationId xmlns:a16="http://schemas.microsoft.com/office/drawing/2014/main" id="{6DFC96D1-D262-4545-B78A-200139468498}"/>
              </a:ext>
            </a:extLst>
          </p:cNvPr>
          <p:cNvGrpSpPr/>
          <p:nvPr/>
        </p:nvGrpSpPr>
        <p:grpSpPr>
          <a:xfrm>
            <a:off x="3191986" y="2562868"/>
            <a:ext cx="1097280" cy="1097280"/>
            <a:chOff x="3191986" y="2562868"/>
            <a:chExt cx="1097280" cy="1097280"/>
          </a:xfrm>
        </p:grpSpPr>
        <p:sp>
          <p:nvSpPr>
            <p:cNvPr id="37" name="Oval 36">
              <a:extLst>
                <a:ext uri="{FF2B5EF4-FFF2-40B4-BE49-F238E27FC236}">
                  <a16:creationId xmlns:a16="http://schemas.microsoft.com/office/drawing/2014/main" id="{6EB43471-5DB4-4F77-B596-2DD9815F2BA6}"/>
                </a:ext>
              </a:extLst>
            </p:cNvPr>
            <p:cNvSpPr/>
            <p:nvPr/>
          </p:nvSpPr>
          <p:spPr>
            <a:xfrm>
              <a:off x="3191986" y="2562868"/>
              <a:ext cx="1097280" cy="109728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cs typeface="Arial"/>
              </a:endParaRPr>
            </a:p>
          </p:txBody>
        </p:sp>
        <p:pic>
          <p:nvPicPr>
            <p:cNvPr id="38" name="Graphic 37">
              <a:extLst>
                <a:ext uri="{FF2B5EF4-FFF2-40B4-BE49-F238E27FC236}">
                  <a16:creationId xmlns:a16="http://schemas.microsoft.com/office/drawing/2014/main" id="{D833C2E6-E5CA-441C-80D7-555F58473FC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69305" y="2871659"/>
              <a:ext cx="342642" cy="479698"/>
            </a:xfrm>
            <a:prstGeom prst="rect">
              <a:avLst/>
            </a:prstGeom>
          </p:spPr>
        </p:pic>
      </p:grpSp>
      <p:grpSp>
        <p:nvGrpSpPr>
          <p:cNvPr id="9" name="Group 8">
            <a:extLst>
              <a:ext uri="{FF2B5EF4-FFF2-40B4-BE49-F238E27FC236}">
                <a16:creationId xmlns:a16="http://schemas.microsoft.com/office/drawing/2014/main" id="{971D44D0-5FC3-430D-8623-8B90F3F07BDA}"/>
              </a:ext>
            </a:extLst>
          </p:cNvPr>
          <p:cNvGrpSpPr/>
          <p:nvPr/>
        </p:nvGrpSpPr>
        <p:grpSpPr>
          <a:xfrm>
            <a:off x="5545773" y="2562868"/>
            <a:ext cx="1097280" cy="1097280"/>
            <a:chOff x="5545773" y="2562868"/>
            <a:chExt cx="1097280" cy="1097280"/>
          </a:xfrm>
        </p:grpSpPr>
        <p:sp>
          <p:nvSpPr>
            <p:cNvPr id="40" name="Oval 39">
              <a:extLst>
                <a:ext uri="{FF2B5EF4-FFF2-40B4-BE49-F238E27FC236}">
                  <a16:creationId xmlns:a16="http://schemas.microsoft.com/office/drawing/2014/main" id="{78FA8FD6-8878-45DA-8540-150070111495}"/>
                </a:ext>
              </a:extLst>
            </p:cNvPr>
            <p:cNvSpPr/>
            <p:nvPr/>
          </p:nvSpPr>
          <p:spPr>
            <a:xfrm>
              <a:off x="5545773" y="2562868"/>
              <a:ext cx="1097280" cy="109728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cs typeface="Arial"/>
              </a:endParaRPr>
            </a:p>
          </p:txBody>
        </p:sp>
        <p:pic>
          <p:nvPicPr>
            <p:cNvPr id="39" name="Graphic 38">
              <a:extLst>
                <a:ext uri="{FF2B5EF4-FFF2-40B4-BE49-F238E27FC236}">
                  <a16:creationId xmlns:a16="http://schemas.microsoft.com/office/drawing/2014/main" id="{17458DF2-44D9-4BA5-84E3-DD9202833D7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887115" y="2904210"/>
              <a:ext cx="414597" cy="414597"/>
            </a:xfrm>
            <a:prstGeom prst="rect">
              <a:avLst/>
            </a:prstGeom>
          </p:spPr>
        </p:pic>
      </p:grpSp>
      <p:grpSp>
        <p:nvGrpSpPr>
          <p:cNvPr id="10" name="Group 9">
            <a:extLst>
              <a:ext uri="{FF2B5EF4-FFF2-40B4-BE49-F238E27FC236}">
                <a16:creationId xmlns:a16="http://schemas.microsoft.com/office/drawing/2014/main" id="{89980789-82F2-426A-B83F-15E9F0E8A8C6}"/>
              </a:ext>
            </a:extLst>
          </p:cNvPr>
          <p:cNvGrpSpPr/>
          <p:nvPr/>
        </p:nvGrpSpPr>
        <p:grpSpPr>
          <a:xfrm>
            <a:off x="7899560" y="2562868"/>
            <a:ext cx="1097280" cy="1097280"/>
            <a:chOff x="7899560" y="2562868"/>
            <a:chExt cx="1097280" cy="1097280"/>
          </a:xfrm>
        </p:grpSpPr>
        <p:sp>
          <p:nvSpPr>
            <p:cNvPr id="42" name="Oval 41">
              <a:extLst>
                <a:ext uri="{FF2B5EF4-FFF2-40B4-BE49-F238E27FC236}">
                  <a16:creationId xmlns:a16="http://schemas.microsoft.com/office/drawing/2014/main" id="{DF1E5280-2B04-4A24-A4B0-C406A94AE6A7}"/>
                </a:ext>
              </a:extLst>
            </p:cNvPr>
            <p:cNvSpPr/>
            <p:nvPr/>
          </p:nvSpPr>
          <p:spPr>
            <a:xfrm>
              <a:off x="7899560" y="2562868"/>
              <a:ext cx="1097280" cy="109728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cs typeface="Arial"/>
              </a:endParaRPr>
            </a:p>
          </p:txBody>
        </p:sp>
        <p:pic>
          <p:nvPicPr>
            <p:cNvPr id="41" name="Graphic 40">
              <a:extLst>
                <a:ext uri="{FF2B5EF4-FFF2-40B4-BE49-F238E27FC236}">
                  <a16:creationId xmlns:a16="http://schemas.microsoft.com/office/drawing/2014/main" id="{A54AB168-E425-440C-BEDB-652C8D59B279}"/>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197369" y="2896509"/>
              <a:ext cx="501663" cy="429996"/>
            </a:xfrm>
            <a:prstGeom prst="rect">
              <a:avLst/>
            </a:prstGeom>
          </p:spPr>
        </p:pic>
      </p:grpSp>
      <p:grpSp>
        <p:nvGrpSpPr>
          <p:cNvPr id="11" name="Group 10">
            <a:extLst>
              <a:ext uri="{FF2B5EF4-FFF2-40B4-BE49-F238E27FC236}">
                <a16:creationId xmlns:a16="http://schemas.microsoft.com/office/drawing/2014/main" id="{C4B10F64-4C61-4B5D-AB62-51203B3C0326}"/>
              </a:ext>
            </a:extLst>
          </p:cNvPr>
          <p:cNvGrpSpPr/>
          <p:nvPr/>
        </p:nvGrpSpPr>
        <p:grpSpPr>
          <a:xfrm>
            <a:off x="10253346" y="2562868"/>
            <a:ext cx="1097280" cy="1097280"/>
            <a:chOff x="10253346" y="2562868"/>
            <a:chExt cx="1097280" cy="1097280"/>
          </a:xfrm>
        </p:grpSpPr>
        <p:sp>
          <p:nvSpPr>
            <p:cNvPr id="16" name="Oval 15">
              <a:extLst>
                <a:ext uri="{FF2B5EF4-FFF2-40B4-BE49-F238E27FC236}">
                  <a16:creationId xmlns:a16="http://schemas.microsoft.com/office/drawing/2014/main" id="{2B63C9F9-5D6F-4A45-9915-FD2B60B96111}"/>
                </a:ext>
              </a:extLst>
            </p:cNvPr>
            <p:cNvSpPr/>
            <p:nvPr/>
          </p:nvSpPr>
          <p:spPr>
            <a:xfrm>
              <a:off x="10253346" y="2562868"/>
              <a:ext cx="1097280" cy="109728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cs typeface="Arial"/>
              </a:endParaRPr>
            </a:p>
          </p:txBody>
        </p:sp>
        <p:pic>
          <p:nvPicPr>
            <p:cNvPr id="49" name="Graphic 48">
              <a:extLst>
                <a:ext uri="{FF2B5EF4-FFF2-40B4-BE49-F238E27FC236}">
                  <a16:creationId xmlns:a16="http://schemas.microsoft.com/office/drawing/2014/main" id="{48387EC0-B89D-473C-BE07-35E78426B421}"/>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0563100" y="2847475"/>
              <a:ext cx="477773" cy="528065"/>
            </a:xfrm>
            <a:prstGeom prst="rect">
              <a:avLst/>
            </a:prstGeom>
          </p:spPr>
        </p:pic>
      </p:grpSp>
      <p:sp>
        <p:nvSpPr>
          <p:cNvPr id="53" name="Rectangle 52">
            <a:extLst>
              <a:ext uri="{FF2B5EF4-FFF2-40B4-BE49-F238E27FC236}">
                <a16:creationId xmlns:a16="http://schemas.microsoft.com/office/drawing/2014/main" id="{63FC84A0-8EC2-4127-9D6C-87B0A5DE64DE}"/>
              </a:ext>
            </a:extLst>
          </p:cNvPr>
          <p:cNvSpPr/>
          <p:nvPr/>
        </p:nvSpPr>
        <p:spPr>
          <a:xfrm>
            <a:off x="371060" y="4017837"/>
            <a:ext cx="2011680" cy="246221"/>
          </a:xfrm>
          <a:prstGeom prst="rect">
            <a:avLst/>
          </a:prstGeom>
        </p:spPr>
        <p:txBody>
          <a:bodyPr wrap="square" lIns="0" tIns="0" rIns="0" bIns="0" anchor="t">
            <a:spAutoFit/>
          </a:bodyPr>
          <a:lstStyle/>
          <a:p>
            <a:pPr algn="ctr">
              <a:spcBef>
                <a:spcPts val="0"/>
              </a:spcBef>
              <a:spcAft>
                <a:spcPts val="600"/>
              </a:spcAft>
              <a:buClr>
                <a:srgbClr val="FA4616"/>
              </a:buClr>
              <a:defRPr/>
            </a:pPr>
            <a:r>
              <a:rPr lang="en-US" sz="1600"/>
              <a:t>Define personas</a:t>
            </a:r>
            <a:endParaRPr lang="en-US" sz="1600">
              <a:cs typeface="Arial"/>
            </a:endParaRPr>
          </a:p>
        </p:txBody>
      </p:sp>
      <p:sp>
        <p:nvSpPr>
          <p:cNvPr id="55" name="Rectangle 54">
            <a:extLst>
              <a:ext uri="{FF2B5EF4-FFF2-40B4-BE49-F238E27FC236}">
                <a16:creationId xmlns:a16="http://schemas.microsoft.com/office/drawing/2014/main" id="{AB905F89-CC0B-4EF5-8505-BC66FB67C28F}"/>
              </a:ext>
            </a:extLst>
          </p:cNvPr>
          <p:cNvSpPr/>
          <p:nvPr/>
        </p:nvSpPr>
        <p:spPr>
          <a:xfrm>
            <a:off x="2724846" y="4017837"/>
            <a:ext cx="2011680" cy="492443"/>
          </a:xfrm>
          <a:prstGeom prst="rect">
            <a:avLst/>
          </a:prstGeom>
        </p:spPr>
        <p:txBody>
          <a:bodyPr wrap="square" lIns="0" tIns="0" rIns="0" bIns="0" anchor="t">
            <a:spAutoFit/>
          </a:bodyPr>
          <a:lstStyle/>
          <a:p>
            <a:pPr algn="ctr">
              <a:spcAft>
                <a:spcPts val="600"/>
              </a:spcAft>
              <a:buClr>
                <a:srgbClr val="FA4616"/>
              </a:buClr>
              <a:defRPr/>
            </a:pPr>
            <a:r>
              <a:rPr lang="en-US" sz="1600">
                <a:cs typeface="Arial"/>
              </a:rPr>
              <a:t>Set up governance policies</a:t>
            </a:r>
          </a:p>
        </p:txBody>
      </p:sp>
      <p:sp>
        <p:nvSpPr>
          <p:cNvPr id="56" name="Rectangle 55">
            <a:extLst>
              <a:ext uri="{FF2B5EF4-FFF2-40B4-BE49-F238E27FC236}">
                <a16:creationId xmlns:a16="http://schemas.microsoft.com/office/drawing/2014/main" id="{EC66E62F-05C7-420A-9D60-C7DD0E3226E1}"/>
              </a:ext>
            </a:extLst>
          </p:cNvPr>
          <p:cNvSpPr/>
          <p:nvPr/>
        </p:nvSpPr>
        <p:spPr>
          <a:xfrm>
            <a:off x="5078632" y="4017837"/>
            <a:ext cx="2011680" cy="738664"/>
          </a:xfrm>
          <a:prstGeom prst="rect">
            <a:avLst/>
          </a:prstGeom>
        </p:spPr>
        <p:txBody>
          <a:bodyPr wrap="square" lIns="0" tIns="0" rIns="0" bIns="0" anchor="t">
            <a:spAutoFit/>
          </a:bodyPr>
          <a:lstStyle/>
          <a:p>
            <a:pPr algn="ctr">
              <a:spcAft>
                <a:spcPts val="600"/>
              </a:spcAft>
              <a:buClr>
                <a:srgbClr val="FA4616"/>
              </a:buClr>
              <a:defRPr/>
            </a:pPr>
            <a:r>
              <a:rPr lang="en-US" sz="1600"/>
              <a:t>Define steps to </a:t>
            </a:r>
            <a:br>
              <a:rPr lang="en-US" sz="1600"/>
            </a:br>
            <a:r>
              <a:rPr lang="en-US" sz="1600"/>
              <a:t>execute the </a:t>
            </a:r>
            <a:br>
              <a:rPr lang="en-US" sz="1600"/>
            </a:br>
            <a:r>
              <a:rPr lang="en-US" sz="1600"/>
              <a:t>automation program</a:t>
            </a:r>
          </a:p>
        </p:txBody>
      </p:sp>
      <p:sp>
        <p:nvSpPr>
          <p:cNvPr id="58" name="Rectangle 57">
            <a:extLst>
              <a:ext uri="{FF2B5EF4-FFF2-40B4-BE49-F238E27FC236}">
                <a16:creationId xmlns:a16="http://schemas.microsoft.com/office/drawing/2014/main" id="{D9588674-8047-4ECC-9C83-379492103F1A}"/>
              </a:ext>
            </a:extLst>
          </p:cNvPr>
          <p:cNvSpPr/>
          <p:nvPr/>
        </p:nvSpPr>
        <p:spPr>
          <a:xfrm>
            <a:off x="7432418" y="4017837"/>
            <a:ext cx="2129026" cy="738664"/>
          </a:xfrm>
          <a:prstGeom prst="rect">
            <a:avLst/>
          </a:prstGeom>
        </p:spPr>
        <p:txBody>
          <a:bodyPr wrap="square" lIns="0" tIns="0" rIns="0" bIns="0" anchor="t">
            <a:spAutoFit/>
          </a:bodyPr>
          <a:lstStyle/>
          <a:p>
            <a:pPr algn="ctr">
              <a:spcAft>
                <a:spcPts val="600"/>
              </a:spcAft>
              <a:buClr>
                <a:srgbClr val="FA4616"/>
              </a:buClr>
              <a:defRPr/>
            </a:pPr>
            <a:r>
              <a:rPr lang="en-GB" sz="1600" i="0">
                <a:effectLst/>
                <a:cs typeface="Arial"/>
              </a:rPr>
              <a:t>Configure</a:t>
            </a:r>
            <a:r>
              <a:rPr lang="en-GB" sz="1600">
                <a:cs typeface="Arial"/>
              </a:rPr>
              <a:t> </a:t>
            </a:r>
            <a:r>
              <a:rPr lang="en-GB" sz="1600" i="0">
                <a:effectLst/>
                <a:cs typeface="Arial"/>
              </a:rPr>
              <a:t>technologies </a:t>
            </a:r>
            <a:br>
              <a:rPr lang="en-GB" sz="1600" i="0">
                <a:effectLst/>
                <a:cs typeface="Arial"/>
              </a:rPr>
            </a:br>
            <a:r>
              <a:rPr lang="en-GB" sz="1600" i="0">
                <a:effectLst/>
                <a:cs typeface="Arial"/>
              </a:rPr>
              <a:t>to align with </a:t>
            </a:r>
            <a:br>
              <a:rPr lang="en-GB" sz="1600" i="0">
                <a:effectLst/>
                <a:cs typeface="Arial"/>
              </a:rPr>
            </a:br>
            <a:r>
              <a:rPr lang="en-GB" sz="1600" i="0">
                <a:effectLst/>
                <a:cs typeface="Arial"/>
              </a:rPr>
              <a:t>program needs</a:t>
            </a:r>
            <a:endParaRPr lang="en-US" sz="1600">
              <a:cs typeface="Arial"/>
            </a:endParaRPr>
          </a:p>
        </p:txBody>
      </p:sp>
      <p:sp>
        <p:nvSpPr>
          <p:cNvPr id="18" name="Rectangle 17">
            <a:extLst>
              <a:ext uri="{FF2B5EF4-FFF2-40B4-BE49-F238E27FC236}">
                <a16:creationId xmlns:a16="http://schemas.microsoft.com/office/drawing/2014/main" id="{F2266CA8-8630-461D-8300-AFDA1B125DCC}"/>
              </a:ext>
            </a:extLst>
          </p:cNvPr>
          <p:cNvSpPr/>
          <p:nvPr/>
        </p:nvSpPr>
        <p:spPr>
          <a:xfrm>
            <a:off x="9786207" y="4017837"/>
            <a:ext cx="2011680" cy="246221"/>
          </a:xfrm>
          <a:prstGeom prst="rect">
            <a:avLst/>
          </a:prstGeom>
        </p:spPr>
        <p:txBody>
          <a:bodyPr wrap="square" lIns="0" tIns="0" rIns="0" bIns="0" anchor="t">
            <a:spAutoFit/>
          </a:bodyPr>
          <a:lstStyle/>
          <a:p>
            <a:pPr algn="ctr">
              <a:spcAft>
                <a:spcPts val="600"/>
              </a:spcAft>
              <a:buClr>
                <a:srgbClr val="FA4616"/>
              </a:buClr>
              <a:defRPr/>
            </a:pPr>
            <a:r>
              <a:rPr lang="en-GB" sz="1600">
                <a:cs typeface="Arial"/>
              </a:rPr>
              <a:t>Drive adoption</a:t>
            </a:r>
          </a:p>
        </p:txBody>
      </p:sp>
      <p:cxnSp>
        <p:nvCxnSpPr>
          <p:cNvPr id="43" name="Straight Connector 42">
            <a:extLst>
              <a:ext uri="{FF2B5EF4-FFF2-40B4-BE49-F238E27FC236}">
                <a16:creationId xmlns:a16="http://schemas.microsoft.com/office/drawing/2014/main" id="{708A2074-D61C-41C3-BEC4-36AAC8134E2F}"/>
              </a:ext>
            </a:extLst>
          </p:cNvPr>
          <p:cNvCxnSpPr>
            <a:cxnSpLocks/>
          </p:cNvCxnSpPr>
          <p:nvPr/>
        </p:nvCxnSpPr>
        <p:spPr>
          <a:xfrm>
            <a:off x="1935479" y="3111508"/>
            <a:ext cx="1256507" cy="0"/>
          </a:xfrm>
          <a:prstGeom prst="line">
            <a:avLst/>
          </a:prstGeom>
          <a:ln w="19050" cap="flat" cmpd="sng" algn="ctr">
            <a:solidFill>
              <a:schemeClr val="bg2"/>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BE403186-4ECF-42C7-8F6E-E27243ECE23C}"/>
              </a:ext>
            </a:extLst>
          </p:cNvPr>
          <p:cNvCxnSpPr>
            <a:cxnSpLocks/>
          </p:cNvCxnSpPr>
          <p:nvPr/>
        </p:nvCxnSpPr>
        <p:spPr>
          <a:xfrm>
            <a:off x="4289266" y="3111508"/>
            <a:ext cx="1256507" cy="0"/>
          </a:xfrm>
          <a:prstGeom prst="line">
            <a:avLst/>
          </a:prstGeom>
          <a:ln w="19050" cap="flat" cmpd="sng" algn="ctr">
            <a:solidFill>
              <a:schemeClr val="bg2"/>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D5A82D64-08E9-4637-BCFB-46C49C15A9EA}"/>
              </a:ext>
            </a:extLst>
          </p:cNvPr>
          <p:cNvCxnSpPr>
            <a:cxnSpLocks/>
          </p:cNvCxnSpPr>
          <p:nvPr/>
        </p:nvCxnSpPr>
        <p:spPr>
          <a:xfrm>
            <a:off x="6643050" y="3111508"/>
            <a:ext cx="1256507" cy="0"/>
          </a:xfrm>
          <a:prstGeom prst="line">
            <a:avLst/>
          </a:prstGeom>
          <a:ln w="19050" cap="flat" cmpd="sng" algn="ctr">
            <a:solidFill>
              <a:schemeClr val="bg2"/>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30438ABD-2143-4099-A392-1ABF38C3DB76}"/>
              </a:ext>
            </a:extLst>
          </p:cNvPr>
          <p:cNvCxnSpPr>
            <a:cxnSpLocks/>
          </p:cNvCxnSpPr>
          <p:nvPr/>
        </p:nvCxnSpPr>
        <p:spPr>
          <a:xfrm>
            <a:off x="8996836" y="3111508"/>
            <a:ext cx="1256507" cy="0"/>
          </a:xfrm>
          <a:prstGeom prst="line">
            <a:avLst/>
          </a:prstGeom>
          <a:ln w="19050" cap="flat" cmpd="sng" algn="ctr">
            <a:solidFill>
              <a:schemeClr val="bg2"/>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790988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51AD2D27-3371-448B-BCCE-8F54991C68A0}"/>
              </a:ext>
            </a:extLst>
          </p:cNvPr>
          <p:cNvGrpSpPr/>
          <p:nvPr/>
        </p:nvGrpSpPr>
        <p:grpSpPr>
          <a:xfrm>
            <a:off x="6217191" y="2423306"/>
            <a:ext cx="3048729" cy="1905914"/>
            <a:chOff x="6217191" y="2296306"/>
            <a:chExt cx="3048729" cy="1905914"/>
          </a:xfrm>
        </p:grpSpPr>
        <p:sp>
          <p:nvSpPr>
            <p:cNvPr id="61" name="Text Placeholder 16">
              <a:extLst>
                <a:ext uri="{FF2B5EF4-FFF2-40B4-BE49-F238E27FC236}">
                  <a16:creationId xmlns:a16="http://schemas.microsoft.com/office/drawing/2014/main" id="{C616DCB1-E5BA-4404-BD0D-C0BA407BF290}"/>
                </a:ext>
              </a:extLst>
            </p:cNvPr>
            <p:cNvSpPr/>
            <p:nvPr/>
          </p:nvSpPr>
          <p:spPr>
            <a:xfrm rot="16200000">
              <a:off x="6563700" y="2004767"/>
              <a:ext cx="1905914" cy="2488991"/>
            </a:xfrm>
            <a:prstGeom prst="rect">
              <a:avLst/>
            </a:prstGeom>
            <a:solidFill>
              <a:schemeClr val="bg1"/>
            </a:solidFill>
            <a:ln w="6350" cap="flat">
              <a:noFill/>
              <a:prstDash val="solid"/>
              <a:round/>
            </a:ln>
            <a:effectLst>
              <a:outerShdw blurRad="304800" dir="16745762" rotWithShape="0">
                <a:srgbClr val="131F2B">
                  <a:alpha val="20000"/>
                </a:srgbClr>
              </a:outerShdw>
            </a:effectLst>
          </p:spPr>
          <p:txBody>
            <a:bodyPr wrap="square" lIns="0" tIns="0" rIns="0" bIns="0" numCol="1" anchor="ctr">
              <a:normAutofit/>
            </a:bodyPr>
            <a:lstStyle/>
            <a:p>
              <a:pPr defTabSz="228416">
                <a:spcBef>
                  <a:spcPts val="500"/>
                </a:spcBef>
                <a:defRPr sz="2000">
                  <a:solidFill>
                    <a:srgbClr val="FFFFFF"/>
                  </a:solidFill>
                  <a:latin typeface="Arial"/>
                  <a:ea typeface="Arial"/>
                  <a:cs typeface="Arial"/>
                  <a:sym typeface="Arial"/>
                </a:defRPr>
              </a:pPr>
              <a:endParaRPr sz="1000">
                <a:solidFill>
                  <a:srgbClr val="FFFFFF"/>
                </a:solidFill>
                <a:latin typeface="Arial"/>
                <a:cs typeface="Arial"/>
                <a:sym typeface="Arial"/>
              </a:endParaRPr>
            </a:p>
          </p:txBody>
        </p:sp>
        <p:sp>
          <p:nvSpPr>
            <p:cNvPr id="62" name="Agile Application…">
              <a:extLst>
                <a:ext uri="{FF2B5EF4-FFF2-40B4-BE49-F238E27FC236}">
                  <a16:creationId xmlns:a16="http://schemas.microsoft.com/office/drawing/2014/main" id="{58312822-80ED-4C1F-B562-EB946C4764FA}"/>
                </a:ext>
              </a:extLst>
            </p:cNvPr>
            <p:cNvSpPr txBox="1"/>
            <p:nvPr/>
          </p:nvSpPr>
          <p:spPr>
            <a:xfrm>
              <a:off x="6217191" y="2845547"/>
              <a:ext cx="2598932" cy="1233298"/>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379" tIns="25379" rIns="25379" bIns="25379" numCol="1" anchor="ctr">
              <a:noAutofit/>
            </a:bodyPr>
            <a:lstStyle/>
            <a:p>
              <a:pPr algn="ctr" defTabSz="228416">
                <a:defRPr sz="3000" b="1">
                  <a:solidFill>
                    <a:srgbClr val="E6552F"/>
                  </a:solidFill>
                  <a:latin typeface="Arial"/>
                  <a:ea typeface="Arial"/>
                  <a:cs typeface="Arial"/>
                  <a:sym typeface="Arial"/>
                </a:defRPr>
              </a:pPr>
              <a:r>
                <a:rPr lang="en-US" sz="1600" b="1">
                  <a:solidFill>
                    <a:srgbClr val="E6552F"/>
                  </a:solidFill>
                  <a:latin typeface="Arial"/>
                  <a:cs typeface="Arial"/>
                  <a:sym typeface="Arial"/>
                </a:rPr>
                <a:t>Democratize</a:t>
              </a:r>
              <a:br>
                <a:rPr lang="en-US" sz="1600" b="1">
                  <a:latin typeface="Arial"/>
                  <a:cs typeface="Arial"/>
                  <a:sym typeface="Arial"/>
                </a:rPr>
              </a:br>
              <a:r>
                <a:rPr lang="en-US" sz="1600" b="1">
                  <a:solidFill>
                    <a:srgbClr val="E6552F"/>
                  </a:solidFill>
                  <a:latin typeface="Arial"/>
                  <a:cs typeface="Arial"/>
                  <a:sym typeface="Arial"/>
                </a:rPr>
                <a:t>development </a:t>
              </a:r>
            </a:p>
            <a:p>
              <a:pPr algn="ctr" defTabSz="228416">
                <a:lnSpc>
                  <a:spcPct val="50000"/>
                </a:lnSpc>
                <a:defRPr sz="3000" b="1">
                  <a:solidFill>
                    <a:srgbClr val="E6552F"/>
                  </a:solidFill>
                  <a:latin typeface="Arial"/>
                  <a:ea typeface="Arial"/>
                  <a:cs typeface="Arial"/>
                  <a:sym typeface="Arial"/>
                </a:defRPr>
              </a:pPr>
              <a:endParaRPr lang="en-US" sz="1500" b="1">
                <a:solidFill>
                  <a:srgbClr val="E6552F"/>
                </a:solidFill>
                <a:latin typeface="Arial"/>
                <a:cs typeface="Arial"/>
              </a:endParaRPr>
            </a:p>
          </p:txBody>
        </p:sp>
        <p:pic>
          <p:nvPicPr>
            <p:cNvPr id="64" name="Graphic 63">
              <a:extLst>
                <a:ext uri="{FF2B5EF4-FFF2-40B4-BE49-F238E27FC236}">
                  <a16:creationId xmlns:a16="http://schemas.microsoft.com/office/drawing/2014/main" id="{00E7FF46-55AB-4807-A36D-FCFA212FF7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13026" y="2457893"/>
              <a:ext cx="407262" cy="407263"/>
            </a:xfrm>
            <a:prstGeom prst="rect">
              <a:avLst/>
            </a:prstGeom>
          </p:spPr>
        </p:pic>
        <p:pic>
          <p:nvPicPr>
            <p:cNvPr id="66" name="Picture 65">
              <a:extLst>
                <a:ext uri="{FF2B5EF4-FFF2-40B4-BE49-F238E27FC236}">
                  <a16:creationId xmlns:a16="http://schemas.microsoft.com/office/drawing/2014/main" id="{EC66D480-CA2E-4AD4-B64C-A13110144D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178801" y="2348971"/>
              <a:ext cx="1087119" cy="876828"/>
            </a:xfrm>
            <a:prstGeom prst="rect">
              <a:avLst/>
            </a:prstGeom>
          </p:spPr>
        </p:pic>
      </p:grpSp>
      <p:pic>
        <p:nvPicPr>
          <p:cNvPr id="70" name="Image" descr="Image">
            <a:extLst>
              <a:ext uri="{FF2B5EF4-FFF2-40B4-BE49-F238E27FC236}">
                <a16:creationId xmlns:a16="http://schemas.microsoft.com/office/drawing/2014/main" id="{0091B180-F91C-4CEB-9388-93E0481B181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069502" y="3914949"/>
            <a:ext cx="84935" cy="73519"/>
          </a:xfrm>
          <a:prstGeom prst="rect">
            <a:avLst/>
          </a:prstGeom>
          <a:ln w="12700">
            <a:miter lim="400000"/>
          </a:ln>
        </p:spPr>
      </p:pic>
      <p:pic>
        <p:nvPicPr>
          <p:cNvPr id="72" name="Image">
            <a:extLst>
              <a:ext uri="{FF2B5EF4-FFF2-40B4-BE49-F238E27FC236}">
                <a16:creationId xmlns:a16="http://schemas.microsoft.com/office/drawing/2014/main" id="{035684C8-C2F1-4CC1-85D3-5E10F912A469}"/>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rot="20760000">
            <a:off x="10546363" y="3750652"/>
            <a:ext cx="134364" cy="127198"/>
          </a:xfrm>
          <a:prstGeom prst="rect">
            <a:avLst/>
          </a:prstGeom>
          <a:ln w="12700">
            <a:miter lim="400000"/>
          </a:ln>
        </p:spPr>
      </p:pic>
      <p:sp>
        <p:nvSpPr>
          <p:cNvPr id="73" name="Text Placeholder 16">
            <a:extLst>
              <a:ext uri="{FF2B5EF4-FFF2-40B4-BE49-F238E27FC236}">
                <a16:creationId xmlns:a16="http://schemas.microsoft.com/office/drawing/2014/main" id="{F5E2FA8F-2105-4A8B-890D-E4878D185FAE}"/>
              </a:ext>
            </a:extLst>
          </p:cNvPr>
          <p:cNvSpPr/>
          <p:nvPr/>
        </p:nvSpPr>
        <p:spPr>
          <a:xfrm rot="16200000">
            <a:off x="9517153" y="3482669"/>
            <a:ext cx="1905917" cy="2488992"/>
          </a:xfrm>
          <a:prstGeom prst="rect">
            <a:avLst/>
          </a:prstGeom>
          <a:solidFill>
            <a:srgbClr val="F7FBFF"/>
          </a:solidFill>
          <a:ln w="6350" cap="flat">
            <a:noFill/>
            <a:prstDash val="solid"/>
            <a:round/>
          </a:ln>
          <a:effectLst>
            <a:outerShdw blurRad="304800" dir="16745762" rotWithShape="0">
              <a:srgbClr val="131F2B">
                <a:alpha val="20000"/>
              </a:srgbClr>
            </a:outerShdw>
          </a:effectLst>
        </p:spPr>
        <p:txBody>
          <a:bodyPr wrap="square" lIns="0" tIns="0" rIns="0" bIns="0" numCol="1" anchor="ctr">
            <a:normAutofit/>
          </a:bodyPr>
          <a:lstStyle/>
          <a:p>
            <a:pPr defTabSz="228416">
              <a:spcBef>
                <a:spcPts val="500"/>
              </a:spcBef>
              <a:defRPr sz="2000">
                <a:solidFill>
                  <a:srgbClr val="FFFFFF"/>
                </a:solidFill>
                <a:latin typeface="Arial"/>
                <a:ea typeface="Arial"/>
                <a:cs typeface="Arial"/>
                <a:sym typeface="Arial"/>
              </a:defRPr>
            </a:pPr>
            <a:endParaRPr sz="1000">
              <a:solidFill>
                <a:srgbClr val="FFFFFF"/>
              </a:solidFill>
              <a:latin typeface="Arial"/>
              <a:cs typeface="Arial"/>
              <a:sym typeface="Arial"/>
            </a:endParaRPr>
          </a:p>
        </p:txBody>
      </p:sp>
      <p:sp>
        <p:nvSpPr>
          <p:cNvPr id="74" name="AI-Optimized…">
            <a:extLst>
              <a:ext uri="{FF2B5EF4-FFF2-40B4-BE49-F238E27FC236}">
                <a16:creationId xmlns:a16="http://schemas.microsoft.com/office/drawing/2014/main" id="{D203B79F-CB43-48F5-B46F-B94446AE1B88}"/>
              </a:ext>
            </a:extLst>
          </p:cNvPr>
          <p:cNvSpPr txBox="1"/>
          <p:nvPr/>
        </p:nvSpPr>
        <p:spPr>
          <a:xfrm>
            <a:off x="9376169" y="4293667"/>
            <a:ext cx="2187884" cy="123586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379" tIns="25379" rIns="25379" bIns="25379" numCol="1" anchor="ctr">
            <a:noAutofit/>
          </a:bodyPr>
          <a:lstStyle/>
          <a:p>
            <a:pPr algn="ctr" defTabSz="228416">
              <a:defRPr sz="3000" b="1">
                <a:solidFill>
                  <a:srgbClr val="E6552F"/>
                </a:solidFill>
                <a:latin typeface="Arial"/>
                <a:ea typeface="Arial"/>
                <a:cs typeface="Arial"/>
                <a:sym typeface="Arial"/>
              </a:defRPr>
            </a:pPr>
            <a:r>
              <a:rPr lang="en-US" sz="1600" b="1">
                <a:solidFill>
                  <a:srgbClr val="E6552F"/>
                </a:solidFill>
                <a:latin typeface="Arial"/>
                <a:cs typeface="Arial"/>
                <a:sym typeface="Arial"/>
              </a:rPr>
              <a:t>Unleash AI across</a:t>
            </a:r>
            <a:br>
              <a:rPr lang="en-US" sz="1600" b="1">
                <a:latin typeface="Arial"/>
                <a:cs typeface="Arial"/>
              </a:rPr>
            </a:br>
            <a:r>
              <a:rPr lang="en-US" sz="1600" b="1">
                <a:solidFill>
                  <a:srgbClr val="E6552F"/>
                </a:solidFill>
                <a:latin typeface="Arial"/>
                <a:cs typeface="Arial"/>
                <a:sym typeface="Arial"/>
              </a:rPr>
              <a:t>every facet of work</a:t>
            </a:r>
          </a:p>
          <a:p>
            <a:pPr algn="ctr" defTabSz="228416">
              <a:lnSpc>
                <a:spcPct val="50000"/>
              </a:lnSpc>
              <a:defRPr sz="3000" b="1">
                <a:solidFill>
                  <a:srgbClr val="FFFFFF"/>
                </a:solidFill>
                <a:latin typeface="Arial"/>
                <a:ea typeface="Arial"/>
                <a:cs typeface="Arial"/>
                <a:sym typeface="Arial"/>
              </a:defRPr>
            </a:pPr>
            <a:endParaRPr lang="en-US" sz="1500" b="1">
              <a:solidFill>
                <a:srgbClr val="FFFFFF"/>
              </a:solidFill>
              <a:latin typeface="Arial"/>
              <a:cs typeface="Arial"/>
              <a:sym typeface="Arial"/>
            </a:endParaRPr>
          </a:p>
        </p:txBody>
      </p:sp>
      <p:pic>
        <p:nvPicPr>
          <p:cNvPr id="75" name="Image" descr="Image">
            <a:extLst>
              <a:ext uri="{FF2B5EF4-FFF2-40B4-BE49-F238E27FC236}">
                <a16:creationId xmlns:a16="http://schemas.microsoft.com/office/drawing/2014/main" id="{511EF3D0-9C86-40EC-91C7-6DC5EDC3266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2553344" flipH="1">
            <a:off x="11226449" y="3376479"/>
            <a:ext cx="682482" cy="875457"/>
          </a:xfrm>
          <a:prstGeom prst="rect">
            <a:avLst/>
          </a:prstGeom>
          <a:ln w="12700" cap="flat">
            <a:noFill/>
            <a:miter lim="400000"/>
          </a:ln>
          <a:effectLst/>
        </p:spPr>
      </p:pic>
      <p:pic>
        <p:nvPicPr>
          <p:cNvPr id="77" name="Graphic 76">
            <a:extLst>
              <a:ext uri="{FF2B5EF4-FFF2-40B4-BE49-F238E27FC236}">
                <a16:creationId xmlns:a16="http://schemas.microsoft.com/office/drawing/2014/main" id="{8A504E70-EE86-480D-B27C-60BB446FA4E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66480" y="3881623"/>
            <a:ext cx="407263" cy="407264"/>
          </a:xfrm>
          <a:prstGeom prst="rect">
            <a:avLst/>
          </a:prstGeom>
        </p:spPr>
      </p:pic>
      <p:pic>
        <p:nvPicPr>
          <p:cNvPr id="79" name="Image" descr="Image">
            <a:extLst>
              <a:ext uri="{FF2B5EF4-FFF2-40B4-BE49-F238E27FC236}">
                <a16:creationId xmlns:a16="http://schemas.microsoft.com/office/drawing/2014/main" id="{48473B22-B38B-4ED7-BED8-235F5CABED5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flipH="1">
            <a:off x="1342786" y="3777449"/>
            <a:ext cx="84935" cy="73519"/>
          </a:xfrm>
          <a:prstGeom prst="rect">
            <a:avLst/>
          </a:prstGeom>
          <a:ln w="12700">
            <a:miter lim="400000"/>
          </a:ln>
        </p:spPr>
      </p:pic>
      <p:pic>
        <p:nvPicPr>
          <p:cNvPr id="80" name="Image">
            <a:extLst>
              <a:ext uri="{FF2B5EF4-FFF2-40B4-BE49-F238E27FC236}">
                <a16:creationId xmlns:a16="http://schemas.microsoft.com/office/drawing/2014/main" id="{0E343802-0AB1-4F39-9D78-4A7F03B7FEAF}"/>
              </a:ext>
            </a:extLst>
          </p:cNvPr>
          <p:cNvPicPr>
            <a:picLocks noChangeAspect="1"/>
          </p:cNvPicPr>
          <p:nvPr/>
        </p:nvPicPr>
        <p:blipFill>
          <a:blip r:embed="rId12" cstate="hqprint">
            <a:extLst>
              <a:ext uri="{28A0092B-C50C-407E-A947-70E740481C1C}">
                <a14:useLocalDpi xmlns:a14="http://schemas.microsoft.com/office/drawing/2010/main"/>
              </a:ext>
            </a:extLst>
          </a:blip>
          <a:srcRect/>
          <a:stretch/>
        </p:blipFill>
        <p:spPr>
          <a:xfrm rot="840000">
            <a:off x="1419846" y="3817782"/>
            <a:ext cx="148138" cy="119841"/>
          </a:xfrm>
          <a:prstGeom prst="rect">
            <a:avLst/>
          </a:prstGeom>
          <a:ln w="12700">
            <a:miter lim="400000"/>
          </a:ln>
        </p:spPr>
      </p:pic>
      <p:sp>
        <p:nvSpPr>
          <p:cNvPr id="81" name="Text Placeholder 16">
            <a:extLst>
              <a:ext uri="{FF2B5EF4-FFF2-40B4-BE49-F238E27FC236}">
                <a16:creationId xmlns:a16="http://schemas.microsoft.com/office/drawing/2014/main" id="{65F5C384-94F7-4F20-8426-98E32383AC57}"/>
              </a:ext>
            </a:extLst>
          </p:cNvPr>
          <p:cNvSpPr/>
          <p:nvPr/>
        </p:nvSpPr>
        <p:spPr>
          <a:xfrm rot="16200000">
            <a:off x="947413" y="2628199"/>
            <a:ext cx="1905917" cy="2488997"/>
          </a:xfrm>
          <a:prstGeom prst="rect">
            <a:avLst/>
          </a:prstGeom>
          <a:solidFill>
            <a:srgbClr val="F7FBFF"/>
          </a:solidFill>
          <a:ln w="6350" cap="flat">
            <a:noFill/>
            <a:prstDash val="solid"/>
            <a:round/>
          </a:ln>
          <a:effectLst>
            <a:outerShdw blurRad="304800" dir="16745762" rotWithShape="0">
              <a:srgbClr val="131F2B">
                <a:alpha val="20000"/>
              </a:srgbClr>
            </a:outerShdw>
          </a:effectLst>
        </p:spPr>
        <p:txBody>
          <a:bodyPr wrap="square" lIns="0" tIns="0" rIns="0" bIns="0" numCol="1" anchor="ctr">
            <a:normAutofit/>
          </a:bodyPr>
          <a:lstStyle/>
          <a:p>
            <a:pPr defTabSz="228416">
              <a:spcBef>
                <a:spcPts val="500"/>
              </a:spcBef>
              <a:defRPr sz="2000">
                <a:solidFill>
                  <a:srgbClr val="FFFFFF"/>
                </a:solidFill>
                <a:latin typeface="Arial"/>
                <a:ea typeface="Arial"/>
                <a:cs typeface="Arial"/>
                <a:sym typeface="Arial"/>
              </a:defRPr>
            </a:pPr>
            <a:endParaRPr sz="1000">
              <a:solidFill>
                <a:srgbClr val="FFFFFF"/>
              </a:solidFill>
              <a:latin typeface="Arial"/>
              <a:cs typeface="Arial"/>
              <a:sym typeface="Arial"/>
            </a:endParaRPr>
          </a:p>
        </p:txBody>
      </p:sp>
      <p:sp>
        <p:nvSpPr>
          <p:cNvPr id="82" name="Back-Office…">
            <a:extLst>
              <a:ext uri="{FF2B5EF4-FFF2-40B4-BE49-F238E27FC236}">
                <a16:creationId xmlns:a16="http://schemas.microsoft.com/office/drawing/2014/main" id="{7CD0FC5D-8C66-4668-915B-F4BB4A7C3F30}"/>
              </a:ext>
            </a:extLst>
          </p:cNvPr>
          <p:cNvSpPr txBox="1"/>
          <p:nvPr/>
        </p:nvSpPr>
        <p:spPr>
          <a:xfrm>
            <a:off x="878914" y="3408670"/>
            <a:ext cx="2042917" cy="1349375"/>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379" tIns="25379" rIns="25379" bIns="25379" numCol="1" anchor="ctr">
            <a:noAutofit/>
          </a:bodyPr>
          <a:lstStyle/>
          <a:p>
            <a:pPr algn="ctr" defTabSz="228416">
              <a:defRPr sz="3000" b="1">
                <a:solidFill>
                  <a:srgbClr val="E6552F"/>
                </a:solidFill>
                <a:latin typeface="Arial"/>
                <a:ea typeface="Arial"/>
                <a:cs typeface="Arial"/>
                <a:sym typeface="Arial"/>
              </a:defRPr>
            </a:pPr>
            <a:r>
              <a:rPr lang="en-US" sz="1600" b="1">
                <a:solidFill>
                  <a:srgbClr val="E6552F"/>
                </a:solidFill>
                <a:latin typeface="Arial"/>
                <a:cs typeface="Arial"/>
                <a:sym typeface="Arial"/>
              </a:rPr>
              <a:t> Assign </a:t>
            </a:r>
            <a:br>
              <a:rPr lang="en-US" sz="1600" b="1">
                <a:solidFill>
                  <a:srgbClr val="E6552F"/>
                </a:solidFill>
                <a:latin typeface="Arial"/>
                <a:cs typeface="Arial"/>
                <a:sym typeface="Arial"/>
              </a:rPr>
            </a:br>
            <a:r>
              <a:rPr lang="en-US" sz="1600" b="1">
                <a:solidFill>
                  <a:srgbClr val="E6552F"/>
                </a:solidFill>
                <a:latin typeface="Arial"/>
                <a:cs typeface="Arial"/>
                <a:sym typeface="Arial"/>
              </a:rPr>
              <a:t>automatable </a:t>
            </a:r>
            <a:br>
              <a:rPr lang="en-US" sz="1600" b="1">
                <a:solidFill>
                  <a:srgbClr val="E6552F"/>
                </a:solidFill>
                <a:latin typeface="Arial"/>
                <a:cs typeface="Arial"/>
                <a:sym typeface="Arial"/>
              </a:rPr>
            </a:br>
            <a:r>
              <a:rPr lang="en-US" sz="1600" b="1">
                <a:solidFill>
                  <a:srgbClr val="E6552F"/>
                </a:solidFill>
                <a:latin typeface="Arial"/>
                <a:cs typeface="Arial"/>
                <a:sym typeface="Arial"/>
              </a:rPr>
              <a:t>work to robots</a:t>
            </a:r>
          </a:p>
          <a:p>
            <a:pPr algn="ctr" defTabSz="228416">
              <a:defRPr sz="3000" b="1">
                <a:solidFill>
                  <a:srgbClr val="E6552F"/>
                </a:solidFill>
                <a:latin typeface="Arial"/>
                <a:ea typeface="Arial"/>
                <a:cs typeface="Arial"/>
                <a:sym typeface="Arial"/>
              </a:defRPr>
            </a:pPr>
            <a:endParaRPr lang="en-US" sz="900" b="1">
              <a:solidFill>
                <a:srgbClr val="E6552F"/>
              </a:solidFill>
              <a:latin typeface="Arial"/>
              <a:cs typeface="Arial"/>
              <a:sym typeface="Arial"/>
            </a:endParaRPr>
          </a:p>
        </p:txBody>
      </p:sp>
      <p:pic>
        <p:nvPicPr>
          <p:cNvPr id="83" name="Graphic 82">
            <a:extLst>
              <a:ext uri="{FF2B5EF4-FFF2-40B4-BE49-F238E27FC236}">
                <a16:creationId xmlns:a16="http://schemas.microsoft.com/office/drawing/2014/main" id="{51AB193D-4841-4311-9DA3-C956693D9B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670534" y="3030417"/>
            <a:ext cx="459674" cy="459674"/>
          </a:xfrm>
          <a:prstGeom prst="rect">
            <a:avLst/>
          </a:prstGeom>
        </p:spPr>
      </p:pic>
      <p:pic>
        <p:nvPicPr>
          <p:cNvPr id="84" name="Picture 83">
            <a:extLst>
              <a:ext uri="{FF2B5EF4-FFF2-40B4-BE49-F238E27FC236}">
                <a16:creationId xmlns:a16="http://schemas.microsoft.com/office/drawing/2014/main" id="{9E115D91-84F5-4697-B012-67CB51A12B02}"/>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08551" y="4359041"/>
            <a:ext cx="917766" cy="866274"/>
          </a:xfrm>
          <a:prstGeom prst="rect">
            <a:avLst/>
          </a:prstGeom>
        </p:spPr>
      </p:pic>
      <p:sp>
        <p:nvSpPr>
          <p:cNvPr id="102" name="Rectangle 101">
            <a:extLst>
              <a:ext uri="{FF2B5EF4-FFF2-40B4-BE49-F238E27FC236}">
                <a16:creationId xmlns:a16="http://schemas.microsoft.com/office/drawing/2014/main" id="{428E4384-4731-4722-8F0A-35167B83587E}"/>
              </a:ext>
            </a:extLst>
          </p:cNvPr>
          <p:cNvSpPr/>
          <p:nvPr/>
        </p:nvSpPr>
        <p:spPr>
          <a:xfrm>
            <a:off x="6268337" y="4207569"/>
            <a:ext cx="2497976" cy="335009"/>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1200" b="1" i="0">
                <a:latin typeface="Arial"/>
                <a:cs typeface="Arial"/>
              </a:rPr>
              <a:t>Citizen development</a:t>
            </a:r>
          </a:p>
        </p:txBody>
      </p:sp>
      <p:pic>
        <p:nvPicPr>
          <p:cNvPr id="58" name="Picture 12" descr="Picture 12">
            <a:extLst>
              <a:ext uri="{FF2B5EF4-FFF2-40B4-BE49-F238E27FC236}">
                <a16:creationId xmlns:a16="http://schemas.microsoft.com/office/drawing/2014/main" id="{115B6E3B-0C4F-46EB-9D32-426B647275B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351934" y="351437"/>
            <a:ext cx="1418509" cy="325444"/>
          </a:xfrm>
          <a:prstGeom prst="rect">
            <a:avLst/>
          </a:prstGeom>
          <a:ln w="12700">
            <a:miter lim="400000"/>
          </a:ln>
        </p:spPr>
      </p:pic>
      <p:sp>
        <p:nvSpPr>
          <p:cNvPr id="90" name="Rectangle 89">
            <a:extLst>
              <a:ext uri="{FF2B5EF4-FFF2-40B4-BE49-F238E27FC236}">
                <a16:creationId xmlns:a16="http://schemas.microsoft.com/office/drawing/2014/main" id="{81F6A7D3-4A24-486B-926D-CEE2851838DF}"/>
              </a:ext>
            </a:extLst>
          </p:cNvPr>
          <p:cNvSpPr/>
          <p:nvPr/>
        </p:nvSpPr>
        <p:spPr>
          <a:xfrm>
            <a:off x="0" y="0"/>
            <a:ext cx="12188825" cy="685800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6926"/>
            <a:r>
              <a:rPr lang="en-US" sz="1400">
                <a:solidFill>
                  <a:srgbClr val="FFFFFF"/>
                </a:solidFill>
                <a:latin typeface="Arial"/>
                <a:cs typeface="Arial"/>
              </a:rPr>
              <a:t> 	</a:t>
            </a:r>
          </a:p>
        </p:txBody>
      </p:sp>
      <p:sp>
        <p:nvSpPr>
          <p:cNvPr id="372" name="The pillars of a fully automated enterprise"/>
          <p:cNvSpPr txBox="1"/>
          <p:nvPr/>
        </p:nvSpPr>
        <p:spPr>
          <a:xfrm>
            <a:off x="333381" y="361394"/>
            <a:ext cx="7902814" cy="68949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rmAutofit/>
          </a:bodyPr>
          <a:lstStyle>
            <a:lvl1pPr algn="l" defTabSz="914400">
              <a:lnSpc>
                <a:spcPct val="85000"/>
              </a:lnSpc>
              <a:tabLst>
                <a:tab pos="4445000" algn="l"/>
              </a:tabLst>
              <a:defRPr sz="5600" b="1" spc="-100">
                <a:solidFill>
                  <a:srgbClr val="FFFFFF"/>
                </a:solidFill>
                <a:latin typeface="Arial"/>
                <a:ea typeface="Arial"/>
                <a:cs typeface="Arial"/>
                <a:sym typeface="Arial"/>
              </a:defRPr>
            </a:lvl1pPr>
          </a:lstStyle>
          <a:p>
            <a:pPr defTabSz="913852">
              <a:tabLst>
                <a:tab pos="4442334" algn="l"/>
              </a:tabLst>
            </a:pPr>
            <a:endParaRPr lang="en-US" sz="2000" b="0"/>
          </a:p>
        </p:txBody>
      </p:sp>
      <p:grpSp>
        <p:nvGrpSpPr>
          <p:cNvPr id="2" name="Group 1">
            <a:extLst>
              <a:ext uri="{FF2B5EF4-FFF2-40B4-BE49-F238E27FC236}">
                <a16:creationId xmlns:a16="http://schemas.microsoft.com/office/drawing/2014/main" id="{ADEC0C08-47EA-4F12-9DC5-860ECB678141}"/>
              </a:ext>
            </a:extLst>
          </p:cNvPr>
          <p:cNvGrpSpPr/>
          <p:nvPr/>
        </p:nvGrpSpPr>
        <p:grpSpPr>
          <a:xfrm>
            <a:off x="3375013" y="1643893"/>
            <a:ext cx="2667002" cy="3194256"/>
            <a:chOff x="3375013" y="1643893"/>
            <a:chExt cx="2667002" cy="3194256"/>
          </a:xfrm>
        </p:grpSpPr>
        <p:sp>
          <p:nvSpPr>
            <p:cNvPr id="100" name="Text Placeholder 16">
              <a:extLst>
                <a:ext uri="{FF2B5EF4-FFF2-40B4-BE49-F238E27FC236}">
                  <a16:creationId xmlns:a16="http://schemas.microsoft.com/office/drawing/2014/main" id="{97AA74A1-115A-4A7C-BEA8-8BEDE80B6220}"/>
                </a:ext>
              </a:extLst>
            </p:cNvPr>
            <p:cNvSpPr/>
            <p:nvPr/>
          </p:nvSpPr>
          <p:spPr>
            <a:xfrm rot="16200000">
              <a:off x="3245757" y="1773151"/>
              <a:ext cx="2925515" cy="2667000"/>
            </a:xfrm>
            <a:prstGeom prst="rect">
              <a:avLst/>
            </a:prstGeom>
            <a:solidFill>
              <a:schemeClr val="bg1"/>
            </a:solidFill>
            <a:ln w="6350" cap="flat">
              <a:noFill/>
              <a:prstDash val="solid"/>
              <a:round/>
            </a:ln>
            <a:effectLst>
              <a:outerShdw blurRad="304800" dir="16745762" rotWithShape="0">
                <a:srgbClr val="131F2B">
                  <a:alpha val="30000"/>
                </a:srgbClr>
              </a:outerShdw>
            </a:effectLst>
          </p:spPr>
          <p:txBody>
            <a:bodyPr wrap="square" lIns="0" tIns="0" rIns="0" bIns="0" numCol="1" anchor="ctr">
              <a:normAutofit/>
            </a:bodyPr>
            <a:lstStyle/>
            <a:p>
              <a:pPr defTabSz="228416">
                <a:spcBef>
                  <a:spcPts val="500"/>
                </a:spcBef>
              </a:pPr>
              <a:endParaRPr sz="1000">
                <a:solidFill>
                  <a:srgbClr val="FFFFFF"/>
                </a:solidFill>
                <a:latin typeface="Arial"/>
                <a:cs typeface="Arial"/>
                <a:sym typeface="Arial"/>
              </a:endParaRPr>
            </a:p>
          </p:txBody>
        </p:sp>
        <p:sp>
          <p:nvSpPr>
            <p:cNvPr id="105" name="Rectangle 104">
              <a:extLst>
                <a:ext uri="{FF2B5EF4-FFF2-40B4-BE49-F238E27FC236}">
                  <a16:creationId xmlns:a16="http://schemas.microsoft.com/office/drawing/2014/main" id="{B7BE1AAF-EE67-46C7-B095-F8FE92C93FE2}"/>
                </a:ext>
              </a:extLst>
            </p:cNvPr>
            <p:cNvSpPr/>
            <p:nvPr/>
          </p:nvSpPr>
          <p:spPr>
            <a:xfrm>
              <a:off x="3375013" y="4467959"/>
              <a:ext cx="2667001" cy="37019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1200" b="1" i="0">
                  <a:latin typeface="Arial"/>
                  <a:cs typeface="Arial"/>
                </a:rPr>
                <a:t>Automation consumption at scale</a:t>
              </a:r>
            </a:p>
          </p:txBody>
        </p:sp>
      </p:grpSp>
      <p:sp>
        <p:nvSpPr>
          <p:cNvPr id="370" name="Rectangle 9"/>
          <p:cNvSpPr/>
          <p:nvPr/>
        </p:nvSpPr>
        <p:spPr>
          <a:xfrm>
            <a:off x="1" y="6129477"/>
            <a:ext cx="12188824" cy="726489"/>
          </a:xfrm>
          <a:prstGeom prst="rect">
            <a:avLst/>
          </a:prstGeom>
          <a:solidFill>
            <a:srgbClr val="FA4616"/>
          </a:solidFill>
          <a:ln w="12700">
            <a:miter lim="400000"/>
          </a:ln>
        </p:spPr>
        <p:txBody>
          <a:bodyPr lIns="0" tIns="0" rIns="0" bIns="0" anchor="ctr"/>
          <a:lstStyle/>
          <a:p>
            <a:pPr defTabSz="456835">
              <a:defRPr sz="3600">
                <a:solidFill>
                  <a:srgbClr val="FFFFFF"/>
                </a:solidFill>
                <a:latin typeface="Arial"/>
                <a:ea typeface="Arial"/>
                <a:cs typeface="Arial"/>
                <a:sym typeface="Arial"/>
              </a:defRPr>
            </a:pPr>
            <a:endParaRPr sz="3598">
              <a:solidFill>
                <a:srgbClr val="FFFFFF"/>
              </a:solidFill>
              <a:latin typeface="Arial"/>
              <a:cs typeface="Arial"/>
              <a:sym typeface="Arial"/>
            </a:endParaRPr>
          </a:p>
        </p:txBody>
      </p:sp>
      <p:sp>
        <p:nvSpPr>
          <p:cNvPr id="373" name="Rectangle 9"/>
          <p:cNvSpPr/>
          <p:nvPr/>
        </p:nvSpPr>
        <p:spPr>
          <a:xfrm>
            <a:off x="4760" y="6823864"/>
            <a:ext cx="12179307" cy="45684"/>
          </a:xfrm>
          <a:prstGeom prst="rect">
            <a:avLst/>
          </a:prstGeom>
          <a:solidFill>
            <a:srgbClr val="FA4616"/>
          </a:solidFill>
          <a:ln w="12700">
            <a:miter lim="400000"/>
          </a:ln>
        </p:spPr>
        <p:txBody>
          <a:bodyPr lIns="0" tIns="0" rIns="0" bIns="0" anchor="ctr"/>
          <a:lstStyle/>
          <a:p>
            <a:pPr defTabSz="456835">
              <a:defRPr sz="3600">
                <a:solidFill>
                  <a:srgbClr val="FFFFFF"/>
                </a:solidFill>
                <a:latin typeface="Arial"/>
                <a:ea typeface="Arial"/>
                <a:cs typeface="Arial"/>
                <a:sym typeface="Arial"/>
              </a:defRPr>
            </a:pPr>
            <a:endParaRPr sz="3598">
              <a:solidFill>
                <a:srgbClr val="FFFFFF"/>
              </a:solidFill>
              <a:latin typeface="Arial"/>
              <a:cs typeface="Arial"/>
              <a:sym typeface="Arial"/>
            </a:endParaRPr>
          </a:p>
        </p:txBody>
      </p:sp>
      <p:sp>
        <p:nvSpPr>
          <p:cNvPr id="50" name="TextBox 49">
            <a:extLst>
              <a:ext uri="{FF2B5EF4-FFF2-40B4-BE49-F238E27FC236}">
                <a16:creationId xmlns:a16="http://schemas.microsoft.com/office/drawing/2014/main" id="{43A5BB14-D036-4AC1-9435-9025BF12CBD4}"/>
              </a:ext>
            </a:extLst>
          </p:cNvPr>
          <p:cNvSpPr txBox="1"/>
          <p:nvPr>
            <p:custDataLst>
              <p:tags r:id="rId1"/>
            </p:custDataLst>
          </p:nvPr>
        </p:nvSpPr>
        <p:spPr>
          <a:xfrm>
            <a:off x="11453345" y="6472144"/>
            <a:ext cx="352993" cy="122397"/>
          </a:xfrm>
          <a:prstGeom prst="rect">
            <a:avLst/>
          </a:prstGeom>
          <a:noFill/>
        </p:spPr>
        <p:txBody>
          <a:bodyPr wrap="square" lIns="0" tIns="0" rIns="0" bIns="0" rtlCol="0">
            <a:noAutofit/>
          </a:bodyPr>
          <a:lstStyle/>
          <a:p>
            <a:pPr algn="r"/>
            <a:fld id="{CDB435D5-777C-4922-976B-8C95AF7AC8DD}" type="slidenum">
              <a:rPr lang="en-US" sz="700" b="1">
                <a:solidFill>
                  <a:schemeClr val="bg1"/>
                </a:solidFill>
                <a:latin typeface="Arial"/>
                <a:cs typeface="Arial"/>
              </a:rPr>
              <a:pPr algn="r"/>
              <a:t>3</a:t>
            </a:fld>
            <a:endParaRPr lang="en-US" sz="700" b="1">
              <a:solidFill>
                <a:schemeClr val="bg1"/>
              </a:solidFill>
              <a:latin typeface="Arial"/>
              <a:cs typeface="Arial"/>
            </a:endParaRPr>
          </a:p>
        </p:txBody>
      </p:sp>
      <p:sp>
        <p:nvSpPr>
          <p:cNvPr id="10" name="Title 9">
            <a:extLst>
              <a:ext uri="{FF2B5EF4-FFF2-40B4-BE49-F238E27FC236}">
                <a16:creationId xmlns:a16="http://schemas.microsoft.com/office/drawing/2014/main" id="{8CBFD4C6-4703-42A8-AD4A-419B749D4E25}"/>
              </a:ext>
            </a:extLst>
          </p:cNvPr>
          <p:cNvSpPr>
            <a:spLocks noGrp="1"/>
          </p:cNvSpPr>
          <p:nvPr>
            <p:ph type="title"/>
          </p:nvPr>
        </p:nvSpPr>
        <p:spPr>
          <a:xfrm>
            <a:off x="381001" y="357721"/>
            <a:ext cx="8298759" cy="690029"/>
          </a:xfrm>
        </p:spPr>
        <p:txBody>
          <a:bodyPr/>
          <a:lstStyle/>
          <a:p>
            <a:pPr>
              <a:lnSpc>
                <a:spcPct val="75000"/>
              </a:lnSpc>
            </a:pPr>
            <a:r>
              <a:rPr lang="en-US"/>
              <a:t>At UiPath, we believe in a world where every company encourages robot-human collaboration</a:t>
            </a:r>
            <a:endParaRPr lang="en-PH"/>
          </a:p>
        </p:txBody>
      </p:sp>
      <p:sp>
        <p:nvSpPr>
          <p:cNvPr id="55" name="A fully automated enterprise is a digitally transformed enterprise.">
            <a:extLst>
              <a:ext uri="{FF2B5EF4-FFF2-40B4-BE49-F238E27FC236}">
                <a16:creationId xmlns:a16="http://schemas.microsoft.com/office/drawing/2014/main" id="{BF0B2CA2-44B5-4256-948A-0A23F2B886C1}"/>
              </a:ext>
            </a:extLst>
          </p:cNvPr>
          <p:cNvSpPr txBox="1">
            <a:spLocks/>
          </p:cNvSpPr>
          <p:nvPr/>
        </p:nvSpPr>
        <p:spPr>
          <a:xfrm>
            <a:off x="285093" y="6358642"/>
            <a:ext cx="11618642" cy="548917"/>
          </a:xfrm>
          <a:prstGeom prst="rect">
            <a:avLst/>
          </a:prstGeom>
        </p:spPr>
        <p:txBody>
          <a:bodyPr vert="horz" lIns="0" tIns="0" rIns="0" bIns="0" rtlCol="0" anchor="t" anchorCtr="0">
            <a:noAutofit/>
          </a:bodyPr>
          <a:lstStyle>
            <a:lvl1pPr algn="ctr" defTabSz="914400" rtl="0" eaLnBrk="1" latinLnBrk="0" hangingPunct="1">
              <a:lnSpc>
                <a:spcPct val="85000"/>
              </a:lnSpc>
              <a:spcBef>
                <a:spcPct val="0"/>
              </a:spcBef>
              <a:buNone/>
              <a:tabLst>
                <a:tab pos="4445000" algn="l"/>
              </a:tabLst>
              <a:defRPr sz="4600" b="0" i="0" kern="1200" spc="-82" baseline="0">
                <a:solidFill>
                  <a:srgbClr val="FFFFFF"/>
                </a:solidFill>
                <a:latin typeface="Arial"/>
                <a:ea typeface="Arial"/>
                <a:cs typeface="Arial"/>
                <a:sym typeface="Arial"/>
              </a:defRPr>
            </a:lvl1pPr>
          </a:lstStyle>
          <a:p>
            <a:r>
              <a:rPr lang="en-US" sz="2399" b="1"/>
              <a:t>The 4 pillars of a fully automated enterprise™</a:t>
            </a:r>
          </a:p>
        </p:txBody>
      </p:sp>
      <p:pic>
        <p:nvPicPr>
          <p:cNvPr id="371" name="Picture 12" descr="Picture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351934" y="351437"/>
            <a:ext cx="1418509" cy="325444"/>
          </a:xfrm>
          <a:prstGeom prst="rect">
            <a:avLst/>
          </a:prstGeom>
          <a:ln w="12700">
            <a:miter lim="400000"/>
          </a:ln>
        </p:spPr>
      </p:pic>
      <p:pic>
        <p:nvPicPr>
          <p:cNvPr id="101" name="Image" descr="Image">
            <a:extLst>
              <a:ext uri="{FF2B5EF4-FFF2-40B4-BE49-F238E27FC236}">
                <a16:creationId xmlns:a16="http://schemas.microsoft.com/office/drawing/2014/main" id="{3526A5CA-3D9A-492A-B210-CAD2FBFB3093}"/>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1269903" flipH="1">
            <a:off x="2870498" y="1801224"/>
            <a:ext cx="864625" cy="748413"/>
          </a:xfrm>
          <a:prstGeom prst="rect">
            <a:avLst/>
          </a:prstGeom>
          <a:ln w="12700" cap="flat">
            <a:noFill/>
            <a:miter lim="400000"/>
          </a:ln>
          <a:effectLst/>
        </p:spPr>
      </p:pic>
      <p:sp>
        <p:nvSpPr>
          <p:cNvPr id="103" name="Rectangle 102">
            <a:extLst>
              <a:ext uri="{FF2B5EF4-FFF2-40B4-BE49-F238E27FC236}">
                <a16:creationId xmlns:a16="http://schemas.microsoft.com/office/drawing/2014/main" id="{AB84BDEB-18C2-4534-B4B3-3D5CF309E644}"/>
              </a:ext>
            </a:extLst>
          </p:cNvPr>
          <p:cNvSpPr/>
          <p:nvPr/>
        </p:nvSpPr>
        <p:spPr>
          <a:xfrm>
            <a:off x="3613551" y="2521403"/>
            <a:ext cx="2189926" cy="20066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2000" b="1" i="0">
                <a:solidFill>
                  <a:schemeClr val="accent1"/>
                </a:solidFill>
                <a:latin typeface="Arial"/>
                <a:cs typeface="Arial"/>
              </a:rPr>
              <a:t>Provide a robot for every person in the company</a:t>
            </a:r>
            <a:endParaRPr lang="en-US" sz="1400" b="0" i="0">
              <a:solidFill>
                <a:schemeClr val="accent1"/>
              </a:solidFill>
              <a:latin typeface="Arial"/>
              <a:cs typeface="Arial"/>
            </a:endParaRPr>
          </a:p>
          <a:p>
            <a:pPr algn="ctr"/>
            <a:r>
              <a:rPr lang="en-US" sz="1200" b="0" i="0">
                <a:solidFill>
                  <a:schemeClr val="tx1"/>
                </a:solidFill>
                <a:latin typeface="Arial"/>
                <a:cs typeface="Arial"/>
              </a:rPr>
              <a:t>Digital assistants augment and </a:t>
            </a:r>
            <a:br>
              <a:rPr lang="en-US" sz="1200" b="0" i="0">
                <a:solidFill>
                  <a:schemeClr val="tx1"/>
                </a:solidFill>
                <a:latin typeface="Arial"/>
                <a:cs typeface="Arial"/>
              </a:rPr>
            </a:br>
            <a:r>
              <a:rPr lang="en-US" sz="1200" b="0" i="0">
                <a:solidFill>
                  <a:schemeClr val="tx1"/>
                </a:solidFill>
                <a:latin typeface="Arial"/>
                <a:cs typeface="Arial"/>
              </a:rPr>
              <a:t>empower human workers</a:t>
            </a:r>
          </a:p>
        </p:txBody>
      </p:sp>
      <p:pic>
        <p:nvPicPr>
          <p:cNvPr id="104" name="Graphic 103">
            <a:extLst>
              <a:ext uri="{FF2B5EF4-FFF2-40B4-BE49-F238E27FC236}">
                <a16:creationId xmlns:a16="http://schemas.microsoft.com/office/drawing/2014/main" id="{2750D118-39E1-4897-8B4F-0BF093EC538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317244" y="1879855"/>
            <a:ext cx="782540" cy="782540"/>
          </a:xfrm>
          <a:prstGeom prst="rect">
            <a:avLst/>
          </a:prstGeom>
        </p:spPr>
      </p:pic>
    </p:spTree>
    <p:extLst>
      <p:ext uri="{BB962C8B-B14F-4D97-AF65-F5344CB8AC3E}">
        <p14:creationId xmlns:p14="http://schemas.microsoft.com/office/powerpoint/2010/main" val="392785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56468ABF-CB86-4CF4-B7A4-BB1FB5D1E594}"/>
              </a:ext>
            </a:extLst>
          </p:cNvPr>
          <p:cNvCxnSpPr>
            <a:cxnSpLocks/>
          </p:cNvCxnSpPr>
          <p:nvPr/>
        </p:nvCxnSpPr>
        <p:spPr>
          <a:xfrm>
            <a:off x="9535263" y="2815822"/>
            <a:ext cx="0" cy="3353345"/>
          </a:xfrm>
          <a:prstGeom prst="line">
            <a:avLst/>
          </a:prstGeom>
          <a:ln w="3175" cap="flat" cmpd="sng" algn="ctr">
            <a:solidFill>
              <a:schemeClr val="tx2">
                <a:lumMod val="20000"/>
                <a:lumOff val="8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0" name="Text Placeholder 33">
            <a:extLst>
              <a:ext uri="{FF2B5EF4-FFF2-40B4-BE49-F238E27FC236}">
                <a16:creationId xmlns:a16="http://schemas.microsoft.com/office/drawing/2014/main" id="{D8CD9B2B-DBC2-4E36-8150-98A51304BEEE}"/>
              </a:ext>
            </a:extLst>
          </p:cNvPr>
          <p:cNvSpPr txBox="1">
            <a:spLocks/>
          </p:cNvSpPr>
          <p:nvPr/>
        </p:nvSpPr>
        <p:spPr>
          <a:xfrm>
            <a:off x="2668146" y="2060609"/>
            <a:ext cx="6868150" cy="538914"/>
          </a:xfrm>
          <a:prstGeom prst="rect">
            <a:avLst/>
          </a:prstGeom>
          <a:solidFill>
            <a:schemeClr val="accent2"/>
          </a:solidFill>
        </p:spPr>
        <p:txBody>
          <a:bodyPr vert="horz" lIns="137160" tIns="0" rIns="91440" bIns="0" rtlCol="0" anchor="ctr"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500"/>
              </a:spcBef>
              <a:spcAft>
                <a:spcPts val="0"/>
              </a:spcAft>
              <a:buClrTx/>
              <a:buSzTx/>
              <a:buFont typeface="Arial"/>
              <a:buNone/>
              <a:tabLst/>
              <a:defRPr/>
            </a:pPr>
            <a:endParaRPr kumimoji="0" lang="en-US" sz="1400" b="1" i="0" u="none" strike="noStrike" kern="1200" cap="none" spc="-30" normalizeH="0" baseline="0" noProof="0">
              <a:ln>
                <a:noFill/>
              </a:ln>
              <a:solidFill>
                <a:srgbClr val="FFFFFF"/>
              </a:solidFill>
              <a:effectLst/>
              <a:uLnTx/>
              <a:uFillTx/>
              <a:latin typeface="Arial"/>
              <a:ea typeface="+mn-ea"/>
              <a:cs typeface="Arial"/>
            </a:endParaRPr>
          </a:p>
        </p:txBody>
      </p:sp>
      <p:sp>
        <p:nvSpPr>
          <p:cNvPr id="82" name="Text Placeholder 33">
            <a:extLst>
              <a:ext uri="{FF2B5EF4-FFF2-40B4-BE49-F238E27FC236}">
                <a16:creationId xmlns:a16="http://schemas.microsoft.com/office/drawing/2014/main" id="{85851894-C92E-410A-A4A7-2138218AB402}"/>
              </a:ext>
            </a:extLst>
          </p:cNvPr>
          <p:cNvSpPr txBox="1">
            <a:spLocks/>
          </p:cNvSpPr>
          <p:nvPr/>
        </p:nvSpPr>
        <p:spPr>
          <a:xfrm>
            <a:off x="381001" y="2048782"/>
            <a:ext cx="2287145" cy="550741"/>
          </a:xfrm>
          <a:prstGeom prst="rect">
            <a:avLst/>
          </a:prstGeom>
          <a:solidFill>
            <a:schemeClr val="accent3"/>
          </a:solidFill>
        </p:spPr>
        <p:txBody>
          <a:bodyPr vert="horz" lIns="137160" tIns="0" rIns="91440" bIns="0" rtlCol="0" anchor="ctr"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500"/>
              </a:spcBef>
              <a:spcAft>
                <a:spcPts val="0"/>
              </a:spcAft>
              <a:buClrTx/>
              <a:buSzTx/>
              <a:buFont typeface="Arial"/>
              <a:buNone/>
              <a:tabLst/>
              <a:defRPr/>
            </a:pPr>
            <a:endParaRPr kumimoji="0" lang="en-US" sz="1400" b="1" i="0" u="none" strike="noStrike" kern="1200" cap="none" spc="-30" normalizeH="0" baseline="0" noProof="0">
              <a:ln>
                <a:noFill/>
              </a:ln>
              <a:solidFill>
                <a:srgbClr val="FFFFFF"/>
              </a:solidFill>
              <a:effectLst/>
              <a:uLnTx/>
              <a:uFillTx/>
              <a:latin typeface="Arial"/>
              <a:ea typeface="+mn-ea"/>
              <a:cs typeface="Arial"/>
            </a:endParaRPr>
          </a:p>
        </p:txBody>
      </p:sp>
      <p:sp>
        <p:nvSpPr>
          <p:cNvPr id="22" name="Text Placeholder 33">
            <a:extLst>
              <a:ext uri="{FF2B5EF4-FFF2-40B4-BE49-F238E27FC236}">
                <a16:creationId xmlns:a16="http://schemas.microsoft.com/office/drawing/2014/main" id="{66A1A269-E34D-4F67-8FB6-A162014BDF71}"/>
              </a:ext>
            </a:extLst>
          </p:cNvPr>
          <p:cNvSpPr txBox="1">
            <a:spLocks/>
          </p:cNvSpPr>
          <p:nvPr/>
        </p:nvSpPr>
        <p:spPr>
          <a:xfrm>
            <a:off x="379413" y="1380099"/>
            <a:ext cx="11274323" cy="550741"/>
          </a:xfrm>
          <a:prstGeom prst="leftRightArrow">
            <a:avLst>
              <a:gd name="adj1" fmla="val 100000"/>
              <a:gd name="adj2" fmla="val 0"/>
            </a:avLst>
          </a:prstGeom>
          <a:solidFill>
            <a:schemeClr val="accent1"/>
          </a:solidFill>
        </p:spPr>
        <p:txBody>
          <a:bodyPr vert="horz" lIns="137160" tIns="0" rIns="91440" bIns="0" rtlCol="0" anchor="ctr"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500"/>
              </a:spcBef>
              <a:spcAft>
                <a:spcPts val="0"/>
              </a:spcAft>
              <a:buClrTx/>
              <a:buSzTx/>
              <a:buFont typeface="Arial"/>
              <a:buNone/>
              <a:tabLst/>
              <a:defRPr/>
            </a:pPr>
            <a:endParaRPr kumimoji="0" lang="en-US" sz="1400" b="1" i="0" u="none" strike="noStrike" kern="1200" cap="none" spc="-30" normalizeH="0" baseline="0" noProof="0">
              <a:ln>
                <a:noFill/>
              </a:ln>
              <a:solidFill>
                <a:srgbClr val="FFFFFF"/>
              </a:solidFill>
              <a:effectLst/>
              <a:uLnTx/>
              <a:uFillTx/>
              <a:latin typeface="Arial"/>
              <a:ea typeface="+mn-ea"/>
              <a:cs typeface="Arial"/>
            </a:endParaRPr>
          </a:p>
        </p:txBody>
      </p:sp>
      <p:pic>
        <p:nvPicPr>
          <p:cNvPr id="37" name="Graphic 36">
            <a:extLst>
              <a:ext uri="{FF2B5EF4-FFF2-40B4-BE49-F238E27FC236}">
                <a16:creationId xmlns:a16="http://schemas.microsoft.com/office/drawing/2014/main" id="{300C7968-B9F8-4D3E-BF65-C366E4C20B1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115357" y="1458623"/>
            <a:ext cx="406538" cy="406538"/>
          </a:xfrm>
          <a:prstGeom prst="rect">
            <a:avLst/>
          </a:prstGeom>
        </p:spPr>
      </p:pic>
      <p:sp>
        <p:nvSpPr>
          <p:cNvPr id="41" name="Text Placeholder 33">
            <a:extLst>
              <a:ext uri="{FF2B5EF4-FFF2-40B4-BE49-F238E27FC236}">
                <a16:creationId xmlns:a16="http://schemas.microsoft.com/office/drawing/2014/main" id="{7D53EDCA-F07B-4DF6-85DF-F727755385D0}"/>
              </a:ext>
            </a:extLst>
          </p:cNvPr>
          <p:cNvSpPr txBox="1">
            <a:spLocks/>
          </p:cNvSpPr>
          <p:nvPr/>
        </p:nvSpPr>
        <p:spPr>
          <a:xfrm>
            <a:off x="4700356" y="1537243"/>
            <a:ext cx="2788112" cy="249299"/>
          </a:xfrm>
          <a:prstGeom prst="rect">
            <a:avLst/>
          </a:prstGeom>
          <a:noFill/>
        </p:spPr>
        <p:txBody>
          <a:bodyPr vert="horz" wrap="square" lIns="0" tIns="0" rIns="0" bIns="0" rtlCol="0" anchor="ctr" anchorCtr="0">
            <a:sp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500"/>
              </a:spcBef>
              <a:spcAft>
                <a:spcPts val="0"/>
              </a:spcAft>
              <a:buClr>
                <a:srgbClr val="000000"/>
              </a:buClr>
              <a:buSzTx/>
              <a:buFont typeface="Arial"/>
              <a:buNone/>
              <a:tabLst/>
              <a:defRPr/>
            </a:pPr>
            <a:r>
              <a:rPr kumimoji="0" lang="en-US" sz="1800" b="1" i="0" u="none" strike="noStrike" kern="1200" cap="none" spc="-30" normalizeH="0" baseline="0" noProof="0">
                <a:ln>
                  <a:noFill/>
                </a:ln>
                <a:solidFill>
                  <a:srgbClr val="FFFFFF"/>
                </a:solidFill>
                <a:effectLst/>
                <a:uLnTx/>
                <a:uFillTx/>
                <a:latin typeface="Arial"/>
                <a:ea typeface="+mn-ea"/>
                <a:cs typeface="Arial"/>
              </a:rPr>
              <a:t>End-to-End Governance</a:t>
            </a:r>
          </a:p>
        </p:txBody>
      </p:sp>
      <p:sp>
        <p:nvSpPr>
          <p:cNvPr id="50" name="Text Placeholder 33">
            <a:extLst>
              <a:ext uri="{FF2B5EF4-FFF2-40B4-BE49-F238E27FC236}">
                <a16:creationId xmlns:a16="http://schemas.microsoft.com/office/drawing/2014/main" id="{79F15685-E2D2-4DDA-B0BA-ED383A617B62}"/>
              </a:ext>
            </a:extLst>
          </p:cNvPr>
          <p:cNvSpPr txBox="1">
            <a:spLocks/>
          </p:cNvSpPr>
          <p:nvPr/>
        </p:nvSpPr>
        <p:spPr>
          <a:xfrm>
            <a:off x="4505566" y="2198708"/>
            <a:ext cx="3367887" cy="249299"/>
          </a:xfrm>
          <a:prstGeom prst="rect">
            <a:avLst/>
          </a:prstGeom>
          <a:noFill/>
        </p:spPr>
        <p:txBody>
          <a:bodyPr vert="horz" lIns="0" tIns="0" rIns="0" bIns="0" rtlCol="0" anchor="ctr" anchorCtr="0">
            <a:sp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500"/>
              </a:spcBef>
              <a:spcAft>
                <a:spcPts val="0"/>
              </a:spcAft>
              <a:buClr>
                <a:srgbClr val="000000"/>
              </a:buClr>
              <a:buSzTx/>
              <a:buFont typeface="Arial"/>
              <a:buNone/>
              <a:tabLst/>
              <a:defRPr/>
            </a:pPr>
            <a:r>
              <a:rPr kumimoji="0" lang="en-US" sz="1800" b="1" i="0" u="none" strike="noStrike" kern="1200" cap="none" spc="-30" normalizeH="0" baseline="0" noProof="0">
                <a:ln>
                  <a:noFill/>
                </a:ln>
                <a:solidFill>
                  <a:srgbClr val="FFFFFF"/>
                </a:solidFill>
                <a:effectLst/>
                <a:uLnTx/>
                <a:uFillTx/>
                <a:latin typeface="Arial"/>
                <a:ea typeface="+mn-ea"/>
                <a:cs typeface="Arial"/>
              </a:rPr>
              <a:t>Automation Development</a:t>
            </a:r>
          </a:p>
        </p:txBody>
      </p:sp>
      <p:grpSp>
        <p:nvGrpSpPr>
          <p:cNvPr id="53" name="Group 52">
            <a:extLst>
              <a:ext uri="{FF2B5EF4-FFF2-40B4-BE49-F238E27FC236}">
                <a16:creationId xmlns:a16="http://schemas.microsoft.com/office/drawing/2014/main" id="{EC6E1A8F-DD62-4938-8225-AB4AED685BA3}"/>
              </a:ext>
            </a:extLst>
          </p:cNvPr>
          <p:cNvGrpSpPr/>
          <p:nvPr/>
        </p:nvGrpSpPr>
        <p:grpSpPr>
          <a:xfrm>
            <a:off x="2829776" y="2808169"/>
            <a:ext cx="2084234" cy="2998516"/>
            <a:chOff x="2831364" y="2645851"/>
            <a:chExt cx="2084234" cy="2998516"/>
          </a:xfrm>
        </p:grpSpPr>
        <p:pic>
          <p:nvPicPr>
            <p:cNvPr id="55" name="Picture 54">
              <a:extLst>
                <a:ext uri="{FF2B5EF4-FFF2-40B4-BE49-F238E27FC236}">
                  <a16:creationId xmlns:a16="http://schemas.microsoft.com/office/drawing/2014/main" id="{64BA3373-B9CB-48B0-903C-A5A857DBDADF}"/>
                </a:ext>
              </a:extLst>
            </p:cNvPr>
            <p:cNvPicPr/>
            <p:nvPr/>
          </p:nvPicPr>
          <p:blipFill rotWithShape="1">
            <a:blip r:embed="rId5" cstate="print">
              <a:extLst>
                <a:ext uri="{28A0092B-C50C-407E-A947-70E740481C1C}">
                  <a14:useLocalDpi xmlns:a14="http://schemas.microsoft.com/office/drawing/2010/main"/>
                </a:ext>
              </a:extLst>
            </a:blip>
            <a:srcRect/>
            <a:stretch/>
          </p:blipFill>
          <p:spPr>
            <a:xfrm>
              <a:off x="2831364" y="2645851"/>
              <a:ext cx="1942265" cy="2021039"/>
            </a:xfrm>
            <a:prstGeom prst="rect">
              <a:avLst/>
            </a:prstGeom>
          </p:spPr>
        </p:pic>
        <p:sp>
          <p:nvSpPr>
            <p:cNvPr id="56" name="TextBox 55">
              <a:extLst>
                <a:ext uri="{FF2B5EF4-FFF2-40B4-BE49-F238E27FC236}">
                  <a16:creationId xmlns:a16="http://schemas.microsoft.com/office/drawing/2014/main" id="{BACF073A-345B-4FA6-845B-E90C1D8DB5D5}"/>
                </a:ext>
              </a:extLst>
            </p:cNvPr>
            <p:cNvSpPr txBox="1"/>
            <p:nvPr/>
          </p:nvSpPr>
          <p:spPr>
            <a:xfrm>
              <a:off x="2850254" y="4813370"/>
              <a:ext cx="2065344" cy="830997"/>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r>
                <a:rPr kumimoji="0" lang="en-US" sz="1500" b="1" i="0" u="none" strike="noStrike" kern="1200" cap="none" spc="0" normalizeH="0" baseline="0" noProof="0">
                  <a:ln>
                    <a:noFill/>
                  </a:ln>
                  <a:solidFill>
                    <a:srgbClr val="0067DF"/>
                  </a:solidFill>
                  <a:effectLst/>
                  <a:uLnTx/>
                  <a:uFillTx/>
                  <a:latin typeface="Arial"/>
                  <a:ea typeface="+mn-ea"/>
                  <a:cs typeface="Arial"/>
                </a:rPr>
                <a:t>Citizen Developers</a:t>
              </a:r>
            </a:p>
            <a:p>
              <a:pPr marL="0" marR="0" lvl="0" indent="0" algn="l" defTabSz="457200" rtl="0" eaLnBrk="1" fontAlgn="auto" latinLnBrk="0" hangingPunct="1">
                <a:lnSpc>
                  <a:spcPct val="100000"/>
                </a:lnSpc>
                <a:spcBef>
                  <a:spcPts val="0"/>
                </a:spcBef>
                <a:spcAft>
                  <a:spcPts val="0"/>
                </a:spcAft>
                <a:buClr>
                  <a:srgbClr val="FA4616"/>
                </a:buClr>
                <a:buSzTx/>
                <a:buFont typeface="Arial" panose="020B0604020202020204" pitchFamily="34" charset="0"/>
                <a:buNone/>
                <a:tabLst/>
                <a:defRPr/>
              </a:pPr>
              <a:r>
                <a:rPr kumimoji="0" lang="en-US" sz="1200" b="1" i="0" u="none" strike="noStrike" kern="1200" cap="none" spc="0" normalizeH="0" baseline="0" noProof="0">
                  <a:ln>
                    <a:noFill/>
                  </a:ln>
                  <a:solidFill>
                    <a:srgbClr val="0067DF"/>
                  </a:solidFill>
                  <a:effectLst/>
                  <a:uLnTx/>
                  <a:uFillTx/>
                  <a:latin typeface="Arial"/>
                  <a:ea typeface="+mn-ea"/>
                  <a:cs typeface="Arial"/>
                </a:rPr>
                <a:t>(Self Users)</a:t>
              </a:r>
            </a:p>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Tech-savvy employees develop automations</a:t>
              </a:r>
              <a:r>
                <a:rPr kumimoji="0" lang="en-US" sz="1100" b="0" i="0" u="none" strike="noStrike" kern="1200" cap="none" spc="0" normalizeH="0" noProof="0">
                  <a:ln>
                    <a:noFill/>
                  </a:ln>
                  <a:solidFill>
                    <a:srgbClr val="000000"/>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for themselves</a:t>
              </a:r>
            </a:p>
          </p:txBody>
        </p:sp>
      </p:grpSp>
      <p:grpSp>
        <p:nvGrpSpPr>
          <p:cNvPr id="57" name="Group 56">
            <a:extLst>
              <a:ext uri="{FF2B5EF4-FFF2-40B4-BE49-F238E27FC236}">
                <a16:creationId xmlns:a16="http://schemas.microsoft.com/office/drawing/2014/main" id="{C8E72A38-D174-495E-AFF7-00CCF74E042B}"/>
              </a:ext>
            </a:extLst>
          </p:cNvPr>
          <p:cNvGrpSpPr/>
          <p:nvPr/>
        </p:nvGrpSpPr>
        <p:grpSpPr>
          <a:xfrm>
            <a:off x="5091257" y="2808169"/>
            <a:ext cx="2109823" cy="3167793"/>
            <a:chOff x="5092845" y="2645851"/>
            <a:chExt cx="2109823" cy="3167793"/>
          </a:xfrm>
        </p:grpSpPr>
        <p:pic>
          <p:nvPicPr>
            <p:cNvPr id="58" name="Picture 57">
              <a:extLst>
                <a:ext uri="{FF2B5EF4-FFF2-40B4-BE49-F238E27FC236}">
                  <a16:creationId xmlns:a16="http://schemas.microsoft.com/office/drawing/2014/main" id="{508F892E-98B9-427B-BADD-7EF49BB0147D}"/>
                </a:ext>
              </a:extLst>
            </p:cNvPr>
            <p:cNvPicPr/>
            <p:nvPr/>
          </p:nvPicPr>
          <p:blipFill rotWithShape="1">
            <a:blip r:embed="rId6" cstate="print">
              <a:extLst>
                <a:ext uri="{28A0092B-C50C-407E-A947-70E740481C1C}">
                  <a14:useLocalDpi xmlns:a14="http://schemas.microsoft.com/office/drawing/2010/main"/>
                </a:ext>
              </a:extLst>
            </a:blip>
            <a:srcRect/>
            <a:stretch/>
          </p:blipFill>
          <p:spPr>
            <a:xfrm>
              <a:off x="5092845" y="2645851"/>
              <a:ext cx="2012386" cy="2012387"/>
            </a:xfrm>
            <a:prstGeom prst="rect">
              <a:avLst/>
            </a:prstGeom>
          </p:spPr>
        </p:pic>
        <p:sp>
          <p:nvSpPr>
            <p:cNvPr id="59" name="TextBox 58">
              <a:extLst>
                <a:ext uri="{FF2B5EF4-FFF2-40B4-BE49-F238E27FC236}">
                  <a16:creationId xmlns:a16="http://schemas.microsoft.com/office/drawing/2014/main" id="{0373F9AA-EB7D-4345-8D7B-91B97B746FC7}"/>
                </a:ext>
              </a:extLst>
            </p:cNvPr>
            <p:cNvSpPr txBox="1"/>
            <p:nvPr/>
          </p:nvSpPr>
          <p:spPr>
            <a:xfrm>
              <a:off x="5137324" y="4813370"/>
              <a:ext cx="2065344" cy="1000274"/>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r>
                <a:rPr kumimoji="0" lang="en-US" sz="1500" b="1" i="0" u="none" strike="noStrike" kern="1200" cap="none" spc="0" normalizeH="0" baseline="0" noProof="0">
                  <a:ln>
                    <a:noFill/>
                  </a:ln>
                  <a:solidFill>
                    <a:srgbClr val="0067DF"/>
                  </a:solidFill>
                  <a:effectLst/>
                  <a:uLnTx/>
                  <a:uFillTx/>
                  <a:latin typeface="Arial"/>
                  <a:ea typeface="+mn-ea"/>
                  <a:cs typeface="Arial"/>
                </a:rPr>
                <a:t>Citizen Developers</a:t>
              </a:r>
            </a:p>
            <a:p>
              <a:pPr marL="0" marR="0" lvl="0" indent="0" algn="l" defTabSz="457200" rtl="0" eaLnBrk="1" fontAlgn="auto" latinLnBrk="0" hangingPunct="1">
                <a:lnSpc>
                  <a:spcPct val="100000"/>
                </a:lnSpc>
                <a:spcBef>
                  <a:spcPts val="0"/>
                </a:spcBef>
                <a:spcAft>
                  <a:spcPts val="0"/>
                </a:spcAft>
                <a:buClr>
                  <a:srgbClr val="FA4616"/>
                </a:buClr>
                <a:buSzTx/>
                <a:buFont typeface="Arial" panose="020B0604020202020204" pitchFamily="34" charset="0"/>
                <a:buNone/>
                <a:tabLst/>
                <a:defRPr/>
              </a:pPr>
              <a:r>
                <a:rPr kumimoji="0" lang="en-US" sz="1200" b="1" i="0" u="none" strike="noStrike" kern="1200" cap="none" spc="0" normalizeH="0" baseline="0" noProof="0">
                  <a:ln>
                    <a:noFill/>
                  </a:ln>
                  <a:solidFill>
                    <a:srgbClr val="0067DF"/>
                  </a:solidFill>
                  <a:effectLst/>
                  <a:uLnTx/>
                  <a:uFillTx/>
                  <a:latin typeface="Arial"/>
                  <a:ea typeface="+mn-ea"/>
                  <a:cs typeface="Arial"/>
                </a:rPr>
                <a:t>(Expert Users)</a:t>
              </a:r>
            </a:p>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Tech-savvy employees develop automations</a:t>
              </a:r>
              <a:r>
                <a:rPr kumimoji="0" lang="en-US" sz="1100" b="0" i="0" u="none" strike="noStrike" kern="1200" cap="none" spc="0" normalizeH="0" noProof="0">
                  <a:ln>
                    <a:noFill/>
                  </a:ln>
                  <a:solidFill>
                    <a:srgbClr val="000000"/>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for themselves </a:t>
              </a:r>
              <a:br>
                <a:rPr kumimoji="0" lang="en-US" sz="1100" b="0" i="0" u="none" strike="noStrike" kern="1200" cap="none" spc="0" normalizeH="0" baseline="0" noProof="0">
                  <a:ln>
                    <a:noFill/>
                  </a:ln>
                  <a:solidFill>
                    <a:srgbClr val="000000"/>
                  </a:solidFill>
                  <a:effectLst/>
                  <a:uLnTx/>
                  <a:uFillTx/>
                  <a:latin typeface="Arial"/>
                  <a:ea typeface="+mn-ea"/>
                  <a:cs typeface="Arial"/>
                </a:rPr>
              </a:br>
              <a:r>
                <a:rPr kumimoji="0" lang="en-US" sz="1100" b="0" i="0" u="none" strike="noStrike" kern="1200" cap="none" spc="0" normalizeH="0" baseline="0" noProof="0">
                  <a:ln>
                    <a:noFill/>
                  </a:ln>
                  <a:solidFill>
                    <a:srgbClr val="000000"/>
                  </a:solidFill>
                  <a:effectLst/>
                  <a:uLnTx/>
                  <a:uFillTx/>
                  <a:latin typeface="Arial"/>
                  <a:ea typeface="+mn-ea"/>
                  <a:cs typeface="Arial"/>
                </a:rPr>
                <a:t>and their departments</a:t>
              </a:r>
            </a:p>
          </p:txBody>
        </p:sp>
      </p:grpSp>
      <p:cxnSp>
        <p:nvCxnSpPr>
          <p:cNvPr id="65" name="Straight Connector 64">
            <a:extLst>
              <a:ext uri="{FF2B5EF4-FFF2-40B4-BE49-F238E27FC236}">
                <a16:creationId xmlns:a16="http://schemas.microsoft.com/office/drawing/2014/main" id="{1048B221-0D5F-4AA1-9105-12A1E0A65441}"/>
              </a:ext>
            </a:extLst>
          </p:cNvPr>
          <p:cNvCxnSpPr>
            <a:cxnSpLocks/>
          </p:cNvCxnSpPr>
          <p:nvPr/>
        </p:nvCxnSpPr>
        <p:spPr>
          <a:xfrm>
            <a:off x="4931648" y="2815822"/>
            <a:ext cx="0" cy="3371617"/>
          </a:xfrm>
          <a:prstGeom prst="line">
            <a:avLst/>
          </a:prstGeom>
          <a:ln w="3175" cap="flat" cmpd="sng" algn="ctr">
            <a:solidFill>
              <a:schemeClr val="tx2">
                <a:lumMod val="20000"/>
                <a:lumOff val="8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4568D1AC-1CED-412F-80B5-8B72F0466223}"/>
              </a:ext>
            </a:extLst>
          </p:cNvPr>
          <p:cNvCxnSpPr>
            <a:cxnSpLocks/>
          </p:cNvCxnSpPr>
          <p:nvPr/>
        </p:nvCxnSpPr>
        <p:spPr>
          <a:xfrm>
            <a:off x="7263251" y="2815822"/>
            <a:ext cx="0" cy="3371617"/>
          </a:xfrm>
          <a:prstGeom prst="line">
            <a:avLst/>
          </a:prstGeom>
          <a:ln w="3175" cap="flat" cmpd="sng" algn="ctr">
            <a:solidFill>
              <a:schemeClr val="tx2">
                <a:lumMod val="20000"/>
                <a:lumOff val="8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67" name="Group 66">
            <a:extLst>
              <a:ext uri="{FF2B5EF4-FFF2-40B4-BE49-F238E27FC236}">
                <a16:creationId xmlns:a16="http://schemas.microsoft.com/office/drawing/2014/main" id="{5FC0C431-40E0-4517-8C5D-F158C60BF885}"/>
              </a:ext>
            </a:extLst>
          </p:cNvPr>
          <p:cNvGrpSpPr/>
          <p:nvPr/>
        </p:nvGrpSpPr>
        <p:grpSpPr>
          <a:xfrm>
            <a:off x="7422807" y="2809999"/>
            <a:ext cx="1957479" cy="3502556"/>
            <a:chOff x="7424395" y="2647681"/>
            <a:chExt cx="1957479" cy="3502556"/>
          </a:xfrm>
        </p:grpSpPr>
        <p:pic>
          <p:nvPicPr>
            <p:cNvPr id="68" name="Picture 67">
              <a:extLst>
                <a:ext uri="{FF2B5EF4-FFF2-40B4-BE49-F238E27FC236}">
                  <a16:creationId xmlns:a16="http://schemas.microsoft.com/office/drawing/2014/main" id="{301EE691-DB42-459E-BC2C-E47B22DC2A05}"/>
                </a:ext>
              </a:extLst>
            </p:cNvPr>
            <p:cNvPicPr/>
            <p:nvPr/>
          </p:nvPicPr>
          <p:blipFill rotWithShape="1">
            <a:blip r:embed="rId7" cstate="print">
              <a:extLst>
                <a:ext uri="{28A0092B-C50C-407E-A947-70E740481C1C}">
                  <a14:useLocalDpi xmlns:a14="http://schemas.microsoft.com/office/drawing/2010/main"/>
                </a:ext>
              </a:extLst>
            </a:blip>
            <a:srcRect/>
            <a:stretch/>
          </p:blipFill>
          <p:spPr>
            <a:xfrm>
              <a:off x="7444375" y="2647681"/>
              <a:ext cx="1937499" cy="2019210"/>
            </a:xfrm>
            <a:prstGeom prst="rect">
              <a:avLst/>
            </a:prstGeom>
          </p:spPr>
        </p:pic>
        <p:sp>
          <p:nvSpPr>
            <p:cNvPr id="69" name="TextBox 68">
              <a:extLst>
                <a:ext uri="{FF2B5EF4-FFF2-40B4-BE49-F238E27FC236}">
                  <a16:creationId xmlns:a16="http://schemas.microsoft.com/office/drawing/2014/main" id="{BF19B48B-7DC0-43B0-87C2-719F9FF957CB}"/>
                </a:ext>
              </a:extLst>
            </p:cNvPr>
            <p:cNvSpPr txBox="1"/>
            <p:nvPr/>
          </p:nvSpPr>
          <p:spPr>
            <a:xfrm>
              <a:off x="7424395" y="4813370"/>
              <a:ext cx="1847081" cy="1336867"/>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r>
                <a:rPr kumimoji="0" lang="en-US" sz="1500" b="1" i="0" u="none" strike="noStrike" kern="1200" cap="none" spc="0" normalizeH="0" baseline="0" noProof="0">
                  <a:ln>
                    <a:noFill/>
                  </a:ln>
                  <a:solidFill>
                    <a:srgbClr val="0067DF"/>
                  </a:solidFill>
                  <a:effectLst/>
                  <a:uLnTx/>
                  <a:uFillTx/>
                  <a:latin typeface="Arial"/>
                  <a:ea typeface="+mn-ea"/>
                  <a:cs typeface="Arial"/>
                </a:rPr>
                <a:t>RPA Developers</a:t>
              </a:r>
            </a:p>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br>
                <a:rPr kumimoji="0" lang="en-US" sz="1100" b="0" i="0" u="none" strike="noStrike" kern="1200" cap="none" spc="0" normalizeH="0" baseline="0" noProof="0">
                  <a:ln>
                    <a:noFill/>
                  </a:ln>
                  <a:solidFill>
                    <a:srgbClr val="000000"/>
                  </a:solidFill>
                  <a:effectLst/>
                  <a:uLnTx/>
                  <a:uFillTx/>
                  <a:latin typeface="Arial"/>
                  <a:ea typeface="+mn-ea"/>
                  <a:cs typeface="Arial"/>
                </a:rPr>
              </a:br>
              <a:r>
                <a:rPr kumimoji="0" lang="en-US" sz="1100" b="0" i="0" u="none" strike="noStrike" kern="1200" cap="none" spc="0" normalizeH="0" baseline="0" noProof="0">
                  <a:ln>
                    <a:noFill/>
                  </a:ln>
                  <a:solidFill>
                    <a:srgbClr val="000000"/>
                  </a:solidFill>
                  <a:effectLst/>
                  <a:uLnTx/>
                  <a:uFillTx/>
                  <a:latin typeface="Arial"/>
                  <a:ea typeface="+mn-ea"/>
                  <a:cs typeface="Arial"/>
                </a:rPr>
                <a:t>Create and test</a:t>
              </a:r>
              <a:r>
                <a:rPr kumimoji="0" lang="en-US" sz="1100" b="0" i="0" u="none" strike="noStrike" kern="1200" cap="none" spc="0" normalizeH="0" noProof="0">
                  <a:ln>
                    <a:noFill/>
                  </a:ln>
                  <a:solidFill>
                    <a:srgbClr val="000000"/>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automations that are distributed throughout the company</a:t>
              </a:r>
            </a:p>
          </p:txBody>
        </p:sp>
      </p:grpSp>
      <p:grpSp>
        <p:nvGrpSpPr>
          <p:cNvPr id="11" name="Group 10">
            <a:extLst>
              <a:ext uri="{FF2B5EF4-FFF2-40B4-BE49-F238E27FC236}">
                <a16:creationId xmlns:a16="http://schemas.microsoft.com/office/drawing/2014/main" id="{7D6DF8F1-B322-49B0-B537-18E5434A66A0}"/>
              </a:ext>
            </a:extLst>
          </p:cNvPr>
          <p:cNvGrpSpPr/>
          <p:nvPr/>
        </p:nvGrpSpPr>
        <p:grpSpPr>
          <a:xfrm>
            <a:off x="9709875" y="2048782"/>
            <a:ext cx="2097398" cy="4081068"/>
            <a:chOff x="9709875" y="2048782"/>
            <a:chExt cx="2097398" cy="4081068"/>
          </a:xfrm>
        </p:grpSpPr>
        <p:sp>
          <p:nvSpPr>
            <p:cNvPr id="74" name="TextBox 73">
              <a:extLst>
                <a:ext uri="{FF2B5EF4-FFF2-40B4-BE49-F238E27FC236}">
                  <a16:creationId xmlns:a16="http://schemas.microsoft.com/office/drawing/2014/main" id="{B470F9D7-684B-4E32-8B5F-874C42E9D6AF}"/>
                </a:ext>
              </a:extLst>
            </p:cNvPr>
            <p:cNvSpPr txBox="1"/>
            <p:nvPr/>
          </p:nvSpPr>
          <p:spPr>
            <a:xfrm>
              <a:off x="9709875" y="4975688"/>
              <a:ext cx="2097398" cy="1154162"/>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r>
                <a:rPr kumimoji="0" lang="en-US" sz="1500" b="1" i="0" u="none" strike="noStrike" kern="1200" cap="none" spc="0" normalizeH="0" baseline="0" noProof="0" err="1">
                  <a:ln>
                    <a:noFill/>
                  </a:ln>
                  <a:solidFill>
                    <a:srgbClr val="FA4616"/>
                  </a:solidFill>
                  <a:effectLst/>
                  <a:uLnTx/>
                  <a:uFillTx/>
                  <a:latin typeface="Arial"/>
                  <a:ea typeface="+mn-ea"/>
                  <a:cs typeface="Arial"/>
                </a:rPr>
                <a:t>CoE</a:t>
              </a:r>
              <a:endParaRPr kumimoji="0" lang="en-US" sz="1500" b="1" i="0" u="none" strike="noStrike" kern="1200" cap="none" spc="0" normalizeH="0" baseline="0" noProof="0">
                <a:ln>
                  <a:noFill/>
                </a:ln>
                <a:solidFill>
                  <a:srgbClr val="FA4616"/>
                </a:solidFill>
                <a:effectLst/>
                <a:uLnTx/>
                <a:uFillTx/>
                <a:latin typeface="Arial"/>
                <a:ea typeface="+mn-ea"/>
                <a:cs typeface="Arial"/>
              </a:endParaRPr>
            </a:p>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br>
                <a:rPr kumimoji="0" lang="en-US" sz="1100" b="0" i="0" u="none" strike="noStrike" kern="1200" cap="none" spc="0" normalizeH="0" baseline="0" noProof="0">
                  <a:ln>
                    <a:noFill/>
                  </a:ln>
                  <a:solidFill>
                    <a:srgbClr val="000000"/>
                  </a:solidFill>
                  <a:effectLst/>
                  <a:uLnTx/>
                  <a:uFillTx/>
                  <a:latin typeface="Arial"/>
                  <a:ea typeface="+mn-ea"/>
                  <a:cs typeface="Arial"/>
                </a:rPr>
              </a:br>
              <a:r>
                <a:rPr kumimoji="0" lang="en-US" sz="1100" b="0" i="0" u="none" strike="noStrike" kern="1200" cap="none" spc="0" normalizeH="0" baseline="0" noProof="0">
                  <a:ln>
                    <a:noFill/>
                  </a:ln>
                  <a:solidFill>
                    <a:srgbClr val="000000"/>
                  </a:solidFill>
                  <a:effectLst/>
                  <a:uLnTx/>
                  <a:uFillTx/>
                  <a:latin typeface="Arial"/>
                  <a:ea typeface="+mn-ea"/>
                  <a:cs typeface="Arial"/>
                </a:rPr>
                <a:t>Centrally governs</a:t>
              </a:r>
              <a:r>
                <a:rPr kumimoji="0" lang="en-US" sz="1100" b="0" i="0" u="none" strike="noStrike" kern="1200" cap="none" spc="0" normalizeH="0" noProof="0">
                  <a:ln>
                    <a:noFill/>
                  </a:ln>
                  <a:solidFill>
                    <a:srgbClr val="000000"/>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self-service automations and facilitates company-wide rollouts, collaborating with IT</a:t>
              </a:r>
            </a:p>
          </p:txBody>
        </p:sp>
        <p:pic>
          <p:nvPicPr>
            <p:cNvPr id="75" name="Picture 74" descr="A person standing next to a window&#10;&#10;Description automatically generated">
              <a:extLst>
                <a:ext uri="{FF2B5EF4-FFF2-40B4-BE49-F238E27FC236}">
                  <a16:creationId xmlns:a16="http://schemas.microsoft.com/office/drawing/2014/main" id="{ADF1C290-1C5B-4FA5-A9F6-0016AD63281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7293" r="17076" b="4777"/>
            <a:stretch/>
          </p:blipFill>
          <p:spPr>
            <a:xfrm>
              <a:off x="9715831" y="2048782"/>
              <a:ext cx="1873300" cy="2800857"/>
            </a:xfrm>
            <a:prstGeom prst="rect">
              <a:avLst/>
            </a:prstGeom>
          </p:spPr>
        </p:pic>
      </p:grpSp>
      <p:sp>
        <p:nvSpPr>
          <p:cNvPr id="48" name="Text Placeholder 33">
            <a:extLst>
              <a:ext uri="{FF2B5EF4-FFF2-40B4-BE49-F238E27FC236}">
                <a16:creationId xmlns:a16="http://schemas.microsoft.com/office/drawing/2014/main" id="{43080BDF-970A-4392-91C6-A6B783C8E029}"/>
              </a:ext>
            </a:extLst>
          </p:cNvPr>
          <p:cNvSpPr txBox="1">
            <a:spLocks/>
          </p:cNvSpPr>
          <p:nvPr/>
        </p:nvSpPr>
        <p:spPr>
          <a:xfrm>
            <a:off x="1122689" y="2125976"/>
            <a:ext cx="1118737" cy="387798"/>
          </a:xfrm>
          <a:prstGeom prst="rect">
            <a:avLst/>
          </a:prstGeom>
          <a:noFill/>
        </p:spPr>
        <p:txBody>
          <a:bodyPr vert="horz" wrap="square" lIns="0" tIns="0" rIns="0" bIns="0" rtlCol="0" anchor="ctr" anchorCtr="0">
            <a:sp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90000"/>
              </a:lnSpc>
              <a:spcBef>
                <a:spcPts val="500"/>
              </a:spcBef>
              <a:spcAft>
                <a:spcPts val="0"/>
              </a:spcAft>
              <a:buClr>
                <a:srgbClr val="000000"/>
              </a:buClr>
              <a:buSzTx/>
              <a:buFont typeface="Arial"/>
              <a:buNone/>
              <a:tabLst/>
              <a:defRPr/>
            </a:pPr>
            <a:r>
              <a:rPr kumimoji="0" lang="en-US" sz="1400" b="1" i="0" u="none" strike="noStrike" kern="1200" cap="none" spc="-30" normalizeH="0" baseline="0" noProof="0">
                <a:ln>
                  <a:noFill/>
                </a:ln>
                <a:solidFill>
                  <a:srgbClr val="FFFFFF"/>
                </a:solidFill>
                <a:effectLst/>
                <a:uLnTx/>
                <a:uFillTx/>
                <a:latin typeface="Arial"/>
                <a:ea typeface="+mn-ea"/>
                <a:cs typeface="Arial"/>
              </a:rPr>
              <a:t>Automation Consumption</a:t>
            </a:r>
          </a:p>
        </p:txBody>
      </p:sp>
      <p:pic>
        <p:nvPicPr>
          <p:cNvPr id="76" name="Graphic 75">
            <a:extLst>
              <a:ext uri="{FF2B5EF4-FFF2-40B4-BE49-F238E27FC236}">
                <a16:creationId xmlns:a16="http://schemas.microsoft.com/office/drawing/2014/main" id="{A28AF9E5-393B-4F1A-9B51-F60936A7C69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63250" y="2143274"/>
            <a:ext cx="247241" cy="353202"/>
          </a:xfrm>
          <a:prstGeom prst="rect">
            <a:avLst/>
          </a:prstGeom>
        </p:spPr>
      </p:pic>
      <p:pic>
        <p:nvPicPr>
          <p:cNvPr id="77" name="Graphic 76">
            <a:extLst>
              <a:ext uri="{FF2B5EF4-FFF2-40B4-BE49-F238E27FC236}">
                <a16:creationId xmlns:a16="http://schemas.microsoft.com/office/drawing/2014/main" id="{1220AC2A-1A81-4E33-894D-19EE9F2824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115357" y="2180718"/>
            <a:ext cx="393958" cy="285278"/>
          </a:xfrm>
          <a:prstGeom prst="rect">
            <a:avLst/>
          </a:prstGeom>
        </p:spPr>
      </p:pic>
      <p:cxnSp>
        <p:nvCxnSpPr>
          <p:cNvPr id="84" name="Straight Connector 83">
            <a:extLst>
              <a:ext uri="{FF2B5EF4-FFF2-40B4-BE49-F238E27FC236}">
                <a16:creationId xmlns:a16="http://schemas.microsoft.com/office/drawing/2014/main" id="{EEC51F73-A720-4446-8B5A-E9C7B1A8F160}"/>
              </a:ext>
            </a:extLst>
          </p:cNvPr>
          <p:cNvCxnSpPr>
            <a:cxnSpLocks/>
          </p:cNvCxnSpPr>
          <p:nvPr/>
        </p:nvCxnSpPr>
        <p:spPr>
          <a:xfrm>
            <a:off x="2668146" y="2815822"/>
            <a:ext cx="0" cy="3371617"/>
          </a:xfrm>
          <a:prstGeom prst="line">
            <a:avLst/>
          </a:prstGeom>
          <a:ln w="3175" cap="flat" cmpd="sng" algn="ctr">
            <a:solidFill>
              <a:schemeClr val="tx2">
                <a:lumMod val="20000"/>
                <a:lumOff val="8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5" name="Group 84">
            <a:extLst>
              <a:ext uri="{FF2B5EF4-FFF2-40B4-BE49-F238E27FC236}">
                <a16:creationId xmlns:a16="http://schemas.microsoft.com/office/drawing/2014/main" id="{1F4961F1-74A6-4B7B-994C-C367372A2A7B}"/>
              </a:ext>
            </a:extLst>
          </p:cNvPr>
          <p:cNvGrpSpPr/>
          <p:nvPr/>
        </p:nvGrpSpPr>
        <p:grpSpPr>
          <a:xfrm>
            <a:off x="541161" y="2767072"/>
            <a:ext cx="2069174" cy="3144750"/>
            <a:chOff x="559353" y="2653505"/>
            <a:chExt cx="2069174" cy="3144750"/>
          </a:xfrm>
        </p:grpSpPr>
        <p:sp>
          <p:nvSpPr>
            <p:cNvPr id="86" name="TextBox 85">
              <a:extLst>
                <a:ext uri="{FF2B5EF4-FFF2-40B4-BE49-F238E27FC236}">
                  <a16:creationId xmlns:a16="http://schemas.microsoft.com/office/drawing/2014/main" id="{16A85DBB-414C-46B3-A896-59037A9D69D4}"/>
                </a:ext>
              </a:extLst>
            </p:cNvPr>
            <p:cNvSpPr txBox="1"/>
            <p:nvPr/>
          </p:nvSpPr>
          <p:spPr>
            <a:xfrm>
              <a:off x="563183" y="4813370"/>
              <a:ext cx="2065344" cy="984885"/>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r>
                <a:rPr kumimoji="0" lang="en-US" sz="1500" b="1" i="0" u="none" strike="noStrike" kern="1200" cap="none" spc="0" normalizeH="0" baseline="0" noProof="0">
                  <a:ln>
                    <a:noFill/>
                  </a:ln>
                  <a:solidFill>
                    <a:schemeClr val="accent3"/>
                  </a:solidFill>
                  <a:effectLst/>
                  <a:uLnTx/>
                  <a:uFillTx/>
                  <a:latin typeface="Arial"/>
                  <a:ea typeface="+mn-ea"/>
                  <a:cs typeface="Arial"/>
                </a:rPr>
                <a:t>Automation Users</a:t>
              </a:r>
              <a:endParaRPr kumimoji="0" lang="en-US" sz="1100" b="0" i="0" u="none" strike="noStrike" kern="1200" cap="none" spc="0" normalizeH="0" baseline="0" noProof="0">
                <a:ln>
                  <a:noFill/>
                </a:ln>
                <a:solidFill>
                  <a:schemeClr val="accent3"/>
                </a:solidFill>
                <a:effectLst/>
                <a:uLnTx/>
                <a:uFillTx/>
                <a:latin typeface="Arial"/>
                <a:ea typeface="+mn-ea"/>
                <a:cs typeface="Arial"/>
              </a:endParaRPr>
            </a:p>
            <a:p>
              <a:pPr marL="0" marR="0" lvl="0" indent="0" algn="l" defTabSz="457200" rtl="0" eaLnBrk="1" fontAlgn="auto" latinLnBrk="0" hangingPunct="1">
                <a:lnSpc>
                  <a:spcPct val="100000"/>
                </a:lnSpc>
                <a:spcBef>
                  <a:spcPts val="600"/>
                </a:spcBef>
                <a:spcAft>
                  <a:spcPts val="0"/>
                </a:spcAft>
                <a:buClr>
                  <a:srgbClr val="FA4616"/>
                </a:buClr>
                <a:buSzTx/>
                <a:buFont typeface="Arial" panose="020B0604020202020204" pitchFamily="34" charset="0"/>
                <a:buNone/>
                <a:tabLst/>
                <a:defRPr/>
              </a:pPr>
              <a:br>
                <a:rPr kumimoji="0" lang="en-US" sz="1100" b="0" i="0" u="none" strike="noStrike" kern="1200" cap="none" spc="0" normalizeH="0" baseline="0" noProof="0">
                  <a:ln>
                    <a:noFill/>
                  </a:ln>
                  <a:solidFill>
                    <a:srgbClr val="000000"/>
                  </a:solidFill>
                  <a:effectLst/>
                  <a:uLnTx/>
                  <a:uFillTx/>
                  <a:latin typeface="Arial"/>
                  <a:ea typeface="+mn-ea"/>
                  <a:cs typeface="Arial"/>
                </a:rPr>
              </a:br>
              <a:r>
                <a:rPr kumimoji="0" lang="en-US" sz="1100" b="0" i="0" u="none" strike="noStrike" kern="1200" cap="none" spc="0" normalizeH="0" baseline="0" noProof="0">
                  <a:ln>
                    <a:noFill/>
                  </a:ln>
                  <a:solidFill>
                    <a:srgbClr val="000000"/>
                  </a:solidFill>
                  <a:effectLst/>
                  <a:uLnTx/>
                  <a:uFillTx/>
                  <a:latin typeface="Arial"/>
                  <a:ea typeface="+mn-ea"/>
                  <a:cs typeface="Arial"/>
                </a:rPr>
                <a:t>Employees suggest ideas </a:t>
              </a:r>
              <a:br>
                <a:rPr kumimoji="0" lang="en-US" sz="1100" b="0" i="0" u="none" strike="noStrike" kern="1200" cap="none" spc="0" normalizeH="0" baseline="0" noProof="0">
                  <a:ln>
                    <a:noFill/>
                  </a:ln>
                  <a:solidFill>
                    <a:srgbClr val="000000"/>
                  </a:solidFill>
                  <a:effectLst/>
                  <a:uLnTx/>
                  <a:uFillTx/>
                  <a:latin typeface="Arial"/>
                  <a:ea typeface="+mn-ea"/>
                  <a:cs typeface="Arial"/>
                </a:rPr>
              </a:br>
              <a:r>
                <a:rPr kumimoji="0" lang="en-US" sz="1100" b="0" i="0" u="none" strike="noStrike" kern="1200" cap="none" spc="0" normalizeH="0" baseline="0" noProof="0">
                  <a:ln>
                    <a:noFill/>
                  </a:ln>
                  <a:solidFill>
                    <a:srgbClr val="000000"/>
                  </a:solidFill>
                  <a:effectLst/>
                  <a:uLnTx/>
                  <a:uFillTx/>
                  <a:latin typeface="Arial"/>
                  <a:ea typeface="+mn-ea"/>
                  <a:cs typeface="Arial"/>
                </a:rPr>
                <a:t>and use automations that </a:t>
              </a:r>
              <a:br>
                <a:rPr kumimoji="0" lang="en-US" sz="1100" b="0" i="0" u="none" strike="noStrike" kern="1200" cap="none" spc="0" normalizeH="0" baseline="0" noProof="0">
                  <a:ln>
                    <a:noFill/>
                  </a:ln>
                  <a:solidFill>
                    <a:srgbClr val="000000"/>
                  </a:solidFill>
                  <a:effectLst/>
                  <a:uLnTx/>
                  <a:uFillTx/>
                  <a:latin typeface="Arial"/>
                  <a:ea typeface="+mn-ea"/>
                  <a:cs typeface="Arial"/>
                </a:rPr>
              </a:br>
              <a:r>
                <a:rPr kumimoji="0" lang="en-US" sz="1100" b="0" i="0" u="none" strike="noStrike" kern="1200" cap="none" spc="0" normalizeH="0" baseline="0" noProof="0">
                  <a:ln>
                    <a:noFill/>
                  </a:ln>
                  <a:solidFill>
                    <a:srgbClr val="000000"/>
                  </a:solidFill>
                  <a:effectLst/>
                  <a:uLnTx/>
                  <a:uFillTx/>
                  <a:latin typeface="Arial"/>
                  <a:ea typeface="+mn-ea"/>
                  <a:cs typeface="Arial"/>
                </a:rPr>
                <a:t>are provided</a:t>
              </a:r>
            </a:p>
          </p:txBody>
        </p:sp>
        <p:pic>
          <p:nvPicPr>
            <p:cNvPr id="87" name="Picture 86" descr="A person sitting at a table in front of a building&#10;&#10;Description automatically generated">
              <a:extLst>
                <a:ext uri="{FF2B5EF4-FFF2-40B4-BE49-F238E27FC236}">
                  <a16:creationId xmlns:a16="http://schemas.microsoft.com/office/drawing/2014/main" id="{70293E8C-22CB-4635-82AE-94D9DF5B3FB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559353" y="2653505"/>
              <a:ext cx="1952796" cy="2004733"/>
            </a:xfrm>
            <a:prstGeom prst="rect">
              <a:avLst/>
            </a:prstGeom>
          </p:spPr>
        </p:pic>
      </p:grpSp>
      <p:sp>
        <p:nvSpPr>
          <p:cNvPr id="4" name="Rectangle 3">
            <a:extLst>
              <a:ext uri="{FF2B5EF4-FFF2-40B4-BE49-F238E27FC236}">
                <a16:creationId xmlns:a16="http://schemas.microsoft.com/office/drawing/2014/main" id="{EE66A5CA-6DE2-49C4-B750-DFF3DD0C4BE1}"/>
              </a:ext>
            </a:extLst>
          </p:cNvPr>
          <p:cNvSpPr/>
          <p:nvPr/>
        </p:nvSpPr>
        <p:spPr>
          <a:xfrm>
            <a:off x="3939710" y="5709"/>
            <a:ext cx="1649823" cy="205533"/>
          </a:xfrm>
          <a:prstGeom prst="rect">
            <a:avLst/>
          </a:prstGeom>
          <a:solidFill>
            <a:schemeClr val="accent1"/>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b="0" i="0">
                <a:latin typeface="Arial"/>
                <a:cs typeface="Arial"/>
              </a:rPr>
              <a:t>Define personas</a:t>
            </a:r>
          </a:p>
        </p:txBody>
      </p:sp>
      <p:sp>
        <p:nvSpPr>
          <p:cNvPr id="33" name="Rectangle 32">
            <a:extLst>
              <a:ext uri="{FF2B5EF4-FFF2-40B4-BE49-F238E27FC236}">
                <a16:creationId xmlns:a16="http://schemas.microsoft.com/office/drawing/2014/main" id="{B48F9CF3-DFF2-4DDB-A011-D98C7CABE38D}"/>
              </a:ext>
            </a:extLst>
          </p:cNvPr>
          <p:cNvSpPr/>
          <p:nvPr/>
        </p:nvSpPr>
        <p:spPr>
          <a:xfrm>
            <a:off x="5589533"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Set up governance</a:t>
            </a:r>
          </a:p>
        </p:txBody>
      </p:sp>
      <p:sp>
        <p:nvSpPr>
          <p:cNvPr id="34" name="Rectangle 33">
            <a:extLst>
              <a:ext uri="{FF2B5EF4-FFF2-40B4-BE49-F238E27FC236}">
                <a16:creationId xmlns:a16="http://schemas.microsoft.com/office/drawing/2014/main" id="{8456D085-41CD-41E8-A234-062323FBC353}"/>
              </a:ext>
            </a:extLst>
          </p:cNvPr>
          <p:cNvSpPr/>
          <p:nvPr/>
        </p:nvSpPr>
        <p:spPr>
          <a:xfrm>
            <a:off x="7239356"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Define execution steps</a:t>
            </a:r>
          </a:p>
        </p:txBody>
      </p:sp>
      <p:sp>
        <p:nvSpPr>
          <p:cNvPr id="35" name="Rectangle 34">
            <a:extLst>
              <a:ext uri="{FF2B5EF4-FFF2-40B4-BE49-F238E27FC236}">
                <a16:creationId xmlns:a16="http://schemas.microsoft.com/office/drawing/2014/main" id="{4E921FCD-DBF0-4A58-A013-4855E49C44E2}"/>
              </a:ext>
            </a:extLst>
          </p:cNvPr>
          <p:cNvSpPr/>
          <p:nvPr/>
        </p:nvSpPr>
        <p:spPr>
          <a:xfrm>
            <a:off x="8889179"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Configure technologies</a:t>
            </a:r>
          </a:p>
        </p:txBody>
      </p:sp>
      <p:sp>
        <p:nvSpPr>
          <p:cNvPr id="36" name="Rectangle 35">
            <a:extLst>
              <a:ext uri="{FF2B5EF4-FFF2-40B4-BE49-F238E27FC236}">
                <a16:creationId xmlns:a16="http://schemas.microsoft.com/office/drawing/2014/main" id="{764C66BA-B262-4A31-911B-5CFC15C65304}"/>
              </a:ext>
            </a:extLst>
          </p:cNvPr>
          <p:cNvSpPr/>
          <p:nvPr/>
        </p:nvSpPr>
        <p:spPr>
          <a:xfrm>
            <a:off x="10539002"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Drive adoption</a:t>
            </a:r>
          </a:p>
        </p:txBody>
      </p:sp>
      <p:sp>
        <p:nvSpPr>
          <p:cNvPr id="38" name="Title 4">
            <a:extLst>
              <a:ext uri="{FF2B5EF4-FFF2-40B4-BE49-F238E27FC236}">
                <a16:creationId xmlns:a16="http://schemas.microsoft.com/office/drawing/2014/main" id="{08CCDC3C-689E-4054-9E6D-63524F83B038}"/>
              </a:ext>
            </a:extLst>
          </p:cNvPr>
          <p:cNvSpPr txBox="1">
            <a:spLocks/>
          </p:cNvSpPr>
          <p:nvPr/>
        </p:nvSpPr>
        <p:spPr>
          <a:xfrm>
            <a:off x="381001" y="357721"/>
            <a:ext cx="9041295" cy="690029"/>
          </a:xfrm>
          <a:prstGeom prst="rect">
            <a:avLst/>
          </a:prstGeom>
        </p:spPr>
        <p:txBody>
          <a:bodyPr vert="horz" lIns="0" tIns="0" rIns="0" bIns="0" rtlCol="0" anchor="ctr"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t>Personas involved in your automation program</a:t>
            </a:r>
            <a:endParaRPr lang="en-PH"/>
          </a:p>
        </p:txBody>
      </p:sp>
    </p:spTree>
    <p:extLst>
      <p:ext uri="{BB962C8B-B14F-4D97-AF65-F5344CB8AC3E}">
        <p14:creationId xmlns:p14="http://schemas.microsoft.com/office/powerpoint/2010/main" val="49911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750"/>
                                        <p:tgtEl>
                                          <p:spTgt spid="8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750"/>
                                        <p:tgtEl>
                                          <p:spTgt spid="5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750"/>
                                        <p:tgtEl>
                                          <p:spTgt spid="5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750"/>
                                        <p:tgtEl>
                                          <p:spTgt spid="6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3">
            <a:extLst>
              <a:ext uri="{FF2B5EF4-FFF2-40B4-BE49-F238E27FC236}">
                <a16:creationId xmlns:a16="http://schemas.microsoft.com/office/drawing/2014/main" id="{F16040F6-198B-4F45-9F17-DC47C4622D48}"/>
              </a:ext>
            </a:extLst>
          </p:cNvPr>
          <p:cNvSpPr txBox="1">
            <a:spLocks/>
          </p:cNvSpPr>
          <p:nvPr/>
        </p:nvSpPr>
        <p:spPr>
          <a:xfrm>
            <a:off x="352743" y="1729905"/>
            <a:ext cx="5394960" cy="824277"/>
          </a:xfrm>
          <a:prstGeom prst="rect">
            <a:avLst/>
          </a:prstGeom>
          <a:solidFill>
            <a:schemeClr val="accent3"/>
          </a:solidFill>
        </p:spPr>
        <p:txBody>
          <a:bodyPr vert="horz" lIns="182880" tIns="0" rIns="0" bIns="0" rtlCol="0" anchor="ctr"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lgn="ctr" defTabSz="1326703">
              <a:lnSpc>
                <a:spcPct val="100000"/>
              </a:lnSpc>
              <a:spcBef>
                <a:spcPts val="0"/>
              </a:spcBef>
              <a:defRPr/>
            </a:pPr>
            <a:r>
              <a:rPr lang="en-US" sz="1800" spc="0">
                <a:solidFill>
                  <a:srgbClr val="FFFFFF"/>
                </a:solidFill>
              </a:rPr>
              <a:t>Automation consumption</a:t>
            </a:r>
          </a:p>
        </p:txBody>
      </p:sp>
      <p:sp>
        <p:nvSpPr>
          <p:cNvPr id="2" name="TextBox 1">
            <a:extLst>
              <a:ext uri="{FF2B5EF4-FFF2-40B4-BE49-F238E27FC236}">
                <a16:creationId xmlns:a16="http://schemas.microsoft.com/office/drawing/2014/main" id="{05C09824-5CE2-4272-848C-BE883E1051D9}"/>
              </a:ext>
            </a:extLst>
          </p:cNvPr>
          <p:cNvSpPr txBox="1"/>
          <p:nvPr/>
        </p:nvSpPr>
        <p:spPr>
          <a:xfrm>
            <a:off x="352743" y="2793938"/>
            <a:ext cx="5394960" cy="1600438"/>
          </a:xfrm>
          <a:prstGeom prst="rect">
            <a:avLst/>
          </a:prstGeom>
          <a:noFill/>
        </p:spPr>
        <p:txBody>
          <a:bodyPr wrap="square" lIns="0" tIns="0" rIns="0" bIns="0" anchor="t">
            <a:spAutoFit/>
          </a:bodyPr>
          <a:lstStyle/>
          <a:p>
            <a:pPr marL="182880" indent="-182880">
              <a:spcAft>
                <a:spcPts val="1200"/>
              </a:spcAft>
              <a:buClr>
                <a:schemeClr val="accent3"/>
              </a:buClr>
              <a:buFont typeface="Arial" panose="020B0604020202020204" pitchFamily="34" charset="0"/>
              <a:buChar char="•"/>
            </a:pPr>
            <a:r>
              <a:rPr lang="en-US" sz="1400" b="1">
                <a:solidFill>
                  <a:schemeClr val="accent3"/>
                </a:solidFill>
                <a:ea typeface="+mn-lt"/>
                <a:cs typeface="+mn-lt"/>
              </a:rPr>
              <a:t>Centrally push pre-approved automations</a:t>
            </a:r>
            <a:r>
              <a:rPr lang="en-US" sz="1400">
                <a:solidFill>
                  <a:schemeClr val="accent3"/>
                </a:solidFill>
                <a:ea typeface="+mn-lt"/>
                <a:cs typeface="+mn-lt"/>
              </a:rPr>
              <a:t> </a:t>
            </a:r>
            <a:r>
              <a:rPr lang="en-US" sz="1400">
                <a:ea typeface="+mn-lt"/>
                <a:cs typeface="+mn-lt"/>
              </a:rPr>
              <a:t>to employees' desktops according to their role/department </a:t>
            </a:r>
          </a:p>
          <a:p>
            <a:pPr marL="182880" indent="-182880">
              <a:spcAft>
                <a:spcPts val="1200"/>
              </a:spcAft>
              <a:buClr>
                <a:schemeClr val="accent3"/>
              </a:buClr>
              <a:buFont typeface="Arial" panose="020B0604020202020204" pitchFamily="34" charset="0"/>
              <a:buChar char="•"/>
            </a:pPr>
            <a:r>
              <a:rPr lang="en-US" sz="1400" b="1">
                <a:solidFill>
                  <a:schemeClr val="accent3"/>
                </a:solidFill>
                <a:latin typeface="Arial"/>
                <a:cs typeface="Arial"/>
              </a:rPr>
              <a:t>Crowdsource and manage your automation pipeline</a:t>
            </a:r>
            <a:r>
              <a:rPr lang="en-US" sz="1400">
                <a:solidFill>
                  <a:schemeClr val="accent1"/>
                </a:solidFill>
                <a:latin typeface="Arial"/>
                <a:cs typeface="Arial"/>
              </a:rPr>
              <a:t> </a:t>
            </a:r>
            <a:r>
              <a:rPr lang="en-US" sz="1400">
                <a:latin typeface="Arial"/>
                <a:cs typeface="Arial"/>
              </a:rPr>
              <a:t>in Automation Hub</a:t>
            </a:r>
          </a:p>
          <a:p>
            <a:pPr marL="182880" indent="-182880">
              <a:spcAft>
                <a:spcPts val="1200"/>
              </a:spcAft>
              <a:buClr>
                <a:schemeClr val="accent3"/>
              </a:buClr>
              <a:buFont typeface="Arial" panose="020B0604020202020204" pitchFamily="34" charset="0"/>
              <a:buChar char="•"/>
            </a:pPr>
            <a:r>
              <a:rPr lang="en-US" sz="1400" b="1">
                <a:solidFill>
                  <a:schemeClr val="accent3"/>
                </a:solidFill>
                <a:ea typeface="+mn-lt"/>
                <a:cs typeface="+mn-lt"/>
              </a:rPr>
              <a:t>Manage and share ready-to-use automations</a:t>
            </a:r>
            <a:r>
              <a:rPr lang="en-US" sz="1400">
                <a:solidFill>
                  <a:schemeClr val="accent3"/>
                </a:solidFill>
                <a:ea typeface="+mn-lt"/>
                <a:cs typeface="+mn-lt"/>
              </a:rPr>
              <a:t> </a:t>
            </a:r>
            <a:r>
              <a:rPr lang="en-US" sz="1400">
                <a:ea typeface="+mn-lt"/>
                <a:cs typeface="+mn-lt"/>
              </a:rPr>
              <a:t>in your internal Automation Store</a:t>
            </a:r>
            <a:endParaRPr lang="en-US" sz="1400">
              <a:latin typeface="Arial"/>
              <a:cs typeface="Arial"/>
            </a:endParaRPr>
          </a:p>
        </p:txBody>
      </p:sp>
      <p:sp>
        <p:nvSpPr>
          <p:cNvPr id="7" name="Text Placeholder 33">
            <a:extLst>
              <a:ext uri="{FF2B5EF4-FFF2-40B4-BE49-F238E27FC236}">
                <a16:creationId xmlns:a16="http://schemas.microsoft.com/office/drawing/2014/main" id="{B6BBBCA9-C699-4176-9CD1-EF28364D32D5}"/>
              </a:ext>
            </a:extLst>
          </p:cNvPr>
          <p:cNvSpPr txBox="1">
            <a:spLocks/>
          </p:cNvSpPr>
          <p:nvPr/>
        </p:nvSpPr>
        <p:spPr>
          <a:xfrm>
            <a:off x="6387783" y="1729905"/>
            <a:ext cx="5394960" cy="824277"/>
          </a:xfrm>
          <a:prstGeom prst="rect">
            <a:avLst/>
          </a:prstGeom>
          <a:solidFill>
            <a:schemeClr val="accent2"/>
          </a:solidFill>
        </p:spPr>
        <p:txBody>
          <a:bodyPr vert="horz" lIns="365760" tIns="0" rIns="0" bIns="0" rtlCol="0" anchor="ctr"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326703">
              <a:lnSpc>
                <a:spcPct val="100000"/>
              </a:lnSpc>
              <a:spcBef>
                <a:spcPts val="0"/>
              </a:spcBef>
              <a:defRPr/>
            </a:pPr>
            <a:r>
              <a:rPr lang="en-US" sz="1800" spc="0">
                <a:solidFill>
                  <a:srgbClr val="FFFFFF"/>
                </a:solidFill>
              </a:rPr>
              <a:t>Citizen development</a:t>
            </a:r>
          </a:p>
        </p:txBody>
      </p:sp>
      <p:sp>
        <p:nvSpPr>
          <p:cNvPr id="10" name="TextBox 9">
            <a:extLst>
              <a:ext uri="{FF2B5EF4-FFF2-40B4-BE49-F238E27FC236}">
                <a16:creationId xmlns:a16="http://schemas.microsoft.com/office/drawing/2014/main" id="{816CBFCB-178D-407D-A4FD-7F6E99D30E5E}"/>
              </a:ext>
            </a:extLst>
          </p:cNvPr>
          <p:cNvSpPr txBox="1"/>
          <p:nvPr/>
        </p:nvSpPr>
        <p:spPr>
          <a:xfrm>
            <a:off x="6387783" y="2793938"/>
            <a:ext cx="5394960" cy="1600438"/>
          </a:xfrm>
          <a:prstGeom prst="rect">
            <a:avLst/>
          </a:prstGeom>
          <a:noFill/>
        </p:spPr>
        <p:txBody>
          <a:bodyPr wrap="square" lIns="0" tIns="0" rIns="0" bIns="0" anchor="t">
            <a:spAutoFit/>
          </a:bodyPr>
          <a:lstStyle/>
          <a:p>
            <a:pPr marL="182880" indent="-182880">
              <a:spcAft>
                <a:spcPts val="1200"/>
              </a:spcAft>
              <a:buClr>
                <a:schemeClr val="accent2"/>
              </a:buClr>
              <a:buFont typeface="Arial" panose="020B0604020202020204" pitchFamily="34" charset="0"/>
              <a:buChar char="•"/>
            </a:pPr>
            <a:r>
              <a:rPr lang="en-US" sz="1400" b="1">
                <a:solidFill>
                  <a:schemeClr val="accent2"/>
                </a:solidFill>
                <a:ea typeface="+mn-lt"/>
                <a:cs typeface="+mn-lt"/>
              </a:rPr>
              <a:t>Review, validate and distribute citizen-led automations</a:t>
            </a:r>
            <a:r>
              <a:rPr lang="en-US" sz="1400">
                <a:solidFill>
                  <a:schemeClr val="accent2"/>
                </a:solidFill>
                <a:ea typeface="+mn-lt"/>
                <a:cs typeface="+mn-lt"/>
              </a:rPr>
              <a:t> </a:t>
            </a:r>
            <a:r>
              <a:rPr lang="en-US" sz="1400">
                <a:ea typeface="+mn-lt"/>
                <a:cs typeface="+mn-lt"/>
              </a:rPr>
              <a:t>in Automation Hub</a:t>
            </a:r>
            <a:endParaRPr lang="en-US" sz="1400">
              <a:latin typeface="Arial"/>
              <a:cs typeface="Arial"/>
            </a:endParaRPr>
          </a:p>
          <a:p>
            <a:pPr marL="182880" indent="-182880">
              <a:spcAft>
                <a:spcPts val="1200"/>
              </a:spcAft>
              <a:buClr>
                <a:schemeClr val="accent2"/>
              </a:buClr>
              <a:buFont typeface="Arial" panose="020B0604020202020204" pitchFamily="34" charset="0"/>
              <a:buChar char="•"/>
            </a:pPr>
            <a:r>
              <a:rPr lang="en-US" sz="1400" b="1">
                <a:solidFill>
                  <a:schemeClr val="accent2"/>
                </a:solidFill>
                <a:latin typeface="Arial"/>
                <a:cs typeface="Arial"/>
              </a:rPr>
              <a:t>Create and manage enterprise-wide policies </a:t>
            </a:r>
            <a:r>
              <a:rPr lang="en-US" sz="1400">
                <a:latin typeface="Arial"/>
                <a:cs typeface="Arial"/>
              </a:rPr>
              <a:t>for citizen development</a:t>
            </a:r>
          </a:p>
          <a:p>
            <a:pPr marL="182880" indent="-182880">
              <a:spcAft>
                <a:spcPts val="1200"/>
              </a:spcAft>
              <a:buClr>
                <a:schemeClr val="accent2"/>
              </a:buClr>
              <a:buFont typeface="Arial" panose="020B0604020202020204" pitchFamily="34" charset="0"/>
              <a:buChar char="•"/>
            </a:pPr>
            <a:r>
              <a:rPr lang="en-US" sz="1400">
                <a:latin typeface="Arial"/>
                <a:cs typeface="Arial"/>
              </a:rPr>
              <a:t>Align all citizen-led automations with your development standards (e.g. automatic code review)</a:t>
            </a:r>
          </a:p>
        </p:txBody>
      </p:sp>
      <p:sp>
        <p:nvSpPr>
          <p:cNvPr id="5" name="Title 4">
            <a:extLst>
              <a:ext uri="{FF2B5EF4-FFF2-40B4-BE49-F238E27FC236}">
                <a16:creationId xmlns:a16="http://schemas.microsoft.com/office/drawing/2014/main" id="{100AE1F3-652C-4B58-9BBE-62D511CBE709}"/>
              </a:ext>
            </a:extLst>
          </p:cNvPr>
          <p:cNvSpPr>
            <a:spLocks noGrp="1"/>
          </p:cNvSpPr>
          <p:nvPr>
            <p:ph type="title"/>
          </p:nvPr>
        </p:nvSpPr>
        <p:spPr>
          <a:xfrm>
            <a:off x="381001" y="357721"/>
            <a:ext cx="9041295" cy="690029"/>
          </a:xfrm>
        </p:spPr>
        <p:txBody>
          <a:bodyPr anchor="ctr"/>
          <a:lstStyle/>
          <a:p>
            <a:r>
              <a:rPr lang="en-US" sz="2800" b="1">
                <a:cs typeface="Arial"/>
              </a:rPr>
              <a:t>Central oversight and control</a:t>
            </a:r>
            <a:endParaRPr lang="en-PH"/>
          </a:p>
        </p:txBody>
      </p:sp>
      <p:pic>
        <p:nvPicPr>
          <p:cNvPr id="15" name="Graphic 14">
            <a:extLst>
              <a:ext uri="{FF2B5EF4-FFF2-40B4-BE49-F238E27FC236}">
                <a16:creationId xmlns:a16="http://schemas.microsoft.com/office/drawing/2014/main" id="{493A318A-A7AA-4FF2-815B-0D043DFD8A9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51279" y="1903935"/>
            <a:ext cx="333352" cy="476216"/>
          </a:xfrm>
          <a:prstGeom prst="rect">
            <a:avLst/>
          </a:prstGeom>
        </p:spPr>
      </p:pic>
      <p:pic>
        <p:nvPicPr>
          <p:cNvPr id="16" name="Graphic 15">
            <a:extLst>
              <a:ext uri="{FF2B5EF4-FFF2-40B4-BE49-F238E27FC236}">
                <a16:creationId xmlns:a16="http://schemas.microsoft.com/office/drawing/2014/main" id="{429360D2-1600-4A8A-805E-0F34C00A965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395843" y="1938231"/>
            <a:ext cx="562910" cy="407624"/>
          </a:xfrm>
          <a:prstGeom prst="rect">
            <a:avLst/>
          </a:prstGeom>
        </p:spPr>
      </p:pic>
      <p:cxnSp>
        <p:nvCxnSpPr>
          <p:cNvPr id="17" name="Straight Connector 16">
            <a:extLst>
              <a:ext uri="{FF2B5EF4-FFF2-40B4-BE49-F238E27FC236}">
                <a16:creationId xmlns:a16="http://schemas.microsoft.com/office/drawing/2014/main" id="{642006E0-4319-454B-A31D-D85814717885}"/>
              </a:ext>
            </a:extLst>
          </p:cNvPr>
          <p:cNvCxnSpPr>
            <a:cxnSpLocks/>
          </p:cNvCxnSpPr>
          <p:nvPr/>
        </p:nvCxnSpPr>
        <p:spPr>
          <a:xfrm>
            <a:off x="6067742" y="1729905"/>
            <a:ext cx="0" cy="3371617"/>
          </a:xfrm>
          <a:prstGeom prst="line">
            <a:avLst/>
          </a:prstGeom>
          <a:ln w="3175" cap="flat" cmpd="sng" algn="ctr">
            <a:solidFill>
              <a:schemeClr val="tx2">
                <a:lumMod val="20000"/>
                <a:lumOff val="8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617C3B30-1B97-4E5D-A33C-E43734B218A4}"/>
              </a:ext>
            </a:extLst>
          </p:cNvPr>
          <p:cNvSpPr/>
          <p:nvPr/>
        </p:nvSpPr>
        <p:spPr>
          <a:xfrm>
            <a:off x="351193" y="4926595"/>
            <a:ext cx="11429990" cy="8046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0" rIns="182880" bIns="0" rtlCol="0" anchor="ctr" anchorCtr="0"/>
          <a:lstStyle/>
          <a:p>
            <a:pPr marL="285750" indent="-285750" algn="ctr">
              <a:spcAft>
                <a:spcPts val="600"/>
              </a:spcAft>
              <a:buFont typeface="Arial" panose="020B0604020202020204" pitchFamily="34" charset="0"/>
              <a:buChar char="•"/>
            </a:pPr>
            <a:r>
              <a:rPr lang="en-US" sz="1400" b="1">
                <a:solidFill>
                  <a:schemeClr val="tx1"/>
                </a:solidFill>
                <a:cs typeface="Arial"/>
              </a:rPr>
              <a:t>Keep an administrative oversight</a:t>
            </a:r>
            <a:r>
              <a:rPr lang="en-US" sz="1400">
                <a:solidFill>
                  <a:schemeClr val="tx1"/>
                </a:solidFill>
                <a:cs typeface="Arial"/>
              </a:rPr>
              <a:t> of your program—and </a:t>
            </a:r>
            <a:r>
              <a:rPr lang="en-US" sz="1400" b="1">
                <a:solidFill>
                  <a:schemeClr val="tx1"/>
                </a:solidFill>
                <a:cs typeface="Arial"/>
              </a:rPr>
              <a:t>track automation adoption and other KPIs</a:t>
            </a:r>
            <a:r>
              <a:rPr lang="en-US" sz="1400">
                <a:solidFill>
                  <a:schemeClr val="tx1"/>
                </a:solidFill>
                <a:cs typeface="Arial"/>
              </a:rPr>
              <a:t> </a:t>
            </a:r>
          </a:p>
        </p:txBody>
      </p:sp>
      <p:sp>
        <p:nvSpPr>
          <p:cNvPr id="22" name="Rectangle 21">
            <a:extLst>
              <a:ext uri="{FF2B5EF4-FFF2-40B4-BE49-F238E27FC236}">
                <a16:creationId xmlns:a16="http://schemas.microsoft.com/office/drawing/2014/main" id="{32D8B23C-953C-4334-BDA2-24F15A6341D9}"/>
              </a:ext>
            </a:extLst>
          </p:cNvPr>
          <p:cNvSpPr/>
          <p:nvPr/>
        </p:nvSpPr>
        <p:spPr>
          <a:xfrm>
            <a:off x="3939710"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b="0" i="0">
                <a:latin typeface="Arial"/>
                <a:cs typeface="Arial"/>
              </a:rPr>
              <a:t>Define personas</a:t>
            </a:r>
          </a:p>
        </p:txBody>
      </p:sp>
      <p:sp>
        <p:nvSpPr>
          <p:cNvPr id="23" name="Rectangle 22">
            <a:extLst>
              <a:ext uri="{FF2B5EF4-FFF2-40B4-BE49-F238E27FC236}">
                <a16:creationId xmlns:a16="http://schemas.microsoft.com/office/drawing/2014/main" id="{D34852CA-50DF-406A-A0B3-51A40C8D4FFE}"/>
              </a:ext>
            </a:extLst>
          </p:cNvPr>
          <p:cNvSpPr/>
          <p:nvPr/>
        </p:nvSpPr>
        <p:spPr>
          <a:xfrm>
            <a:off x="5589533" y="5709"/>
            <a:ext cx="1649823" cy="205533"/>
          </a:xfrm>
          <a:prstGeom prst="rect">
            <a:avLst/>
          </a:prstGeom>
          <a:solidFill>
            <a:schemeClr val="accent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Set up governance</a:t>
            </a:r>
          </a:p>
        </p:txBody>
      </p:sp>
      <p:sp>
        <p:nvSpPr>
          <p:cNvPr id="24" name="Rectangle 23">
            <a:extLst>
              <a:ext uri="{FF2B5EF4-FFF2-40B4-BE49-F238E27FC236}">
                <a16:creationId xmlns:a16="http://schemas.microsoft.com/office/drawing/2014/main" id="{FF86D831-48D8-47BB-890D-5CF66B836418}"/>
              </a:ext>
            </a:extLst>
          </p:cNvPr>
          <p:cNvSpPr/>
          <p:nvPr/>
        </p:nvSpPr>
        <p:spPr>
          <a:xfrm>
            <a:off x="7239356"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Define execution steps</a:t>
            </a:r>
          </a:p>
        </p:txBody>
      </p:sp>
      <p:sp>
        <p:nvSpPr>
          <p:cNvPr id="25" name="Rectangle 24">
            <a:extLst>
              <a:ext uri="{FF2B5EF4-FFF2-40B4-BE49-F238E27FC236}">
                <a16:creationId xmlns:a16="http://schemas.microsoft.com/office/drawing/2014/main" id="{2B65976D-441B-4466-B324-24771F32B25F}"/>
              </a:ext>
            </a:extLst>
          </p:cNvPr>
          <p:cNvSpPr/>
          <p:nvPr/>
        </p:nvSpPr>
        <p:spPr>
          <a:xfrm>
            <a:off x="8889179"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Configure technologies</a:t>
            </a:r>
          </a:p>
        </p:txBody>
      </p:sp>
      <p:sp>
        <p:nvSpPr>
          <p:cNvPr id="26" name="Rectangle 25">
            <a:extLst>
              <a:ext uri="{FF2B5EF4-FFF2-40B4-BE49-F238E27FC236}">
                <a16:creationId xmlns:a16="http://schemas.microsoft.com/office/drawing/2014/main" id="{9E009ED4-8CEF-48C4-BADF-E5778E88BFB2}"/>
              </a:ext>
            </a:extLst>
          </p:cNvPr>
          <p:cNvSpPr/>
          <p:nvPr/>
        </p:nvSpPr>
        <p:spPr>
          <a:xfrm>
            <a:off x="10539002"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Drive adoption</a:t>
            </a:r>
          </a:p>
        </p:txBody>
      </p:sp>
    </p:spTree>
    <p:extLst>
      <p:ext uri="{BB962C8B-B14F-4D97-AF65-F5344CB8AC3E}">
        <p14:creationId xmlns:p14="http://schemas.microsoft.com/office/powerpoint/2010/main" val="7463409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F6E5B1D9-9419-4375-B954-A4E7B918A9D0}"/>
              </a:ext>
            </a:extLst>
          </p:cNvPr>
          <p:cNvGrpSpPr/>
          <p:nvPr/>
        </p:nvGrpSpPr>
        <p:grpSpPr>
          <a:xfrm>
            <a:off x="6412373" y="2291504"/>
            <a:ext cx="1475738" cy="1884665"/>
            <a:chOff x="6412456" y="2291208"/>
            <a:chExt cx="1476122" cy="1885156"/>
          </a:xfrm>
        </p:grpSpPr>
        <p:sp>
          <p:nvSpPr>
            <p:cNvPr id="54" name="Text Placeholder 33">
              <a:extLst>
                <a:ext uri="{FF2B5EF4-FFF2-40B4-BE49-F238E27FC236}">
                  <a16:creationId xmlns:a16="http://schemas.microsoft.com/office/drawing/2014/main" id="{3BD07D7A-838F-4A87-9CEC-AA99A9ED241E}"/>
                </a:ext>
              </a:extLst>
            </p:cNvPr>
            <p:cNvSpPr txBox="1">
              <a:spLocks/>
            </p:cNvSpPr>
            <p:nvPr/>
          </p:nvSpPr>
          <p:spPr>
            <a:xfrm>
              <a:off x="6425538" y="2291208"/>
              <a:ext cx="1463040" cy="1097280"/>
            </a:xfrm>
            <a:prstGeom prst="rect">
              <a:avLst/>
            </a:prstGeom>
            <a:solidFill>
              <a:schemeClr val="accent1"/>
            </a:solidFill>
          </p:spPr>
          <p:txBody>
            <a:bodyPr vert="horz" lIns="91416" tIns="0" rIns="91416" bIns="182832" rtlCol="0" anchor="b"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buClr>
                  <a:srgbClr val="000000"/>
                </a:buClr>
                <a:defRPr/>
              </a:pPr>
              <a:r>
                <a:rPr lang="en-US" sz="1400">
                  <a:solidFill>
                    <a:srgbClr val="FFFFFF"/>
                  </a:solidFill>
                </a:rPr>
                <a:t>CoE</a:t>
              </a:r>
            </a:p>
          </p:txBody>
        </p:sp>
        <p:pic>
          <p:nvPicPr>
            <p:cNvPr id="67" name="Graphic 1">
              <a:extLst>
                <a:ext uri="{FF2B5EF4-FFF2-40B4-BE49-F238E27FC236}">
                  <a16:creationId xmlns:a16="http://schemas.microsoft.com/office/drawing/2014/main" id="{9E693D2A-DF04-43D9-BA8F-394FA4D953F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931293" y="2454508"/>
              <a:ext cx="451530" cy="451530"/>
            </a:xfrm>
            <a:prstGeom prst="rect">
              <a:avLst/>
            </a:prstGeom>
          </p:spPr>
        </p:pic>
        <p:sp>
          <p:nvSpPr>
            <p:cNvPr id="87" name="TextBox 86">
              <a:extLst>
                <a:ext uri="{FF2B5EF4-FFF2-40B4-BE49-F238E27FC236}">
                  <a16:creationId xmlns:a16="http://schemas.microsoft.com/office/drawing/2014/main" id="{155153AB-E9C8-4DCD-84B3-7D949C4245A0}"/>
                </a:ext>
              </a:extLst>
            </p:cNvPr>
            <p:cNvSpPr txBox="1"/>
            <p:nvPr/>
          </p:nvSpPr>
          <p:spPr>
            <a:xfrm>
              <a:off x="6412456" y="3560811"/>
              <a:ext cx="1463040" cy="615553"/>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indent="0" algn="ctr" defTabSz="457063">
                <a:buClr>
                  <a:srgbClr val="FA4616"/>
                </a:buClr>
                <a:buNone/>
                <a:defRPr/>
              </a:pPr>
              <a:r>
                <a:rPr lang="en-US" sz="1000">
                  <a:solidFill>
                    <a:srgbClr val="000000"/>
                  </a:solidFill>
                </a:rPr>
                <a:t>Govern and </a:t>
              </a:r>
              <a:br>
                <a:rPr lang="en-US" sz="1000">
                  <a:solidFill>
                    <a:srgbClr val="000000"/>
                  </a:solidFill>
                </a:rPr>
              </a:br>
              <a:r>
                <a:rPr lang="en-US" sz="1000">
                  <a:solidFill>
                    <a:srgbClr val="000000"/>
                  </a:solidFill>
                </a:rPr>
                <a:t>determine distribution </a:t>
              </a:r>
              <a:br>
                <a:rPr lang="en-US" sz="1000">
                  <a:solidFill>
                    <a:srgbClr val="000000"/>
                  </a:solidFill>
                </a:rPr>
              </a:br>
              <a:r>
                <a:rPr lang="en-US" sz="1000">
                  <a:solidFill>
                    <a:srgbClr val="000000"/>
                  </a:solidFill>
                </a:rPr>
                <a:t>for automations </a:t>
              </a:r>
              <a:br>
                <a:rPr lang="en-US" sz="1000">
                  <a:solidFill>
                    <a:srgbClr val="000000"/>
                  </a:solidFill>
                </a:rPr>
              </a:br>
              <a:r>
                <a:rPr lang="en-US" sz="1000">
                  <a:solidFill>
                    <a:srgbClr val="000000"/>
                  </a:solidFill>
                </a:rPr>
                <a:t>(if applicable)</a:t>
              </a:r>
            </a:p>
          </p:txBody>
        </p:sp>
      </p:grpSp>
      <p:sp>
        <p:nvSpPr>
          <p:cNvPr id="88" name="Rectangle 87">
            <a:extLst>
              <a:ext uri="{FF2B5EF4-FFF2-40B4-BE49-F238E27FC236}">
                <a16:creationId xmlns:a16="http://schemas.microsoft.com/office/drawing/2014/main" id="{730912BA-4CB4-4E70-8337-5CB800D376AC}"/>
              </a:ext>
            </a:extLst>
          </p:cNvPr>
          <p:cNvSpPr/>
          <p:nvPr/>
        </p:nvSpPr>
        <p:spPr>
          <a:xfrm>
            <a:off x="380683" y="4375717"/>
            <a:ext cx="1554075" cy="109353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br>
              <a:rPr lang="en-US" sz="1600" b="1">
                <a:solidFill>
                  <a:srgbClr val="0067DF"/>
                </a:solidFill>
                <a:latin typeface="Arial"/>
              </a:rPr>
            </a:br>
            <a:r>
              <a:rPr lang="en-US" sz="1600" b="1">
                <a:solidFill>
                  <a:srgbClr val="0067DF"/>
                </a:solidFill>
                <a:latin typeface="Arial"/>
              </a:rPr>
              <a:t>Citizen-development </a:t>
            </a:r>
            <a:br>
              <a:rPr lang="en-US" sz="1600" b="1">
                <a:solidFill>
                  <a:srgbClr val="0067DF"/>
                </a:solidFill>
                <a:latin typeface="Arial"/>
              </a:rPr>
            </a:br>
            <a:endParaRPr lang="en-US" sz="1600" b="1">
              <a:solidFill>
                <a:srgbClr val="0067DF"/>
              </a:solidFill>
              <a:latin typeface="Arial"/>
              <a:cs typeface="Arial"/>
            </a:endParaRPr>
          </a:p>
        </p:txBody>
      </p:sp>
      <p:grpSp>
        <p:nvGrpSpPr>
          <p:cNvPr id="22" name="Group 21">
            <a:extLst>
              <a:ext uri="{FF2B5EF4-FFF2-40B4-BE49-F238E27FC236}">
                <a16:creationId xmlns:a16="http://schemas.microsoft.com/office/drawing/2014/main" id="{83AF642E-4114-4277-87E9-11341B9EBB85}"/>
              </a:ext>
            </a:extLst>
          </p:cNvPr>
          <p:cNvGrpSpPr/>
          <p:nvPr/>
        </p:nvGrpSpPr>
        <p:grpSpPr>
          <a:xfrm>
            <a:off x="8046392" y="2291504"/>
            <a:ext cx="156638" cy="2042580"/>
            <a:chOff x="8046899" y="2291208"/>
            <a:chExt cx="156679" cy="2043112"/>
          </a:xfrm>
        </p:grpSpPr>
        <p:cxnSp>
          <p:nvCxnSpPr>
            <p:cNvPr id="85" name="Straight Connector 84">
              <a:extLst>
                <a:ext uri="{FF2B5EF4-FFF2-40B4-BE49-F238E27FC236}">
                  <a16:creationId xmlns:a16="http://schemas.microsoft.com/office/drawing/2014/main" id="{C8C49285-99FB-491F-A03B-0F8060E4E09F}"/>
                </a:ext>
              </a:extLst>
            </p:cNvPr>
            <p:cNvCxnSpPr>
              <a:cxnSpLocks/>
            </p:cNvCxnSpPr>
            <p:nvPr/>
          </p:nvCxnSpPr>
          <p:spPr>
            <a:xfrm flipV="1">
              <a:off x="8046899" y="2291208"/>
              <a:ext cx="0" cy="2043112"/>
            </a:xfrm>
            <a:prstGeom prst="line">
              <a:avLst/>
            </a:prstGeom>
            <a:ln w="6350"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3" name="Isosceles Triangle 92">
              <a:extLst>
                <a:ext uri="{FF2B5EF4-FFF2-40B4-BE49-F238E27FC236}">
                  <a16:creationId xmlns:a16="http://schemas.microsoft.com/office/drawing/2014/main" id="{660733B7-CA6F-4432-A116-DFA38429A26E}"/>
                </a:ext>
              </a:extLst>
            </p:cNvPr>
            <p:cNvSpPr/>
            <p:nvPr/>
          </p:nvSpPr>
          <p:spPr>
            <a:xfrm rot="16200000" flipV="1">
              <a:off x="7921550" y="2761509"/>
              <a:ext cx="407378" cy="156679"/>
            </a:xfrm>
            <a:prstGeom prst="triangl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grpSp>
      <p:grpSp>
        <p:nvGrpSpPr>
          <p:cNvPr id="24" name="Group 23">
            <a:extLst>
              <a:ext uri="{FF2B5EF4-FFF2-40B4-BE49-F238E27FC236}">
                <a16:creationId xmlns:a16="http://schemas.microsoft.com/office/drawing/2014/main" id="{EFE598C4-7749-4E7B-9B58-A8D4E63C65CD}"/>
              </a:ext>
            </a:extLst>
          </p:cNvPr>
          <p:cNvGrpSpPr/>
          <p:nvPr/>
        </p:nvGrpSpPr>
        <p:grpSpPr>
          <a:xfrm>
            <a:off x="8342871" y="2291504"/>
            <a:ext cx="3465056" cy="1576969"/>
            <a:chOff x="8343455" y="2291208"/>
            <a:chExt cx="3465959" cy="1577380"/>
          </a:xfrm>
        </p:grpSpPr>
        <p:sp>
          <p:nvSpPr>
            <p:cNvPr id="55" name="Text Placeholder 33">
              <a:extLst>
                <a:ext uri="{FF2B5EF4-FFF2-40B4-BE49-F238E27FC236}">
                  <a16:creationId xmlns:a16="http://schemas.microsoft.com/office/drawing/2014/main" id="{3F4292F5-D64F-4F61-AD7E-25B8DF5CB3ED}"/>
                </a:ext>
              </a:extLst>
            </p:cNvPr>
            <p:cNvSpPr txBox="1">
              <a:spLocks/>
            </p:cNvSpPr>
            <p:nvPr/>
          </p:nvSpPr>
          <p:spPr>
            <a:xfrm>
              <a:off x="8343455" y="2291208"/>
              <a:ext cx="3465958" cy="1095375"/>
            </a:xfrm>
            <a:prstGeom prst="rect">
              <a:avLst/>
            </a:prstGeom>
            <a:solidFill>
              <a:schemeClr val="accent3"/>
            </a:solidFill>
          </p:spPr>
          <p:txBody>
            <a:bodyPr vert="horz" lIns="91416" tIns="0" rIns="91416" bIns="182832" rtlCol="0" anchor="b"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buClr>
                  <a:srgbClr val="000000"/>
                </a:buClr>
                <a:defRPr/>
              </a:pPr>
              <a:r>
                <a:rPr lang="en-US" sz="1400">
                  <a:solidFill>
                    <a:srgbClr val="FFFFFF"/>
                  </a:solidFill>
                </a:rPr>
                <a:t>Automation Users </a:t>
              </a:r>
            </a:p>
          </p:txBody>
        </p:sp>
        <p:pic>
          <p:nvPicPr>
            <p:cNvPr id="83" name="Graphic 1">
              <a:extLst>
                <a:ext uri="{FF2B5EF4-FFF2-40B4-BE49-F238E27FC236}">
                  <a16:creationId xmlns:a16="http://schemas.microsoft.com/office/drawing/2014/main" id="{313896F4-75E3-41C7-B5B2-15082A6FBCD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906012" y="2425639"/>
              <a:ext cx="340844" cy="486920"/>
            </a:xfrm>
            <a:prstGeom prst="rect">
              <a:avLst/>
            </a:prstGeom>
          </p:spPr>
        </p:pic>
        <p:sp>
          <p:nvSpPr>
            <p:cNvPr id="113" name="TextBox 112">
              <a:extLst>
                <a:ext uri="{FF2B5EF4-FFF2-40B4-BE49-F238E27FC236}">
                  <a16:creationId xmlns:a16="http://schemas.microsoft.com/office/drawing/2014/main" id="{BE13171A-CA16-4073-B133-F8E98A9398A6}"/>
                </a:ext>
              </a:extLst>
            </p:cNvPr>
            <p:cNvSpPr txBox="1"/>
            <p:nvPr/>
          </p:nvSpPr>
          <p:spPr>
            <a:xfrm>
              <a:off x="8343456" y="3560811"/>
              <a:ext cx="3465958" cy="307777"/>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indent="0" algn="ctr" defTabSz="457063">
                <a:buClr>
                  <a:srgbClr val="FA4616"/>
                </a:buClr>
                <a:buNone/>
                <a:defRPr/>
              </a:pPr>
              <a:r>
                <a:rPr lang="en-US" sz="1000">
                  <a:solidFill>
                    <a:srgbClr val="000000"/>
                  </a:solidFill>
                </a:rPr>
                <a:t>Use robots and apps in day-to-day work; suggest new automation ideas</a:t>
              </a:r>
            </a:p>
          </p:txBody>
        </p:sp>
      </p:grpSp>
      <p:grpSp>
        <p:nvGrpSpPr>
          <p:cNvPr id="15" name="Group 14">
            <a:extLst>
              <a:ext uri="{FF2B5EF4-FFF2-40B4-BE49-F238E27FC236}">
                <a16:creationId xmlns:a16="http://schemas.microsoft.com/office/drawing/2014/main" id="{62836657-AF0C-447F-B325-14585FC8F1D4}"/>
              </a:ext>
            </a:extLst>
          </p:cNvPr>
          <p:cNvGrpSpPr/>
          <p:nvPr/>
        </p:nvGrpSpPr>
        <p:grpSpPr>
          <a:xfrm>
            <a:off x="2060398" y="4373573"/>
            <a:ext cx="1462659" cy="1096994"/>
            <a:chOff x="2059347" y="4371677"/>
            <a:chExt cx="1463040" cy="1097280"/>
          </a:xfrm>
        </p:grpSpPr>
        <p:sp>
          <p:nvSpPr>
            <p:cNvPr id="34" name="Text Placeholder 33">
              <a:extLst>
                <a:ext uri="{FF2B5EF4-FFF2-40B4-BE49-F238E27FC236}">
                  <a16:creationId xmlns:a16="http://schemas.microsoft.com/office/drawing/2014/main" id="{08BBCF68-BEF2-4AC4-B140-785FC76C0BB0}"/>
                </a:ext>
              </a:extLst>
            </p:cNvPr>
            <p:cNvSpPr txBox="1">
              <a:spLocks/>
            </p:cNvSpPr>
            <p:nvPr/>
          </p:nvSpPr>
          <p:spPr>
            <a:xfrm>
              <a:off x="2059347" y="4371677"/>
              <a:ext cx="1463040" cy="1097280"/>
            </a:xfrm>
            <a:prstGeom prst="rect">
              <a:avLst/>
            </a:prstGeom>
            <a:solidFill>
              <a:schemeClr val="accent2"/>
            </a:solidFill>
          </p:spPr>
          <p:txBody>
            <a:bodyPr vert="horz" lIns="91416" tIns="0" rIns="91416" bIns="182832" rtlCol="0" anchor="b"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ts val="0"/>
                </a:spcBef>
                <a:buClr>
                  <a:srgbClr val="000000"/>
                </a:buClr>
                <a:defRPr/>
              </a:pPr>
              <a:r>
                <a:rPr lang="en-US" sz="1200">
                  <a:solidFill>
                    <a:srgbClr val="FFFFFF"/>
                  </a:solidFill>
                </a:rPr>
                <a:t>Self Users</a:t>
              </a:r>
            </a:p>
          </p:txBody>
        </p:sp>
        <p:pic>
          <p:nvPicPr>
            <p:cNvPr id="37" name="Graphic 1">
              <a:extLst>
                <a:ext uri="{FF2B5EF4-FFF2-40B4-BE49-F238E27FC236}">
                  <a16:creationId xmlns:a16="http://schemas.microsoft.com/office/drawing/2014/main" id="{A49CFF35-4A12-48CE-9294-C49B5E644D3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522380" y="4608901"/>
              <a:ext cx="536974" cy="388843"/>
            </a:xfrm>
            <a:prstGeom prst="rect">
              <a:avLst/>
            </a:prstGeom>
          </p:spPr>
        </p:pic>
      </p:grpSp>
      <p:sp>
        <p:nvSpPr>
          <p:cNvPr id="38" name="TextBox 37">
            <a:extLst>
              <a:ext uri="{FF2B5EF4-FFF2-40B4-BE49-F238E27FC236}">
                <a16:creationId xmlns:a16="http://schemas.microsoft.com/office/drawing/2014/main" id="{0F8ADD03-448E-40AF-8F97-31F20298A6AD}"/>
              </a:ext>
            </a:extLst>
          </p:cNvPr>
          <p:cNvSpPr txBox="1"/>
          <p:nvPr/>
        </p:nvSpPr>
        <p:spPr>
          <a:xfrm>
            <a:off x="2060398" y="5543674"/>
            <a:ext cx="1462659" cy="461545"/>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indent="0" algn="ctr" defTabSz="457063">
              <a:buClr>
                <a:srgbClr val="FA4616"/>
              </a:buClr>
              <a:buNone/>
              <a:defRPr/>
            </a:pPr>
            <a:r>
              <a:rPr lang="en-US" sz="1000">
                <a:solidFill>
                  <a:srgbClr val="000000"/>
                </a:solidFill>
              </a:rPr>
              <a:t>Create task automations for themselves based on governance rules</a:t>
            </a:r>
          </a:p>
        </p:txBody>
      </p:sp>
      <p:grpSp>
        <p:nvGrpSpPr>
          <p:cNvPr id="17" name="Group 16">
            <a:extLst>
              <a:ext uri="{FF2B5EF4-FFF2-40B4-BE49-F238E27FC236}">
                <a16:creationId xmlns:a16="http://schemas.microsoft.com/office/drawing/2014/main" id="{EC0E6E36-E6B2-46B9-98DD-B137D813E2C1}"/>
              </a:ext>
            </a:extLst>
          </p:cNvPr>
          <p:cNvGrpSpPr/>
          <p:nvPr/>
        </p:nvGrpSpPr>
        <p:grpSpPr>
          <a:xfrm>
            <a:off x="380684" y="1693291"/>
            <a:ext cx="3142373" cy="1680949"/>
            <a:chOff x="379195" y="1692837"/>
            <a:chExt cx="3143192" cy="1681387"/>
          </a:xfrm>
        </p:grpSpPr>
        <p:sp>
          <p:nvSpPr>
            <p:cNvPr id="40" name="Rectangle 39">
              <a:extLst>
                <a:ext uri="{FF2B5EF4-FFF2-40B4-BE49-F238E27FC236}">
                  <a16:creationId xmlns:a16="http://schemas.microsoft.com/office/drawing/2014/main" id="{F52A2EFC-C5E5-46E0-BBAA-7C71DE058760}"/>
                </a:ext>
              </a:extLst>
            </p:cNvPr>
            <p:cNvSpPr/>
            <p:nvPr/>
          </p:nvSpPr>
          <p:spPr>
            <a:xfrm>
              <a:off x="379195" y="1700401"/>
              <a:ext cx="1554480" cy="108671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r>
                <a:rPr lang="en-US" sz="1600" b="1">
                  <a:solidFill>
                    <a:srgbClr val="FA4616"/>
                  </a:solidFill>
                  <a:latin typeface="Arial"/>
                </a:rPr>
                <a:t>Automation consumption</a:t>
              </a:r>
            </a:p>
          </p:txBody>
        </p:sp>
        <p:sp>
          <p:nvSpPr>
            <p:cNvPr id="39" name="TextBox 38">
              <a:extLst>
                <a:ext uri="{FF2B5EF4-FFF2-40B4-BE49-F238E27FC236}">
                  <a16:creationId xmlns:a16="http://schemas.microsoft.com/office/drawing/2014/main" id="{651C6B15-78FB-4347-9AC0-7F409436E9D4}"/>
                </a:ext>
              </a:extLst>
            </p:cNvPr>
            <p:cNvSpPr txBox="1"/>
            <p:nvPr/>
          </p:nvSpPr>
          <p:spPr>
            <a:xfrm>
              <a:off x="2059347" y="2912559"/>
              <a:ext cx="1463040" cy="461665"/>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indent="0" algn="ctr" defTabSz="457063">
                <a:buClr>
                  <a:srgbClr val="FA4616"/>
                </a:buClr>
                <a:buNone/>
                <a:defRPr/>
              </a:pPr>
              <a:r>
                <a:rPr lang="en-US" sz="1000">
                  <a:solidFill>
                    <a:srgbClr val="000000"/>
                  </a:solidFill>
                </a:rPr>
                <a:t>Assesses &amp; prioritizes automation – including employee suggestions</a:t>
              </a:r>
            </a:p>
          </p:txBody>
        </p:sp>
        <p:sp>
          <p:nvSpPr>
            <p:cNvPr id="49" name="Text Placeholder 33">
              <a:extLst>
                <a:ext uri="{FF2B5EF4-FFF2-40B4-BE49-F238E27FC236}">
                  <a16:creationId xmlns:a16="http://schemas.microsoft.com/office/drawing/2014/main" id="{DEF89A94-83E6-4083-8AB7-1CB9227CDC01}"/>
                </a:ext>
              </a:extLst>
            </p:cNvPr>
            <p:cNvSpPr txBox="1">
              <a:spLocks/>
            </p:cNvSpPr>
            <p:nvPr/>
          </p:nvSpPr>
          <p:spPr>
            <a:xfrm>
              <a:off x="2059347" y="1692837"/>
              <a:ext cx="1463040" cy="1097280"/>
            </a:xfrm>
            <a:prstGeom prst="rect">
              <a:avLst/>
            </a:prstGeom>
            <a:solidFill>
              <a:schemeClr val="accent1"/>
            </a:solidFill>
          </p:spPr>
          <p:txBody>
            <a:bodyPr vert="horz" lIns="91416" tIns="0" rIns="91416" bIns="182832" rtlCol="0" anchor="b"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buClr>
                  <a:srgbClr val="000000"/>
                </a:buClr>
                <a:defRPr/>
              </a:pPr>
              <a:r>
                <a:rPr lang="en-US" sz="1200" err="1">
                  <a:solidFill>
                    <a:srgbClr val="FFFFFF"/>
                  </a:solidFill>
                </a:rPr>
                <a:t>CoE</a:t>
              </a:r>
              <a:endParaRPr lang="en-US" sz="1200">
                <a:solidFill>
                  <a:srgbClr val="FFFFFF"/>
                </a:solidFill>
              </a:endParaRPr>
            </a:p>
          </p:txBody>
        </p:sp>
        <p:pic>
          <p:nvPicPr>
            <p:cNvPr id="52" name="Graphic 1">
              <a:extLst>
                <a:ext uri="{FF2B5EF4-FFF2-40B4-BE49-F238E27FC236}">
                  <a16:creationId xmlns:a16="http://schemas.microsoft.com/office/drawing/2014/main" id="{6C3DA626-123E-4741-ADFE-8091E112D7E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545465" y="1839037"/>
              <a:ext cx="490804" cy="490804"/>
            </a:xfrm>
            <a:prstGeom prst="rect">
              <a:avLst/>
            </a:prstGeom>
          </p:spPr>
        </p:pic>
      </p:grpSp>
      <p:grpSp>
        <p:nvGrpSpPr>
          <p:cNvPr id="8" name="Group 7">
            <a:extLst>
              <a:ext uri="{FF2B5EF4-FFF2-40B4-BE49-F238E27FC236}">
                <a16:creationId xmlns:a16="http://schemas.microsoft.com/office/drawing/2014/main" id="{32DAA0C7-85AF-4C66-AAD0-374D62A4481E}"/>
              </a:ext>
            </a:extLst>
          </p:cNvPr>
          <p:cNvGrpSpPr/>
          <p:nvPr/>
        </p:nvGrpSpPr>
        <p:grpSpPr>
          <a:xfrm>
            <a:off x="3678015" y="1700853"/>
            <a:ext cx="156638" cy="1627164"/>
            <a:chOff x="3699447" y="1700403"/>
            <a:chExt cx="156679" cy="1627588"/>
          </a:xfrm>
        </p:grpSpPr>
        <p:sp>
          <p:nvSpPr>
            <p:cNvPr id="94" name="Isosceles Triangle 152">
              <a:extLst>
                <a:ext uri="{FF2B5EF4-FFF2-40B4-BE49-F238E27FC236}">
                  <a16:creationId xmlns:a16="http://schemas.microsoft.com/office/drawing/2014/main" id="{59EA3C05-3D03-42DA-ADCC-868DC669F55D}"/>
                </a:ext>
              </a:extLst>
            </p:cNvPr>
            <p:cNvSpPr/>
            <p:nvPr/>
          </p:nvSpPr>
          <p:spPr>
            <a:xfrm rot="16200000" flipV="1">
              <a:off x="3574098" y="2243757"/>
              <a:ext cx="407378" cy="156679"/>
            </a:xfrm>
            <a:prstGeom prst="triangl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cxnSp>
          <p:nvCxnSpPr>
            <p:cNvPr id="95" name="Straight Connector 94">
              <a:extLst>
                <a:ext uri="{FF2B5EF4-FFF2-40B4-BE49-F238E27FC236}">
                  <a16:creationId xmlns:a16="http://schemas.microsoft.com/office/drawing/2014/main" id="{81CA4C3E-BD4C-45D4-9F2C-8ED06A85C345}"/>
                </a:ext>
              </a:extLst>
            </p:cNvPr>
            <p:cNvCxnSpPr>
              <a:cxnSpLocks/>
            </p:cNvCxnSpPr>
            <p:nvPr/>
          </p:nvCxnSpPr>
          <p:spPr>
            <a:xfrm flipV="1">
              <a:off x="3699447" y="1700403"/>
              <a:ext cx="0" cy="1627588"/>
            </a:xfrm>
            <a:prstGeom prst="line">
              <a:avLst/>
            </a:prstGeom>
            <a:ln w="6350"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03" name="Plus Sign 102">
            <a:extLst>
              <a:ext uri="{FF2B5EF4-FFF2-40B4-BE49-F238E27FC236}">
                <a16:creationId xmlns:a16="http://schemas.microsoft.com/office/drawing/2014/main" id="{E701F42A-283A-4CBC-94E8-047B6196ABB8}"/>
              </a:ext>
            </a:extLst>
          </p:cNvPr>
          <p:cNvSpPr/>
          <p:nvPr/>
        </p:nvSpPr>
        <p:spPr>
          <a:xfrm>
            <a:off x="3653182" y="4803072"/>
            <a:ext cx="206305" cy="238001"/>
          </a:xfrm>
          <a:prstGeom prst="mathPlus">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grpSp>
        <p:nvGrpSpPr>
          <p:cNvPr id="16" name="Group 15">
            <a:extLst>
              <a:ext uri="{FF2B5EF4-FFF2-40B4-BE49-F238E27FC236}">
                <a16:creationId xmlns:a16="http://schemas.microsoft.com/office/drawing/2014/main" id="{59A5F043-B753-400C-B9EE-FD867A4634E2}"/>
              </a:ext>
            </a:extLst>
          </p:cNvPr>
          <p:cNvGrpSpPr/>
          <p:nvPr/>
        </p:nvGrpSpPr>
        <p:grpSpPr>
          <a:xfrm>
            <a:off x="4017000" y="4373573"/>
            <a:ext cx="1462659" cy="1096994"/>
            <a:chOff x="4016459" y="4375962"/>
            <a:chExt cx="1463040" cy="1097280"/>
          </a:xfrm>
        </p:grpSpPr>
        <p:sp>
          <p:nvSpPr>
            <p:cNvPr id="98" name="Text Placeholder 33">
              <a:extLst>
                <a:ext uri="{FF2B5EF4-FFF2-40B4-BE49-F238E27FC236}">
                  <a16:creationId xmlns:a16="http://schemas.microsoft.com/office/drawing/2014/main" id="{671749C4-6B79-48AA-BB06-7C6957C90436}"/>
                </a:ext>
              </a:extLst>
            </p:cNvPr>
            <p:cNvSpPr txBox="1">
              <a:spLocks/>
            </p:cNvSpPr>
            <p:nvPr/>
          </p:nvSpPr>
          <p:spPr>
            <a:xfrm>
              <a:off x="4016459" y="4375962"/>
              <a:ext cx="1463040" cy="1097280"/>
            </a:xfrm>
            <a:prstGeom prst="rect">
              <a:avLst/>
            </a:prstGeom>
            <a:solidFill>
              <a:schemeClr val="accent2"/>
            </a:solidFill>
          </p:spPr>
          <p:txBody>
            <a:bodyPr vert="horz" lIns="91416" tIns="0" rIns="91416" bIns="182832" rtlCol="0" anchor="b"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ts val="0"/>
                </a:spcBef>
                <a:buClr>
                  <a:srgbClr val="000000"/>
                </a:buClr>
                <a:defRPr/>
              </a:pPr>
              <a:r>
                <a:rPr lang="en-US" sz="1200">
                  <a:solidFill>
                    <a:srgbClr val="FFFFFF"/>
                  </a:solidFill>
                </a:rPr>
                <a:t>Expert Users</a:t>
              </a:r>
            </a:p>
          </p:txBody>
        </p:sp>
        <p:pic>
          <p:nvPicPr>
            <p:cNvPr id="101" name="Graphic 1">
              <a:extLst>
                <a:ext uri="{FF2B5EF4-FFF2-40B4-BE49-F238E27FC236}">
                  <a16:creationId xmlns:a16="http://schemas.microsoft.com/office/drawing/2014/main" id="{1FF69D20-4F0B-4F29-942B-51380CAE248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479492" y="4608901"/>
              <a:ext cx="536974" cy="388843"/>
            </a:xfrm>
            <a:prstGeom prst="rect">
              <a:avLst/>
            </a:prstGeom>
          </p:spPr>
        </p:pic>
      </p:grpSp>
      <p:sp>
        <p:nvSpPr>
          <p:cNvPr id="102" name="TextBox 101">
            <a:extLst>
              <a:ext uri="{FF2B5EF4-FFF2-40B4-BE49-F238E27FC236}">
                <a16:creationId xmlns:a16="http://schemas.microsoft.com/office/drawing/2014/main" id="{96945C65-AD0C-4641-81D0-DE47958BE151}"/>
              </a:ext>
            </a:extLst>
          </p:cNvPr>
          <p:cNvSpPr txBox="1"/>
          <p:nvPr/>
        </p:nvSpPr>
        <p:spPr>
          <a:xfrm>
            <a:off x="4017000" y="5547957"/>
            <a:ext cx="1462659" cy="461545"/>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indent="0" algn="ctr" defTabSz="457063">
              <a:buClr>
                <a:srgbClr val="FA4616"/>
              </a:buClr>
              <a:buNone/>
              <a:defRPr/>
            </a:pPr>
            <a:r>
              <a:rPr lang="en-US" sz="1000">
                <a:solidFill>
                  <a:srgbClr val="000000"/>
                </a:solidFill>
              </a:rPr>
              <a:t>Create digital assistants for team usage based on governance rules</a:t>
            </a:r>
          </a:p>
        </p:txBody>
      </p:sp>
      <p:grpSp>
        <p:nvGrpSpPr>
          <p:cNvPr id="20" name="Group 19">
            <a:extLst>
              <a:ext uri="{FF2B5EF4-FFF2-40B4-BE49-F238E27FC236}">
                <a16:creationId xmlns:a16="http://schemas.microsoft.com/office/drawing/2014/main" id="{80ED46B7-8EAF-4239-BE63-B7AA258DE972}"/>
              </a:ext>
            </a:extLst>
          </p:cNvPr>
          <p:cNvGrpSpPr/>
          <p:nvPr/>
        </p:nvGrpSpPr>
        <p:grpSpPr>
          <a:xfrm>
            <a:off x="4017002" y="1700852"/>
            <a:ext cx="2250171" cy="3223363"/>
            <a:chOff x="4016459" y="1700400"/>
            <a:chExt cx="2250757" cy="3224203"/>
          </a:xfrm>
        </p:grpSpPr>
        <p:cxnSp>
          <p:nvCxnSpPr>
            <p:cNvPr id="84" name="Straight Connector 83">
              <a:extLst>
                <a:ext uri="{FF2B5EF4-FFF2-40B4-BE49-F238E27FC236}">
                  <a16:creationId xmlns:a16="http://schemas.microsoft.com/office/drawing/2014/main" id="{3A50E321-1838-410E-8180-DAB996AEF076}"/>
                </a:ext>
              </a:extLst>
            </p:cNvPr>
            <p:cNvCxnSpPr>
              <a:cxnSpLocks/>
            </p:cNvCxnSpPr>
            <p:nvPr/>
          </p:nvCxnSpPr>
          <p:spPr>
            <a:xfrm flipV="1">
              <a:off x="6110537" y="2249040"/>
              <a:ext cx="0" cy="2675563"/>
            </a:xfrm>
            <a:prstGeom prst="line">
              <a:avLst/>
            </a:prstGeom>
            <a:ln w="6350"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2" name="Isosceles Triangle 91">
              <a:extLst>
                <a:ext uri="{FF2B5EF4-FFF2-40B4-BE49-F238E27FC236}">
                  <a16:creationId xmlns:a16="http://schemas.microsoft.com/office/drawing/2014/main" id="{780C2EAC-C6EC-4DC0-B6FD-783D496BC6C5}"/>
                </a:ext>
              </a:extLst>
            </p:cNvPr>
            <p:cNvSpPr/>
            <p:nvPr/>
          </p:nvSpPr>
          <p:spPr>
            <a:xfrm rot="16200000" flipV="1">
              <a:off x="5985188" y="2760557"/>
              <a:ext cx="407378" cy="156679"/>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nchorCtr="0"/>
            <a:lstStyle/>
            <a:p>
              <a:pPr algn="ctr" defTabSz="457063">
                <a:defRPr/>
              </a:pPr>
              <a:endParaRPr lang="en-US" sz="1400" err="1">
                <a:solidFill>
                  <a:srgbClr val="FFFFFF"/>
                </a:solidFill>
                <a:latin typeface="Arial"/>
                <a:cs typeface="Arial"/>
              </a:endParaRPr>
            </a:p>
          </p:txBody>
        </p:sp>
        <p:cxnSp>
          <p:nvCxnSpPr>
            <p:cNvPr id="96" name="Straight Connector 95">
              <a:extLst>
                <a:ext uri="{FF2B5EF4-FFF2-40B4-BE49-F238E27FC236}">
                  <a16:creationId xmlns:a16="http://schemas.microsoft.com/office/drawing/2014/main" id="{E78B7E67-4FFB-4D3A-8DD2-00FF1624C9A4}"/>
                </a:ext>
              </a:extLst>
            </p:cNvPr>
            <p:cNvCxnSpPr>
              <a:cxnSpLocks/>
            </p:cNvCxnSpPr>
            <p:nvPr/>
          </p:nvCxnSpPr>
          <p:spPr>
            <a:xfrm>
              <a:off x="5478181" y="2249040"/>
              <a:ext cx="632356" cy="0"/>
            </a:xfrm>
            <a:prstGeom prst="line">
              <a:avLst/>
            </a:prstGeom>
            <a:ln w="6350"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5ADF1C26-526E-4F23-A2C2-95664C55A3AC}"/>
                </a:ext>
              </a:extLst>
            </p:cNvPr>
            <p:cNvCxnSpPr>
              <a:cxnSpLocks/>
            </p:cNvCxnSpPr>
            <p:nvPr/>
          </p:nvCxnSpPr>
          <p:spPr>
            <a:xfrm>
              <a:off x="5478181" y="4924602"/>
              <a:ext cx="632356" cy="0"/>
            </a:xfrm>
            <a:prstGeom prst="line">
              <a:avLst/>
            </a:prstGeom>
            <a:ln w="6350"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9" name="Group 18">
              <a:extLst>
                <a:ext uri="{FF2B5EF4-FFF2-40B4-BE49-F238E27FC236}">
                  <a16:creationId xmlns:a16="http://schemas.microsoft.com/office/drawing/2014/main" id="{769935B3-2C40-4950-8344-BC97492C50B4}"/>
                </a:ext>
              </a:extLst>
            </p:cNvPr>
            <p:cNvGrpSpPr/>
            <p:nvPr/>
          </p:nvGrpSpPr>
          <p:grpSpPr>
            <a:xfrm>
              <a:off x="4016459" y="1700400"/>
              <a:ext cx="1463040" cy="1569160"/>
              <a:chOff x="4016459" y="1700400"/>
              <a:chExt cx="1463040" cy="1569160"/>
            </a:xfrm>
          </p:grpSpPr>
          <p:sp>
            <p:nvSpPr>
              <p:cNvPr id="53" name="Text Placeholder 33">
                <a:extLst>
                  <a:ext uri="{FF2B5EF4-FFF2-40B4-BE49-F238E27FC236}">
                    <a16:creationId xmlns:a16="http://schemas.microsoft.com/office/drawing/2014/main" id="{76B04DE9-9B7D-44A1-8161-FAA85AEEBDA1}"/>
                  </a:ext>
                </a:extLst>
              </p:cNvPr>
              <p:cNvSpPr txBox="1">
                <a:spLocks/>
              </p:cNvSpPr>
              <p:nvPr/>
            </p:nvSpPr>
            <p:spPr>
              <a:xfrm>
                <a:off x="4016459" y="1700400"/>
                <a:ext cx="1463040" cy="1097280"/>
              </a:xfrm>
              <a:prstGeom prst="rect">
                <a:avLst/>
              </a:prstGeom>
              <a:solidFill>
                <a:schemeClr val="accent2"/>
              </a:solidFill>
            </p:spPr>
            <p:txBody>
              <a:bodyPr vert="horz" lIns="91416" tIns="0" rIns="91416" bIns="182832" rtlCol="0" anchor="b"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buClr>
                    <a:srgbClr val="000000"/>
                  </a:buClr>
                  <a:defRPr/>
                </a:pPr>
                <a:r>
                  <a:rPr lang="en-US" sz="1200">
                    <a:solidFill>
                      <a:srgbClr val="FFFFFF"/>
                    </a:solidFill>
                  </a:rPr>
                  <a:t>RPA Developers </a:t>
                </a:r>
              </a:p>
            </p:txBody>
          </p:sp>
          <p:sp>
            <p:nvSpPr>
              <p:cNvPr id="86" name="TextBox 85">
                <a:extLst>
                  <a:ext uri="{FF2B5EF4-FFF2-40B4-BE49-F238E27FC236}">
                    <a16:creationId xmlns:a16="http://schemas.microsoft.com/office/drawing/2014/main" id="{6AEA1879-CF12-422D-92E1-93EBC8EB4DAC}"/>
                  </a:ext>
                </a:extLst>
              </p:cNvPr>
              <p:cNvSpPr txBox="1"/>
              <p:nvPr/>
            </p:nvSpPr>
            <p:spPr>
              <a:xfrm>
                <a:off x="4016459" y="2961783"/>
                <a:ext cx="1463040" cy="307777"/>
              </a:xfrm>
              <a:prstGeom prst="rect">
                <a:avLst/>
              </a:prstGeom>
              <a:noFill/>
            </p:spPr>
            <p:txBody>
              <a:bodyPr wrap="square" lIns="0" tIns="0" rIns="0" bIns="0" rtlCol="0" anchor="t">
                <a:spAutoFit/>
              </a:bodyPr>
              <a:lstStyle>
                <a:defPPr>
                  <a:defRPr lang="en-US"/>
                </a:defPPr>
                <a:lvl1pPr marL="171450" indent="-171450">
                  <a:buClr>
                    <a:schemeClr val="accent1"/>
                  </a:buClr>
                  <a:buFont typeface="Arial" panose="020B0604020202020204" pitchFamily="34" charset="0"/>
                  <a:buChar char="•"/>
                  <a:defRPr sz="1100">
                    <a:latin typeface="Arial"/>
                    <a:cs typeface="Arial"/>
                  </a:defRPr>
                </a:lvl1pPr>
              </a:lstStyle>
              <a:p>
                <a:pPr marL="0" indent="0" algn="ctr" defTabSz="457063">
                  <a:buClr>
                    <a:srgbClr val="FA4616"/>
                  </a:buClr>
                  <a:buNone/>
                  <a:defRPr/>
                </a:pPr>
                <a:r>
                  <a:rPr lang="en-US" sz="1000">
                    <a:solidFill>
                      <a:srgbClr val="000000"/>
                    </a:solidFill>
                  </a:rPr>
                  <a:t>Build and test automations</a:t>
                </a:r>
              </a:p>
            </p:txBody>
          </p:sp>
          <p:pic>
            <p:nvPicPr>
              <p:cNvPr id="59" name="Graphic 1">
                <a:extLst>
                  <a:ext uri="{FF2B5EF4-FFF2-40B4-BE49-F238E27FC236}">
                    <a16:creationId xmlns:a16="http://schemas.microsoft.com/office/drawing/2014/main" id="{DA46D623-961E-48A6-8AB6-132C2A3B78F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479492" y="1906341"/>
                <a:ext cx="536974" cy="388843"/>
              </a:xfrm>
              <a:prstGeom prst="rect">
                <a:avLst/>
              </a:prstGeom>
            </p:spPr>
          </p:pic>
        </p:grpSp>
      </p:grpSp>
      <p:sp>
        <p:nvSpPr>
          <p:cNvPr id="41" name="Title 4">
            <a:extLst>
              <a:ext uri="{FF2B5EF4-FFF2-40B4-BE49-F238E27FC236}">
                <a16:creationId xmlns:a16="http://schemas.microsoft.com/office/drawing/2014/main" id="{2A2381A5-C5A0-4AE1-B849-F1333DD23991}"/>
              </a:ext>
            </a:extLst>
          </p:cNvPr>
          <p:cNvSpPr>
            <a:spLocks noGrp="1"/>
          </p:cNvSpPr>
          <p:nvPr>
            <p:ph type="title"/>
          </p:nvPr>
        </p:nvSpPr>
        <p:spPr>
          <a:xfrm>
            <a:off x="382491" y="358522"/>
            <a:ext cx="9038940" cy="689849"/>
          </a:xfrm>
        </p:spPr>
        <p:txBody>
          <a:bodyPr anchor="ctr"/>
          <a:lstStyle/>
          <a:p>
            <a:r>
              <a:rPr lang="en-US"/>
              <a:t>Scale automation top-down &amp; bottom-up</a:t>
            </a:r>
            <a:endParaRPr lang="en-PH"/>
          </a:p>
        </p:txBody>
      </p:sp>
      <p:sp>
        <p:nvSpPr>
          <p:cNvPr id="57" name="Rectangle 56">
            <a:extLst>
              <a:ext uri="{FF2B5EF4-FFF2-40B4-BE49-F238E27FC236}">
                <a16:creationId xmlns:a16="http://schemas.microsoft.com/office/drawing/2014/main" id="{0224E633-3012-4A9B-9201-06D16B217AFD}"/>
              </a:ext>
            </a:extLst>
          </p:cNvPr>
          <p:cNvSpPr/>
          <p:nvPr/>
        </p:nvSpPr>
        <p:spPr>
          <a:xfrm>
            <a:off x="3940273" y="6602"/>
            <a:ext cx="1649393" cy="205479"/>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r>
              <a:rPr lang="en-US" sz="900">
                <a:solidFill>
                  <a:srgbClr val="FFFFFF"/>
                </a:solidFill>
                <a:latin typeface="Arial"/>
                <a:cs typeface="Arial"/>
              </a:rPr>
              <a:t>Define personas</a:t>
            </a:r>
          </a:p>
        </p:txBody>
      </p:sp>
      <p:sp>
        <p:nvSpPr>
          <p:cNvPr id="58" name="Rectangle 57">
            <a:extLst>
              <a:ext uri="{FF2B5EF4-FFF2-40B4-BE49-F238E27FC236}">
                <a16:creationId xmlns:a16="http://schemas.microsoft.com/office/drawing/2014/main" id="{D7D0BC21-ECB9-414E-889E-FED0A3B7F67B}"/>
              </a:ext>
            </a:extLst>
          </p:cNvPr>
          <p:cNvSpPr/>
          <p:nvPr/>
        </p:nvSpPr>
        <p:spPr>
          <a:xfrm>
            <a:off x="5589666" y="6602"/>
            <a:ext cx="1649393" cy="205479"/>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r>
              <a:rPr lang="en-US" sz="900">
                <a:solidFill>
                  <a:srgbClr val="FFFFFF"/>
                </a:solidFill>
                <a:latin typeface="Arial"/>
                <a:cs typeface="Arial"/>
              </a:rPr>
              <a:t>Set up governance</a:t>
            </a:r>
          </a:p>
        </p:txBody>
      </p:sp>
      <p:sp>
        <p:nvSpPr>
          <p:cNvPr id="60" name="Rectangle 59">
            <a:extLst>
              <a:ext uri="{FF2B5EF4-FFF2-40B4-BE49-F238E27FC236}">
                <a16:creationId xmlns:a16="http://schemas.microsoft.com/office/drawing/2014/main" id="{6F071030-8EF9-4183-BCB1-9A9514CD5B63}"/>
              </a:ext>
            </a:extLst>
          </p:cNvPr>
          <p:cNvSpPr/>
          <p:nvPr/>
        </p:nvSpPr>
        <p:spPr>
          <a:xfrm>
            <a:off x="7239060" y="6602"/>
            <a:ext cx="1649393" cy="205479"/>
          </a:xfrm>
          <a:prstGeom prst="rect">
            <a:avLst/>
          </a:prstGeom>
          <a:solidFill>
            <a:schemeClr val="accent3"/>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r>
              <a:rPr lang="en-US" sz="900">
                <a:solidFill>
                  <a:srgbClr val="FFFFFF"/>
                </a:solidFill>
                <a:latin typeface="Arial"/>
                <a:cs typeface="Arial"/>
              </a:rPr>
              <a:t>Define execution steps</a:t>
            </a:r>
          </a:p>
        </p:txBody>
      </p:sp>
      <p:sp>
        <p:nvSpPr>
          <p:cNvPr id="61" name="Rectangle 60">
            <a:extLst>
              <a:ext uri="{FF2B5EF4-FFF2-40B4-BE49-F238E27FC236}">
                <a16:creationId xmlns:a16="http://schemas.microsoft.com/office/drawing/2014/main" id="{DD550009-4B5C-4748-9D3D-2FB96A8637C1}"/>
              </a:ext>
            </a:extLst>
          </p:cNvPr>
          <p:cNvSpPr/>
          <p:nvPr/>
        </p:nvSpPr>
        <p:spPr>
          <a:xfrm>
            <a:off x="8888453" y="6602"/>
            <a:ext cx="1649393" cy="205479"/>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r>
              <a:rPr lang="en-US" sz="900">
                <a:solidFill>
                  <a:srgbClr val="FFFFFF"/>
                </a:solidFill>
                <a:latin typeface="Arial"/>
                <a:cs typeface="Arial"/>
              </a:rPr>
              <a:t>Configure technologies</a:t>
            </a:r>
          </a:p>
        </p:txBody>
      </p:sp>
      <p:sp>
        <p:nvSpPr>
          <p:cNvPr id="62" name="Rectangle 61">
            <a:extLst>
              <a:ext uri="{FF2B5EF4-FFF2-40B4-BE49-F238E27FC236}">
                <a16:creationId xmlns:a16="http://schemas.microsoft.com/office/drawing/2014/main" id="{67D0E6E5-3F92-4767-9520-AD2D3F4A5173}"/>
              </a:ext>
            </a:extLst>
          </p:cNvPr>
          <p:cNvSpPr/>
          <p:nvPr/>
        </p:nvSpPr>
        <p:spPr>
          <a:xfrm>
            <a:off x="10537846" y="6602"/>
            <a:ext cx="1649393" cy="205479"/>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7063"/>
            <a:r>
              <a:rPr lang="en-US" sz="900">
                <a:solidFill>
                  <a:srgbClr val="FFFFFF"/>
                </a:solidFill>
                <a:latin typeface="Arial"/>
                <a:cs typeface="Arial"/>
              </a:rPr>
              <a:t>Drive adoption</a:t>
            </a:r>
          </a:p>
        </p:txBody>
      </p:sp>
    </p:spTree>
    <p:extLst>
      <p:ext uri="{BB962C8B-B14F-4D97-AF65-F5344CB8AC3E}">
        <p14:creationId xmlns:p14="http://schemas.microsoft.com/office/powerpoint/2010/main" val="4292121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10"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33">
            <a:extLst>
              <a:ext uri="{FF2B5EF4-FFF2-40B4-BE49-F238E27FC236}">
                <a16:creationId xmlns:a16="http://schemas.microsoft.com/office/drawing/2014/main" id="{698E8306-11A1-472C-A1A5-2042D2C2DE30}"/>
              </a:ext>
            </a:extLst>
          </p:cNvPr>
          <p:cNvSpPr txBox="1">
            <a:spLocks/>
          </p:cNvSpPr>
          <p:nvPr/>
        </p:nvSpPr>
        <p:spPr>
          <a:xfrm>
            <a:off x="379413" y="1329718"/>
            <a:ext cx="5394960" cy="680778"/>
          </a:xfrm>
          <a:prstGeom prst="rect">
            <a:avLst/>
          </a:prstGeom>
          <a:solidFill>
            <a:schemeClr val="accent3"/>
          </a:solidFill>
        </p:spPr>
        <p:txBody>
          <a:bodyPr vert="horz" lIns="182880" tIns="0" rIns="0" bIns="0" rtlCol="0" anchor="ctr"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500"/>
              </a:spcBef>
              <a:spcAft>
                <a:spcPts val="0"/>
              </a:spcAft>
              <a:buClr>
                <a:srgbClr val="000000"/>
              </a:buClr>
              <a:buSzTx/>
              <a:buFont typeface="Arial"/>
              <a:buNone/>
              <a:tabLst/>
              <a:defRPr/>
            </a:pPr>
            <a:r>
              <a:rPr kumimoji="0" lang="en-US" sz="1600" b="1" i="0" u="none" strike="noStrike" kern="1200" cap="none" spc="-30" normalizeH="0" baseline="0" noProof="0">
                <a:ln>
                  <a:noFill/>
                </a:ln>
                <a:solidFill>
                  <a:srgbClr val="FFFFFF"/>
                </a:solidFill>
                <a:effectLst/>
                <a:uLnTx/>
                <a:uFillTx/>
                <a:latin typeface="Arial"/>
                <a:ea typeface="+mn-ea"/>
                <a:cs typeface="Arial"/>
              </a:rPr>
              <a:t>Automation Users</a:t>
            </a:r>
          </a:p>
        </p:txBody>
      </p:sp>
      <p:sp>
        <p:nvSpPr>
          <p:cNvPr id="36" name="Text Placeholder 33">
            <a:extLst>
              <a:ext uri="{FF2B5EF4-FFF2-40B4-BE49-F238E27FC236}">
                <a16:creationId xmlns:a16="http://schemas.microsoft.com/office/drawing/2014/main" id="{1B0CC404-B3C1-40B9-808F-139F5B00D441}"/>
              </a:ext>
            </a:extLst>
          </p:cNvPr>
          <p:cNvSpPr txBox="1">
            <a:spLocks/>
          </p:cNvSpPr>
          <p:nvPr/>
        </p:nvSpPr>
        <p:spPr>
          <a:xfrm>
            <a:off x="6414453" y="1329718"/>
            <a:ext cx="5394960" cy="680778"/>
          </a:xfrm>
          <a:prstGeom prst="rect">
            <a:avLst/>
          </a:prstGeom>
          <a:solidFill>
            <a:schemeClr val="accent2"/>
          </a:solidFill>
        </p:spPr>
        <p:txBody>
          <a:bodyPr vert="horz" lIns="365760" tIns="0" rIns="0" bIns="0" rtlCol="0" anchor="ctr"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500"/>
              </a:spcBef>
              <a:spcAft>
                <a:spcPts val="0"/>
              </a:spcAft>
              <a:buClr>
                <a:srgbClr val="000000"/>
              </a:buClr>
              <a:buSzTx/>
              <a:buFont typeface="Arial"/>
              <a:buNone/>
              <a:tabLst/>
              <a:defRPr/>
            </a:pPr>
            <a:r>
              <a:rPr kumimoji="0" lang="en-US" sz="1600" b="1" i="0" u="none" strike="noStrike" kern="1200" cap="none" spc="-30" normalizeH="0" baseline="0" noProof="0">
                <a:ln>
                  <a:noFill/>
                </a:ln>
                <a:solidFill>
                  <a:srgbClr val="FFFFFF"/>
                </a:solidFill>
                <a:effectLst/>
                <a:uLnTx/>
                <a:uFillTx/>
                <a:latin typeface="Arial"/>
                <a:ea typeface="+mn-ea"/>
                <a:cs typeface="Arial"/>
              </a:rPr>
              <a:t>RPA  Developers</a:t>
            </a:r>
          </a:p>
        </p:txBody>
      </p:sp>
      <p:pic>
        <p:nvPicPr>
          <p:cNvPr id="49" name="Graphic 48">
            <a:extLst>
              <a:ext uri="{FF2B5EF4-FFF2-40B4-BE49-F238E27FC236}">
                <a16:creationId xmlns:a16="http://schemas.microsoft.com/office/drawing/2014/main" id="{F1D15DE7-D757-4D15-A46C-09DEB45A293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699178" y="1470643"/>
            <a:ext cx="279250" cy="398929"/>
          </a:xfrm>
          <a:prstGeom prst="rect">
            <a:avLst/>
          </a:prstGeom>
        </p:spPr>
      </p:pic>
      <p:pic>
        <p:nvPicPr>
          <p:cNvPr id="51" name="Picture 50" descr="A person sitting at a table in front of a building&#10;&#10;Description automatically generated">
            <a:extLst>
              <a:ext uri="{FF2B5EF4-FFF2-40B4-BE49-F238E27FC236}">
                <a16:creationId xmlns:a16="http://schemas.microsoft.com/office/drawing/2014/main" id="{2B2F7531-6D59-423C-925B-F7CD4AA3CB33}"/>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37839" t="18912" r="13435" b="31147"/>
          <a:stretch/>
        </p:blipFill>
        <p:spPr>
          <a:xfrm>
            <a:off x="379413" y="2012384"/>
            <a:ext cx="2339874" cy="1593448"/>
          </a:xfrm>
          <a:prstGeom prst="rect">
            <a:avLst/>
          </a:prstGeom>
        </p:spPr>
      </p:pic>
      <p:pic>
        <p:nvPicPr>
          <p:cNvPr id="54" name="Picture 53" descr="A group of people sitting at a table&#10;&#10;Description automatically generated">
            <a:extLst>
              <a:ext uri="{FF2B5EF4-FFF2-40B4-BE49-F238E27FC236}">
                <a16:creationId xmlns:a16="http://schemas.microsoft.com/office/drawing/2014/main" id="{FC1CFA40-EFE3-43CC-BFC3-677FEEDAFE36}"/>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46950" t="18085" r="30208" b="34753"/>
          <a:stretch/>
        </p:blipFill>
        <p:spPr>
          <a:xfrm>
            <a:off x="379380" y="4624447"/>
            <a:ext cx="1157673" cy="1593650"/>
          </a:xfrm>
          <a:prstGeom prst="rect">
            <a:avLst/>
          </a:prstGeom>
        </p:spPr>
      </p:pic>
      <p:pic>
        <p:nvPicPr>
          <p:cNvPr id="61" name="Picture Placeholder 9">
            <a:extLst>
              <a:ext uri="{FF2B5EF4-FFF2-40B4-BE49-F238E27FC236}">
                <a16:creationId xmlns:a16="http://schemas.microsoft.com/office/drawing/2014/main" id="{BF9FC9BE-ACB8-4909-ABB2-275D65A52E8C}"/>
              </a:ext>
            </a:extLst>
          </p:cNvPr>
          <p:cNvPicPr>
            <a:picLocks/>
          </p:cNvPicPr>
          <p:nvPr/>
        </p:nvPicPr>
        <p:blipFill rotWithShape="1">
          <a:blip r:embed="rId7" cstate="screen">
            <a:extLst>
              <a:ext uri="{28A0092B-C50C-407E-A947-70E740481C1C}">
                <a14:useLocalDpi xmlns:a14="http://schemas.microsoft.com/office/drawing/2010/main"/>
              </a:ext>
            </a:extLst>
          </a:blip>
          <a:srcRect l="30761" t="4136" r="17935" b="40281"/>
          <a:stretch/>
        </p:blipFill>
        <p:spPr>
          <a:xfrm>
            <a:off x="1527483" y="4624447"/>
            <a:ext cx="1176807" cy="1593650"/>
          </a:xfrm>
          <a:prstGeom prst="rect">
            <a:avLst/>
          </a:prstGeom>
        </p:spPr>
      </p:pic>
      <p:pic>
        <p:nvPicPr>
          <p:cNvPr id="62" name="Picture 61" descr="A person standing next to a window&#10;&#10;Description automatically generated">
            <a:extLst>
              <a:ext uri="{FF2B5EF4-FFF2-40B4-BE49-F238E27FC236}">
                <a16:creationId xmlns:a16="http://schemas.microsoft.com/office/drawing/2014/main" id="{5EE7C307-5A5E-48B8-99F3-49E3F318F7A7}"/>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37637" t="-236" r="5315" b="41781"/>
          <a:stretch/>
        </p:blipFill>
        <p:spPr>
          <a:xfrm>
            <a:off x="6414452" y="4624447"/>
            <a:ext cx="2332848" cy="1595334"/>
          </a:xfrm>
          <a:prstGeom prst="rect">
            <a:avLst/>
          </a:prstGeom>
        </p:spPr>
      </p:pic>
      <p:pic>
        <p:nvPicPr>
          <p:cNvPr id="63" name="Picture 4" descr="A picture containing person, table, indoor, man&#10;&#10;Description generated with very high confidence">
            <a:extLst>
              <a:ext uri="{FF2B5EF4-FFF2-40B4-BE49-F238E27FC236}">
                <a16:creationId xmlns:a16="http://schemas.microsoft.com/office/drawing/2014/main" id="{0A48BE7D-F4A0-4FF2-BDF6-7495F79048E5}"/>
              </a:ext>
            </a:extLst>
          </p:cNvPr>
          <p:cNvPicPr>
            <a:picLocks noChangeAspect="1"/>
          </p:cNvPicPr>
          <p:nvPr/>
        </p:nvPicPr>
        <p:blipFill rotWithShape="1">
          <a:blip r:embed="rId9"/>
          <a:srcRect l="11953" t="14907" r="6536" b="28458"/>
          <a:stretch/>
        </p:blipFill>
        <p:spPr>
          <a:xfrm>
            <a:off x="6414453" y="2012384"/>
            <a:ext cx="2332847" cy="1593448"/>
          </a:xfrm>
          <a:prstGeom prst="rect">
            <a:avLst/>
          </a:prstGeom>
        </p:spPr>
      </p:pic>
      <p:sp>
        <p:nvSpPr>
          <p:cNvPr id="3" name="TextBox 2">
            <a:extLst>
              <a:ext uri="{FF2B5EF4-FFF2-40B4-BE49-F238E27FC236}">
                <a16:creationId xmlns:a16="http://schemas.microsoft.com/office/drawing/2014/main" id="{884AC366-6FB4-4212-85EC-B7E02367B403}"/>
              </a:ext>
            </a:extLst>
          </p:cNvPr>
          <p:cNvSpPr txBox="1"/>
          <p:nvPr/>
        </p:nvSpPr>
        <p:spPr>
          <a:xfrm>
            <a:off x="2918296" y="2217592"/>
            <a:ext cx="2651760" cy="1084912"/>
          </a:xfrm>
          <a:prstGeom prst="rect">
            <a:avLst/>
          </a:prstGeom>
          <a:noFill/>
        </p:spPr>
        <p:txBody>
          <a:bodyPr wrap="square" lIns="0" tIns="0" rIns="0" bIns="0" rtlCol="0">
            <a:spAutoFit/>
          </a:bodyPr>
          <a:lstStyle/>
          <a:p>
            <a:pPr marL="182880" indent="-182880">
              <a:spcAft>
                <a:spcPts val="300"/>
              </a:spcAft>
              <a:buFont typeface="Arial" panose="020B0604020202020204" pitchFamily="34" charset="0"/>
              <a:buChar char="•"/>
            </a:pPr>
            <a:r>
              <a:rPr lang="en-US" sz="1050" b="1">
                <a:latin typeface="Arial"/>
                <a:cs typeface="Arial"/>
              </a:rPr>
              <a:t>Assistant </a:t>
            </a:r>
            <a:r>
              <a:rPr lang="en-US" sz="1050">
                <a:latin typeface="Arial"/>
                <a:cs typeface="Arial"/>
              </a:rPr>
              <a:t>(consume automations)</a:t>
            </a:r>
            <a:endParaRPr lang="en-US" sz="1050" b="1">
              <a:latin typeface="Arial"/>
              <a:cs typeface="Arial"/>
            </a:endParaRPr>
          </a:p>
          <a:p>
            <a:pPr marL="182880" indent="-182880">
              <a:spcAft>
                <a:spcPts val="300"/>
              </a:spcAft>
              <a:buFont typeface="Arial" panose="020B0604020202020204" pitchFamily="34" charset="0"/>
              <a:buChar char="•"/>
            </a:pPr>
            <a:r>
              <a:rPr lang="en-US" sz="1050" b="1">
                <a:latin typeface="Arial"/>
                <a:cs typeface="Arial"/>
              </a:rPr>
              <a:t>Apps </a:t>
            </a:r>
            <a:r>
              <a:rPr lang="en-US" sz="1050">
                <a:latin typeface="Arial"/>
                <a:cs typeface="Arial"/>
              </a:rPr>
              <a:t>(interact with </a:t>
            </a:r>
            <a:br>
              <a:rPr lang="en-US" sz="1050">
                <a:latin typeface="Arial"/>
                <a:cs typeface="Arial"/>
              </a:rPr>
            </a:br>
            <a:r>
              <a:rPr lang="en-US" sz="1050">
                <a:latin typeface="Arial"/>
                <a:cs typeface="Arial"/>
              </a:rPr>
              <a:t>automation-powered apps)</a:t>
            </a:r>
          </a:p>
          <a:p>
            <a:pPr marL="182880" indent="-182880">
              <a:spcAft>
                <a:spcPts val="300"/>
              </a:spcAft>
              <a:buFont typeface="Arial" panose="020B0604020202020204" pitchFamily="34" charset="0"/>
              <a:buChar char="•"/>
            </a:pPr>
            <a:r>
              <a:rPr lang="en-US" sz="1050" b="1">
                <a:latin typeface="Arial"/>
                <a:cs typeface="Arial"/>
              </a:rPr>
              <a:t>Chatbots </a:t>
            </a:r>
            <a:r>
              <a:rPr lang="en-US" sz="1050">
                <a:latin typeface="Arial"/>
                <a:cs typeface="Arial"/>
              </a:rPr>
              <a:t>(talk to AI-powered chatbots)</a:t>
            </a:r>
          </a:p>
          <a:p>
            <a:pPr marL="182880" indent="-182880">
              <a:spcAft>
                <a:spcPts val="300"/>
              </a:spcAft>
              <a:buFont typeface="Arial" panose="020B0604020202020204" pitchFamily="34" charset="0"/>
              <a:buChar char="•"/>
            </a:pPr>
            <a:r>
              <a:rPr lang="en-US" sz="1050" b="1">
                <a:latin typeface="Arial"/>
                <a:cs typeface="Arial"/>
              </a:rPr>
              <a:t>Automation Hub/Task Capture </a:t>
            </a:r>
            <a:r>
              <a:rPr lang="en-US" sz="1050">
                <a:latin typeface="Arial"/>
                <a:cs typeface="Arial"/>
              </a:rPr>
              <a:t>(suggest automation ideas)</a:t>
            </a:r>
            <a:endParaRPr lang="en-US" sz="1050" b="1">
              <a:latin typeface="Arial"/>
              <a:cs typeface="Arial"/>
            </a:endParaRPr>
          </a:p>
        </p:txBody>
      </p:sp>
      <p:sp>
        <p:nvSpPr>
          <p:cNvPr id="56" name="TextBox 55">
            <a:extLst>
              <a:ext uri="{FF2B5EF4-FFF2-40B4-BE49-F238E27FC236}">
                <a16:creationId xmlns:a16="http://schemas.microsoft.com/office/drawing/2014/main" id="{3F49CB02-F9E0-428A-8B13-98B822156745}"/>
              </a:ext>
            </a:extLst>
          </p:cNvPr>
          <p:cNvSpPr txBox="1"/>
          <p:nvPr/>
        </p:nvSpPr>
        <p:spPr>
          <a:xfrm>
            <a:off x="9004731" y="2405152"/>
            <a:ext cx="2753260" cy="969496"/>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b="1">
                <a:latin typeface="Arial"/>
                <a:cs typeface="Arial"/>
              </a:rPr>
              <a:t>Studio/Apps Studio </a:t>
            </a:r>
            <a:r>
              <a:rPr lang="en-US" sz="1050">
                <a:latin typeface="Arial"/>
                <a:cs typeface="Arial"/>
              </a:rPr>
              <a:t>(create professional automations or automation-powered apps)</a:t>
            </a:r>
          </a:p>
          <a:p>
            <a:pPr marL="171450" indent="-171450">
              <a:buFont typeface="Arial" panose="020B0604020202020204" pitchFamily="34" charset="0"/>
              <a:buChar char="•"/>
            </a:pPr>
            <a:r>
              <a:rPr lang="en-US" sz="1050" b="1">
                <a:latin typeface="Arial"/>
                <a:cs typeface="Arial"/>
              </a:rPr>
              <a:t>Test Suite</a:t>
            </a:r>
            <a:r>
              <a:rPr lang="en-US" sz="1050">
                <a:latin typeface="Arial"/>
                <a:cs typeface="Arial"/>
              </a:rPr>
              <a:t> (test automations)</a:t>
            </a:r>
          </a:p>
          <a:p>
            <a:pPr marL="171450" indent="-171450">
              <a:buFont typeface="Arial" panose="020B0604020202020204" pitchFamily="34" charset="0"/>
              <a:buChar char="•"/>
            </a:pPr>
            <a:r>
              <a:rPr lang="en-US" sz="1050" b="1">
                <a:latin typeface="Arial"/>
                <a:cs typeface="Arial"/>
              </a:rPr>
              <a:t>Automation Hub/Task Capture </a:t>
            </a:r>
            <a:r>
              <a:rPr lang="en-US" sz="1050">
                <a:latin typeface="Arial"/>
                <a:cs typeface="Arial"/>
              </a:rPr>
              <a:t>(leverage SME’s knowledge to </a:t>
            </a:r>
            <a:br>
              <a:rPr lang="en-US" sz="1050">
                <a:latin typeface="Arial"/>
                <a:cs typeface="Arial"/>
              </a:rPr>
            </a:br>
            <a:r>
              <a:rPr lang="en-US" sz="1050">
                <a:latin typeface="Arial"/>
                <a:cs typeface="Arial"/>
              </a:rPr>
              <a:t>build automations)</a:t>
            </a:r>
            <a:endParaRPr lang="en-US" sz="1050" b="1">
              <a:latin typeface="Arial"/>
              <a:cs typeface="Arial"/>
            </a:endParaRPr>
          </a:p>
        </p:txBody>
      </p:sp>
      <p:pic>
        <p:nvPicPr>
          <p:cNvPr id="58" name="Graphic 57">
            <a:extLst>
              <a:ext uri="{FF2B5EF4-FFF2-40B4-BE49-F238E27FC236}">
                <a16:creationId xmlns:a16="http://schemas.microsoft.com/office/drawing/2014/main" id="{0F3FE7F2-C5A3-4F7A-8730-C8AC7C13BCBA}"/>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7663635" y="1492291"/>
            <a:ext cx="491110" cy="355631"/>
          </a:xfrm>
          <a:prstGeom prst="rect">
            <a:avLst/>
          </a:prstGeom>
        </p:spPr>
      </p:pic>
      <p:cxnSp>
        <p:nvCxnSpPr>
          <p:cNvPr id="39" name="Straight Connector 38">
            <a:extLst>
              <a:ext uri="{FF2B5EF4-FFF2-40B4-BE49-F238E27FC236}">
                <a16:creationId xmlns:a16="http://schemas.microsoft.com/office/drawing/2014/main" id="{97B5D9B0-C0A3-4A60-9880-982BC4DA3E37}"/>
              </a:ext>
            </a:extLst>
          </p:cNvPr>
          <p:cNvCxnSpPr>
            <a:cxnSpLocks/>
          </p:cNvCxnSpPr>
          <p:nvPr/>
        </p:nvCxnSpPr>
        <p:spPr>
          <a:xfrm>
            <a:off x="6094412" y="1352868"/>
            <a:ext cx="0" cy="4865229"/>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3" name="Text Placeholder 33">
            <a:extLst>
              <a:ext uri="{FF2B5EF4-FFF2-40B4-BE49-F238E27FC236}">
                <a16:creationId xmlns:a16="http://schemas.microsoft.com/office/drawing/2014/main" id="{9506C4D8-6F41-406A-9621-F5331C6C8C78}"/>
              </a:ext>
            </a:extLst>
          </p:cNvPr>
          <p:cNvSpPr txBox="1">
            <a:spLocks/>
          </p:cNvSpPr>
          <p:nvPr/>
        </p:nvSpPr>
        <p:spPr>
          <a:xfrm>
            <a:off x="379413" y="3943668"/>
            <a:ext cx="5394960" cy="680778"/>
          </a:xfrm>
          <a:prstGeom prst="rect">
            <a:avLst/>
          </a:prstGeom>
          <a:solidFill>
            <a:schemeClr val="accent2"/>
          </a:solidFill>
        </p:spPr>
        <p:txBody>
          <a:bodyPr vert="horz" lIns="182880" tIns="0" rIns="0" bIns="0" rtlCol="0" anchor="ctr"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500"/>
              </a:spcBef>
              <a:spcAft>
                <a:spcPts val="0"/>
              </a:spcAft>
              <a:buClr>
                <a:srgbClr val="000000"/>
              </a:buClr>
              <a:buSzTx/>
              <a:buFont typeface="Arial"/>
              <a:buNone/>
              <a:tabLst/>
              <a:defRPr/>
            </a:pPr>
            <a:r>
              <a:rPr kumimoji="0" lang="en-US" sz="1600" b="1" i="0" u="none" strike="noStrike" kern="1200" cap="none" spc="-30" normalizeH="0" baseline="0" noProof="0">
                <a:ln>
                  <a:noFill/>
                </a:ln>
                <a:solidFill>
                  <a:srgbClr val="FFFFFF"/>
                </a:solidFill>
                <a:effectLst/>
                <a:uLnTx/>
                <a:uFillTx/>
                <a:latin typeface="Arial"/>
                <a:ea typeface="+mn-ea"/>
                <a:cs typeface="Arial"/>
              </a:rPr>
              <a:t>Citizen Development</a:t>
            </a:r>
          </a:p>
        </p:txBody>
      </p:sp>
      <p:sp>
        <p:nvSpPr>
          <p:cNvPr id="44" name="Text Placeholder 33">
            <a:extLst>
              <a:ext uri="{FF2B5EF4-FFF2-40B4-BE49-F238E27FC236}">
                <a16:creationId xmlns:a16="http://schemas.microsoft.com/office/drawing/2014/main" id="{B80682F3-6B7F-485D-A994-2646DB2B260A}"/>
              </a:ext>
            </a:extLst>
          </p:cNvPr>
          <p:cNvSpPr txBox="1">
            <a:spLocks/>
          </p:cNvSpPr>
          <p:nvPr/>
        </p:nvSpPr>
        <p:spPr>
          <a:xfrm>
            <a:off x="6414453" y="3943668"/>
            <a:ext cx="5394960" cy="680778"/>
          </a:xfrm>
          <a:prstGeom prst="rect">
            <a:avLst/>
          </a:prstGeom>
          <a:solidFill>
            <a:schemeClr val="accent1"/>
          </a:solidFill>
        </p:spPr>
        <p:txBody>
          <a:bodyPr vert="horz" lIns="0" tIns="0" rIns="0" bIns="0" rtlCol="0" anchor="ctr" anchorCtr="0">
            <a:noAutofit/>
          </a:bodyP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500"/>
              </a:spcBef>
              <a:spcAft>
                <a:spcPts val="0"/>
              </a:spcAft>
              <a:buClr>
                <a:srgbClr val="000000"/>
              </a:buClr>
              <a:buSzTx/>
              <a:buFont typeface="Arial"/>
              <a:buNone/>
              <a:tabLst/>
              <a:defRPr/>
            </a:pPr>
            <a:r>
              <a:rPr kumimoji="0" lang="en-US" sz="1600" b="1" i="0" u="none" strike="noStrike" kern="1200" cap="none" spc="-30" normalizeH="0" baseline="0" noProof="0" err="1">
                <a:ln>
                  <a:noFill/>
                </a:ln>
                <a:solidFill>
                  <a:srgbClr val="FFFFFF"/>
                </a:solidFill>
                <a:effectLst/>
                <a:uLnTx/>
                <a:uFillTx/>
                <a:latin typeface="Arial"/>
                <a:ea typeface="+mn-ea"/>
                <a:cs typeface="Arial"/>
              </a:rPr>
              <a:t>CoE</a:t>
            </a:r>
            <a:endParaRPr kumimoji="0" lang="en-US" sz="1600" b="1" i="0" u="none" strike="noStrike" kern="1200" cap="none" spc="-30" normalizeH="0" baseline="0" noProof="0">
              <a:ln>
                <a:noFill/>
              </a:ln>
              <a:solidFill>
                <a:srgbClr val="FFFFFF"/>
              </a:solidFill>
              <a:effectLst/>
              <a:uLnTx/>
              <a:uFillTx/>
              <a:latin typeface="Arial"/>
              <a:ea typeface="+mn-ea"/>
              <a:cs typeface="Arial"/>
            </a:endParaRPr>
          </a:p>
        </p:txBody>
      </p:sp>
      <p:sp>
        <p:nvSpPr>
          <p:cNvPr id="59" name="TextBox 58">
            <a:extLst>
              <a:ext uri="{FF2B5EF4-FFF2-40B4-BE49-F238E27FC236}">
                <a16:creationId xmlns:a16="http://schemas.microsoft.com/office/drawing/2014/main" id="{C2F82E5C-A34D-42EB-ACA5-590A5C06173B}"/>
              </a:ext>
            </a:extLst>
          </p:cNvPr>
          <p:cNvSpPr txBox="1"/>
          <p:nvPr/>
        </p:nvSpPr>
        <p:spPr>
          <a:xfrm>
            <a:off x="2918296" y="4804909"/>
            <a:ext cx="2651760" cy="1292662"/>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b="1" err="1">
                <a:latin typeface="Arial"/>
                <a:cs typeface="Arial"/>
              </a:rPr>
              <a:t>StudioX</a:t>
            </a:r>
            <a:r>
              <a:rPr lang="en-US" sz="1050" b="1">
                <a:latin typeface="Arial"/>
                <a:cs typeface="Arial"/>
              </a:rPr>
              <a:t> </a:t>
            </a:r>
            <a:r>
              <a:rPr lang="en-US" sz="1050">
                <a:latin typeface="Arial"/>
                <a:cs typeface="Arial"/>
              </a:rPr>
              <a:t>(create automations: self-users)</a:t>
            </a:r>
            <a:endParaRPr lang="en-US" sz="1050" b="1">
              <a:latin typeface="Arial"/>
              <a:cs typeface="Arial"/>
            </a:endParaRPr>
          </a:p>
          <a:p>
            <a:pPr marL="171450" indent="-171450">
              <a:buFont typeface="Arial" panose="020B0604020202020204" pitchFamily="34" charset="0"/>
              <a:buChar char="•"/>
            </a:pPr>
            <a:r>
              <a:rPr lang="en-US" sz="1050" b="1">
                <a:latin typeface="Arial"/>
                <a:cs typeface="Arial"/>
              </a:rPr>
              <a:t>Studio </a:t>
            </a:r>
            <a:r>
              <a:rPr lang="en-US" sz="1050">
                <a:latin typeface="Arial"/>
                <a:cs typeface="Arial"/>
              </a:rPr>
              <a:t>(create automations: </a:t>
            </a:r>
            <a:br>
              <a:rPr lang="en-US" sz="1050">
                <a:latin typeface="Arial"/>
                <a:cs typeface="Arial"/>
              </a:rPr>
            </a:br>
            <a:r>
              <a:rPr lang="en-US" sz="1050">
                <a:latin typeface="Arial"/>
                <a:cs typeface="Arial"/>
              </a:rPr>
              <a:t>expert-users)</a:t>
            </a:r>
          </a:p>
          <a:p>
            <a:pPr marL="171450" indent="-171450">
              <a:buFont typeface="Arial" panose="020B0604020202020204" pitchFamily="34" charset="0"/>
              <a:buChar char="•"/>
            </a:pPr>
            <a:r>
              <a:rPr lang="en-US" sz="1050" b="1">
                <a:latin typeface="Arial"/>
                <a:cs typeface="Arial"/>
              </a:rPr>
              <a:t>Assistant </a:t>
            </a:r>
            <a:r>
              <a:rPr lang="en-US" sz="1050">
                <a:latin typeface="Arial"/>
                <a:cs typeface="Arial"/>
              </a:rPr>
              <a:t>(consume automations)</a:t>
            </a:r>
            <a:endParaRPr lang="en-US" sz="1050" b="1">
              <a:latin typeface="Arial"/>
              <a:cs typeface="Arial"/>
            </a:endParaRPr>
          </a:p>
          <a:p>
            <a:pPr marL="171450" indent="-171450">
              <a:buFont typeface="Arial" panose="020B0604020202020204" pitchFamily="34" charset="0"/>
              <a:buChar char="•"/>
            </a:pPr>
            <a:r>
              <a:rPr lang="en-US" sz="1050" b="1">
                <a:latin typeface="Arial"/>
                <a:cs typeface="Arial"/>
              </a:rPr>
              <a:t>Apps </a:t>
            </a:r>
            <a:r>
              <a:rPr lang="en-US" sz="1050">
                <a:latin typeface="Arial"/>
                <a:cs typeface="Arial"/>
              </a:rPr>
              <a:t>(interact with </a:t>
            </a:r>
            <a:br>
              <a:rPr lang="en-US" sz="1050">
                <a:latin typeface="Arial"/>
                <a:cs typeface="Arial"/>
              </a:rPr>
            </a:br>
            <a:r>
              <a:rPr lang="en-US" sz="1050">
                <a:latin typeface="Arial"/>
                <a:cs typeface="Arial"/>
              </a:rPr>
              <a:t>automation-powered apps)</a:t>
            </a:r>
            <a:endParaRPr lang="en-US" sz="1050" b="1">
              <a:latin typeface="Arial"/>
              <a:cs typeface="Arial"/>
            </a:endParaRPr>
          </a:p>
          <a:p>
            <a:pPr marL="171450" indent="-171450">
              <a:buFont typeface="Arial" panose="020B0604020202020204" pitchFamily="34" charset="0"/>
              <a:buChar char="•"/>
            </a:pPr>
            <a:r>
              <a:rPr lang="en-US" sz="1050" b="1">
                <a:latin typeface="Arial"/>
                <a:cs typeface="Arial"/>
              </a:rPr>
              <a:t>Automation Hub/Task Capture </a:t>
            </a:r>
            <a:r>
              <a:rPr lang="en-US" sz="1050">
                <a:latin typeface="Arial"/>
                <a:cs typeface="Arial"/>
              </a:rPr>
              <a:t>(suggest </a:t>
            </a:r>
            <a:br>
              <a:rPr lang="en-US" sz="1050">
                <a:latin typeface="Arial"/>
                <a:cs typeface="Arial"/>
              </a:rPr>
            </a:br>
            <a:r>
              <a:rPr lang="en-US" sz="1050">
                <a:latin typeface="Arial"/>
                <a:cs typeface="Arial"/>
              </a:rPr>
              <a:t>automation ideas)</a:t>
            </a:r>
            <a:endParaRPr lang="en-US" sz="1050" b="1">
              <a:latin typeface="Arial"/>
              <a:cs typeface="Arial"/>
            </a:endParaRPr>
          </a:p>
        </p:txBody>
      </p:sp>
      <p:sp>
        <p:nvSpPr>
          <p:cNvPr id="68" name="TextBox 67">
            <a:extLst>
              <a:ext uri="{FF2B5EF4-FFF2-40B4-BE49-F238E27FC236}">
                <a16:creationId xmlns:a16="http://schemas.microsoft.com/office/drawing/2014/main" id="{47FAD644-E7CB-4B89-930F-8605CB60DA9D}"/>
              </a:ext>
            </a:extLst>
          </p:cNvPr>
          <p:cNvSpPr txBox="1"/>
          <p:nvPr/>
        </p:nvSpPr>
        <p:spPr>
          <a:xfrm>
            <a:off x="9004731" y="4856575"/>
            <a:ext cx="2651760" cy="1131079"/>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b="1">
                <a:latin typeface="Arial"/>
                <a:cs typeface="Arial"/>
              </a:rPr>
              <a:t>Automation Hub (</a:t>
            </a:r>
            <a:r>
              <a:rPr lang="en-US" sz="1050">
                <a:solidFill>
                  <a:srgbClr val="000000"/>
                </a:solidFill>
                <a:latin typeface="Arial"/>
                <a:cs typeface="Arial"/>
              </a:rPr>
              <a:t>a</a:t>
            </a:r>
            <a:r>
              <a:rPr kumimoji="0" lang="en-US" sz="1050" b="0" i="0" u="none" strike="noStrike" kern="1200" cap="none" spc="0" normalizeH="0" baseline="0" noProof="0" err="1">
                <a:ln>
                  <a:noFill/>
                </a:ln>
                <a:solidFill>
                  <a:srgbClr val="000000"/>
                </a:solidFill>
                <a:effectLst/>
                <a:uLnTx/>
                <a:uFillTx/>
                <a:latin typeface="Arial"/>
                <a:cs typeface="Arial"/>
              </a:rPr>
              <a:t>ssess</a:t>
            </a:r>
            <a:r>
              <a:rPr kumimoji="0" lang="en-US" sz="1050" b="0" i="0" u="none" strike="noStrike" kern="1200" cap="none" spc="0" normalizeH="0" baseline="0" noProof="0">
                <a:ln>
                  <a:noFill/>
                </a:ln>
                <a:solidFill>
                  <a:srgbClr val="000000"/>
                </a:solidFill>
                <a:effectLst/>
                <a:uLnTx/>
                <a:uFillTx/>
                <a:latin typeface="Arial"/>
                <a:cs typeface="Arial"/>
              </a:rPr>
              <a:t> &amp; prioritize automation ideas)</a:t>
            </a:r>
          </a:p>
          <a:p>
            <a:pPr marL="171450" indent="-171450">
              <a:buFont typeface="Arial" panose="020B0604020202020204" pitchFamily="34" charset="0"/>
              <a:buChar char="•"/>
            </a:pPr>
            <a:r>
              <a:rPr lang="en-US" sz="1050" b="1">
                <a:latin typeface="Arial"/>
                <a:cs typeface="Arial"/>
              </a:rPr>
              <a:t>Orchestrator </a:t>
            </a:r>
            <a:r>
              <a:rPr lang="en-US" sz="1050">
                <a:latin typeface="Arial"/>
                <a:cs typeface="Arial"/>
              </a:rPr>
              <a:t>(deploy and manage automations)</a:t>
            </a:r>
          </a:p>
          <a:p>
            <a:pPr marL="171450" indent="-171450">
              <a:buFont typeface="Arial" panose="020B0604020202020204" pitchFamily="34" charset="0"/>
              <a:buChar char="•"/>
            </a:pPr>
            <a:r>
              <a:rPr lang="en-US" sz="1050" b="1">
                <a:latin typeface="Arial"/>
                <a:cs typeface="Arial"/>
              </a:rPr>
              <a:t>Automation Ops </a:t>
            </a:r>
            <a:r>
              <a:rPr lang="en-US" sz="1050">
                <a:latin typeface="Arial"/>
                <a:cs typeface="Arial"/>
              </a:rPr>
              <a:t>(govern </a:t>
            </a:r>
            <a:br>
              <a:rPr lang="en-US" sz="1050">
                <a:latin typeface="Arial"/>
                <a:cs typeface="Arial"/>
              </a:rPr>
            </a:br>
            <a:r>
              <a:rPr lang="en-US" sz="1050">
                <a:latin typeface="Arial"/>
                <a:cs typeface="Arial"/>
              </a:rPr>
              <a:t>automation program)</a:t>
            </a:r>
          </a:p>
          <a:p>
            <a:pPr marL="171450" indent="-171450">
              <a:buFont typeface="Arial" panose="020B0604020202020204" pitchFamily="34" charset="0"/>
              <a:buChar char="•"/>
            </a:pPr>
            <a:r>
              <a:rPr lang="en-US" sz="1050" b="1">
                <a:latin typeface="Arial"/>
                <a:cs typeface="Arial"/>
              </a:rPr>
              <a:t>Insights </a:t>
            </a:r>
            <a:r>
              <a:rPr lang="en-US" sz="1050">
                <a:latin typeface="Arial"/>
                <a:cs typeface="Arial"/>
              </a:rPr>
              <a:t>(track program success)</a:t>
            </a:r>
            <a:endParaRPr lang="en-US" sz="1050" b="1">
              <a:latin typeface="Arial"/>
              <a:cs typeface="Arial"/>
            </a:endParaRPr>
          </a:p>
        </p:txBody>
      </p:sp>
      <p:sp>
        <p:nvSpPr>
          <p:cNvPr id="71" name="Rectangle 70">
            <a:extLst>
              <a:ext uri="{FF2B5EF4-FFF2-40B4-BE49-F238E27FC236}">
                <a16:creationId xmlns:a16="http://schemas.microsoft.com/office/drawing/2014/main" id="{4E2276E8-63EA-4233-A1AC-A3BE122C3837}"/>
              </a:ext>
            </a:extLst>
          </p:cNvPr>
          <p:cNvSpPr/>
          <p:nvPr/>
        </p:nvSpPr>
        <p:spPr>
          <a:xfrm>
            <a:off x="379378" y="3943668"/>
            <a:ext cx="5394960" cy="2276114"/>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72" name="Rectangle 71">
            <a:extLst>
              <a:ext uri="{FF2B5EF4-FFF2-40B4-BE49-F238E27FC236}">
                <a16:creationId xmlns:a16="http://schemas.microsoft.com/office/drawing/2014/main" id="{B06B1984-A201-4059-A383-DCD75B7A7CCA}"/>
              </a:ext>
            </a:extLst>
          </p:cNvPr>
          <p:cNvSpPr/>
          <p:nvPr/>
        </p:nvSpPr>
        <p:spPr>
          <a:xfrm>
            <a:off x="6414453" y="3943667"/>
            <a:ext cx="5394960" cy="2276114"/>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pic>
        <p:nvPicPr>
          <p:cNvPr id="45" name="Graphic 44">
            <a:extLst>
              <a:ext uri="{FF2B5EF4-FFF2-40B4-BE49-F238E27FC236}">
                <a16:creationId xmlns:a16="http://schemas.microsoft.com/office/drawing/2014/main" id="{5DA70B3E-2596-4FC6-A285-25121C2D198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404761" y="4106241"/>
            <a:ext cx="491110" cy="355631"/>
          </a:xfrm>
          <a:prstGeom prst="rect">
            <a:avLst/>
          </a:prstGeom>
        </p:spPr>
      </p:pic>
      <p:pic>
        <p:nvPicPr>
          <p:cNvPr id="69" name="Graphic 68">
            <a:extLst>
              <a:ext uri="{FF2B5EF4-FFF2-40B4-BE49-F238E27FC236}">
                <a16:creationId xmlns:a16="http://schemas.microsoft.com/office/drawing/2014/main" id="{EF6185D3-BFAC-4578-853F-3282CA1ECA39}"/>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8274109" y="4083797"/>
            <a:ext cx="400522" cy="400522"/>
          </a:xfrm>
          <a:prstGeom prst="rect">
            <a:avLst/>
          </a:prstGeom>
        </p:spPr>
      </p:pic>
      <p:sp>
        <p:nvSpPr>
          <p:cNvPr id="73" name="Rectangle 72">
            <a:extLst>
              <a:ext uri="{FF2B5EF4-FFF2-40B4-BE49-F238E27FC236}">
                <a16:creationId xmlns:a16="http://schemas.microsoft.com/office/drawing/2014/main" id="{1570E4F2-E048-4795-8D9C-F2C28A9C2CBE}"/>
              </a:ext>
            </a:extLst>
          </p:cNvPr>
          <p:cNvSpPr/>
          <p:nvPr/>
        </p:nvSpPr>
        <p:spPr>
          <a:xfrm>
            <a:off x="6414453" y="1329718"/>
            <a:ext cx="5394960" cy="2276114"/>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6" name="Title 5">
            <a:extLst>
              <a:ext uri="{FF2B5EF4-FFF2-40B4-BE49-F238E27FC236}">
                <a16:creationId xmlns:a16="http://schemas.microsoft.com/office/drawing/2014/main" id="{1781D396-DF5C-4BA3-8BD5-06FC437A54A6}"/>
              </a:ext>
            </a:extLst>
          </p:cNvPr>
          <p:cNvSpPr>
            <a:spLocks noGrp="1"/>
          </p:cNvSpPr>
          <p:nvPr>
            <p:ph type="title"/>
          </p:nvPr>
        </p:nvSpPr>
        <p:spPr>
          <a:xfrm>
            <a:off x="371061" y="447173"/>
            <a:ext cx="8326105" cy="690029"/>
          </a:xfrm>
        </p:spPr>
        <p:txBody>
          <a:bodyPr anchor="ctr"/>
          <a:lstStyle/>
          <a:p>
            <a:r>
              <a:rPr lang="en-US"/>
              <a:t>Each persona leverages relevant technology</a:t>
            </a:r>
            <a:endParaRPr lang="en-PH"/>
          </a:p>
        </p:txBody>
      </p:sp>
      <p:sp>
        <p:nvSpPr>
          <p:cNvPr id="74" name="Rectangle 73">
            <a:extLst>
              <a:ext uri="{FF2B5EF4-FFF2-40B4-BE49-F238E27FC236}">
                <a16:creationId xmlns:a16="http://schemas.microsoft.com/office/drawing/2014/main" id="{A53E6C10-9130-4D5F-A5F2-CED5D5AE5602}"/>
              </a:ext>
            </a:extLst>
          </p:cNvPr>
          <p:cNvSpPr/>
          <p:nvPr/>
        </p:nvSpPr>
        <p:spPr>
          <a:xfrm>
            <a:off x="379413" y="1329718"/>
            <a:ext cx="5394960" cy="2276114"/>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30" name="Rectangle 29">
            <a:extLst>
              <a:ext uri="{FF2B5EF4-FFF2-40B4-BE49-F238E27FC236}">
                <a16:creationId xmlns:a16="http://schemas.microsoft.com/office/drawing/2014/main" id="{EBEA681B-7376-4E8E-BADA-C111DC832A40}"/>
              </a:ext>
            </a:extLst>
          </p:cNvPr>
          <p:cNvSpPr/>
          <p:nvPr/>
        </p:nvSpPr>
        <p:spPr>
          <a:xfrm>
            <a:off x="3939710"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b="0" i="0">
                <a:latin typeface="Arial"/>
                <a:cs typeface="Arial"/>
              </a:rPr>
              <a:t>Define personas</a:t>
            </a:r>
          </a:p>
        </p:txBody>
      </p:sp>
      <p:sp>
        <p:nvSpPr>
          <p:cNvPr id="31" name="Rectangle 30">
            <a:extLst>
              <a:ext uri="{FF2B5EF4-FFF2-40B4-BE49-F238E27FC236}">
                <a16:creationId xmlns:a16="http://schemas.microsoft.com/office/drawing/2014/main" id="{7D35B83F-CDED-49E1-B6A9-76EC091102E3}"/>
              </a:ext>
            </a:extLst>
          </p:cNvPr>
          <p:cNvSpPr/>
          <p:nvPr/>
        </p:nvSpPr>
        <p:spPr>
          <a:xfrm>
            <a:off x="5589533"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Set up governance</a:t>
            </a:r>
          </a:p>
        </p:txBody>
      </p:sp>
      <p:sp>
        <p:nvSpPr>
          <p:cNvPr id="32" name="Rectangle 31">
            <a:extLst>
              <a:ext uri="{FF2B5EF4-FFF2-40B4-BE49-F238E27FC236}">
                <a16:creationId xmlns:a16="http://schemas.microsoft.com/office/drawing/2014/main" id="{A81810B3-C5C8-4D60-8D95-FD8658434A00}"/>
              </a:ext>
            </a:extLst>
          </p:cNvPr>
          <p:cNvSpPr/>
          <p:nvPr/>
        </p:nvSpPr>
        <p:spPr>
          <a:xfrm>
            <a:off x="7239356"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Define execution steps</a:t>
            </a:r>
          </a:p>
        </p:txBody>
      </p:sp>
      <p:sp>
        <p:nvSpPr>
          <p:cNvPr id="33" name="Rectangle 32">
            <a:extLst>
              <a:ext uri="{FF2B5EF4-FFF2-40B4-BE49-F238E27FC236}">
                <a16:creationId xmlns:a16="http://schemas.microsoft.com/office/drawing/2014/main" id="{BB715F99-BAAE-4BAA-90A2-0AA9CAC1072E}"/>
              </a:ext>
            </a:extLst>
          </p:cNvPr>
          <p:cNvSpPr/>
          <p:nvPr/>
        </p:nvSpPr>
        <p:spPr>
          <a:xfrm>
            <a:off x="8889179" y="5709"/>
            <a:ext cx="1649823" cy="205533"/>
          </a:xfrm>
          <a:prstGeom prst="rect">
            <a:avLst/>
          </a:prstGeom>
          <a:solidFill>
            <a:schemeClr val="accent4"/>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Configure technologies</a:t>
            </a:r>
          </a:p>
        </p:txBody>
      </p:sp>
      <p:sp>
        <p:nvSpPr>
          <p:cNvPr id="34" name="Rectangle 33">
            <a:extLst>
              <a:ext uri="{FF2B5EF4-FFF2-40B4-BE49-F238E27FC236}">
                <a16:creationId xmlns:a16="http://schemas.microsoft.com/office/drawing/2014/main" id="{52BF3A32-EEE5-49A9-8C05-FBB730B338A7}"/>
              </a:ext>
            </a:extLst>
          </p:cNvPr>
          <p:cNvSpPr/>
          <p:nvPr/>
        </p:nvSpPr>
        <p:spPr>
          <a:xfrm>
            <a:off x="10539002"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Drive adoption</a:t>
            </a:r>
          </a:p>
        </p:txBody>
      </p:sp>
    </p:spTree>
    <p:extLst>
      <p:ext uri="{BB962C8B-B14F-4D97-AF65-F5344CB8AC3E}">
        <p14:creationId xmlns:p14="http://schemas.microsoft.com/office/powerpoint/2010/main" val="13002153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F45B0B8B-E08D-478A-8006-F4362DA4D344}"/>
              </a:ext>
            </a:extLst>
          </p:cNvPr>
          <p:cNvSpPr/>
          <p:nvPr/>
        </p:nvSpPr>
        <p:spPr>
          <a:xfrm>
            <a:off x="379413" y="1329718"/>
            <a:ext cx="11430000" cy="1444979"/>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45" name="Rectangle 44">
            <a:extLst>
              <a:ext uri="{FF2B5EF4-FFF2-40B4-BE49-F238E27FC236}">
                <a16:creationId xmlns:a16="http://schemas.microsoft.com/office/drawing/2014/main" id="{0341DBD5-7D7E-41DD-B82D-CDE4459871E5}"/>
              </a:ext>
            </a:extLst>
          </p:cNvPr>
          <p:cNvSpPr/>
          <p:nvPr/>
        </p:nvSpPr>
        <p:spPr>
          <a:xfrm>
            <a:off x="379413" y="3046293"/>
            <a:ext cx="11430000" cy="1444979"/>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47" name="Rectangle 46">
            <a:extLst>
              <a:ext uri="{FF2B5EF4-FFF2-40B4-BE49-F238E27FC236}">
                <a16:creationId xmlns:a16="http://schemas.microsoft.com/office/drawing/2014/main" id="{0E4601DE-D9FD-4B3D-BBE4-A215BC559DA4}"/>
              </a:ext>
            </a:extLst>
          </p:cNvPr>
          <p:cNvSpPr/>
          <p:nvPr/>
        </p:nvSpPr>
        <p:spPr>
          <a:xfrm>
            <a:off x="379413" y="4770198"/>
            <a:ext cx="11430000" cy="1444979"/>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sp>
        <p:nvSpPr>
          <p:cNvPr id="3" name="Title 2">
            <a:extLst>
              <a:ext uri="{FF2B5EF4-FFF2-40B4-BE49-F238E27FC236}">
                <a16:creationId xmlns:a16="http://schemas.microsoft.com/office/drawing/2014/main" id="{62712664-525D-4163-953F-90BBB6E65FD5}"/>
              </a:ext>
            </a:extLst>
          </p:cNvPr>
          <p:cNvSpPr>
            <a:spLocks noGrp="1"/>
          </p:cNvSpPr>
          <p:nvPr>
            <p:ph type="title"/>
          </p:nvPr>
        </p:nvSpPr>
        <p:spPr>
          <a:xfrm>
            <a:off x="372057" y="474444"/>
            <a:ext cx="6608941" cy="690029"/>
          </a:xfrm>
        </p:spPr>
        <p:txBody>
          <a:bodyPr anchor="ctr"/>
          <a:lstStyle/>
          <a:p>
            <a:r>
              <a:rPr lang="en-US" dirty="0">
                <a:latin typeface="Arial"/>
              </a:rPr>
              <a:t>Maximize adoption at scale</a:t>
            </a:r>
          </a:p>
        </p:txBody>
      </p:sp>
      <p:sp>
        <p:nvSpPr>
          <p:cNvPr id="14" name="Rectangle 13">
            <a:extLst>
              <a:ext uri="{FF2B5EF4-FFF2-40B4-BE49-F238E27FC236}">
                <a16:creationId xmlns:a16="http://schemas.microsoft.com/office/drawing/2014/main" id="{AB2F6961-6022-48DA-B4EC-52A50F385DF0}"/>
              </a:ext>
            </a:extLst>
          </p:cNvPr>
          <p:cNvSpPr/>
          <p:nvPr/>
        </p:nvSpPr>
        <p:spPr>
          <a:xfrm>
            <a:off x="362117" y="1322388"/>
            <a:ext cx="5641973" cy="1444979"/>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grpSp>
        <p:nvGrpSpPr>
          <p:cNvPr id="5" name="Group 4">
            <a:extLst>
              <a:ext uri="{FF2B5EF4-FFF2-40B4-BE49-F238E27FC236}">
                <a16:creationId xmlns:a16="http://schemas.microsoft.com/office/drawing/2014/main" id="{BE204D0C-57F9-4D9A-BDCA-4FA0E3269005}"/>
              </a:ext>
            </a:extLst>
          </p:cNvPr>
          <p:cNvGrpSpPr/>
          <p:nvPr/>
        </p:nvGrpSpPr>
        <p:grpSpPr>
          <a:xfrm>
            <a:off x="1491594" y="1592777"/>
            <a:ext cx="4353742" cy="904200"/>
            <a:chOff x="1685924" y="1478858"/>
            <a:chExt cx="3728773" cy="904200"/>
          </a:xfrm>
        </p:grpSpPr>
        <p:sp>
          <p:nvSpPr>
            <p:cNvPr id="19" name="Rectangle 18">
              <a:extLst>
                <a:ext uri="{FF2B5EF4-FFF2-40B4-BE49-F238E27FC236}">
                  <a16:creationId xmlns:a16="http://schemas.microsoft.com/office/drawing/2014/main" id="{1633CACF-97C4-4E20-B0C0-45E65E731D8E}"/>
                </a:ext>
              </a:extLst>
            </p:cNvPr>
            <p:cNvSpPr/>
            <p:nvPr/>
          </p:nvSpPr>
          <p:spPr>
            <a:xfrm>
              <a:off x="1685924" y="1478858"/>
              <a:ext cx="3728773" cy="246221"/>
            </a:xfrm>
            <a:prstGeom prst="rect">
              <a:avLst/>
            </a:prstGeom>
          </p:spPr>
          <p:txBody>
            <a:bodyPr wrap="square" lIns="0" tIns="0" rIns="0" bIns="0" anchor="ctr">
              <a:spAutoFit/>
            </a:bodyPr>
            <a:lstStyle/>
            <a:p>
              <a:pPr>
                <a:spcAft>
                  <a:spcPts val="600"/>
                </a:spcAft>
                <a:buClr>
                  <a:srgbClr val="FA4616"/>
                </a:buClr>
                <a:defRPr/>
              </a:pPr>
              <a:r>
                <a:rPr lang="en-US" sz="1600" b="1">
                  <a:solidFill>
                    <a:schemeClr val="bg1"/>
                  </a:solidFill>
                  <a:latin typeface="+mj-lt"/>
                  <a:cs typeface="Calibri"/>
                </a:rPr>
                <a:t>Create top-down program support </a:t>
              </a:r>
              <a:endParaRPr lang="en-US" sz="1600" b="1">
                <a:solidFill>
                  <a:schemeClr val="bg1"/>
                </a:solidFill>
                <a:latin typeface="+mj-lt"/>
                <a:cs typeface="Calibri" panose="020F0502020204030204" pitchFamily="34" charset="0"/>
              </a:endParaRPr>
            </a:p>
          </p:txBody>
        </p:sp>
        <p:sp>
          <p:nvSpPr>
            <p:cNvPr id="20" name="TextBox 19">
              <a:extLst>
                <a:ext uri="{FF2B5EF4-FFF2-40B4-BE49-F238E27FC236}">
                  <a16:creationId xmlns:a16="http://schemas.microsoft.com/office/drawing/2014/main" id="{20E77060-1A38-4917-8052-22C45BCD74E2}"/>
                </a:ext>
              </a:extLst>
            </p:cNvPr>
            <p:cNvSpPr txBox="1"/>
            <p:nvPr/>
          </p:nvSpPr>
          <p:spPr>
            <a:xfrm>
              <a:off x="1685924" y="1821366"/>
              <a:ext cx="3728773" cy="561692"/>
            </a:xfrm>
            <a:prstGeom prst="rect">
              <a:avLst/>
            </a:prstGeom>
            <a:noFill/>
          </p:spPr>
          <p:txBody>
            <a:bodyPr wrap="square" lIns="0" tIns="0" rIns="0" bIns="0" anchor="t">
              <a:spAutoFit/>
            </a:bodyPr>
            <a:lstStyle/>
            <a:p>
              <a:pPr marL="180000" indent="-180000">
                <a:spcAft>
                  <a:spcPts val="300"/>
                </a:spcAft>
                <a:buFont typeface="Arial" panose="020B0604020202020204" pitchFamily="34" charset="0"/>
                <a:buChar char="•"/>
              </a:pPr>
              <a:r>
                <a:rPr lang="en-US" sz="1050">
                  <a:solidFill>
                    <a:schemeClr val="bg1"/>
                  </a:solidFill>
                  <a:latin typeface="+mj-lt"/>
                  <a:cs typeface="Calibri"/>
                </a:rPr>
                <a:t>Set up a formal program with clear targets and KPIs</a:t>
              </a:r>
              <a:endParaRPr lang="en-US" sz="1050">
                <a:solidFill>
                  <a:schemeClr val="bg1"/>
                </a:solidFill>
                <a:latin typeface="+mj-lt"/>
                <a:cs typeface="Calibri" panose="020F0502020204030204" pitchFamily="34" charset="0"/>
              </a:endParaRPr>
            </a:p>
            <a:p>
              <a:pPr marL="180000" indent="-180000">
                <a:spcAft>
                  <a:spcPts val="300"/>
                </a:spcAft>
                <a:buFont typeface="Arial" panose="020B0604020202020204" pitchFamily="34" charset="0"/>
                <a:buChar char="•"/>
              </a:pPr>
              <a:r>
                <a:rPr lang="en-US" sz="1050">
                  <a:solidFill>
                    <a:schemeClr val="bg1"/>
                  </a:solidFill>
                  <a:latin typeface="+mj-lt"/>
                  <a:cs typeface="Calibri"/>
                </a:rPr>
                <a:t>Incentivize employees with gamification and recognition</a:t>
              </a:r>
            </a:p>
            <a:p>
              <a:pPr marL="180000" indent="-180000">
                <a:spcAft>
                  <a:spcPts val="300"/>
                </a:spcAft>
                <a:buFont typeface="Arial" panose="020B0604020202020204" pitchFamily="34" charset="0"/>
                <a:buChar char="•"/>
              </a:pPr>
              <a:r>
                <a:rPr lang="en-US" sz="1050">
                  <a:solidFill>
                    <a:schemeClr val="bg1"/>
                  </a:solidFill>
                  <a:latin typeface="+mj-lt"/>
                  <a:cs typeface="Calibri"/>
                </a:rPr>
                <a:t>If applicable, allocate bandwidth for citizen developers</a:t>
              </a:r>
              <a:endParaRPr lang="en-US" sz="1050">
                <a:solidFill>
                  <a:schemeClr val="bg1"/>
                </a:solidFill>
                <a:latin typeface="+mj-lt"/>
                <a:cs typeface="Calibri" panose="020F0502020204030204" pitchFamily="34" charset="0"/>
              </a:endParaRPr>
            </a:p>
          </p:txBody>
        </p:sp>
      </p:grpSp>
      <p:sp>
        <p:nvSpPr>
          <p:cNvPr id="46" name="TextBox 45">
            <a:extLst>
              <a:ext uri="{FF2B5EF4-FFF2-40B4-BE49-F238E27FC236}">
                <a16:creationId xmlns:a16="http://schemas.microsoft.com/office/drawing/2014/main" id="{E1466990-C07C-479C-AF93-EC615B4EAC75}"/>
              </a:ext>
            </a:extLst>
          </p:cNvPr>
          <p:cNvSpPr txBox="1"/>
          <p:nvPr/>
        </p:nvSpPr>
        <p:spPr>
          <a:xfrm>
            <a:off x="6323586" y="3466399"/>
            <a:ext cx="5324624" cy="484748"/>
          </a:xfrm>
          <a:prstGeom prst="rect">
            <a:avLst/>
          </a:prstGeom>
          <a:noFill/>
        </p:spPr>
        <p:txBody>
          <a:bodyPr wrap="square" lIns="0" tIns="0" rIns="0" bIns="0">
            <a:spAutoFit/>
          </a:bodyPr>
          <a:lstStyle/>
          <a:p>
            <a:pPr algn="l"/>
            <a:r>
              <a:rPr lang="en-GB" sz="1050" b="1" i="0">
                <a:solidFill>
                  <a:schemeClr val="accent2"/>
                </a:solidFill>
                <a:effectLst/>
                <a:latin typeface="+mj-lt"/>
                <a:hlinkClick r:id="rId3">
                  <a:extLst>
                    <a:ext uri="{A12FA001-AC4F-418D-AE19-62706E023703}">
                      <ahyp:hlinkClr xmlns:ahyp="http://schemas.microsoft.com/office/drawing/2018/hyperlinkcolor" val="tx"/>
                    </a:ext>
                  </a:extLst>
                </a:hlinkClick>
              </a:rPr>
              <a:t>AIS</a:t>
            </a:r>
            <a:r>
              <a:rPr lang="en-GB" sz="1050" b="0" i="0">
                <a:effectLst/>
                <a:latin typeface="+mj-lt"/>
              </a:rPr>
              <a:t> recruited </a:t>
            </a:r>
            <a:r>
              <a:rPr lang="uk-UA" sz="1050" b="1" i="0">
                <a:solidFill>
                  <a:schemeClr val="accent2"/>
                </a:solidFill>
                <a:effectLst/>
                <a:latin typeface="+mj-lt"/>
              </a:rPr>
              <a:t>16 </a:t>
            </a:r>
            <a:r>
              <a:rPr lang="en-GB" sz="1050" b="1" i="0">
                <a:solidFill>
                  <a:schemeClr val="accent2"/>
                </a:solidFill>
                <a:effectLst/>
                <a:latin typeface="+mj-lt"/>
              </a:rPr>
              <a:t>automation champions </a:t>
            </a:r>
            <a:r>
              <a:rPr lang="en-GB" sz="1050" b="0" i="0">
                <a:effectLst/>
                <a:latin typeface="+mj-lt"/>
              </a:rPr>
              <a:t>from various business units and trained </a:t>
            </a:r>
            <a:r>
              <a:rPr lang="en-GB" sz="1050">
                <a:latin typeface="+mj-lt"/>
              </a:rPr>
              <a:t>them to become certified automation experts. As a result, they were able to </a:t>
            </a:r>
            <a:r>
              <a:rPr lang="en-GB" sz="1050" b="0" i="0">
                <a:effectLst/>
                <a:latin typeface="+mj-lt"/>
              </a:rPr>
              <a:t>pass on their knowledge </a:t>
            </a:r>
            <a:r>
              <a:rPr lang="en-GB" sz="1050">
                <a:latin typeface="+mj-lt"/>
              </a:rPr>
              <a:t>and helped upskill</a:t>
            </a:r>
            <a:r>
              <a:rPr lang="en-GB" sz="1050" b="0" i="0">
                <a:effectLst/>
                <a:latin typeface="+mj-lt"/>
              </a:rPr>
              <a:t> </a:t>
            </a:r>
            <a:r>
              <a:rPr lang="en-GB" sz="1050" b="1" i="0">
                <a:solidFill>
                  <a:schemeClr val="accent2"/>
                </a:solidFill>
                <a:effectLst/>
                <a:latin typeface="+mj-lt"/>
              </a:rPr>
              <a:t>800 new citizen developers</a:t>
            </a:r>
            <a:r>
              <a:rPr lang="en-GB" sz="1050" b="0" i="0">
                <a:solidFill>
                  <a:schemeClr val="accent2"/>
                </a:solidFill>
                <a:effectLst/>
                <a:latin typeface="+mj-lt"/>
              </a:rPr>
              <a:t>. </a:t>
            </a:r>
          </a:p>
        </p:txBody>
      </p:sp>
      <p:sp>
        <p:nvSpPr>
          <p:cNvPr id="23" name="TextBox 22">
            <a:extLst>
              <a:ext uri="{FF2B5EF4-FFF2-40B4-BE49-F238E27FC236}">
                <a16:creationId xmlns:a16="http://schemas.microsoft.com/office/drawing/2014/main" id="{05EF3411-A023-445E-86C0-D7067A0E1B2A}"/>
              </a:ext>
            </a:extLst>
          </p:cNvPr>
          <p:cNvSpPr txBox="1"/>
          <p:nvPr/>
        </p:nvSpPr>
        <p:spPr>
          <a:xfrm>
            <a:off x="6323586" y="1661703"/>
            <a:ext cx="5324623" cy="646331"/>
          </a:xfrm>
          <a:prstGeom prst="rect">
            <a:avLst/>
          </a:prstGeom>
          <a:noFill/>
        </p:spPr>
        <p:txBody>
          <a:bodyPr wrap="square" lIns="0" tIns="0" rIns="0" bIns="0" anchor="t">
            <a:spAutoFit/>
          </a:bodyPr>
          <a:lstStyle/>
          <a:p>
            <a:r>
              <a:rPr lang="en-GB" sz="1050" b="1" dirty="0" err="1">
                <a:solidFill>
                  <a:schemeClr val="accent1"/>
                </a:solidFill>
                <a:latin typeface="+mj-lt"/>
                <a:hlinkClick r:id="rId4">
                  <a:extLst>
                    <a:ext uri="{A12FA001-AC4F-418D-AE19-62706E023703}">
                      <ahyp:hlinkClr xmlns:ahyp="http://schemas.microsoft.com/office/drawing/2018/hyperlinkcolor" val="tx"/>
                    </a:ext>
                  </a:extLst>
                </a:hlinkClick>
              </a:rPr>
              <a:t>Dentsu’s</a:t>
            </a:r>
            <a:r>
              <a:rPr lang="en-GB" sz="1050" dirty="0">
                <a:solidFill>
                  <a:schemeClr val="accent1"/>
                </a:solidFill>
                <a:latin typeface="+mj-lt"/>
              </a:rPr>
              <a:t> </a:t>
            </a:r>
            <a:r>
              <a:rPr lang="en-GB" sz="1050" dirty="0">
                <a:latin typeface="+mj-lt"/>
              </a:rPr>
              <a:t>mission is to elevate human potential by integrating RPA and AI into every business process. They say that </a:t>
            </a:r>
            <a:r>
              <a:rPr lang="en-GB" sz="1050" b="1" dirty="0">
                <a:solidFill>
                  <a:schemeClr val="accent1"/>
                </a:solidFill>
                <a:latin typeface="+mj-lt"/>
              </a:rPr>
              <a:t>creating a long-term plan</a:t>
            </a:r>
            <a:r>
              <a:rPr lang="en-GB" sz="1050" b="1" dirty="0">
                <a:latin typeface="+mj-lt"/>
              </a:rPr>
              <a:t> </a:t>
            </a:r>
            <a:r>
              <a:rPr lang="en-GB" sz="1050" dirty="0">
                <a:latin typeface="+mj-lt"/>
              </a:rPr>
              <a:t>for an automation operating model </a:t>
            </a:r>
            <a:r>
              <a:rPr lang="en-GB" sz="1050" b="1" dirty="0">
                <a:solidFill>
                  <a:schemeClr val="accent1"/>
                </a:solidFill>
                <a:latin typeface="+mj-lt"/>
              </a:rPr>
              <a:t>and identifying sponsors</a:t>
            </a:r>
            <a:r>
              <a:rPr lang="en-GB" sz="1050" dirty="0">
                <a:solidFill>
                  <a:schemeClr val="accent1"/>
                </a:solidFill>
                <a:latin typeface="+mj-lt"/>
              </a:rPr>
              <a:t> </a:t>
            </a:r>
            <a:r>
              <a:rPr lang="en-GB" sz="1050" dirty="0">
                <a:latin typeface="+mj-lt"/>
              </a:rPr>
              <a:t>to drive awareness and demand are crucial for every successful ‘a robot for every person’ implementation.</a:t>
            </a:r>
          </a:p>
        </p:txBody>
      </p:sp>
      <p:sp>
        <p:nvSpPr>
          <p:cNvPr id="21" name="TextBox 20">
            <a:extLst>
              <a:ext uri="{FF2B5EF4-FFF2-40B4-BE49-F238E27FC236}">
                <a16:creationId xmlns:a16="http://schemas.microsoft.com/office/drawing/2014/main" id="{8BCB783E-7E32-41B7-8B18-7DA0C3F3233E}"/>
              </a:ext>
            </a:extLst>
          </p:cNvPr>
          <p:cNvSpPr txBox="1"/>
          <p:nvPr/>
        </p:nvSpPr>
        <p:spPr>
          <a:xfrm>
            <a:off x="6323585" y="5109513"/>
            <a:ext cx="5324623" cy="646331"/>
          </a:xfrm>
          <a:prstGeom prst="rect">
            <a:avLst/>
          </a:prstGeom>
          <a:noFill/>
        </p:spPr>
        <p:txBody>
          <a:bodyPr wrap="square" lIns="0" tIns="0" rIns="0" bIns="0">
            <a:spAutoFit/>
          </a:bodyPr>
          <a:lstStyle/>
          <a:p>
            <a:r>
              <a:rPr lang="en-US" sz="1050" b="1">
                <a:solidFill>
                  <a:schemeClr val="accent3"/>
                </a:solidFill>
                <a:latin typeface="+mj-lt"/>
                <a:hlinkClick r:id="rId5">
                  <a:extLst>
                    <a:ext uri="{A12FA001-AC4F-418D-AE19-62706E023703}">
                      <ahyp:hlinkClr xmlns:ahyp="http://schemas.microsoft.com/office/drawing/2018/hyperlinkcolor" val="tx"/>
                    </a:ext>
                  </a:extLst>
                </a:hlinkClick>
              </a:rPr>
              <a:t>Wärtsilä</a:t>
            </a:r>
            <a:r>
              <a:rPr lang="en-US" sz="1050">
                <a:latin typeface="+mj-lt"/>
              </a:rPr>
              <a:t> </a:t>
            </a:r>
            <a:r>
              <a:rPr lang="en-GB" sz="1050">
                <a:latin typeface="+mj-lt"/>
              </a:rPr>
              <a:t>has more than 100 citizen developers that are actively contributing to developing automations and trained more than 900 people to become automation ambassadors. The company says that this resulted in creating a whole internal ecosystem and a community that now supports itself.</a:t>
            </a:r>
            <a:endParaRPr lang="en-US" sz="1050">
              <a:latin typeface="+mj-lt"/>
            </a:endParaRPr>
          </a:p>
        </p:txBody>
      </p:sp>
      <p:sp>
        <p:nvSpPr>
          <p:cNvPr id="24" name="Rectangle 23">
            <a:extLst>
              <a:ext uri="{FF2B5EF4-FFF2-40B4-BE49-F238E27FC236}">
                <a16:creationId xmlns:a16="http://schemas.microsoft.com/office/drawing/2014/main" id="{EED2C9C4-1F8A-4E1D-AB18-8AB68D7CF40F}"/>
              </a:ext>
            </a:extLst>
          </p:cNvPr>
          <p:cNvSpPr/>
          <p:nvPr/>
        </p:nvSpPr>
        <p:spPr>
          <a:xfrm>
            <a:off x="362117" y="3046293"/>
            <a:ext cx="5641973" cy="1444979"/>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grpSp>
        <p:nvGrpSpPr>
          <p:cNvPr id="25" name="Group 24">
            <a:extLst>
              <a:ext uri="{FF2B5EF4-FFF2-40B4-BE49-F238E27FC236}">
                <a16:creationId xmlns:a16="http://schemas.microsoft.com/office/drawing/2014/main" id="{767C3578-913C-431C-91AF-4DA836380DC9}"/>
              </a:ext>
            </a:extLst>
          </p:cNvPr>
          <p:cNvGrpSpPr/>
          <p:nvPr/>
        </p:nvGrpSpPr>
        <p:grpSpPr>
          <a:xfrm>
            <a:off x="1491594" y="3155099"/>
            <a:ext cx="4353742" cy="1227366"/>
            <a:chOff x="1685924" y="1478858"/>
            <a:chExt cx="3728773" cy="1227366"/>
          </a:xfrm>
        </p:grpSpPr>
        <p:sp>
          <p:nvSpPr>
            <p:cNvPr id="26" name="Rectangle 25">
              <a:extLst>
                <a:ext uri="{FF2B5EF4-FFF2-40B4-BE49-F238E27FC236}">
                  <a16:creationId xmlns:a16="http://schemas.microsoft.com/office/drawing/2014/main" id="{AEA3B94C-69A1-4370-9429-6673BF66B169}"/>
                </a:ext>
              </a:extLst>
            </p:cNvPr>
            <p:cNvSpPr/>
            <p:nvPr/>
          </p:nvSpPr>
          <p:spPr>
            <a:xfrm>
              <a:off x="1685924" y="1478858"/>
              <a:ext cx="3728773" cy="246221"/>
            </a:xfrm>
            <a:prstGeom prst="rect">
              <a:avLst/>
            </a:prstGeom>
          </p:spPr>
          <p:txBody>
            <a:bodyPr wrap="square" lIns="0" tIns="0" rIns="0" bIns="0" anchor="ctr">
              <a:spAutoFit/>
            </a:bodyPr>
            <a:lstStyle/>
            <a:p>
              <a:pPr>
                <a:spcAft>
                  <a:spcPts val="600"/>
                </a:spcAft>
                <a:buClr>
                  <a:srgbClr val="FA4616"/>
                </a:buClr>
                <a:defRPr/>
              </a:pPr>
              <a:r>
                <a:rPr lang="en-US" sz="1600" b="1">
                  <a:solidFill>
                    <a:schemeClr val="bg1"/>
                  </a:solidFill>
                  <a:latin typeface="+mj-lt"/>
                  <a:cs typeface="Calibri" panose="020F0502020204030204" pitchFamily="34" charset="0"/>
                </a:rPr>
                <a:t>Drive ongoing education </a:t>
              </a:r>
            </a:p>
          </p:txBody>
        </p:sp>
        <p:sp>
          <p:nvSpPr>
            <p:cNvPr id="27" name="TextBox 26">
              <a:extLst>
                <a:ext uri="{FF2B5EF4-FFF2-40B4-BE49-F238E27FC236}">
                  <a16:creationId xmlns:a16="http://schemas.microsoft.com/office/drawing/2014/main" id="{26AF6AA0-B48F-4465-B1F7-8E8465D5ABA0}"/>
                </a:ext>
              </a:extLst>
            </p:cNvPr>
            <p:cNvSpPr txBox="1"/>
            <p:nvPr/>
          </p:nvSpPr>
          <p:spPr>
            <a:xfrm>
              <a:off x="1685924" y="1821366"/>
              <a:ext cx="3728773" cy="884858"/>
            </a:xfrm>
            <a:prstGeom prst="rect">
              <a:avLst/>
            </a:prstGeom>
            <a:noFill/>
          </p:spPr>
          <p:txBody>
            <a:bodyPr wrap="square" lIns="0" tIns="0" rIns="0" bIns="0" anchor="t">
              <a:spAutoFit/>
            </a:bodyPr>
            <a:lstStyle/>
            <a:p>
              <a:pPr marL="180000" indent="-180000">
                <a:spcBef>
                  <a:spcPts val="300"/>
                </a:spcBef>
                <a:buFont typeface="Arial" panose="020B0604020202020204" pitchFamily="34" charset="0"/>
                <a:buChar char="•"/>
              </a:pPr>
              <a:r>
                <a:rPr lang="en-US" sz="1050">
                  <a:solidFill>
                    <a:schemeClr val="bg1"/>
                  </a:solidFill>
                  <a:latin typeface="+mj-lt"/>
                  <a:cs typeface="Calibri" panose="020F0502020204030204" pitchFamily="34" charset="0"/>
                </a:rPr>
                <a:t>Clearly communicate use cases for automation</a:t>
              </a:r>
            </a:p>
            <a:p>
              <a:pPr marL="180000" indent="-180000">
                <a:spcBef>
                  <a:spcPts val="300"/>
                </a:spcBef>
                <a:buFont typeface="Arial" panose="020B0604020202020204" pitchFamily="34" charset="0"/>
                <a:buChar char="•"/>
              </a:pPr>
              <a:r>
                <a:rPr lang="en-US" sz="1050">
                  <a:solidFill>
                    <a:schemeClr val="bg1"/>
                  </a:solidFill>
                  <a:latin typeface="+mj-lt"/>
                  <a:cs typeface="Calibri" panose="020F0502020204030204" pitchFamily="34" charset="0"/>
                </a:rPr>
                <a:t>Make it clear how employees will benefit from working </a:t>
              </a:r>
              <a:br>
                <a:rPr lang="en-US" sz="1050">
                  <a:solidFill>
                    <a:schemeClr val="bg1"/>
                  </a:solidFill>
                  <a:latin typeface="+mj-lt"/>
                  <a:cs typeface="Calibri" panose="020F0502020204030204" pitchFamily="34" charset="0"/>
                </a:rPr>
              </a:br>
              <a:r>
                <a:rPr lang="en-US" sz="1050">
                  <a:solidFill>
                    <a:schemeClr val="bg1"/>
                  </a:solidFill>
                  <a:latin typeface="+mj-lt"/>
                  <a:cs typeface="Calibri" panose="020F0502020204030204" pitchFamily="34" charset="0"/>
                </a:rPr>
                <a:t>with automation</a:t>
              </a:r>
            </a:p>
            <a:p>
              <a:pPr marL="180000" indent="-180000">
                <a:spcBef>
                  <a:spcPts val="300"/>
                </a:spcBef>
                <a:buFont typeface="Arial" panose="020B0604020202020204" pitchFamily="34" charset="0"/>
                <a:buChar char="•"/>
              </a:pPr>
              <a:r>
                <a:rPr lang="en-US" sz="1050">
                  <a:solidFill>
                    <a:schemeClr val="bg1"/>
                  </a:solidFill>
                  <a:latin typeface="+mj-lt"/>
                </a:rPr>
                <a:t>Provide a mix of learning material including</a:t>
              </a:r>
              <a:r>
                <a:rPr lang="en-US" sz="1050">
                  <a:solidFill>
                    <a:schemeClr val="bg1"/>
                  </a:solidFill>
                  <a:latin typeface="+mj-lt"/>
                  <a:sym typeface="Wingdings" panose="05000000000000000000" pitchFamily="2" charset="2"/>
                </a:rPr>
                <a:t> </a:t>
              </a:r>
              <a:r>
                <a:rPr lang="en-US" sz="1050">
                  <a:solidFill>
                    <a:schemeClr val="bg1"/>
                  </a:solidFill>
                  <a:latin typeface="+mj-lt"/>
                </a:rPr>
                <a:t>easy-to-understand</a:t>
              </a:r>
              <a:r>
                <a:rPr lang="en-US" sz="1050">
                  <a:solidFill>
                    <a:schemeClr val="bg1"/>
                  </a:solidFill>
                  <a:latin typeface="+mj-lt"/>
                  <a:cs typeface="Calibri" panose="020F0502020204030204" pitchFamily="34" charset="0"/>
                </a:rPr>
                <a:t> tutorials, detailed guides, function-specific blogs </a:t>
              </a:r>
            </a:p>
          </p:txBody>
        </p:sp>
      </p:grpSp>
      <p:sp>
        <p:nvSpPr>
          <p:cNvPr id="28" name="Rectangle 27">
            <a:extLst>
              <a:ext uri="{FF2B5EF4-FFF2-40B4-BE49-F238E27FC236}">
                <a16:creationId xmlns:a16="http://schemas.microsoft.com/office/drawing/2014/main" id="{9B6D454B-C4CF-43AE-9DCA-19C0C225722C}"/>
              </a:ext>
            </a:extLst>
          </p:cNvPr>
          <p:cNvSpPr/>
          <p:nvPr/>
        </p:nvSpPr>
        <p:spPr>
          <a:xfrm>
            <a:off x="362117" y="4770198"/>
            <a:ext cx="5641973" cy="1444979"/>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grpSp>
        <p:nvGrpSpPr>
          <p:cNvPr id="29" name="Group 28">
            <a:extLst>
              <a:ext uri="{FF2B5EF4-FFF2-40B4-BE49-F238E27FC236}">
                <a16:creationId xmlns:a16="http://schemas.microsoft.com/office/drawing/2014/main" id="{DD84C803-DBB1-408D-847B-73A3E0E3ED7A}"/>
              </a:ext>
            </a:extLst>
          </p:cNvPr>
          <p:cNvGrpSpPr/>
          <p:nvPr/>
        </p:nvGrpSpPr>
        <p:grpSpPr>
          <a:xfrm>
            <a:off x="1491594" y="4944407"/>
            <a:ext cx="4353742" cy="1096561"/>
            <a:chOff x="1685924" y="1478858"/>
            <a:chExt cx="3728773" cy="1096561"/>
          </a:xfrm>
        </p:grpSpPr>
        <p:sp>
          <p:nvSpPr>
            <p:cNvPr id="30" name="Rectangle 29">
              <a:extLst>
                <a:ext uri="{FF2B5EF4-FFF2-40B4-BE49-F238E27FC236}">
                  <a16:creationId xmlns:a16="http://schemas.microsoft.com/office/drawing/2014/main" id="{4785BBBC-31DD-48AD-92A9-218584F9200C}"/>
                </a:ext>
              </a:extLst>
            </p:cNvPr>
            <p:cNvSpPr/>
            <p:nvPr/>
          </p:nvSpPr>
          <p:spPr>
            <a:xfrm>
              <a:off x="1685924" y="1478858"/>
              <a:ext cx="3728773" cy="246221"/>
            </a:xfrm>
            <a:prstGeom prst="rect">
              <a:avLst/>
            </a:prstGeom>
          </p:spPr>
          <p:txBody>
            <a:bodyPr wrap="square" lIns="0" tIns="0" rIns="0" bIns="0" anchor="ctr">
              <a:spAutoFit/>
            </a:bodyPr>
            <a:lstStyle/>
            <a:p>
              <a:pPr>
                <a:spcAft>
                  <a:spcPts val="600"/>
                </a:spcAft>
                <a:buClr>
                  <a:srgbClr val="FA4616"/>
                </a:buClr>
                <a:defRPr/>
              </a:pPr>
              <a:r>
                <a:rPr lang="en-US" sz="1600" b="1">
                  <a:solidFill>
                    <a:schemeClr val="bg1"/>
                  </a:solidFill>
                  <a:latin typeface="+mj-lt"/>
                  <a:cs typeface="Calibri" panose="020F0502020204030204" pitchFamily="34" charset="0"/>
                </a:rPr>
                <a:t>Enable bottom-up innovation</a:t>
              </a:r>
            </a:p>
          </p:txBody>
        </p:sp>
        <p:sp>
          <p:nvSpPr>
            <p:cNvPr id="31" name="TextBox 30">
              <a:extLst>
                <a:ext uri="{FF2B5EF4-FFF2-40B4-BE49-F238E27FC236}">
                  <a16:creationId xmlns:a16="http://schemas.microsoft.com/office/drawing/2014/main" id="{39180AEB-2401-465D-A0A2-C72473FC8D4D}"/>
                </a:ext>
              </a:extLst>
            </p:cNvPr>
            <p:cNvSpPr txBox="1"/>
            <p:nvPr/>
          </p:nvSpPr>
          <p:spPr>
            <a:xfrm>
              <a:off x="1685924" y="1821366"/>
              <a:ext cx="3728773" cy="754053"/>
            </a:xfrm>
            <a:prstGeom prst="rect">
              <a:avLst/>
            </a:prstGeom>
            <a:noFill/>
          </p:spPr>
          <p:txBody>
            <a:bodyPr wrap="square" lIns="0" tIns="0" rIns="0" bIns="0" anchor="t">
              <a:spAutoFit/>
            </a:bodyPr>
            <a:lstStyle/>
            <a:p>
              <a:pPr marL="180000" indent="-180000">
                <a:spcBef>
                  <a:spcPts val="300"/>
                </a:spcBef>
                <a:buFont typeface="Arial" panose="020B0604020202020204" pitchFamily="34" charset="0"/>
                <a:buChar char="•"/>
              </a:pPr>
              <a:r>
                <a:rPr lang="en-US" sz="1100">
                  <a:solidFill>
                    <a:schemeClr val="bg1"/>
                  </a:solidFill>
                  <a:latin typeface="+mj-lt"/>
                  <a:cs typeface="Calibri"/>
                </a:rPr>
                <a:t>Empower employees to suggest their own automation ideas  </a:t>
              </a:r>
              <a:endParaRPr lang="en-US" sz="1100">
                <a:solidFill>
                  <a:schemeClr val="bg1"/>
                </a:solidFill>
                <a:latin typeface="+mj-lt"/>
                <a:cs typeface="Calibri" panose="020F0502020204030204" pitchFamily="34" charset="0"/>
              </a:endParaRPr>
            </a:p>
            <a:p>
              <a:pPr marL="180000" indent="-180000">
                <a:spcBef>
                  <a:spcPts val="300"/>
                </a:spcBef>
                <a:buFont typeface="Arial" panose="020B0604020202020204" pitchFamily="34" charset="0"/>
                <a:buChar char="•"/>
              </a:pPr>
              <a:r>
                <a:rPr lang="en-US" sz="1100">
                  <a:solidFill>
                    <a:schemeClr val="bg1"/>
                  </a:solidFill>
                  <a:latin typeface="+mj-lt"/>
                  <a:cs typeface="Calibri"/>
                </a:rPr>
                <a:t>Create internal communities to facilitate employee engagement </a:t>
              </a:r>
            </a:p>
            <a:p>
              <a:pPr marL="180000" indent="-180000">
                <a:spcBef>
                  <a:spcPts val="300"/>
                </a:spcBef>
                <a:buFont typeface="Arial" panose="020B0604020202020204" pitchFamily="34" charset="0"/>
                <a:buChar char="•"/>
              </a:pPr>
              <a:r>
                <a:rPr lang="en-US" sz="1100">
                  <a:solidFill>
                    <a:schemeClr val="bg1"/>
                  </a:solidFill>
                  <a:latin typeface="+mj-lt"/>
                  <a:cs typeface="Calibri"/>
                </a:rPr>
                <a:t>Organize hackathons to help employees get their first automations off the ground</a:t>
              </a:r>
            </a:p>
          </p:txBody>
        </p:sp>
      </p:grpSp>
      <p:grpSp>
        <p:nvGrpSpPr>
          <p:cNvPr id="32" name="Graphic 64">
            <a:extLst>
              <a:ext uri="{FF2B5EF4-FFF2-40B4-BE49-F238E27FC236}">
                <a16:creationId xmlns:a16="http://schemas.microsoft.com/office/drawing/2014/main" id="{EDB8E039-E602-48E5-BAF8-62EC24C4C66A}"/>
              </a:ext>
            </a:extLst>
          </p:cNvPr>
          <p:cNvGrpSpPr/>
          <p:nvPr/>
        </p:nvGrpSpPr>
        <p:grpSpPr>
          <a:xfrm>
            <a:off x="660392" y="1816480"/>
            <a:ext cx="532928" cy="456794"/>
            <a:chOff x="6320582" y="3888537"/>
            <a:chExt cx="264033" cy="226314"/>
          </a:xfrm>
          <a:solidFill>
            <a:srgbClr val="FFFFFF"/>
          </a:solidFill>
        </p:grpSpPr>
        <p:sp>
          <p:nvSpPr>
            <p:cNvPr id="33" name="Freeform: Shape 32">
              <a:extLst>
                <a:ext uri="{FF2B5EF4-FFF2-40B4-BE49-F238E27FC236}">
                  <a16:creationId xmlns:a16="http://schemas.microsoft.com/office/drawing/2014/main" id="{D4D78F4E-600C-46BF-960A-A21D85C7C6B4}"/>
                </a:ext>
              </a:extLst>
            </p:cNvPr>
            <p:cNvSpPr/>
            <p:nvPr/>
          </p:nvSpPr>
          <p:spPr>
            <a:xfrm>
              <a:off x="6320582" y="3888537"/>
              <a:ext cx="264033" cy="226314"/>
            </a:xfrm>
            <a:custGeom>
              <a:avLst/>
              <a:gdLst>
                <a:gd name="connsiteX0" fmla="*/ 264033 w 264033"/>
                <a:gd name="connsiteY0" fmla="*/ 0 h 226314"/>
                <a:gd name="connsiteX1" fmla="*/ 264033 w 264033"/>
                <a:gd name="connsiteY1" fmla="*/ 188595 h 226314"/>
                <a:gd name="connsiteX2" fmla="*/ 141446 w 264033"/>
                <a:gd name="connsiteY2" fmla="*/ 188595 h 226314"/>
                <a:gd name="connsiteX3" fmla="*/ 141446 w 264033"/>
                <a:gd name="connsiteY3" fmla="*/ 207455 h 226314"/>
                <a:gd name="connsiteX4" fmla="*/ 188595 w 264033"/>
                <a:gd name="connsiteY4" fmla="*/ 207455 h 226314"/>
                <a:gd name="connsiteX5" fmla="*/ 188595 w 264033"/>
                <a:gd name="connsiteY5" fmla="*/ 226314 h 226314"/>
                <a:gd name="connsiteX6" fmla="*/ 75438 w 264033"/>
                <a:gd name="connsiteY6" fmla="*/ 226314 h 226314"/>
                <a:gd name="connsiteX7" fmla="*/ 75438 w 264033"/>
                <a:gd name="connsiteY7" fmla="*/ 207455 h 226314"/>
                <a:gd name="connsiteX8" fmla="*/ 122587 w 264033"/>
                <a:gd name="connsiteY8" fmla="*/ 207455 h 226314"/>
                <a:gd name="connsiteX9" fmla="*/ 122587 w 264033"/>
                <a:gd name="connsiteY9" fmla="*/ 188595 h 226314"/>
                <a:gd name="connsiteX10" fmla="*/ 0 w 264033"/>
                <a:gd name="connsiteY10" fmla="*/ 188595 h 226314"/>
                <a:gd name="connsiteX11" fmla="*/ 0 w 264033"/>
                <a:gd name="connsiteY11" fmla="*/ 0 h 226314"/>
                <a:gd name="connsiteX12" fmla="*/ 264033 w 264033"/>
                <a:gd name="connsiteY12" fmla="*/ 0 h 226314"/>
                <a:gd name="connsiteX13" fmla="*/ 245174 w 264033"/>
                <a:gd name="connsiteY13" fmla="*/ 18860 h 226314"/>
                <a:gd name="connsiteX14" fmla="*/ 18860 w 264033"/>
                <a:gd name="connsiteY14" fmla="*/ 18860 h 226314"/>
                <a:gd name="connsiteX15" fmla="*/ 18860 w 264033"/>
                <a:gd name="connsiteY15" fmla="*/ 169736 h 226314"/>
                <a:gd name="connsiteX16" fmla="*/ 245174 w 264033"/>
                <a:gd name="connsiteY16" fmla="*/ 169736 h 226314"/>
                <a:gd name="connsiteX17" fmla="*/ 245174 w 264033"/>
                <a:gd name="connsiteY17" fmla="*/ 18860 h 226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4033" h="226314">
                  <a:moveTo>
                    <a:pt x="264033" y="0"/>
                  </a:moveTo>
                  <a:lnTo>
                    <a:pt x="264033" y="188595"/>
                  </a:lnTo>
                  <a:lnTo>
                    <a:pt x="141446" y="188595"/>
                  </a:lnTo>
                  <a:lnTo>
                    <a:pt x="141446" y="207455"/>
                  </a:lnTo>
                  <a:lnTo>
                    <a:pt x="188595" y="207455"/>
                  </a:lnTo>
                  <a:lnTo>
                    <a:pt x="188595" y="226314"/>
                  </a:lnTo>
                  <a:lnTo>
                    <a:pt x="75438" y="226314"/>
                  </a:lnTo>
                  <a:lnTo>
                    <a:pt x="75438" y="207455"/>
                  </a:lnTo>
                  <a:lnTo>
                    <a:pt x="122587" y="207455"/>
                  </a:lnTo>
                  <a:lnTo>
                    <a:pt x="122587" y="188595"/>
                  </a:lnTo>
                  <a:lnTo>
                    <a:pt x="0" y="188595"/>
                  </a:lnTo>
                  <a:lnTo>
                    <a:pt x="0" y="0"/>
                  </a:lnTo>
                  <a:lnTo>
                    <a:pt x="264033" y="0"/>
                  </a:lnTo>
                  <a:close/>
                  <a:moveTo>
                    <a:pt x="245174" y="18860"/>
                  </a:moveTo>
                  <a:lnTo>
                    <a:pt x="18860" y="18860"/>
                  </a:lnTo>
                  <a:lnTo>
                    <a:pt x="18860" y="169736"/>
                  </a:lnTo>
                  <a:lnTo>
                    <a:pt x="245174" y="169736"/>
                  </a:lnTo>
                  <a:lnTo>
                    <a:pt x="245174" y="18860"/>
                  </a:lnTo>
                  <a:close/>
                </a:path>
              </a:pathLst>
            </a:custGeom>
            <a:solidFill>
              <a:srgbClr val="FFFFFF"/>
            </a:solidFill>
            <a:ln w="4614"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9E19878-7A00-4DCD-B66F-934B010AA3BC}"/>
                </a:ext>
              </a:extLst>
            </p:cNvPr>
            <p:cNvSpPr/>
            <p:nvPr/>
          </p:nvSpPr>
          <p:spPr>
            <a:xfrm>
              <a:off x="6410165" y="3940400"/>
              <a:ext cx="84867" cy="84867"/>
            </a:xfrm>
            <a:custGeom>
              <a:avLst/>
              <a:gdLst>
                <a:gd name="connsiteX0" fmla="*/ 74880 w 84867"/>
                <a:gd name="connsiteY0" fmla="*/ 46589 h 84867"/>
                <a:gd name="connsiteX1" fmla="*/ 75152 w 84867"/>
                <a:gd name="connsiteY1" fmla="*/ 42434 h 84867"/>
                <a:gd name="connsiteX2" fmla="*/ 74834 w 84867"/>
                <a:gd name="connsiteY2" fmla="*/ 38279 h 84867"/>
                <a:gd name="connsiteX3" fmla="*/ 84059 w 84867"/>
                <a:gd name="connsiteY3" fmla="*/ 31295 h 84867"/>
                <a:gd name="connsiteX4" fmla="*/ 84604 w 84867"/>
                <a:gd name="connsiteY4" fmla="*/ 28599 h 84867"/>
                <a:gd name="connsiteX5" fmla="*/ 75879 w 84867"/>
                <a:gd name="connsiteY5" fmla="*/ 13923 h 84867"/>
                <a:gd name="connsiteX6" fmla="*/ 73198 w 84867"/>
                <a:gd name="connsiteY6" fmla="*/ 12951 h 84867"/>
                <a:gd name="connsiteX7" fmla="*/ 62338 w 84867"/>
                <a:gd name="connsiteY7" fmla="*/ 17195 h 84867"/>
                <a:gd name="connsiteX8" fmla="*/ 54976 w 84867"/>
                <a:gd name="connsiteY8" fmla="*/ 13039 h 84867"/>
                <a:gd name="connsiteX9" fmla="*/ 53340 w 84867"/>
                <a:gd name="connsiteY9" fmla="*/ 1812 h 84867"/>
                <a:gd name="connsiteX10" fmla="*/ 51159 w 84867"/>
                <a:gd name="connsiteY10" fmla="*/ 0 h 84867"/>
                <a:gd name="connsiteX11" fmla="*/ 33709 w 84867"/>
                <a:gd name="connsiteY11" fmla="*/ 0 h 84867"/>
                <a:gd name="connsiteX12" fmla="*/ 31573 w 84867"/>
                <a:gd name="connsiteY12" fmla="*/ 1812 h 84867"/>
                <a:gd name="connsiteX13" fmla="*/ 29937 w 84867"/>
                <a:gd name="connsiteY13" fmla="*/ 13039 h 84867"/>
                <a:gd name="connsiteX14" fmla="*/ 22576 w 84867"/>
                <a:gd name="connsiteY14" fmla="*/ 17195 h 84867"/>
                <a:gd name="connsiteX15" fmla="*/ 11715 w 84867"/>
                <a:gd name="connsiteY15" fmla="*/ 12951 h 84867"/>
                <a:gd name="connsiteX16" fmla="*/ 9034 w 84867"/>
                <a:gd name="connsiteY16" fmla="*/ 13923 h 84867"/>
                <a:gd name="connsiteX17" fmla="*/ 354 w 84867"/>
                <a:gd name="connsiteY17" fmla="*/ 28599 h 84867"/>
                <a:gd name="connsiteX18" fmla="*/ 900 w 84867"/>
                <a:gd name="connsiteY18" fmla="*/ 31295 h 84867"/>
                <a:gd name="connsiteX19" fmla="*/ 10125 w 84867"/>
                <a:gd name="connsiteY19" fmla="*/ 38279 h 84867"/>
                <a:gd name="connsiteX20" fmla="*/ 9715 w 84867"/>
                <a:gd name="connsiteY20" fmla="*/ 42434 h 84867"/>
                <a:gd name="connsiteX21" fmla="*/ 10034 w 84867"/>
                <a:gd name="connsiteY21" fmla="*/ 46589 h 84867"/>
                <a:gd name="connsiteX22" fmla="*/ 809 w 84867"/>
                <a:gd name="connsiteY22" fmla="*/ 53573 h 84867"/>
                <a:gd name="connsiteX23" fmla="*/ 263 w 84867"/>
                <a:gd name="connsiteY23" fmla="*/ 56269 h 84867"/>
                <a:gd name="connsiteX24" fmla="*/ 8988 w 84867"/>
                <a:gd name="connsiteY24" fmla="*/ 70944 h 84867"/>
                <a:gd name="connsiteX25" fmla="*/ 11669 w 84867"/>
                <a:gd name="connsiteY25" fmla="*/ 71916 h 84867"/>
                <a:gd name="connsiteX26" fmla="*/ 22530 w 84867"/>
                <a:gd name="connsiteY26" fmla="*/ 67673 h 84867"/>
                <a:gd name="connsiteX27" fmla="*/ 29892 w 84867"/>
                <a:gd name="connsiteY27" fmla="*/ 71828 h 84867"/>
                <a:gd name="connsiteX28" fmla="*/ 31528 w 84867"/>
                <a:gd name="connsiteY28" fmla="*/ 83055 h 84867"/>
                <a:gd name="connsiteX29" fmla="*/ 33709 w 84867"/>
                <a:gd name="connsiteY29" fmla="*/ 84868 h 84867"/>
                <a:gd name="connsiteX30" fmla="*/ 51159 w 84867"/>
                <a:gd name="connsiteY30" fmla="*/ 84868 h 84867"/>
                <a:gd name="connsiteX31" fmla="*/ 53295 w 84867"/>
                <a:gd name="connsiteY31" fmla="*/ 83055 h 84867"/>
                <a:gd name="connsiteX32" fmla="*/ 54931 w 84867"/>
                <a:gd name="connsiteY32" fmla="*/ 71828 h 84867"/>
                <a:gd name="connsiteX33" fmla="*/ 62292 w 84867"/>
                <a:gd name="connsiteY33" fmla="*/ 67673 h 84867"/>
                <a:gd name="connsiteX34" fmla="*/ 73153 w 84867"/>
                <a:gd name="connsiteY34" fmla="*/ 71916 h 84867"/>
                <a:gd name="connsiteX35" fmla="*/ 75834 w 84867"/>
                <a:gd name="connsiteY35" fmla="*/ 70944 h 84867"/>
                <a:gd name="connsiteX36" fmla="*/ 84559 w 84867"/>
                <a:gd name="connsiteY36" fmla="*/ 56269 h 84867"/>
                <a:gd name="connsiteX37" fmla="*/ 84013 w 84867"/>
                <a:gd name="connsiteY37" fmla="*/ 53573 h 84867"/>
                <a:gd name="connsiteX38" fmla="*/ 74880 w 84867"/>
                <a:gd name="connsiteY38" fmla="*/ 46589 h 84867"/>
                <a:gd name="connsiteX39" fmla="*/ 42434 w 84867"/>
                <a:gd name="connsiteY39" fmla="*/ 58347 h 84867"/>
                <a:gd name="connsiteX40" fmla="*/ 26075 w 84867"/>
                <a:gd name="connsiteY40" fmla="*/ 42434 h 84867"/>
                <a:gd name="connsiteX41" fmla="*/ 42434 w 84867"/>
                <a:gd name="connsiteY41" fmla="*/ 26521 h 84867"/>
                <a:gd name="connsiteX42" fmla="*/ 58793 w 84867"/>
                <a:gd name="connsiteY42" fmla="*/ 42434 h 84867"/>
                <a:gd name="connsiteX43" fmla="*/ 42434 w 84867"/>
                <a:gd name="connsiteY43" fmla="*/ 58347 h 8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867" h="84867">
                  <a:moveTo>
                    <a:pt x="74880" y="46589"/>
                  </a:moveTo>
                  <a:cubicBezTo>
                    <a:pt x="75061" y="45263"/>
                    <a:pt x="75152" y="43893"/>
                    <a:pt x="75152" y="42434"/>
                  </a:cubicBezTo>
                  <a:cubicBezTo>
                    <a:pt x="75152" y="41019"/>
                    <a:pt x="75061" y="39605"/>
                    <a:pt x="74834" y="38279"/>
                  </a:cubicBezTo>
                  <a:lnTo>
                    <a:pt x="84059" y="31295"/>
                  </a:lnTo>
                  <a:cubicBezTo>
                    <a:pt x="84877" y="30676"/>
                    <a:pt x="85104" y="29483"/>
                    <a:pt x="84604" y="28599"/>
                  </a:cubicBezTo>
                  <a:lnTo>
                    <a:pt x="75879" y="13923"/>
                  </a:lnTo>
                  <a:cubicBezTo>
                    <a:pt x="75334" y="12951"/>
                    <a:pt x="74198" y="12642"/>
                    <a:pt x="73198" y="12951"/>
                  </a:cubicBezTo>
                  <a:lnTo>
                    <a:pt x="62338" y="17195"/>
                  </a:lnTo>
                  <a:cubicBezTo>
                    <a:pt x="60066" y="15515"/>
                    <a:pt x="57657" y="14100"/>
                    <a:pt x="54976" y="13039"/>
                  </a:cubicBezTo>
                  <a:lnTo>
                    <a:pt x="53340" y="1812"/>
                  </a:lnTo>
                  <a:cubicBezTo>
                    <a:pt x="53158" y="752"/>
                    <a:pt x="52249" y="0"/>
                    <a:pt x="51159" y="0"/>
                  </a:cubicBezTo>
                  <a:lnTo>
                    <a:pt x="33709" y="0"/>
                  </a:lnTo>
                  <a:cubicBezTo>
                    <a:pt x="32618" y="0"/>
                    <a:pt x="31755" y="752"/>
                    <a:pt x="31573" y="1812"/>
                  </a:cubicBezTo>
                  <a:lnTo>
                    <a:pt x="29937" y="13039"/>
                  </a:lnTo>
                  <a:cubicBezTo>
                    <a:pt x="27256" y="14100"/>
                    <a:pt x="24802" y="15559"/>
                    <a:pt x="22576" y="17195"/>
                  </a:cubicBezTo>
                  <a:lnTo>
                    <a:pt x="11715" y="12951"/>
                  </a:lnTo>
                  <a:cubicBezTo>
                    <a:pt x="10715" y="12598"/>
                    <a:pt x="9579" y="12951"/>
                    <a:pt x="9034" y="13923"/>
                  </a:cubicBezTo>
                  <a:lnTo>
                    <a:pt x="354" y="28599"/>
                  </a:lnTo>
                  <a:cubicBezTo>
                    <a:pt x="-191" y="29527"/>
                    <a:pt x="-9" y="30676"/>
                    <a:pt x="900" y="31295"/>
                  </a:cubicBezTo>
                  <a:lnTo>
                    <a:pt x="10125" y="38279"/>
                  </a:lnTo>
                  <a:cubicBezTo>
                    <a:pt x="9897" y="39605"/>
                    <a:pt x="9715" y="41064"/>
                    <a:pt x="9715" y="42434"/>
                  </a:cubicBezTo>
                  <a:cubicBezTo>
                    <a:pt x="9715" y="43804"/>
                    <a:pt x="9806" y="45263"/>
                    <a:pt x="10034" y="46589"/>
                  </a:cubicBezTo>
                  <a:lnTo>
                    <a:pt x="809" y="53573"/>
                  </a:lnTo>
                  <a:cubicBezTo>
                    <a:pt x="-9" y="54191"/>
                    <a:pt x="-236" y="55385"/>
                    <a:pt x="263" y="56269"/>
                  </a:cubicBezTo>
                  <a:lnTo>
                    <a:pt x="8988" y="70944"/>
                  </a:lnTo>
                  <a:cubicBezTo>
                    <a:pt x="9534" y="71916"/>
                    <a:pt x="10670" y="72226"/>
                    <a:pt x="11669" y="71916"/>
                  </a:cubicBezTo>
                  <a:lnTo>
                    <a:pt x="22530" y="67673"/>
                  </a:lnTo>
                  <a:cubicBezTo>
                    <a:pt x="24802" y="69353"/>
                    <a:pt x="27211" y="70767"/>
                    <a:pt x="29892" y="71828"/>
                  </a:cubicBezTo>
                  <a:lnTo>
                    <a:pt x="31528" y="83055"/>
                  </a:lnTo>
                  <a:cubicBezTo>
                    <a:pt x="31755" y="84116"/>
                    <a:pt x="32618" y="84868"/>
                    <a:pt x="33709" y="84868"/>
                  </a:cubicBezTo>
                  <a:lnTo>
                    <a:pt x="51159" y="84868"/>
                  </a:lnTo>
                  <a:cubicBezTo>
                    <a:pt x="52249" y="84868"/>
                    <a:pt x="53158" y="84116"/>
                    <a:pt x="53295" y="83055"/>
                  </a:cubicBezTo>
                  <a:lnTo>
                    <a:pt x="54931" y="71828"/>
                  </a:lnTo>
                  <a:cubicBezTo>
                    <a:pt x="57611" y="70767"/>
                    <a:pt x="60066" y="69353"/>
                    <a:pt x="62292" y="67673"/>
                  </a:cubicBezTo>
                  <a:lnTo>
                    <a:pt x="73153" y="71916"/>
                  </a:lnTo>
                  <a:cubicBezTo>
                    <a:pt x="74153" y="72270"/>
                    <a:pt x="75288" y="71916"/>
                    <a:pt x="75834" y="70944"/>
                  </a:cubicBezTo>
                  <a:lnTo>
                    <a:pt x="84559" y="56269"/>
                  </a:lnTo>
                  <a:cubicBezTo>
                    <a:pt x="85104" y="55297"/>
                    <a:pt x="84877" y="54191"/>
                    <a:pt x="84013" y="53573"/>
                  </a:cubicBezTo>
                  <a:lnTo>
                    <a:pt x="74880" y="46589"/>
                  </a:lnTo>
                  <a:close/>
                  <a:moveTo>
                    <a:pt x="42434" y="58347"/>
                  </a:moveTo>
                  <a:cubicBezTo>
                    <a:pt x="33436" y="58347"/>
                    <a:pt x="26075" y="51186"/>
                    <a:pt x="26075" y="42434"/>
                  </a:cubicBezTo>
                  <a:cubicBezTo>
                    <a:pt x="26075" y="33682"/>
                    <a:pt x="33436" y="26521"/>
                    <a:pt x="42434" y="26521"/>
                  </a:cubicBezTo>
                  <a:cubicBezTo>
                    <a:pt x="51431" y="26521"/>
                    <a:pt x="58793" y="33682"/>
                    <a:pt x="58793" y="42434"/>
                  </a:cubicBezTo>
                  <a:cubicBezTo>
                    <a:pt x="58793" y="51186"/>
                    <a:pt x="51431" y="58347"/>
                    <a:pt x="42434" y="58347"/>
                  </a:cubicBezTo>
                  <a:close/>
                </a:path>
              </a:pathLst>
            </a:custGeom>
            <a:solidFill>
              <a:srgbClr val="FFFFFF"/>
            </a:solidFill>
            <a:ln w="4614" cap="flat">
              <a:noFill/>
              <a:prstDash val="solid"/>
              <a:miter/>
            </a:ln>
          </p:spPr>
          <p:txBody>
            <a:bodyPr rtlCol="0" anchor="ctr"/>
            <a:lstStyle/>
            <a:p>
              <a:endParaRPr lang="en-US"/>
            </a:p>
          </p:txBody>
        </p:sp>
      </p:grpSp>
      <p:pic>
        <p:nvPicPr>
          <p:cNvPr id="35" name="Graphic 34">
            <a:extLst>
              <a:ext uri="{FF2B5EF4-FFF2-40B4-BE49-F238E27FC236}">
                <a16:creationId xmlns:a16="http://schemas.microsoft.com/office/drawing/2014/main" id="{38F2F52E-04DF-46F7-8735-F73114D091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9912" y="3530439"/>
            <a:ext cx="533888" cy="476686"/>
          </a:xfrm>
          <a:prstGeom prst="rect">
            <a:avLst/>
          </a:prstGeom>
        </p:spPr>
      </p:pic>
      <p:pic>
        <p:nvPicPr>
          <p:cNvPr id="36" name="Graphic 35">
            <a:extLst>
              <a:ext uri="{FF2B5EF4-FFF2-40B4-BE49-F238E27FC236}">
                <a16:creationId xmlns:a16="http://schemas.microsoft.com/office/drawing/2014/main" id="{83C099DC-97B5-4E73-BC9C-29313C2C04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6424" y="5229338"/>
            <a:ext cx="460864" cy="526698"/>
          </a:xfrm>
          <a:prstGeom prst="rect">
            <a:avLst/>
          </a:prstGeom>
        </p:spPr>
      </p:pic>
      <p:sp>
        <p:nvSpPr>
          <p:cNvPr id="43" name="Rectangle 42">
            <a:extLst>
              <a:ext uri="{FF2B5EF4-FFF2-40B4-BE49-F238E27FC236}">
                <a16:creationId xmlns:a16="http://schemas.microsoft.com/office/drawing/2014/main" id="{DC303C4D-A1C6-4427-8E38-5FAB3D5A5BA8}"/>
              </a:ext>
            </a:extLst>
          </p:cNvPr>
          <p:cNvSpPr/>
          <p:nvPr/>
        </p:nvSpPr>
        <p:spPr>
          <a:xfrm>
            <a:off x="3939710"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b="0" i="0">
                <a:latin typeface="Arial"/>
                <a:cs typeface="Arial"/>
              </a:rPr>
              <a:t>Define personas</a:t>
            </a:r>
          </a:p>
        </p:txBody>
      </p:sp>
      <p:sp>
        <p:nvSpPr>
          <p:cNvPr id="48" name="Rectangle 47">
            <a:extLst>
              <a:ext uri="{FF2B5EF4-FFF2-40B4-BE49-F238E27FC236}">
                <a16:creationId xmlns:a16="http://schemas.microsoft.com/office/drawing/2014/main" id="{8DA2467C-AA32-4885-9077-827D1132BDE7}"/>
              </a:ext>
            </a:extLst>
          </p:cNvPr>
          <p:cNvSpPr/>
          <p:nvPr/>
        </p:nvSpPr>
        <p:spPr>
          <a:xfrm>
            <a:off x="5589533"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Set up governance</a:t>
            </a:r>
          </a:p>
        </p:txBody>
      </p:sp>
      <p:sp>
        <p:nvSpPr>
          <p:cNvPr id="49" name="Rectangle 48">
            <a:extLst>
              <a:ext uri="{FF2B5EF4-FFF2-40B4-BE49-F238E27FC236}">
                <a16:creationId xmlns:a16="http://schemas.microsoft.com/office/drawing/2014/main" id="{B45B7694-9795-4B1C-A4EA-A97FA3CE2046}"/>
              </a:ext>
            </a:extLst>
          </p:cNvPr>
          <p:cNvSpPr/>
          <p:nvPr/>
        </p:nvSpPr>
        <p:spPr>
          <a:xfrm>
            <a:off x="7239356"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Define execution steps</a:t>
            </a:r>
          </a:p>
        </p:txBody>
      </p:sp>
      <p:sp>
        <p:nvSpPr>
          <p:cNvPr id="50" name="Rectangle 49">
            <a:extLst>
              <a:ext uri="{FF2B5EF4-FFF2-40B4-BE49-F238E27FC236}">
                <a16:creationId xmlns:a16="http://schemas.microsoft.com/office/drawing/2014/main" id="{22EF49CA-E75C-4A4B-B300-9409F454846E}"/>
              </a:ext>
            </a:extLst>
          </p:cNvPr>
          <p:cNvSpPr/>
          <p:nvPr/>
        </p:nvSpPr>
        <p:spPr>
          <a:xfrm>
            <a:off x="8889179" y="5709"/>
            <a:ext cx="1649823" cy="205533"/>
          </a:xfrm>
          <a:prstGeom prst="rect">
            <a:avLst/>
          </a:prstGeom>
          <a:solidFill>
            <a:schemeClr val="bg2"/>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Configure technologies</a:t>
            </a:r>
          </a:p>
        </p:txBody>
      </p:sp>
      <p:sp>
        <p:nvSpPr>
          <p:cNvPr id="51" name="Rectangle 50">
            <a:extLst>
              <a:ext uri="{FF2B5EF4-FFF2-40B4-BE49-F238E27FC236}">
                <a16:creationId xmlns:a16="http://schemas.microsoft.com/office/drawing/2014/main" id="{C3E0711D-294D-4A9C-921C-C0C13F2FD623}"/>
              </a:ext>
            </a:extLst>
          </p:cNvPr>
          <p:cNvSpPr/>
          <p:nvPr/>
        </p:nvSpPr>
        <p:spPr>
          <a:xfrm>
            <a:off x="10539002" y="5709"/>
            <a:ext cx="1649823" cy="205533"/>
          </a:xfrm>
          <a:prstGeom prst="rect">
            <a:avLst/>
          </a:prstGeom>
          <a:solidFill>
            <a:schemeClr val="accent3"/>
          </a:solidFill>
          <a:ln>
            <a:solidFill>
              <a:srgbClr val="8C8D9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a:latin typeface="Arial"/>
                <a:cs typeface="Arial"/>
              </a:rPr>
              <a:t>Drive adoption</a:t>
            </a:r>
          </a:p>
        </p:txBody>
      </p:sp>
    </p:spTree>
    <p:extLst>
      <p:ext uri="{BB962C8B-B14F-4D97-AF65-F5344CB8AC3E}">
        <p14:creationId xmlns:p14="http://schemas.microsoft.com/office/powerpoint/2010/main" val="8860101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0824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18" descr="Ein Bild, das Text enthält.&#10;&#10;Automatisch generierte Beschreibung">
            <a:extLst>
              <a:ext uri="{FF2B5EF4-FFF2-40B4-BE49-F238E27FC236}">
                <a16:creationId xmlns:a16="http://schemas.microsoft.com/office/drawing/2014/main" id="{210E1A34-16FD-463C-B6D4-99FF9A01F3B3}"/>
              </a:ext>
            </a:extLst>
          </p:cNvPr>
          <p:cNvPicPr>
            <a:picLocks noGrp="1" noChangeAspect="1"/>
          </p:cNvPicPr>
          <p:nvPr>
            <p:ph type="pic" sz="quarter" idx="28"/>
          </p:nvPr>
        </p:nvPicPr>
        <p:blipFill>
          <a:blip r:embed="rId2"/>
          <a:srcRect t="12307" b="12307"/>
          <a:stretch>
            <a:fillRect/>
          </a:stretch>
        </p:blipFill>
        <p:spPr/>
      </p:pic>
      <p:pic>
        <p:nvPicPr>
          <p:cNvPr id="14" name="Picture 29" descr="A picture containing clock&#10;&#10;Description automatically generated">
            <a:extLst>
              <a:ext uri="{FF2B5EF4-FFF2-40B4-BE49-F238E27FC236}">
                <a16:creationId xmlns:a16="http://schemas.microsoft.com/office/drawing/2014/main" id="{E7A96955-1889-4B6D-AD0A-59AA02DAD9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51930" y="3497422"/>
            <a:ext cx="3436894" cy="1747552"/>
          </a:xfrm>
          <a:prstGeom prst="rect">
            <a:avLst/>
          </a:prstGeom>
        </p:spPr>
      </p:pic>
      <p:pic>
        <p:nvPicPr>
          <p:cNvPr id="15" name="Picture 14">
            <a:extLst>
              <a:ext uri="{FF2B5EF4-FFF2-40B4-BE49-F238E27FC236}">
                <a16:creationId xmlns:a16="http://schemas.microsoft.com/office/drawing/2014/main" id="{50201360-6DE7-4BA9-8C3A-7058C8A79BEA}"/>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389825" y="3976524"/>
            <a:ext cx="2107947" cy="1370897"/>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6" name="Picture 16" descr="A picture containing table, blue, sitting, food&#10;&#10;Description automatically generated">
            <a:extLst>
              <a:ext uri="{FF2B5EF4-FFF2-40B4-BE49-F238E27FC236}">
                <a16:creationId xmlns:a16="http://schemas.microsoft.com/office/drawing/2014/main" id="{44D33F99-4645-4FA2-8FD9-4821ED06926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5886779" y="511881"/>
            <a:ext cx="2226924" cy="1638158"/>
          </a:xfrm>
          <a:prstGeom prst="rect">
            <a:avLst/>
          </a:prstGeom>
        </p:spPr>
      </p:pic>
      <p:sp>
        <p:nvSpPr>
          <p:cNvPr id="17" name="Title 3">
            <a:extLst>
              <a:ext uri="{FF2B5EF4-FFF2-40B4-BE49-F238E27FC236}">
                <a16:creationId xmlns:a16="http://schemas.microsoft.com/office/drawing/2014/main" id="{715C99B9-CB17-4182-9847-F141D10B147A}"/>
              </a:ext>
            </a:extLst>
          </p:cNvPr>
          <p:cNvSpPr txBox="1">
            <a:spLocks/>
          </p:cNvSpPr>
          <p:nvPr/>
        </p:nvSpPr>
        <p:spPr>
          <a:xfrm>
            <a:off x="1414272" y="719793"/>
            <a:ext cx="9544103" cy="61116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sz="4400" dirty="0">
                <a:latin typeface="Arial"/>
              </a:rPr>
              <a:t>Appendix…</a:t>
            </a:r>
            <a:endParaRPr lang="en-US" sz="4400" dirty="0"/>
          </a:p>
        </p:txBody>
      </p:sp>
    </p:spTree>
    <p:extLst>
      <p:ext uri="{BB962C8B-B14F-4D97-AF65-F5344CB8AC3E}">
        <p14:creationId xmlns:p14="http://schemas.microsoft.com/office/powerpoint/2010/main" val="42782717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 Placeholder 4">
            <a:extLst>
              <a:ext uri="{FF2B5EF4-FFF2-40B4-BE49-F238E27FC236}">
                <a16:creationId xmlns:a16="http://schemas.microsoft.com/office/drawing/2014/main" id="{4C354E7C-DDB6-4FE7-BD21-2757F6475879}"/>
              </a:ext>
            </a:extLst>
          </p:cNvPr>
          <p:cNvSpPr txBox="1">
            <a:spLocks/>
          </p:cNvSpPr>
          <p:nvPr/>
        </p:nvSpPr>
        <p:spPr>
          <a:xfrm>
            <a:off x="8937169" y="1863774"/>
            <a:ext cx="2870655" cy="4346526"/>
          </a:xfrm>
          <a:prstGeom prst="rect">
            <a:avLst/>
          </a:prstGeom>
          <a:solidFill>
            <a:schemeClr val="bg2"/>
          </a:solidFill>
        </p:spPr>
        <p:txBody>
          <a:bodyPr lIns="182880" rIns="182880" anchor="ct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500"/>
              </a:spcBef>
              <a:defRPr/>
            </a:pPr>
            <a:endParaRPr lang="en-US" sz="1800" b="1">
              <a:solidFill>
                <a:schemeClr val="bg1"/>
              </a:solidFill>
            </a:endParaRPr>
          </a:p>
        </p:txBody>
      </p:sp>
      <p:sp>
        <p:nvSpPr>
          <p:cNvPr id="4" name="Title 3">
            <a:extLst>
              <a:ext uri="{FF2B5EF4-FFF2-40B4-BE49-F238E27FC236}">
                <a16:creationId xmlns:a16="http://schemas.microsoft.com/office/drawing/2014/main" id="{5016E03B-B080-4F22-A139-F64552C21ABC}"/>
              </a:ext>
            </a:extLst>
          </p:cNvPr>
          <p:cNvSpPr>
            <a:spLocks noGrp="1"/>
          </p:cNvSpPr>
          <p:nvPr>
            <p:ph type="title"/>
          </p:nvPr>
        </p:nvSpPr>
        <p:spPr>
          <a:xfrm>
            <a:off x="381001" y="357721"/>
            <a:ext cx="7937499" cy="690029"/>
          </a:xfrm>
        </p:spPr>
        <p:txBody>
          <a:bodyPr/>
          <a:lstStyle/>
          <a:p>
            <a:r>
              <a:rPr lang="en-US"/>
              <a:t>Whatever your goal, you can get there faster by empowering your people to work with robots</a:t>
            </a:r>
          </a:p>
        </p:txBody>
      </p:sp>
      <p:sp>
        <p:nvSpPr>
          <p:cNvPr id="6" name="Text Placeholder 4">
            <a:extLst>
              <a:ext uri="{FF2B5EF4-FFF2-40B4-BE49-F238E27FC236}">
                <a16:creationId xmlns:a16="http://schemas.microsoft.com/office/drawing/2014/main" id="{0E8E56DA-3E75-41A3-A19C-554F6DA8E8E1}"/>
              </a:ext>
            </a:extLst>
          </p:cNvPr>
          <p:cNvSpPr txBox="1">
            <a:spLocks/>
          </p:cNvSpPr>
          <p:nvPr/>
        </p:nvSpPr>
        <p:spPr>
          <a:xfrm>
            <a:off x="381001" y="1322388"/>
            <a:ext cx="3657597" cy="541386"/>
          </a:xfrm>
          <a:prstGeom prst="rect">
            <a:avLst/>
          </a:prstGeom>
          <a:solidFill>
            <a:schemeClr val="accent1"/>
          </a:solidFill>
        </p:spPr>
        <p:txBody>
          <a:bodyPr lIns="182880" rIns="182880" anchor="ct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500"/>
              </a:spcBef>
              <a:defRPr/>
            </a:pPr>
            <a:r>
              <a:rPr lang="en-US" sz="1800" b="1">
                <a:solidFill>
                  <a:schemeClr val="bg1"/>
                </a:solidFill>
              </a:rPr>
              <a:t>If your goal is to…</a:t>
            </a:r>
          </a:p>
        </p:txBody>
      </p:sp>
      <p:sp>
        <p:nvSpPr>
          <p:cNvPr id="12" name="Text Placeholder 4">
            <a:extLst>
              <a:ext uri="{FF2B5EF4-FFF2-40B4-BE49-F238E27FC236}">
                <a16:creationId xmlns:a16="http://schemas.microsoft.com/office/drawing/2014/main" id="{F1A73A09-224D-4F0B-9361-BB2F9B652386}"/>
              </a:ext>
            </a:extLst>
          </p:cNvPr>
          <p:cNvSpPr txBox="1">
            <a:spLocks/>
          </p:cNvSpPr>
          <p:nvPr/>
        </p:nvSpPr>
        <p:spPr>
          <a:xfrm>
            <a:off x="4419601" y="1322388"/>
            <a:ext cx="4179640" cy="541386"/>
          </a:xfrm>
          <a:prstGeom prst="rect">
            <a:avLst/>
          </a:prstGeom>
          <a:solidFill>
            <a:schemeClr val="accent2"/>
          </a:solidFill>
        </p:spPr>
        <p:txBody>
          <a:bodyPr lIns="182880" rIns="182880" anchor="ct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500"/>
              </a:spcBef>
              <a:defRPr/>
            </a:pPr>
            <a:r>
              <a:rPr lang="en-US" sz="1800" b="1">
                <a:solidFill>
                  <a:schemeClr val="bg1"/>
                </a:solidFill>
              </a:rPr>
              <a:t>Automation helps you…</a:t>
            </a:r>
          </a:p>
        </p:txBody>
      </p:sp>
      <p:sp>
        <p:nvSpPr>
          <p:cNvPr id="14" name="Rectangle 13">
            <a:extLst>
              <a:ext uri="{FF2B5EF4-FFF2-40B4-BE49-F238E27FC236}">
                <a16:creationId xmlns:a16="http://schemas.microsoft.com/office/drawing/2014/main" id="{4367160F-48D0-418D-9C40-27F5BAEDD8ED}"/>
              </a:ext>
            </a:extLst>
          </p:cNvPr>
          <p:cNvSpPr/>
          <p:nvPr/>
        </p:nvSpPr>
        <p:spPr>
          <a:xfrm>
            <a:off x="4419599" y="2198598"/>
            <a:ext cx="4191001"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sym typeface="Arial"/>
              </a:rPr>
              <a:t>Make better decisions faster, with accurate/complete data</a:t>
            </a:r>
          </a:p>
        </p:txBody>
      </p:sp>
      <p:sp>
        <p:nvSpPr>
          <p:cNvPr id="15" name="Rectangle 14">
            <a:extLst>
              <a:ext uri="{FF2B5EF4-FFF2-40B4-BE49-F238E27FC236}">
                <a16:creationId xmlns:a16="http://schemas.microsoft.com/office/drawing/2014/main" id="{61596746-3A2D-46BE-96C8-F2C3CCCC4140}"/>
              </a:ext>
            </a:extLst>
          </p:cNvPr>
          <p:cNvSpPr/>
          <p:nvPr/>
        </p:nvSpPr>
        <p:spPr>
          <a:xfrm>
            <a:off x="4419599" y="2748872"/>
            <a:ext cx="4191001"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sym typeface="Arial"/>
              </a:rPr>
              <a:t>Automate manual activities and time-consuming tasks</a:t>
            </a:r>
          </a:p>
        </p:txBody>
      </p:sp>
      <p:sp>
        <p:nvSpPr>
          <p:cNvPr id="16" name="Rectangle 15">
            <a:extLst>
              <a:ext uri="{FF2B5EF4-FFF2-40B4-BE49-F238E27FC236}">
                <a16:creationId xmlns:a16="http://schemas.microsoft.com/office/drawing/2014/main" id="{B7D596DE-6E5F-4A74-BC2C-8F6E9D9268F8}"/>
              </a:ext>
            </a:extLst>
          </p:cNvPr>
          <p:cNvSpPr/>
          <p:nvPr/>
        </p:nvSpPr>
        <p:spPr>
          <a:xfrm>
            <a:off x="4419599" y="3299146"/>
            <a:ext cx="4191001"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sym typeface="Arial"/>
              </a:rPr>
              <a:t>Reduce cycle time and capture additional revenue streams </a:t>
            </a:r>
          </a:p>
        </p:txBody>
      </p:sp>
      <p:sp>
        <p:nvSpPr>
          <p:cNvPr id="17" name="Rectangle 16">
            <a:extLst>
              <a:ext uri="{FF2B5EF4-FFF2-40B4-BE49-F238E27FC236}">
                <a16:creationId xmlns:a16="http://schemas.microsoft.com/office/drawing/2014/main" id="{BDCDAFEB-3C16-490B-AC39-56A724273AE6}"/>
              </a:ext>
            </a:extLst>
          </p:cNvPr>
          <p:cNvSpPr/>
          <p:nvPr/>
        </p:nvSpPr>
        <p:spPr>
          <a:xfrm>
            <a:off x="4419599" y="3849421"/>
            <a:ext cx="4191001"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sym typeface="Arial"/>
              </a:rPr>
              <a:t>Provide better customer service and product interactions</a:t>
            </a:r>
          </a:p>
        </p:txBody>
      </p:sp>
      <p:sp>
        <p:nvSpPr>
          <p:cNvPr id="18" name="Rectangle 17">
            <a:extLst>
              <a:ext uri="{FF2B5EF4-FFF2-40B4-BE49-F238E27FC236}">
                <a16:creationId xmlns:a16="http://schemas.microsoft.com/office/drawing/2014/main" id="{051989D9-91A5-4978-8E33-4CBA82946E94}"/>
              </a:ext>
            </a:extLst>
          </p:cNvPr>
          <p:cNvSpPr/>
          <p:nvPr/>
        </p:nvSpPr>
        <p:spPr>
          <a:xfrm>
            <a:off x="4419599" y="4399695"/>
            <a:ext cx="4191001"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sym typeface="Arial"/>
              </a:rPr>
              <a:t>Build automations to business rules, ensuring compliance</a:t>
            </a:r>
          </a:p>
        </p:txBody>
      </p:sp>
      <p:sp>
        <p:nvSpPr>
          <p:cNvPr id="19" name="Rectangle 18">
            <a:extLst>
              <a:ext uri="{FF2B5EF4-FFF2-40B4-BE49-F238E27FC236}">
                <a16:creationId xmlns:a16="http://schemas.microsoft.com/office/drawing/2014/main" id="{399C1EBC-983F-46C1-96B8-769D8863DE17}"/>
              </a:ext>
            </a:extLst>
          </p:cNvPr>
          <p:cNvSpPr/>
          <p:nvPr/>
        </p:nvSpPr>
        <p:spPr>
          <a:xfrm>
            <a:off x="4419599" y="4949969"/>
            <a:ext cx="4191001"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sym typeface="Arial"/>
              </a:rPr>
              <a:t>Collect/clean/organize data for use in AI solutions</a:t>
            </a:r>
          </a:p>
        </p:txBody>
      </p:sp>
      <p:sp>
        <p:nvSpPr>
          <p:cNvPr id="20" name="Rectangle 19">
            <a:extLst>
              <a:ext uri="{FF2B5EF4-FFF2-40B4-BE49-F238E27FC236}">
                <a16:creationId xmlns:a16="http://schemas.microsoft.com/office/drawing/2014/main" id="{3109CE3A-ACD1-4121-B77A-44DA9652A73E}"/>
              </a:ext>
            </a:extLst>
          </p:cNvPr>
          <p:cNvSpPr/>
          <p:nvPr/>
        </p:nvSpPr>
        <p:spPr>
          <a:xfrm>
            <a:off x="4419599" y="5500243"/>
            <a:ext cx="4191001"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sym typeface="Arial"/>
              </a:rPr>
              <a:t>Improve employee experiences and automate repetition</a:t>
            </a:r>
          </a:p>
        </p:txBody>
      </p:sp>
      <p:sp>
        <p:nvSpPr>
          <p:cNvPr id="22" name="Rectangle 21">
            <a:extLst>
              <a:ext uri="{FF2B5EF4-FFF2-40B4-BE49-F238E27FC236}">
                <a16:creationId xmlns:a16="http://schemas.microsoft.com/office/drawing/2014/main" id="{42BEE8E4-2AE3-4CA7-B369-FDD22756F7B0}"/>
              </a:ext>
            </a:extLst>
          </p:cNvPr>
          <p:cNvSpPr/>
          <p:nvPr/>
        </p:nvSpPr>
        <p:spPr>
          <a:xfrm>
            <a:off x="1092200" y="2198598"/>
            <a:ext cx="2946398"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Scale Faster</a:t>
            </a:r>
          </a:p>
        </p:txBody>
      </p:sp>
      <p:sp>
        <p:nvSpPr>
          <p:cNvPr id="23" name="Rectangle 22">
            <a:extLst>
              <a:ext uri="{FF2B5EF4-FFF2-40B4-BE49-F238E27FC236}">
                <a16:creationId xmlns:a16="http://schemas.microsoft.com/office/drawing/2014/main" id="{AD65C10D-E9AD-439E-9F42-2D5B77B12FAB}"/>
              </a:ext>
            </a:extLst>
          </p:cNvPr>
          <p:cNvSpPr/>
          <p:nvPr/>
        </p:nvSpPr>
        <p:spPr>
          <a:xfrm>
            <a:off x="1092200" y="2748872"/>
            <a:ext cx="2946398"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Reduce Cost</a:t>
            </a:r>
          </a:p>
        </p:txBody>
      </p:sp>
      <p:sp>
        <p:nvSpPr>
          <p:cNvPr id="24" name="Rectangle 23">
            <a:extLst>
              <a:ext uri="{FF2B5EF4-FFF2-40B4-BE49-F238E27FC236}">
                <a16:creationId xmlns:a16="http://schemas.microsoft.com/office/drawing/2014/main" id="{6E0ADD98-DEEB-4037-8FB3-9D07DE455123}"/>
              </a:ext>
            </a:extLst>
          </p:cNvPr>
          <p:cNvSpPr/>
          <p:nvPr/>
        </p:nvSpPr>
        <p:spPr>
          <a:xfrm>
            <a:off x="1092200" y="3299146"/>
            <a:ext cx="2946398"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Grow Revenue</a:t>
            </a:r>
          </a:p>
        </p:txBody>
      </p:sp>
      <p:sp>
        <p:nvSpPr>
          <p:cNvPr id="25" name="Rectangle 24">
            <a:extLst>
              <a:ext uri="{FF2B5EF4-FFF2-40B4-BE49-F238E27FC236}">
                <a16:creationId xmlns:a16="http://schemas.microsoft.com/office/drawing/2014/main" id="{393D462A-CD06-4BA0-86AC-246995A65A5F}"/>
              </a:ext>
            </a:extLst>
          </p:cNvPr>
          <p:cNvSpPr/>
          <p:nvPr/>
        </p:nvSpPr>
        <p:spPr>
          <a:xfrm>
            <a:off x="1092200" y="3849421"/>
            <a:ext cx="2946398"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Enhance Customer Experience</a:t>
            </a:r>
          </a:p>
        </p:txBody>
      </p:sp>
      <p:sp>
        <p:nvSpPr>
          <p:cNvPr id="26" name="Rectangle 25">
            <a:extLst>
              <a:ext uri="{FF2B5EF4-FFF2-40B4-BE49-F238E27FC236}">
                <a16:creationId xmlns:a16="http://schemas.microsoft.com/office/drawing/2014/main" id="{B34458AE-1C5A-4FD4-8377-A873B398E3B0}"/>
              </a:ext>
            </a:extLst>
          </p:cNvPr>
          <p:cNvSpPr/>
          <p:nvPr/>
        </p:nvSpPr>
        <p:spPr>
          <a:xfrm>
            <a:off x="1092200" y="4399695"/>
            <a:ext cx="2946398"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Improve Compliance &amp; Regulations</a:t>
            </a:r>
          </a:p>
        </p:txBody>
      </p:sp>
      <p:sp>
        <p:nvSpPr>
          <p:cNvPr id="27" name="Rectangle 26">
            <a:extLst>
              <a:ext uri="{FF2B5EF4-FFF2-40B4-BE49-F238E27FC236}">
                <a16:creationId xmlns:a16="http://schemas.microsoft.com/office/drawing/2014/main" id="{252ADDA7-BFFC-457D-9BC0-989797196197}"/>
              </a:ext>
            </a:extLst>
          </p:cNvPr>
          <p:cNvSpPr/>
          <p:nvPr/>
        </p:nvSpPr>
        <p:spPr>
          <a:xfrm>
            <a:off x="1092200" y="4949969"/>
            <a:ext cx="2946398"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Build a Foundation for  AI</a:t>
            </a:r>
          </a:p>
        </p:txBody>
      </p:sp>
      <p:sp>
        <p:nvSpPr>
          <p:cNvPr id="28" name="Rectangle 27">
            <a:extLst>
              <a:ext uri="{FF2B5EF4-FFF2-40B4-BE49-F238E27FC236}">
                <a16:creationId xmlns:a16="http://schemas.microsoft.com/office/drawing/2014/main" id="{ED8C2BF4-2631-4F0D-B8D5-3CE4C4A6BB70}"/>
              </a:ext>
            </a:extLst>
          </p:cNvPr>
          <p:cNvSpPr/>
          <p:nvPr/>
        </p:nvSpPr>
        <p:spPr>
          <a:xfrm>
            <a:off x="1092200" y="5500243"/>
            <a:ext cx="2946398"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Elevate Employee Experience</a:t>
            </a:r>
          </a:p>
        </p:txBody>
      </p:sp>
      <p:sp>
        <p:nvSpPr>
          <p:cNvPr id="13" name="Text Placeholder 4">
            <a:extLst>
              <a:ext uri="{FF2B5EF4-FFF2-40B4-BE49-F238E27FC236}">
                <a16:creationId xmlns:a16="http://schemas.microsoft.com/office/drawing/2014/main" id="{CAC42B6B-87AC-4EDE-99F1-A87253278B99}"/>
              </a:ext>
            </a:extLst>
          </p:cNvPr>
          <p:cNvSpPr txBox="1">
            <a:spLocks/>
          </p:cNvSpPr>
          <p:nvPr/>
        </p:nvSpPr>
        <p:spPr>
          <a:xfrm>
            <a:off x="8937169" y="1322388"/>
            <a:ext cx="2870655" cy="541386"/>
          </a:xfrm>
          <a:prstGeom prst="rect">
            <a:avLst/>
          </a:prstGeom>
          <a:solidFill>
            <a:schemeClr val="accent3"/>
          </a:solidFill>
        </p:spPr>
        <p:txBody>
          <a:bodyPr lIns="182880" rIns="182880" anchor="ct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500"/>
              </a:spcBef>
              <a:defRPr/>
            </a:pPr>
            <a:r>
              <a:rPr lang="en-US" sz="1800" b="1">
                <a:solidFill>
                  <a:schemeClr val="bg1"/>
                </a:solidFill>
              </a:rPr>
              <a:t>Resulting in…</a:t>
            </a:r>
          </a:p>
        </p:txBody>
      </p:sp>
      <p:sp>
        <p:nvSpPr>
          <p:cNvPr id="29" name="Rectangle 28">
            <a:extLst>
              <a:ext uri="{FF2B5EF4-FFF2-40B4-BE49-F238E27FC236}">
                <a16:creationId xmlns:a16="http://schemas.microsoft.com/office/drawing/2014/main" id="{72A88204-6041-40EE-A5E7-C0194B9A83F2}"/>
              </a:ext>
            </a:extLst>
          </p:cNvPr>
          <p:cNvSpPr/>
          <p:nvPr/>
        </p:nvSpPr>
        <p:spPr>
          <a:xfrm>
            <a:off x="9786092" y="2198598"/>
            <a:ext cx="1958232"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Business KPIs (#/%/$)</a:t>
            </a:r>
          </a:p>
        </p:txBody>
      </p:sp>
      <p:sp>
        <p:nvSpPr>
          <p:cNvPr id="30" name="Rectangle 29">
            <a:extLst>
              <a:ext uri="{FF2B5EF4-FFF2-40B4-BE49-F238E27FC236}">
                <a16:creationId xmlns:a16="http://schemas.microsoft.com/office/drawing/2014/main" id="{3496B3DD-C192-49C7-B357-156770DBDACB}"/>
              </a:ext>
            </a:extLst>
          </p:cNvPr>
          <p:cNvSpPr/>
          <p:nvPr/>
        </p:nvSpPr>
        <p:spPr>
          <a:xfrm>
            <a:off x="9786092" y="2748872"/>
            <a:ext cx="1958232"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Operational Cost ($)</a:t>
            </a:r>
          </a:p>
        </p:txBody>
      </p:sp>
      <p:sp>
        <p:nvSpPr>
          <p:cNvPr id="31" name="Rectangle 30">
            <a:extLst>
              <a:ext uri="{FF2B5EF4-FFF2-40B4-BE49-F238E27FC236}">
                <a16:creationId xmlns:a16="http://schemas.microsoft.com/office/drawing/2014/main" id="{088AF18E-7F2C-4EF3-A955-FBB219A75F68}"/>
              </a:ext>
            </a:extLst>
          </p:cNvPr>
          <p:cNvSpPr/>
          <p:nvPr/>
        </p:nvSpPr>
        <p:spPr>
          <a:xfrm>
            <a:off x="9786092" y="3299146"/>
            <a:ext cx="1958232"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Revenue ($)</a:t>
            </a:r>
          </a:p>
        </p:txBody>
      </p:sp>
      <p:sp>
        <p:nvSpPr>
          <p:cNvPr id="32" name="Rectangle 31">
            <a:extLst>
              <a:ext uri="{FF2B5EF4-FFF2-40B4-BE49-F238E27FC236}">
                <a16:creationId xmlns:a16="http://schemas.microsoft.com/office/drawing/2014/main" id="{40F185FD-459E-4F52-984E-A671F2EB24EB}"/>
              </a:ext>
            </a:extLst>
          </p:cNvPr>
          <p:cNvSpPr/>
          <p:nvPr/>
        </p:nvSpPr>
        <p:spPr>
          <a:xfrm>
            <a:off x="9786092" y="3849421"/>
            <a:ext cx="1958232"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CSAT Score (#)</a:t>
            </a:r>
          </a:p>
        </p:txBody>
      </p:sp>
      <p:sp>
        <p:nvSpPr>
          <p:cNvPr id="33" name="Rectangle 32">
            <a:extLst>
              <a:ext uri="{FF2B5EF4-FFF2-40B4-BE49-F238E27FC236}">
                <a16:creationId xmlns:a16="http://schemas.microsoft.com/office/drawing/2014/main" id="{4DDD228A-2A2B-4EF9-A08A-D2EFCFD21EA1}"/>
              </a:ext>
            </a:extLst>
          </p:cNvPr>
          <p:cNvSpPr/>
          <p:nvPr/>
        </p:nvSpPr>
        <p:spPr>
          <a:xfrm>
            <a:off x="9786092" y="4399695"/>
            <a:ext cx="1958232"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Risk KPIs (#/%/$)</a:t>
            </a:r>
          </a:p>
        </p:txBody>
      </p:sp>
      <p:sp>
        <p:nvSpPr>
          <p:cNvPr id="34" name="Rectangle 33">
            <a:extLst>
              <a:ext uri="{FF2B5EF4-FFF2-40B4-BE49-F238E27FC236}">
                <a16:creationId xmlns:a16="http://schemas.microsoft.com/office/drawing/2014/main" id="{AC8243CC-E3E1-4E29-8988-7E90505BC03C}"/>
              </a:ext>
            </a:extLst>
          </p:cNvPr>
          <p:cNvSpPr/>
          <p:nvPr/>
        </p:nvSpPr>
        <p:spPr>
          <a:xfrm>
            <a:off x="9786092" y="4949969"/>
            <a:ext cx="1958232"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AI Models (#)</a:t>
            </a:r>
          </a:p>
        </p:txBody>
      </p:sp>
      <p:sp>
        <p:nvSpPr>
          <p:cNvPr id="35" name="Rectangle 34">
            <a:extLst>
              <a:ext uri="{FF2B5EF4-FFF2-40B4-BE49-F238E27FC236}">
                <a16:creationId xmlns:a16="http://schemas.microsoft.com/office/drawing/2014/main" id="{F6B9D8B8-28C5-4BD8-B048-C5F1D3D4D821}"/>
              </a:ext>
            </a:extLst>
          </p:cNvPr>
          <p:cNvSpPr/>
          <p:nvPr/>
        </p:nvSpPr>
        <p:spPr>
          <a:xfrm>
            <a:off x="9786092" y="5500243"/>
            <a:ext cx="1958232"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sym typeface="Arial"/>
              </a:rPr>
              <a:t>EESAT Score (#)</a:t>
            </a:r>
          </a:p>
        </p:txBody>
      </p:sp>
      <p:sp>
        <p:nvSpPr>
          <p:cNvPr id="36" name="Isosceles Triangle 35">
            <a:extLst>
              <a:ext uri="{FF2B5EF4-FFF2-40B4-BE49-F238E27FC236}">
                <a16:creationId xmlns:a16="http://schemas.microsoft.com/office/drawing/2014/main" id="{55FF9375-0590-4626-8967-8709E2289700}"/>
              </a:ext>
            </a:extLst>
          </p:cNvPr>
          <p:cNvSpPr/>
          <p:nvPr/>
        </p:nvSpPr>
        <p:spPr>
          <a:xfrm>
            <a:off x="9254671" y="2340460"/>
            <a:ext cx="242876" cy="148431"/>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37" name="Isosceles Triangle 36">
            <a:extLst>
              <a:ext uri="{FF2B5EF4-FFF2-40B4-BE49-F238E27FC236}">
                <a16:creationId xmlns:a16="http://schemas.microsoft.com/office/drawing/2014/main" id="{FB3E73CA-3FC5-4BB2-8D69-9A2471FAAB08}"/>
              </a:ext>
            </a:extLst>
          </p:cNvPr>
          <p:cNvSpPr/>
          <p:nvPr/>
        </p:nvSpPr>
        <p:spPr>
          <a:xfrm flipV="1">
            <a:off x="9254671" y="2890733"/>
            <a:ext cx="242876" cy="148431"/>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38" name="Isosceles Triangle 37">
            <a:extLst>
              <a:ext uri="{FF2B5EF4-FFF2-40B4-BE49-F238E27FC236}">
                <a16:creationId xmlns:a16="http://schemas.microsoft.com/office/drawing/2014/main" id="{EEFC720E-33C6-4ED0-8089-72FC748F5DDB}"/>
              </a:ext>
            </a:extLst>
          </p:cNvPr>
          <p:cNvSpPr/>
          <p:nvPr/>
        </p:nvSpPr>
        <p:spPr>
          <a:xfrm>
            <a:off x="9254671" y="3441006"/>
            <a:ext cx="242876" cy="148431"/>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39" name="Isosceles Triangle 38">
            <a:extLst>
              <a:ext uri="{FF2B5EF4-FFF2-40B4-BE49-F238E27FC236}">
                <a16:creationId xmlns:a16="http://schemas.microsoft.com/office/drawing/2014/main" id="{0B4A83C6-F245-4767-BDFE-B498575EFC1D}"/>
              </a:ext>
            </a:extLst>
          </p:cNvPr>
          <p:cNvSpPr/>
          <p:nvPr/>
        </p:nvSpPr>
        <p:spPr>
          <a:xfrm>
            <a:off x="9254671" y="3991279"/>
            <a:ext cx="242876" cy="148431"/>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40" name="Isosceles Triangle 39">
            <a:extLst>
              <a:ext uri="{FF2B5EF4-FFF2-40B4-BE49-F238E27FC236}">
                <a16:creationId xmlns:a16="http://schemas.microsoft.com/office/drawing/2014/main" id="{5B8026CF-2A2B-48F2-A482-EFB0DC10C82C}"/>
              </a:ext>
            </a:extLst>
          </p:cNvPr>
          <p:cNvSpPr/>
          <p:nvPr/>
        </p:nvSpPr>
        <p:spPr>
          <a:xfrm flipV="1">
            <a:off x="9254671" y="4541552"/>
            <a:ext cx="242876" cy="148431"/>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41" name="Isosceles Triangle 40">
            <a:extLst>
              <a:ext uri="{FF2B5EF4-FFF2-40B4-BE49-F238E27FC236}">
                <a16:creationId xmlns:a16="http://schemas.microsoft.com/office/drawing/2014/main" id="{8DFAFD8D-6158-418C-83ED-35B9D3EF428F}"/>
              </a:ext>
            </a:extLst>
          </p:cNvPr>
          <p:cNvSpPr/>
          <p:nvPr/>
        </p:nvSpPr>
        <p:spPr>
          <a:xfrm>
            <a:off x="9254671" y="5091825"/>
            <a:ext cx="242876" cy="148431"/>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42" name="Isosceles Triangle 41">
            <a:extLst>
              <a:ext uri="{FF2B5EF4-FFF2-40B4-BE49-F238E27FC236}">
                <a16:creationId xmlns:a16="http://schemas.microsoft.com/office/drawing/2014/main" id="{9EF310A7-E69F-4C3E-B918-4D4C25B39159}"/>
              </a:ext>
            </a:extLst>
          </p:cNvPr>
          <p:cNvSpPr/>
          <p:nvPr/>
        </p:nvSpPr>
        <p:spPr>
          <a:xfrm>
            <a:off x="9254671" y="5642098"/>
            <a:ext cx="242876" cy="148431"/>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44" name="Isosceles Triangle 43">
            <a:extLst>
              <a:ext uri="{FF2B5EF4-FFF2-40B4-BE49-F238E27FC236}">
                <a16:creationId xmlns:a16="http://schemas.microsoft.com/office/drawing/2014/main" id="{2AA132D3-E24D-4CC9-B7D1-90B1881B5E79}"/>
              </a:ext>
            </a:extLst>
          </p:cNvPr>
          <p:cNvSpPr/>
          <p:nvPr/>
        </p:nvSpPr>
        <p:spPr>
          <a:xfrm rot="5400000">
            <a:off x="3973511" y="1518866"/>
            <a:ext cx="278606" cy="148431"/>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45" name="Isosceles Triangle 44">
            <a:extLst>
              <a:ext uri="{FF2B5EF4-FFF2-40B4-BE49-F238E27FC236}">
                <a16:creationId xmlns:a16="http://schemas.microsoft.com/office/drawing/2014/main" id="{6AAB4B87-710E-4617-92F5-56CC08C53D79}"/>
              </a:ext>
            </a:extLst>
          </p:cNvPr>
          <p:cNvSpPr/>
          <p:nvPr/>
        </p:nvSpPr>
        <p:spPr>
          <a:xfrm rot="5400000">
            <a:off x="8534153" y="1518871"/>
            <a:ext cx="278606" cy="14843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pic>
        <p:nvPicPr>
          <p:cNvPr id="50" name="Graphic 49">
            <a:extLst>
              <a:ext uri="{FF2B5EF4-FFF2-40B4-BE49-F238E27FC236}">
                <a16:creationId xmlns:a16="http://schemas.microsoft.com/office/drawing/2014/main" id="{80B8620B-0F71-4E89-B4D1-9D1DC96723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9054" y="2233701"/>
            <a:ext cx="361948" cy="361948"/>
          </a:xfrm>
          <a:prstGeom prst="rect">
            <a:avLst/>
          </a:prstGeom>
        </p:spPr>
      </p:pic>
      <p:pic>
        <p:nvPicPr>
          <p:cNvPr id="51" name="Graphic 50">
            <a:extLst>
              <a:ext uri="{FF2B5EF4-FFF2-40B4-BE49-F238E27FC236}">
                <a16:creationId xmlns:a16="http://schemas.microsoft.com/office/drawing/2014/main" id="{B459B147-AE92-4EED-B957-276CA5D60A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9054" y="2783974"/>
            <a:ext cx="361948" cy="361948"/>
          </a:xfrm>
          <a:prstGeom prst="rect">
            <a:avLst/>
          </a:prstGeom>
        </p:spPr>
      </p:pic>
      <p:pic>
        <p:nvPicPr>
          <p:cNvPr id="52" name="Graphic 51">
            <a:extLst>
              <a:ext uri="{FF2B5EF4-FFF2-40B4-BE49-F238E27FC236}">
                <a16:creationId xmlns:a16="http://schemas.microsoft.com/office/drawing/2014/main" id="{4F732E22-E5E0-4FB1-B004-07464798F7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9054" y="3334247"/>
            <a:ext cx="361948" cy="361948"/>
          </a:xfrm>
          <a:prstGeom prst="rect">
            <a:avLst/>
          </a:prstGeom>
        </p:spPr>
      </p:pic>
      <p:pic>
        <p:nvPicPr>
          <p:cNvPr id="53" name="Graphic 52">
            <a:extLst>
              <a:ext uri="{FF2B5EF4-FFF2-40B4-BE49-F238E27FC236}">
                <a16:creationId xmlns:a16="http://schemas.microsoft.com/office/drawing/2014/main" id="{1205F743-B0D0-4A3E-8B44-E9346ABDAA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9054" y="3884524"/>
            <a:ext cx="361948" cy="361948"/>
          </a:xfrm>
          <a:prstGeom prst="rect">
            <a:avLst/>
          </a:prstGeom>
        </p:spPr>
      </p:pic>
      <p:pic>
        <p:nvPicPr>
          <p:cNvPr id="54" name="Graphic 53">
            <a:extLst>
              <a:ext uri="{FF2B5EF4-FFF2-40B4-BE49-F238E27FC236}">
                <a16:creationId xmlns:a16="http://schemas.microsoft.com/office/drawing/2014/main" id="{DFAFF67B-63E4-4017-A48D-F74246995F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054" y="4434793"/>
            <a:ext cx="361948" cy="361948"/>
          </a:xfrm>
          <a:prstGeom prst="rect">
            <a:avLst/>
          </a:prstGeom>
        </p:spPr>
      </p:pic>
      <p:pic>
        <p:nvPicPr>
          <p:cNvPr id="55" name="Graphic 54">
            <a:extLst>
              <a:ext uri="{FF2B5EF4-FFF2-40B4-BE49-F238E27FC236}">
                <a16:creationId xmlns:a16="http://schemas.microsoft.com/office/drawing/2014/main" id="{2C049660-73F2-43AC-8500-0522134FFB2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84297" y="5030309"/>
            <a:ext cx="271462" cy="271462"/>
          </a:xfrm>
          <a:prstGeom prst="rect">
            <a:avLst/>
          </a:prstGeom>
        </p:spPr>
      </p:pic>
      <p:pic>
        <p:nvPicPr>
          <p:cNvPr id="56" name="Graphic 55">
            <a:extLst>
              <a:ext uri="{FF2B5EF4-FFF2-40B4-BE49-F238E27FC236}">
                <a16:creationId xmlns:a16="http://schemas.microsoft.com/office/drawing/2014/main" id="{99F27C82-43F3-44E5-AB80-38A6DF91024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39054" y="5535339"/>
            <a:ext cx="361948" cy="361948"/>
          </a:xfrm>
          <a:prstGeom prst="rect">
            <a:avLst/>
          </a:prstGeom>
        </p:spPr>
      </p:pic>
      <p:cxnSp>
        <p:nvCxnSpPr>
          <p:cNvPr id="46" name="Straight Connector 45">
            <a:extLst>
              <a:ext uri="{FF2B5EF4-FFF2-40B4-BE49-F238E27FC236}">
                <a16:creationId xmlns:a16="http://schemas.microsoft.com/office/drawing/2014/main" id="{43A2C9A3-16A3-4504-A87D-646BD2BD78B7}"/>
              </a:ext>
            </a:extLst>
          </p:cNvPr>
          <p:cNvCxnSpPr>
            <a:cxnSpLocks/>
          </p:cNvCxnSpPr>
          <p:nvPr/>
        </p:nvCxnSpPr>
        <p:spPr>
          <a:xfrm flipV="1">
            <a:off x="4038598" y="2104571"/>
            <a:ext cx="0" cy="4020458"/>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25391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6099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6099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dirty="0">
                <a:solidFill>
                  <a:schemeClr val="accent1"/>
                </a:solidFill>
                <a:latin typeface="Arial"/>
              </a:rPr>
              <a:t>healthcare professional</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3" name="Text Placeholder 2">
            <a:extLst>
              <a:ext uri="{FF2B5EF4-FFF2-40B4-BE49-F238E27FC236}">
                <a16:creationId xmlns:a16="http://schemas.microsoft.com/office/drawing/2014/main" id="{9F59643D-7505-45C4-BE71-AE4EED23C2D0}"/>
              </a:ext>
            </a:extLst>
          </p:cNvPr>
          <p:cNvSpPr>
            <a:spLocks noGrp="1"/>
          </p:cNvSpPr>
          <p:nvPr>
            <p:ph type="body" sz="quarter" idx="11"/>
          </p:nvPr>
        </p:nvSpPr>
        <p:spPr>
          <a:xfrm>
            <a:off x="373856" y="2382395"/>
            <a:ext cx="6091238" cy="276999"/>
          </a:xfrm>
        </p:spPr>
        <p:txBody>
          <a:bodyPr/>
          <a:lstStyle/>
          <a:p>
            <a:r>
              <a:rPr lang="en-US"/>
              <a:t>Robots help…</a:t>
            </a:r>
          </a:p>
        </p:txBody>
      </p:sp>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6099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50118"/>
            <a:ext cx="3641242" cy="2543644"/>
          </a:xfrm>
        </p:spPr>
        <p:txBody>
          <a:bodyPr/>
          <a:lstStyle/>
          <a:p>
            <a:r>
              <a:rPr lang="en-US" dirty="0"/>
              <a:t>…providers verify insurance information with payers at scale</a:t>
            </a:r>
          </a:p>
          <a:p>
            <a:r>
              <a:rPr lang="en-US" dirty="0"/>
              <a:t>…data scientists aggregate information from various sources </a:t>
            </a:r>
          </a:p>
          <a:p>
            <a:r>
              <a:rPr lang="en-US" dirty="0"/>
              <a:t>…doctors assess patient risk</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50118"/>
            <a:ext cx="3641242" cy="2543644"/>
          </a:xfrm>
        </p:spPr>
        <p:txBody>
          <a:bodyPr/>
          <a:lstStyle/>
          <a:p>
            <a:r>
              <a:rPr lang="en-US" dirty="0"/>
              <a:t>…doctors request &amp; manage patient tests</a:t>
            </a:r>
          </a:p>
          <a:p>
            <a:r>
              <a:rPr lang="en-US" dirty="0"/>
              <a:t>…providers maintain continuity of care by maintaining patient data across systems</a:t>
            </a:r>
          </a:p>
          <a:p>
            <a:r>
              <a:rPr lang="en-US" dirty="0"/>
              <a:t>…providers maintain data across all systems in a manner compliant with all government policies</a:t>
            </a:r>
          </a:p>
          <a:p>
            <a:r>
              <a:rPr lang="en-US" dirty="0"/>
              <a:t>…clinical staff onboard new patients</a:t>
            </a:r>
          </a:p>
          <a:p>
            <a:endParaRPr lang="en-US" dirty="0"/>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50118"/>
            <a:ext cx="3641242" cy="2543644"/>
          </a:xfrm>
        </p:spPr>
        <p:txBody>
          <a:bodyPr/>
          <a:lstStyle/>
          <a:p>
            <a:r>
              <a:rPr lang="en-US"/>
              <a:t>…revenue cycle management process and check status on claims</a:t>
            </a:r>
          </a:p>
          <a:p>
            <a:r>
              <a:rPr lang="en-US"/>
              <a:t>…radiologists make faster recommendations to patients based on test data</a:t>
            </a:r>
          </a:p>
          <a:p>
            <a:r>
              <a:rPr lang="en-US"/>
              <a:t>…hospitals accelerate priority testing, such as for COVID-19</a:t>
            </a:r>
          </a:p>
          <a:p>
            <a:r>
              <a:rPr lang="en-US"/>
              <a:t>…clinical staff check in patients in a manner compliant with all government policies</a:t>
            </a:r>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767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767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948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rPr>
              <a:t>A robot assistant for every…</a:t>
            </a:r>
            <a:endParaRPr lang="en-US"/>
          </a:p>
        </p:txBody>
      </p:sp>
    </p:spTree>
    <p:extLst>
      <p:ext uri="{BB962C8B-B14F-4D97-AF65-F5344CB8AC3E}">
        <p14:creationId xmlns:p14="http://schemas.microsoft.com/office/powerpoint/2010/main" val="35037616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6099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6099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a:solidFill>
                  <a:schemeClr val="accent1"/>
                </a:solidFill>
                <a:latin typeface="Arial"/>
              </a:rPr>
              <a:t>telco professional</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3" name="Text Placeholder 2">
            <a:extLst>
              <a:ext uri="{FF2B5EF4-FFF2-40B4-BE49-F238E27FC236}">
                <a16:creationId xmlns:a16="http://schemas.microsoft.com/office/drawing/2014/main" id="{9F59643D-7505-45C4-BE71-AE4EED23C2D0}"/>
              </a:ext>
            </a:extLst>
          </p:cNvPr>
          <p:cNvSpPr>
            <a:spLocks noGrp="1"/>
          </p:cNvSpPr>
          <p:nvPr>
            <p:ph type="body" sz="quarter" idx="11"/>
          </p:nvPr>
        </p:nvSpPr>
        <p:spPr>
          <a:xfrm>
            <a:off x="373856" y="2382395"/>
            <a:ext cx="6091238" cy="276999"/>
          </a:xfrm>
        </p:spPr>
        <p:txBody>
          <a:bodyPr/>
          <a:lstStyle/>
          <a:p>
            <a:r>
              <a:rPr lang="en-US"/>
              <a:t>Robots help…</a:t>
            </a:r>
          </a:p>
        </p:txBody>
      </p:sp>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6099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50118"/>
            <a:ext cx="3641242" cy="2543644"/>
          </a:xfrm>
        </p:spPr>
        <p:txBody>
          <a:bodyPr/>
          <a:lstStyle/>
          <a:p>
            <a:r>
              <a:rPr lang="en-US"/>
              <a:t>…operations triage network outages</a:t>
            </a:r>
          </a:p>
          <a:p>
            <a:r>
              <a:rPr lang="en-US"/>
              <a:t>…network managers provision &amp; update equipment</a:t>
            </a:r>
          </a:p>
          <a:p>
            <a:r>
              <a:rPr lang="en-US"/>
              <a:t>…supply chain managers monitor device inventory levels</a:t>
            </a:r>
          </a:p>
          <a:p>
            <a:r>
              <a:rPr lang="en-US"/>
              <a:t>…agents explain complex pricing information </a:t>
            </a:r>
          </a:p>
          <a:p>
            <a:r>
              <a:rPr lang="en-US"/>
              <a:t>…agents understand customer entitlements</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50118"/>
            <a:ext cx="3641242" cy="2543644"/>
          </a:xfrm>
        </p:spPr>
        <p:txBody>
          <a:bodyPr/>
          <a:lstStyle/>
          <a:p>
            <a:r>
              <a:rPr lang="en-US"/>
              <a:t>…managers compile network data &amp; reports</a:t>
            </a:r>
          </a:p>
          <a:p>
            <a:r>
              <a:rPr lang="en-US"/>
              <a:t>…agents manage customer billing inquiries</a:t>
            </a:r>
          </a:p>
          <a:p>
            <a:r>
              <a:rPr lang="en-US"/>
              <a:t>…field technicians enter &amp; update case data</a:t>
            </a:r>
          </a:p>
          <a:p>
            <a:r>
              <a:rPr lang="en-US"/>
              <a:t>…staff identify fraud</a:t>
            </a:r>
          </a:p>
          <a:p>
            <a:r>
              <a:rPr lang="en-US"/>
              <a:t>…agents update customer information in bulk</a:t>
            </a:r>
          </a:p>
          <a:p>
            <a:r>
              <a:rPr lang="en-US"/>
              <a:t>…manage return authorizations</a:t>
            </a:r>
          </a:p>
          <a:p>
            <a:endParaRPr lang="en-US"/>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50118"/>
            <a:ext cx="3641242" cy="2543644"/>
          </a:xfrm>
        </p:spPr>
        <p:txBody>
          <a:bodyPr/>
          <a:lstStyle/>
          <a:p>
            <a:r>
              <a:rPr lang="en-US"/>
              <a:t>…agents with customer upsell &amp; cross-sell</a:t>
            </a:r>
          </a:p>
          <a:p>
            <a:r>
              <a:rPr lang="en-US"/>
              <a:t>…agents place orders &amp; take payments</a:t>
            </a:r>
          </a:p>
          <a:p>
            <a:r>
              <a:rPr lang="en-US"/>
              <a:t>…back-office workers process purchase &amp; service orders</a:t>
            </a:r>
          </a:p>
          <a:p>
            <a:r>
              <a:rPr lang="en-US"/>
              <a:t>…technicians troubleshoot customer problems &amp; escalations</a:t>
            </a:r>
          </a:p>
          <a:p>
            <a:r>
              <a:rPr lang="en-US"/>
              <a:t>…mobile testers test apps and devices</a:t>
            </a:r>
          </a:p>
          <a:p>
            <a:r>
              <a:rPr lang="en-US"/>
              <a:t>…supervisors assign &amp; dispatch field service engineers</a:t>
            </a:r>
          </a:p>
          <a:p>
            <a:r>
              <a:rPr lang="en-US"/>
              <a:t>…staff provision new services &amp; devices</a:t>
            </a:r>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767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767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948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rPr>
              <a:t>A robot assistant for every…</a:t>
            </a:r>
            <a:endParaRPr lang="en-US"/>
          </a:p>
        </p:txBody>
      </p:sp>
    </p:spTree>
    <p:extLst>
      <p:ext uri="{BB962C8B-B14F-4D97-AF65-F5344CB8AC3E}">
        <p14:creationId xmlns:p14="http://schemas.microsoft.com/office/powerpoint/2010/main" val="4269245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E6C82A-8F84-45D9-BE27-576C74044696}"/>
              </a:ext>
            </a:extLst>
          </p:cNvPr>
          <p:cNvSpPr>
            <a:spLocks noGrp="1"/>
          </p:cNvSpPr>
          <p:nvPr>
            <p:ph type="ctrTitle"/>
          </p:nvPr>
        </p:nvSpPr>
        <p:spPr>
          <a:xfrm>
            <a:off x="382971" y="2350042"/>
            <a:ext cx="5711441" cy="2157916"/>
          </a:xfrm>
        </p:spPr>
        <p:txBody>
          <a:bodyPr/>
          <a:lstStyle/>
          <a:p>
            <a:r>
              <a:rPr lang="en-US" sz="5400"/>
              <a:t>Employees &amp; robots working together helps your business</a:t>
            </a:r>
          </a:p>
        </p:txBody>
      </p:sp>
    </p:spTree>
    <p:extLst>
      <p:ext uri="{BB962C8B-B14F-4D97-AF65-F5344CB8AC3E}">
        <p14:creationId xmlns:p14="http://schemas.microsoft.com/office/powerpoint/2010/main" val="166589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6099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6099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a:solidFill>
                  <a:schemeClr val="accent1"/>
                </a:solidFill>
                <a:latin typeface="Arial"/>
              </a:rPr>
              <a:t>government employee</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3" name="Text Placeholder 2">
            <a:extLst>
              <a:ext uri="{FF2B5EF4-FFF2-40B4-BE49-F238E27FC236}">
                <a16:creationId xmlns:a16="http://schemas.microsoft.com/office/drawing/2014/main" id="{9F59643D-7505-45C4-BE71-AE4EED23C2D0}"/>
              </a:ext>
            </a:extLst>
          </p:cNvPr>
          <p:cNvSpPr>
            <a:spLocks noGrp="1"/>
          </p:cNvSpPr>
          <p:nvPr>
            <p:ph type="body" sz="quarter" idx="11"/>
          </p:nvPr>
        </p:nvSpPr>
        <p:spPr>
          <a:xfrm>
            <a:off x="373856" y="2382395"/>
            <a:ext cx="6091238" cy="276999"/>
          </a:xfrm>
        </p:spPr>
        <p:txBody>
          <a:bodyPr/>
          <a:lstStyle/>
          <a:p>
            <a:r>
              <a:rPr lang="en-US"/>
              <a:t>Robots help…</a:t>
            </a:r>
          </a:p>
        </p:txBody>
      </p:sp>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6099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50118"/>
            <a:ext cx="3641242" cy="2543644"/>
          </a:xfrm>
        </p:spPr>
        <p:txBody>
          <a:bodyPr/>
          <a:lstStyle/>
          <a:p>
            <a:r>
              <a:rPr lang="en-US"/>
              <a:t>…caseworkers validate benefits qualifications for recipients</a:t>
            </a:r>
          </a:p>
          <a:p>
            <a:r>
              <a:rPr lang="en-US"/>
              <a:t>…service desk workers prioritize incoming requests</a:t>
            </a:r>
          </a:p>
          <a:p>
            <a:r>
              <a:rPr lang="en-US"/>
              <a:t>…cyber analysts prioritize security threats</a:t>
            </a:r>
          </a:p>
          <a:p>
            <a:r>
              <a:rPr lang="en-US"/>
              <a:t>…government leaders aggregate reporting data from disparate systems</a:t>
            </a:r>
          </a:p>
          <a:p>
            <a:r>
              <a:rPr lang="en-US"/>
              <a:t>…procurement analysts speed up accounting processes</a:t>
            </a:r>
          </a:p>
          <a:p>
            <a:r>
              <a:rPr lang="en-US"/>
              <a:t>…logistics analysts streamline supply chain processes</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50118"/>
            <a:ext cx="3641242" cy="2543644"/>
          </a:xfrm>
        </p:spPr>
        <p:txBody>
          <a:bodyPr/>
          <a:lstStyle/>
          <a:p>
            <a:r>
              <a:rPr lang="en-US"/>
              <a:t>…caseworkers process new benefit applications or renewals</a:t>
            </a:r>
          </a:p>
          <a:p>
            <a:r>
              <a:rPr lang="en-US"/>
              <a:t>…analysts integrate data from multiple data sources into reports</a:t>
            </a:r>
          </a:p>
          <a:p>
            <a:r>
              <a:rPr lang="en-US"/>
              <a:t>…government workers update government IDs or drivers’ licenses</a:t>
            </a:r>
          </a:p>
          <a:p>
            <a:r>
              <a:rPr lang="en-US"/>
              <a:t>…revenue collection agents process transactions quickly and correctly</a:t>
            </a:r>
          </a:p>
          <a:p>
            <a:endParaRPr lang="en-US"/>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50118"/>
            <a:ext cx="3641242" cy="2543644"/>
          </a:xfrm>
        </p:spPr>
        <p:txBody>
          <a:bodyPr/>
          <a:lstStyle/>
          <a:p>
            <a:r>
              <a:rPr lang="en-US"/>
              <a:t>…caseworkers ensure citizens have access to the appropriate benefits and services</a:t>
            </a:r>
          </a:p>
          <a:p>
            <a:r>
              <a:rPr lang="en-US"/>
              <a:t>…public health officials provide a higher quality of care and with lower costs</a:t>
            </a:r>
          </a:p>
          <a:p>
            <a:r>
              <a:rPr lang="en-US"/>
              <a:t>…contact center agents offer real-time, accurate support for citizens </a:t>
            </a:r>
          </a:p>
          <a:p>
            <a:r>
              <a:rPr lang="en-US"/>
              <a:t>…IT teams manage security &amp; access across agencies</a:t>
            </a:r>
          </a:p>
          <a:p>
            <a:r>
              <a:rPr lang="en-US"/>
              <a:t>…law enforcement agents provide better public safety</a:t>
            </a:r>
          </a:p>
          <a:p>
            <a:r>
              <a:rPr lang="en-US"/>
              <a:t>…maintenance crews ensure assets have higher availability and longevity</a:t>
            </a:r>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767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767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948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rPr>
              <a:t>A robot assistant for every…</a:t>
            </a:r>
            <a:endParaRPr lang="en-US"/>
          </a:p>
        </p:txBody>
      </p:sp>
    </p:spTree>
    <p:extLst>
      <p:ext uri="{BB962C8B-B14F-4D97-AF65-F5344CB8AC3E}">
        <p14:creationId xmlns:p14="http://schemas.microsoft.com/office/powerpoint/2010/main" val="29497926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6099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6099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a:solidFill>
                  <a:schemeClr val="accent1"/>
                </a:solidFill>
                <a:latin typeface="Arial"/>
              </a:rPr>
              <a:t>financial services professional</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3" name="Text Placeholder 2">
            <a:extLst>
              <a:ext uri="{FF2B5EF4-FFF2-40B4-BE49-F238E27FC236}">
                <a16:creationId xmlns:a16="http://schemas.microsoft.com/office/drawing/2014/main" id="{9F59643D-7505-45C4-BE71-AE4EED23C2D0}"/>
              </a:ext>
            </a:extLst>
          </p:cNvPr>
          <p:cNvSpPr>
            <a:spLocks noGrp="1"/>
          </p:cNvSpPr>
          <p:nvPr>
            <p:ph type="body" sz="quarter" idx="11"/>
          </p:nvPr>
        </p:nvSpPr>
        <p:spPr>
          <a:xfrm>
            <a:off x="373856" y="2382395"/>
            <a:ext cx="6091238" cy="276999"/>
          </a:xfrm>
        </p:spPr>
        <p:txBody>
          <a:bodyPr/>
          <a:lstStyle/>
          <a:p>
            <a:r>
              <a:rPr lang="en-US"/>
              <a:t>Robots help…</a:t>
            </a:r>
          </a:p>
        </p:txBody>
      </p:sp>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6099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50118"/>
            <a:ext cx="3641242" cy="2543644"/>
          </a:xfrm>
        </p:spPr>
        <p:txBody>
          <a:bodyPr/>
          <a:lstStyle/>
          <a:p>
            <a:r>
              <a:rPr lang="en-US"/>
              <a:t>…investment bankers extract data from third-party providers to prepare pitch decks</a:t>
            </a:r>
          </a:p>
          <a:p>
            <a:r>
              <a:rPr lang="en-US"/>
              <a:t>…consumer banking teams automate end to end analytics pipeline </a:t>
            </a:r>
          </a:p>
          <a:p>
            <a:r>
              <a:rPr lang="en-US"/>
              <a:t>…wholesale banking staff with analysis for treasury clients </a:t>
            </a:r>
          </a:p>
          <a:p>
            <a:r>
              <a:rPr lang="en-US"/>
              <a:t>…financial advisers prepare for client meetings</a:t>
            </a:r>
          </a:p>
          <a:p>
            <a:r>
              <a:rPr lang="en-US"/>
              <a:t>…risk and compliance teams collect evidence for AML, Fraud, Sanctions, &amp; other Financial Crimes</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50118"/>
            <a:ext cx="3641242" cy="2543644"/>
          </a:xfrm>
        </p:spPr>
        <p:txBody>
          <a:bodyPr/>
          <a:lstStyle/>
          <a:p>
            <a:r>
              <a:rPr lang="en-US"/>
              <a:t>…onboarding teams handle data from institutional clients</a:t>
            </a:r>
          </a:p>
          <a:p>
            <a:r>
              <a:rPr lang="en-US"/>
              <a:t>…global markets teams with trade, position, nostro, &amp; account reconciliations</a:t>
            </a:r>
          </a:p>
          <a:p>
            <a:r>
              <a:rPr lang="en-US"/>
              <a:t>…underwriting teams ascertain and monitor credit worthiness for commercial loans, mortgage and retail products</a:t>
            </a:r>
          </a:p>
          <a:p>
            <a:r>
              <a:rPr lang="en-US"/>
              <a:t>…relationship management teams with CRM data validation, cleansing, and sales coverage processes</a:t>
            </a:r>
          </a:p>
          <a:p>
            <a:endParaRPr lang="en-US"/>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50118"/>
            <a:ext cx="3641242" cy="2543644"/>
          </a:xfrm>
        </p:spPr>
        <p:txBody>
          <a:bodyPr/>
          <a:lstStyle/>
          <a:p>
            <a:r>
              <a:rPr lang="en-US"/>
              <a:t>…customer service and branch teams manage customer requests, including fraud-related questions, application inquiries, account modifications, exception requests, fee waivers, and more</a:t>
            </a:r>
          </a:p>
          <a:p>
            <a:r>
              <a:rPr lang="en-US"/>
              <a:t>…sales &amp; trading teams with trade bookings and allocation processes</a:t>
            </a:r>
          </a:p>
          <a:p>
            <a:r>
              <a:rPr lang="en-US"/>
              <a:t>…traders ensure post trade compliance with all regulatory processes</a:t>
            </a:r>
          </a:p>
          <a:p>
            <a:r>
              <a:rPr lang="en-US"/>
              <a:t>…Financial Advisors generate pitch books and proposals for current clients</a:t>
            </a:r>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767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767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948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rPr>
              <a:t>A robot assistant for every…</a:t>
            </a:r>
            <a:endParaRPr lang="en-US"/>
          </a:p>
        </p:txBody>
      </p:sp>
    </p:spTree>
    <p:extLst>
      <p:ext uri="{BB962C8B-B14F-4D97-AF65-F5344CB8AC3E}">
        <p14:creationId xmlns:p14="http://schemas.microsoft.com/office/powerpoint/2010/main" val="33347745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6099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6099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a:solidFill>
                  <a:schemeClr val="accent1"/>
                </a:solidFill>
                <a:latin typeface="Arial"/>
              </a:rPr>
              <a:t>lawyer</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3" name="Text Placeholder 2">
            <a:extLst>
              <a:ext uri="{FF2B5EF4-FFF2-40B4-BE49-F238E27FC236}">
                <a16:creationId xmlns:a16="http://schemas.microsoft.com/office/drawing/2014/main" id="{9F59643D-7505-45C4-BE71-AE4EED23C2D0}"/>
              </a:ext>
            </a:extLst>
          </p:cNvPr>
          <p:cNvSpPr>
            <a:spLocks noGrp="1"/>
          </p:cNvSpPr>
          <p:nvPr>
            <p:ph type="body" sz="quarter" idx="11"/>
          </p:nvPr>
        </p:nvSpPr>
        <p:spPr>
          <a:xfrm>
            <a:off x="373856" y="2382395"/>
            <a:ext cx="6091238" cy="276999"/>
          </a:xfrm>
        </p:spPr>
        <p:txBody>
          <a:bodyPr/>
          <a:lstStyle/>
          <a:p>
            <a:r>
              <a:rPr lang="en-US"/>
              <a:t>Robots help…</a:t>
            </a:r>
          </a:p>
        </p:txBody>
      </p:sp>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6099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50118"/>
            <a:ext cx="3641242" cy="2543644"/>
          </a:xfrm>
        </p:spPr>
        <p:txBody>
          <a:bodyPr/>
          <a:lstStyle/>
          <a:p>
            <a:r>
              <a:rPr lang="en-US"/>
              <a:t>…review conflict of interest documents</a:t>
            </a:r>
          </a:p>
          <a:p>
            <a:r>
              <a:rPr lang="en-US"/>
              <a:t>…compile royalties &amp; trademark reports</a:t>
            </a:r>
          </a:p>
          <a:p>
            <a:r>
              <a:rPr lang="en-US"/>
              <a:t>…identify public information in due diligence &amp; other compliance processes</a:t>
            </a:r>
          </a:p>
          <a:p>
            <a:r>
              <a:rPr lang="en-US"/>
              <a:t>…staff update internal policies </a:t>
            </a:r>
          </a:p>
          <a:p>
            <a:r>
              <a:rPr lang="en-US"/>
              <a:t>…with IP protection &amp; compliance processes</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50118"/>
            <a:ext cx="3641242" cy="2543644"/>
          </a:xfrm>
        </p:spPr>
        <p:txBody>
          <a:bodyPr/>
          <a:lstStyle/>
          <a:p>
            <a:r>
              <a:rPr lang="en-US"/>
              <a:t>…monitor regulatory documents for changes</a:t>
            </a:r>
          </a:p>
          <a:p>
            <a:r>
              <a:rPr lang="en-US"/>
              <a:t>…extract data from legal documents</a:t>
            </a:r>
          </a:p>
          <a:p>
            <a:r>
              <a:rPr lang="en-US"/>
              <a:t>…legal writers share content while concealing specific data or text</a:t>
            </a:r>
          </a:p>
          <a:p>
            <a:r>
              <a:rPr lang="en-US"/>
              <a:t>…map, extract and consolidate data from various internal sources</a:t>
            </a:r>
          </a:p>
          <a:p>
            <a:r>
              <a:rPr lang="en-US"/>
              <a:t>…with data retrieval &amp; transfers</a:t>
            </a:r>
          </a:p>
          <a:p>
            <a:r>
              <a:rPr lang="en-US"/>
              <a:t>…with time monitoring on projects and legal matters and timesheet creation</a:t>
            </a:r>
          </a:p>
          <a:p>
            <a:endParaRPr lang="en-US"/>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50118"/>
            <a:ext cx="3641242" cy="2543644"/>
          </a:xfrm>
        </p:spPr>
        <p:txBody>
          <a:bodyPr/>
          <a:lstStyle/>
          <a:p>
            <a:r>
              <a:rPr lang="en-US"/>
              <a:t>…attorneys answer frequently asked questions from employees</a:t>
            </a:r>
          </a:p>
          <a:p>
            <a:r>
              <a:rPr lang="en-US"/>
              <a:t>…operationalize GDPR compliance processes</a:t>
            </a:r>
          </a:p>
          <a:p>
            <a:r>
              <a:rPr lang="en-US"/>
              <a:t>…legal staff generate and amend legal documents, like NDAs</a:t>
            </a:r>
          </a:p>
          <a:p>
            <a:r>
              <a:rPr lang="en-US"/>
              <a:t>…ensure compliance with export control laws and regulations</a:t>
            </a:r>
          </a:p>
          <a:p>
            <a:r>
              <a:rPr lang="en-US"/>
              <a:t>…apply legal department playbooks</a:t>
            </a:r>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767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767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948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rPr>
              <a:t>A robot assistant for every…</a:t>
            </a:r>
            <a:endParaRPr lang="en-US"/>
          </a:p>
        </p:txBody>
      </p:sp>
    </p:spTree>
    <p:extLst>
      <p:ext uri="{BB962C8B-B14F-4D97-AF65-F5344CB8AC3E}">
        <p14:creationId xmlns:p14="http://schemas.microsoft.com/office/powerpoint/2010/main" val="35323496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6099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6099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a:solidFill>
                  <a:schemeClr val="accent1"/>
                </a:solidFill>
                <a:latin typeface="Arial"/>
              </a:rPr>
              <a:t>contact center agent</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3" name="Text Placeholder 2">
            <a:extLst>
              <a:ext uri="{FF2B5EF4-FFF2-40B4-BE49-F238E27FC236}">
                <a16:creationId xmlns:a16="http://schemas.microsoft.com/office/drawing/2014/main" id="{9F59643D-7505-45C4-BE71-AE4EED23C2D0}"/>
              </a:ext>
            </a:extLst>
          </p:cNvPr>
          <p:cNvSpPr>
            <a:spLocks noGrp="1"/>
          </p:cNvSpPr>
          <p:nvPr>
            <p:ph type="body" sz="quarter" idx="11"/>
          </p:nvPr>
        </p:nvSpPr>
        <p:spPr>
          <a:xfrm>
            <a:off x="373856" y="2382395"/>
            <a:ext cx="6091238" cy="276999"/>
          </a:xfrm>
        </p:spPr>
        <p:txBody>
          <a:bodyPr/>
          <a:lstStyle/>
          <a:p>
            <a:r>
              <a:rPr lang="en-US"/>
              <a:t>Robots help…</a:t>
            </a:r>
          </a:p>
        </p:txBody>
      </p:sp>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6099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50118"/>
            <a:ext cx="3641242" cy="2543644"/>
          </a:xfrm>
        </p:spPr>
        <p:txBody>
          <a:bodyPr/>
          <a:lstStyle/>
          <a:p>
            <a:pPr marL="171450" lvl="0" indent="-171450">
              <a:spcBef>
                <a:spcPts val="1200"/>
              </a:spcBef>
              <a:buFont typeface="Arial" panose="020B0604020202020204" pitchFamily="34" charset="0"/>
              <a:buChar char="•"/>
            </a:pPr>
            <a:r>
              <a:rPr lang="en-US"/>
              <a:t>…agents get a 360-degree view of customer</a:t>
            </a:r>
          </a:p>
          <a:p>
            <a:pPr marL="171450" lvl="0" indent="-171450">
              <a:spcBef>
                <a:spcPts val="1200"/>
              </a:spcBef>
              <a:buFont typeface="Arial" panose="020B0604020202020204" pitchFamily="34" charset="0"/>
              <a:buChar char="•"/>
            </a:pPr>
            <a:r>
              <a:rPr lang="en-US"/>
              <a:t>…agents understand a customer’s sentiment</a:t>
            </a:r>
          </a:p>
          <a:p>
            <a:pPr marL="171450" lvl="0" indent="-171450">
              <a:spcBef>
                <a:spcPts val="1200"/>
              </a:spcBef>
              <a:buFont typeface="Arial" panose="020B0604020202020204" pitchFamily="34" charset="0"/>
              <a:buChar char="•"/>
            </a:pPr>
            <a:r>
              <a:rPr lang="en-US"/>
              <a:t>…agents find knowledge faster to resolve customer issues</a:t>
            </a:r>
          </a:p>
          <a:p>
            <a:pPr marL="171450" lvl="0" indent="-171450">
              <a:spcBef>
                <a:spcPts val="1200"/>
              </a:spcBef>
              <a:buFont typeface="Arial" panose="020B0604020202020204" pitchFamily="34" charset="0"/>
              <a:buChar char="•"/>
            </a:pPr>
            <a:r>
              <a:rPr lang="en-US"/>
              <a:t>…automate routine, high-volume customer requests</a:t>
            </a:r>
          </a:p>
          <a:p>
            <a:pPr marL="171450" lvl="0" indent="-171450">
              <a:spcBef>
                <a:spcPts val="1200"/>
              </a:spcBef>
              <a:buFont typeface="Arial" panose="020B0604020202020204" pitchFamily="34" charset="0"/>
              <a:buChar char="•"/>
            </a:pPr>
            <a:r>
              <a:rPr lang="en-US"/>
              <a:t>…guide agents through infrequent customer inquiries</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50118"/>
            <a:ext cx="3641242" cy="2543644"/>
          </a:xfrm>
        </p:spPr>
        <p:txBody>
          <a:bodyPr/>
          <a:lstStyle/>
          <a:p>
            <a:r>
              <a:rPr lang="en-US"/>
              <a:t>…eliminate in-call &amp; after-call data entry tasks</a:t>
            </a:r>
          </a:p>
          <a:p>
            <a:r>
              <a:rPr lang="en-US"/>
              <a:t>…update customer information across systems after each call</a:t>
            </a:r>
          </a:p>
          <a:p>
            <a:r>
              <a:rPr lang="en-US"/>
              <a:t>…increase compliance and data security by protecting sensitive data</a:t>
            </a:r>
          </a:p>
          <a:p>
            <a:r>
              <a:rPr lang="en-US"/>
              <a:t>…customers transfer between self-service channels and agents</a:t>
            </a:r>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50118"/>
            <a:ext cx="3641242" cy="2543644"/>
          </a:xfrm>
        </p:spPr>
        <p:txBody>
          <a:bodyPr/>
          <a:lstStyle/>
          <a:p>
            <a:r>
              <a:rPr lang="en-US"/>
              <a:t>…agents authenticate the caller</a:t>
            </a:r>
          </a:p>
          <a:p>
            <a:r>
              <a:rPr lang="en-US"/>
              <a:t>…agents answer customer inquiries</a:t>
            </a:r>
          </a:p>
          <a:p>
            <a:r>
              <a:rPr lang="en-US"/>
              <a:t>…provide agents with a contextual script to reduce training time</a:t>
            </a:r>
          </a:p>
          <a:p>
            <a:r>
              <a:rPr lang="en-US"/>
              <a:t>…reduce supervisor escalations</a:t>
            </a:r>
          </a:p>
          <a:p>
            <a:r>
              <a:rPr lang="en-US"/>
              <a:t>…agents recommend next best actions to customers</a:t>
            </a:r>
          </a:p>
          <a:p>
            <a:r>
              <a:rPr lang="en-US"/>
              <a:t>…agents detect and manage fraud</a:t>
            </a:r>
          </a:p>
          <a:p>
            <a:r>
              <a:rPr lang="en-US"/>
              <a:t>…supervisors manage onboarding, scheduling, and offboarding</a:t>
            </a:r>
          </a:p>
          <a:p>
            <a:endParaRPr lang="en-US"/>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767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767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948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rPr>
              <a:t>A robot assistant for every…</a:t>
            </a:r>
            <a:endParaRPr lang="en-US"/>
          </a:p>
        </p:txBody>
      </p:sp>
    </p:spTree>
    <p:extLst>
      <p:ext uri="{BB962C8B-B14F-4D97-AF65-F5344CB8AC3E}">
        <p14:creationId xmlns:p14="http://schemas.microsoft.com/office/powerpoint/2010/main" val="36477232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6099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6099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a:solidFill>
                  <a:schemeClr val="accent1"/>
                </a:solidFill>
                <a:latin typeface="Arial"/>
              </a:rPr>
              <a:t>human resources professional</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3" name="Text Placeholder 2">
            <a:extLst>
              <a:ext uri="{FF2B5EF4-FFF2-40B4-BE49-F238E27FC236}">
                <a16:creationId xmlns:a16="http://schemas.microsoft.com/office/drawing/2014/main" id="{9F59643D-7505-45C4-BE71-AE4EED23C2D0}"/>
              </a:ext>
            </a:extLst>
          </p:cNvPr>
          <p:cNvSpPr>
            <a:spLocks noGrp="1"/>
          </p:cNvSpPr>
          <p:nvPr>
            <p:ph type="body" sz="quarter" idx="11"/>
          </p:nvPr>
        </p:nvSpPr>
        <p:spPr>
          <a:xfrm>
            <a:off x="373856" y="2382395"/>
            <a:ext cx="6091238" cy="276999"/>
          </a:xfrm>
        </p:spPr>
        <p:txBody>
          <a:bodyPr/>
          <a:lstStyle/>
          <a:p>
            <a:r>
              <a:rPr lang="en-US"/>
              <a:t>Robots help…</a:t>
            </a:r>
          </a:p>
        </p:txBody>
      </p:sp>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6099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50118"/>
            <a:ext cx="3641242" cy="2543644"/>
          </a:xfrm>
        </p:spPr>
        <p:txBody>
          <a:bodyPr/>
          <a:lstStyle/>
          <a:p>
            <a:pPr marL="171450" lvl="0" indent="-171450">
              <a:spcBef>
                <a:spcPts val="1200"/>
              </a:spcBef>
              <a:buFont typeface="Arial" panose="020B0604020202020204" pitchFamily="34" charset="0"/>
              <a:buChar char="•"/>
            </a:pPr>
            <a:r>
              <a:rPr lang="en-US"/>
              <a:t>…perform background checks for prospective hires</a:t>
            </a:r>
          </a:p>
          <a:p>
            <a:pPr marL="171450" lvl="0" indent="-171450">
              <a:spcBef>
                <a:spcPts val="1200"/>
              </a:spcBef>
              <a:buFont typeface="Arial" panose="020B0604020202020204" pitchFamily="34" charset="0"/>
              <a:buChar char="•"/>
            </a:pPr>
            <a:r>
              <a:rPr lang="en-US"/>
              <a:t>…collect compensation data from various sources for benchmarking analysis</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50118"/>
            <a:ext cx="3641242" cy="2543644"/>
          </a:xfrm>
        </p:spPr>
        <p:txBody>
          <a:bodyPr/>
          <a:lstStyle/>
          <a:p>
            <a:r>
              <a:rPr lang="en-US"/>
              <a:t>…</a:t>
            </a:r>
            <a:r>
              <a:rPr lang="en-US" err="1"/>
              <a:t>sourcers</a:t>
            </a:r>
            <a:r>
              <a:rPr lang="en-US"/>
              <a:t> &amp; recruiters triage resumes</a:t>
            </a:r>
          </a:p>
          <a:p>
            <a:r>
              <a:rPr lang="en-US"/>
              <a:t>…recruiters organize candidate pipelines</a:t>
            </a:r>
          </a:p>
          <a:p>
            <a:r>
              <a:rPr lang="en-US"/>
              <a:t>…collate T&amp;E data from multiple sources for entry into payroll systems</a:t>
            </a:r>
          </a:p>
          <a:p>
            <a:r>
              <a:rPr lang="en-US"/>
              <a:t>…update compensation information and distribute compensation letters to employees</a:t>
            </a:r>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50118"/>
            <a:ext cx="3641242" cy="2543644"/>
          </a:xfrm>
        </p:spPr>
        <p:txBody>
          <a:bodyPr/>
          <a:lstStyle/>
          <a:p>
            <a:r>
              <a:rPr lang="en-US"/>
              <a:t>…send onboarding emails to new hires</a:t>
            </a:r>
          </a:p>
          <a:p>
            <a:r>
              <a:rPr lang="en-US"/>
              <a:t>…set up onboarding training for new hires</a:t>
            </a:r>
          </a:p>
          <a:p>
            <a:r>
              <a:rPr lang="en-US"/>
              <a:t>…respond to employee queries &amp; requests</a:t>
            </a:r>
          </a:p>
          <a:p>
            <a:r>
              <a:rPr lang="en-US"/>
              <a:t>…recruiters post &amp; maintain job openings</a:t>
            </a:r>
          </a:p>
          <a:p>
            <a:r>
              <a:rPr lang="en-US"/>
              <a:t>…L&amp;D staff maintain a learning calendar, review course credits, and issue certificates</a:t>
            </a:r>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767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767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948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rPr>
              <a:t>A robot assistant for every…</a:t>
            </a:r>
            <a:endParaRPr lang="en-US"/>
          </a:p>
        </p:txBody>
      </p:sp>
    </p:spTree>
    <p:extLst>
      <p:ext uri="{BB962C8B-B14F-4D97-AF65-F5344CB8AC3E}">
        <p14:creationId xmlns:p14="http://schemas.microsoft.com/office/powerpoint/2010/main" val="5811588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6099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6099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a:solidFill>
                  <a:schemeClr val="accent1"/>
                </a:solidFill>
                <a:latin typeface="Arial"/>
              </a:rPr>
              <a:t>finance professional</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3" name="Text Placeholder 2">
            <a:extLst>
              <a:ext uri="{FF2B5EF4-FFF2-40B4-BE49-F238E27FC236}">
                <a16:creationId xmlns:a16="http://schemas.microsoft.com/office/drawing/2014/main" id="{9F59643D-7505-45C4-BE71-AE4EED23C2D0}"/>
              </a:ext>
            </a:extLst>
          </p:cNvPr>
          <p:cNvSpPr>
            <a:spLocks noGrp="1"/>
          </p:cNvSpPr>
          <p:nvPr>
            <p:ph type="body" sz="quarter" idx="11"/>
          </p:nvPr>
        </p:nvSpPr>
        <p:spPr>
          <a:xfrm>
            <a:off x="373856" y="2382395"/>
            <a:ext cx="6091238" cy="276999"/>
          </a:xfrm>
        </p:spPr>
        <p:txBody>
          <a:bodyPr/>
          <a:lstStyle/>
          <a:p>
            <a:r>
              <a:rPr lang="en-US"/>
              <a:t>Robots help…</a:t>
            </a:r>
          </a:p>
        </p:txBody>
      </p:sp>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6099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50118"/>
            <a:ext cx="3641242" cy="2543644"/>
          </a:xfrm>
        </p:spPr>
        <p:txBody>
          <a:bodyPr/>
          <a:lstStyle/>
          <a:p>
            <a:pPr marL="171450" lvl="0" indent="-171450">
              <a:spcBef>
                <a:spcPts val="1200"/>
              </a:spcBef>
              <a:buFont typeface="Arial" panose="020B0604020202020204" pitchFamily="34" charset="0"/>
              <a:buChar char="•"/>
            </a:pPr>
            <a:r>
              <a:rPr lang="en-US"/>
              <a:t>…run credit check reports to assess customer credit</a:t>
            </a:r>
          </a:p>
          <a:p>
            <a:pPr marL="171450" lvl="0" indent="-171450">
              <a:spcBef>
                <a:spcPts val="1200"/>
              </a:spcBef>
              <a:buFont typeface="Arial" panose="020B0604020202020204" pitchFamily="34" charset="0"/>
              <a:buChar char="•"/>
            </a:pPr>
            <a:r>
              <a:rPr lang="en-US"/>
              <a:t>…identify potential auto-matches between open invoices and payments</a:t>
            </a:r>
          </a:p>
          <a:p>
            <a:pPr marL="171450" lvl="0" indent="-171450">
              <a:spcBef>
                <a:spcPts val="1200"/>
              </a:spcBef>
              <a:buFont typeface="Arial" panose="020B0604020202020204" pitchFamily="34" charset="0"/>
              <a:buChar char="•"/>
            </a:pPr>
            <a:r>
              <a:rPr lang="en-US"/>
              <a:t>…vendor maintenance teams with pre-checks for supplier onboarding</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50118"/>
            <a:ext cx="3641242" cy="2543644"/>
          </a:xfrm>
        </p:spPr>
        <p:txBody>
          <a:bodyPr/>
          <a:lstStyle/>
          <a:p>
            <a:r>
              <a:rPr lang="en-US"/>
              <a:t>…aggregate data from various sources to create and generate reports</a:t>
            </a:r>
          </a:p>
          <a:p>
            <a:r>
              <a:rPr lang="en-US"/>
              <a:t>…accounts payable aggregate data for accrual journals</a:t>
            </a:r>
          </a:p>
          <a:p>
            <a:r>
              <a:rPr lang="en-US"/>
              <a:t>…analyze transactions and identify potential reclassifications</a:t>
            </a:r>
          </a:p>
          <a:p>
            <a:r>
              <a:rPr lang="en-US"/>
              <a:t>…tax teams pre-populate documents for generating tax returns</a:t>
            </a:r>
          </a:p>
          <a:p>
            <a:r>
              <a:rPr lang="en-US"/>
              <a:t>…compliance teams aggregate data for audits &amp; analyze it for non-compliance</a:t>
            </a:r>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50118"/>
            <a:ext cx="3641242" cy="2543644"/>
          </a:xfrm>
        </p:spPr>
        <p:txBody>
          <a:bodyPr/>
          <a:lstStyle/>
          <a:p>
            <a:r>
              <a:rPr lang="en-US"/>
              <a:t>…collection agents compose and send dunning letters</a:t>
            </a:r>
          </a:p>
          <a:p>
            <a:r>
              <a:rPr lang="en-US"/>
              <a:t>…accounts payable clerks with PO, Invoice, and Receipt data entry into an ERP</a:t>
            </a:r>
          </a:p>
          <a:p>
            <a:r>
              <a:rPr lang="en-US"/>
              <a:t>…helpdesk agents swiftly resolve standard requests </a:t>
            </a:r>
          </a:p>
          <a:p>
            <a:r>
              <a:rPr lang="en-US"/>
              <a:t>…post journal entries into accounting system</a:t>
            </a:r>
          </a:p>
          <a:p>
            <a:r>
              <a:rPr lang="en-US"/>
              <a:t>…tax teams with e-filing tax returns into various tax jurisdiction portals</a:t>
            </a:r>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767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767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948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rPr>
              <a:t>A robot assistant for every…</a:t>
            </a:r>
            <a:endParaRPr lang="en-US"/>
          </a:p>
        </p:txBody>
      </p:sp>
    </p:spTree>
    <p:extLst>
      <p:ext uri="{BB962C8B-B14F-4D97-AF65-F5344CB8AC3E}">
        <p14:creationId xmlns:p14="http://schemas.microsoft.com/office/powerpoint/2010/main" val="5741820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5912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5912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a:solidFill>
                  <a:schemeClr val="accent1"/>
                </a:solidFill>
                <a:latin typeface="Arial"/>
              </a:rPr>
              <a:t>farmer </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5912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48248"/>
            <a:ext cx="3641242" cy="2543644"/>
          </a:xfrm>
        </p:spPr>
        <p:txBody>
          <a:bodyPr/>
          <a:lstStyle/>
          <a:p>
            <a:r>
              <a:rPr lang="en-US">
                <a:cs typeface="Calibri" panose="020F0502020204030204" pitchFamily="34" charset="0"/>
              </a:rPr>
              <a:t>…with market fluctuations</a:t>
            </a:r>
          </a:p>
          <a:p>
            <a:r>
              <a:rPr lang="en-US">
                <a:cs typeface="Calibri" panose="020F0502020204030204" pitchFamily="34" charset="0"/>
              </a:rPr>
              <a:t>…with granary, rail head, dock hours and notifications</a:t>
            </a:r>
          </a:p>
          <a:p>
            <a:r>
              <a:rPr lang="en-US">
                <a:cs typeface="Calibri" panose="020F0502020204030204" pitchFamily="34" charset="0"/>
              </a:rPr>
              <a:t>…with corporate information and announcements</a:t>
            </a:r>
          </a:p>
          <a:p>
            <a:r>
              <a:rPr lang="en-US">
                <a:cs typeface="Calibri" panose="020F0502020204030204" pitchFamily="34" charset="0"/>
              </a:rPr>
              <a:t>…with grower meetings</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48248"/>
            <a:ext cx="3641242" cy="2543644"/>
          </a:xfrm>
        </p:spPr>
        <p:txBody>
          <a:bodyPr/>
          <a:lstStyle/>
          <a:p>
            <a:r>
              <a:rPr lang="en-US">
                <a:cs typeface="Calibri" panose="020F0502020204030204" pitchFamily="34" charset="0"/>
              </a:rPr>
              <a:t>…see future pricing </a:t>
            </a:r>
          </a:p>
          <a:p>
            <a:r>
              <a:rPr lang="en-US">
                <a:cs typeface="Calibri" panose="020F0502020204030204" pitchFamily="34" charset="0"/>
              </a:rPr>
              <a:t>…with real time inventories</a:t>
            </a:r>
          </a:p>
          <a:p>
            <a:r>
              <a:rPr lang="en-US">
                <a:cs typeface="Calibri" panose="020F0502020204030204" pitchFamily="34" charset="0"/>
              </a:rPr>
              <a:t>…view settlements and incoming revenue</a:t>
            </a:r>
          </a:p>
          <a:p>
            <a:r>
              <a:rPr lang="en-US">
                <a:cs typeface="Calibri" panose="020F0502020204030204" pitchFamily="34" charset="0"/>
              </a:rPr>
              <a:t>…see expenses in feed, fertilizers, seeds, chemicals, fuel</a:t>
            </a:r>
          </a:p>
          <a:p>
            <a:r>
              <a:rPr lang="en-US">
                <a:cs typeface="Calibri" panose="020F0502020204030204" pitchFamily="34" charset="0"/>
              </a:rPr>
              <a:t>…search and value inventory</a:t>
            </a:r>
          </a:p>
          <a:p>
            <a:endParaRPr lang="en-US">
              <a:cs typeface="Calibri" panose="020F0502020204030204" pitchFamily="34" charset="0"/>
            </a:endParaRPr>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48248"/>
            <a:ext cx="3641242" cy="2543644"/>
          </a:xfrm>
        </p:spPr>
        <p:txBody>
          <a:bodyPr/>
          <a:lstStyle/>
          <a:p>
            <a:r>
              <a:rPr lang="en-US">
                <a:cs typeface="Calibri" panose="020F0502020204030204" pitchFamily="34" charset="0"/>
              </a:rPr>
              <a:t>…settle contracts</a:t>
            </a:r>
          </a:p>
          <a:p>
            <a:r>
              <a:rPr lang="en-US">
                <a:cs typeface="Calibri" panose="020F0502020204030204" pitchFamily="34" charset="0"/>
              </a:rPr>
              <a:t>…automate delivery, eliminating paper and increasing speed</a:t>
            </a:r>
          </a:p>
          <a:p>
            <a:r>
              <a:rPr lang="en-US">
                <a:cs typeface="Calibri" panose="020F0502020204030204" pitchFamily="34" charset="0"/>
              </a:rPr>
              <a:t>…accept bids and work orders</a:t>
            </a:r>
          </a:p>
          <a:p>
            <a:r>
              <a:rPr lang="en-US">
                <a:cs typeface="Calibri" panose="020F0502020204030204" pitchFamily="34" charset="0"/>
              </a:rPr>
              <a:t>…plan revenue</a:t>
            </a:r>
          </a:p>
          <a:p>
            <a:r>
              <a:rPr lang="en-US">
                <a:cs typeface="Calibri" panose="020F0502020204030204" pitchFamily="34" charset="0"/>
              </a:rPr>
              <a:t>…sign contracts digitally</a:t>
            </a:r>
          </a:p>
          <a:p>
            <a:endParaRPr lang="en-US">
              <a:cs typeface="Calibri" panose="020F0502020204030204" pitchFamily="34" charset="0"/>
            </a:endParaRPr>
          </a:p>
          <a:p>
            <a:endParaRPr lang="en-US">
              <a:cs typeface="Calibri" panose="020F0502020204030204" pitchFamily="34" charset="0"/>
            </a:endParaRPr>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580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580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761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pPr marL="0" marR="0" lvl="0" indent="0" algn="l" defTabSz="457200" rtl="0" eaLnBrk="1" fontAlgn="auto" latinLnBrk="0" hangingPunct="1">
              <a:lnSpc>
                <a:spcPct val="85000"/>
              </a:lnSpc>
              <a:spcBef>
                <a:spcPct val="0"/>
              </a:spcBef>
              <a:spcAft>
                <a:spcPts val="0"/>
              </a:spcAft>
              <a:buClrTx/>
              <a:buSzTx/>
              <a:buFontTx/>
              <a:buNone/>
              <a:tabLst>
                <a:tab pos="2227263" algn="l"/>
              </a:tabLst>
              <a:defRPr/>
            </a:pPr>
            <a:r>
              <a:rPr kumimoji="0" lang="en-US" sz="2800" b="1" i="0" u="none" strike="noStrike" kern="1200" cap="none" spc="-50" normalizeH="0" baseline="0" noProof="0">
                <a:ln>
                  <a:noFill/>
                </a:ln>
                <a:solidFill>
                  <a:srgbClr val="000000"/>
                </a:solidFill>
                <a:effectLst/>
                <a:uLnTx/>
                <a:uFillTx/>
                <a:latin typeface="Arial"/>
                <a:ea typeface="+mj-ea"/>
                <a:cs typeface="Arial"/>
              </a:rPr>
              <a:t>A robot assistant for every…</a:t>
            </a:r>
            <a:endParaRPr kumimoji="0" lang="en-US" sz="2800" b="1" i="0" u="none" strike="noStrike" kern="1200" cap="none" spc="-50" normalizeH="0" baseline="0" noProof="0">
              <a:ln>
                <a:noFill/>
              </a:ln>
              <a:solidFill>
                <a:srgbClr val="000000"/>
              </a:solidFill>
              <a:effectLst/>
              <a:uLnTx/>
              <a:uFillTx/>
              <a:latin typeface="Arial" panose="020B0604020202020204" pitchFamily="34" charset="0"/>
              <a:ea typeface="+mj-ea"/>
              <a:cs typeface="Arial"/>
            </a:endParaRPr>
          </a:p>
        </p:txBody>
      </p:sp>
      <p:sp>
        <p:nvSpPr>
          <p:cNvPr id="16" name="Text Placeholder 2">
            <a:extLst>
              <a:ext uri="{FF2B5EF4-FFF2-40B4-BE49-F238E27FC236}">
                <a16:creationId xmlns:a16="http://schemas.microsoft.com/office/drawing/2014/main" id="{C3AD0863-85DE-42C0-B2BF-783EBDAEA491}"/>
              </a:ext>
            </a:extLst>
          </p:cNvPr>
          <p:cNvSpPr>
            <a:spLocks noGrp="1"/>
          </p:cNvSpPr>
          <p:nvPr>
            <p:ph type="body" sz="quarter" idx="11"/>
          </p:nvPr>
        </p:nvSpPr>
        <p:spPr>
          <a:xfrm>
            <a:off x="373856" y="2382395"/>
            <a:ext cx="6091238" cy="276999"/>
          </a:xfrm>
        </p:spPr>
        <p:txBody>
          <a:bodyPr/>
          <a:lstStyle/>
          <a:p>
            <a:r>
              <a:rPr lang="en-US"/>
              <a:t>Robots help…</a:t>
            </a:r>
          </a:p>
        </p:txBody>
      </p:sp>
    </p:spTree>
    <p:extLst>
      <p:ext uri="{BB962C8B-B14F-4D97-AF65-F5344CB8AC3E}">
        <p14:creationId xmlns:p14="http://schemas.microsoft.com/office/powerpoint/2010/main" val="7213071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7BC2773-9A97-446C-B0A5-035FE45654A5}"/>
              </a:ext>
            </a:extLst>
          </p:cNvPr>
          <p:cNvSpPr>
            <a:spLocks noGrp="1"/>
          </p:cNvSpPr>
          <p:nvPr>
            <p:ph type="body" sz="quarter" idx="14"/>
          </p:nvPr>
        </p:nvSpPr>
        <p:spPr>
          <a:xfrm>
            <a:off x="8823799" y="3060991"/>
            <a:ext cx="2985614" cy="466987"/>
          </a:xfrm>
        </p:spPr>
        <p:txBody>
          <a:bodyPr/>
          <a:lstStyle/>
          <a:p>
            <a:r>
              <a:rPr lang="en-US"/>
              <a:t>Take Action</a:t>
            </a:r>
          </a:p>
        </p:txBody>
      </p:sp>
      <p:sp>
        <p:nvSpPr>
          <p:cNvPr id="6" name="Text Placeholder 5">
            <a:extLst>
              <a:ext uri="{FF2B5EF4-FFF2-40B4-BE49-F238E27FC236}">
                <a16:creationId xmlns:a16="http://schemas.microsoft.com/office/drawing/2014/main" id="{217500D8-CE87-4CE2-BFDB-EB58A80A92B5}"/>
              </a:ext>
            </a:extLst>
          </p:cNvPr>
          <p:cNvSpPr>
            <a:spLocks noGrp="1"/>
          </p:cNvSpPr>
          <p:nvPr>
            <p:ph type="body" sz="quarter" idx="13"/>
          </p:nvPr>
        </p:nvSpPr>
        <p:spPr>
          <a:xfrm>
            <a:off x="4581525" y="3060991"/>
            <a:ext cx="3163652" cy="466987"/>
          </a:xfrm>
        </p:spPr>
        <p:txBody>
          <a:bodyPr/>
          <a:lstStyle/>
          <a:p>
            <a:r>
              <a:rPr lang="en-US"/>
              <a:t>Manage Data</a:t>
            </a:r>
          </a:p>
        </p:txBody>
      </p:sp>
      <p:sp>
        <p:nvSpPr>
          <p:cNvPr id="4" name="Title 3">
            <a:extLst>
              <a:ext uri="{FF2B5EF4-FFF2-40B4-BE49-F238E27FC236}">
                <a16:creationId xmlns:a16="http://schemas.microsoft.com/office/drawing/2014/main" id="{A81FFC87-1D11-44A3-9077-D87A3A9FA090}"/>
              </a:ext>
            </a:extLst>
          </p:cNvPr>
          <p:cNvSpPr>
            <a:spLocks noGrp="1"/>
          </p:cNvSpPr>
          <p:nvPr>
            <p:ph type="title"/>
          </p:nvPr>
        </p:nvSpPr>
        <p:spPr>
          <a:xfrm>
            <a:off x="2122489" y="1181845"/>
            <a:ext cx="8835886" cy="690029"/>
          </a:xfrm>
        </p:spPr>
        <p:txBody>
          <a:bodyPr/>
          <a:lstStyle/>
          <a:p>
            <a:r>
              <a:rPr lang="en-US">
                <a:solidFill>
                  <a:schemeClr val="accent1"/>
                </a:solidFill>
                <a:latin typeface="Arial"/>
              </a:rPr>
              <a:t>insurance professional</a:t>
            </a:r>
          </a:p>
        </p:txBody>
      </p:sp>
      <p:pic>
        <p:nvPicPr>
          <p:cNvPr id="21" name="Picture Placeholder 20">
            <a:extLst>
              <a:ext uri="{FF2B5EF4-FFF2-40B4-BE49-F238E27FC236}">
                <a16:creationId xmlns:a16="http://schemas.microsoft.com/office/drawing/2014/main" id="{2042A3D3-A6B3-4380-9B62-C68B125FBFC3}"/>
              </a:ext>
            </a:extLst>
          </p:cNvPr>
          <p:cNvPicPr>
            <a:picLocks noGrp="1" noChangeAspect="1"/>
          </p:cNvPicPr>
          <p:nvPr>
            <p:ph type="pic" sz="quarter" idx="10"/>
          </p:nvPr>
        </p:nvPicPr>
        <p:blipFill rotWithShape="1">
          <a:blip r:embed="rId2"/>
          <a:srcRect l="14384" r="14384"/>
          <a:stretch/>
        </p:blipFill>
        <p:spPr>
          <a:xfrm>
            <a:off x="377034" y="460026"/>
            <a:ext cx="1443638" cy="1443638"/>
          </a:xfrm>
        </p:spPr>
      </p:pic>
      <p:sp>
        <p:nvSpPr>
          <p:cNvPr id="3" name="Text Placeholder 2">
            <a:extLst>
              <a:ext uri="{FF2B5EF4-FFF2-40B4-BE49-F238E27FC236}">
                <a16:creationId xmlns:a16="http://schemas.microsoft.com/office/drawing/2014/main" id="{9F59643D-7505-45C4-BE71-AE4EED23C2D0}"/>
              </a:ext>
            </a:extLst>
          </p:cNvPr>
          <p:cNvSpPr>
            <a:spLocks noGrp="1"/>
          </p:cNvSpPr>
          <p:nvPr>
            <p:ph type="body" sz="quarter" idx="11"/>
          </p:nvPr>
        </p:nvSpPr>
        <p:spPr>
          <a:xfrm>
            <a:off x="373856" y="2382395"/>
            <a:ext cx="6091238" cy="276999"/>
          </a:xfrm>
        </p:spPr>
        <p:txBody>
          <a:bodyPr/>
          <a:lstStyle/>
          <a:p>
            <a:r>
              <a:rPr lang="en-US"/>
              <a:t>Robots help…</a:t>
            </a:r>
          </a:p>
        </p:txBody>
      </p:sp>
      <p:sp>
        <p:nvSpPr>
          <p:cNvPr id="5" name="Text Placeholder 4">
            <a:extLst>
              <a:ext uri="{FF2B5EF4-FFF2-40B4-BE49-F238E27FC236}">
                <a16:creationId xmlns:a16="http://schemas.microsoft.com/office/drawing/2014/main" id="{96EA18DF-83A8-4C45-ABE8-B921935C5815}"/>
              </a:ext>
            </a:extLst>
          </p:cNvPr>
          <p:cNvSpPr>
            <a:spLocks noGrp="1"/>
          </p:cNvSpPr>
          <p:nvPr>
            <p:ph type="body" sz="quarter" idx="12"/>
          </p:nvPr>
        </p:nvSpPr>
        <p:spPr>
          <a:xfrm>
            <a:off x="695325" y="3060991"/>
            <a:ext cx="2985614" cy="466987"/>
          </a:xfrm>
        </p:spPr>
        <p:txBody>
          <a:bodyPr/>
          <a:lstStyle/>
          <a:p>
            <a:r>
              <a:rPr lang="en-US"/>
              <a:t>Assess</a:t>
            </a:r>
          </a:p>
        </p:txBody>
      </p:sp>
      <p:sp>
        <p:nvSpPr>
          <p:cNvPr id="8" name="Text Placeholder 7">
            <a:extLst>
              <a:ext uri="{FF2B5EF4-FFF2-40B4-BE49-F238E27FC236}">
                <a16:creationId xmlns:a16="http://schemas.microsoft.com/office/drawing/2014/main" id="{0E06A688-B119-495A-85B7-BAAACAD08324}"/>
              </a:ext>
            </a:extLst>
          </p:cNvPr>
          <p:cNvSpPr>
            <a:spLocks noGrp="1"/>
          </p:cNvSpPr>
          <p:nvPr>
            <p:ph type="body" sz="quarter" idx="15"/>
          </p:nvPr>
        </p:nvSpPr>
        <p:spPr>
          <a:xfrm>
            <a:off x="381001" y="3850118"/>
            <a:ext cx="3641242" cy="2543644"/>
          </a:xfrm>
        </p:spPr>
        <p:txBody>
          <a:bodyPr/>
          <a:lstStyle/>
          <a:p>
            <a:r>
              <a:rPr lang="en-US"/>
              <a:t>…underwriters extract data from clients and third-party to assess and price an insurance risk</a:t>
            </a:r>
          </a:p>
          <a:p>
            <a:pPr marL="0" indent="0">
              <a:buNone/>
            </a:pPr>
            <a:r>
              <a:rPr lang="en-US"/>
              <a:t> …claims teams automate the collection of claims history and risk factors for fraud</a:t>
            </a:r>
          </a:p>
          <a:p>
            <a:r>
              <a:rPr lang="en-US"/>
              <a:t>…retirement and life advisors' analysis and model pension plans for clients </a:t>
            </a:r>
          </a:p>
          <a:p>
            <a:r>
              <a:rPr lang="en-US"/>
              <a:t>…global insights teams provide 360 view on clients, analysis on their needs plus new product, market and services requirements </a:t>
            </a:r>
          </a:p>
          <a:p>
            <a:r>
              <a:rPr lang="en-US"/>
              <a:t>…risk and compliance teams collect evidence for Conduct, AML, Fraud, Sanctions, &amp; other Financial Crimes</a:t>
            </a:r>
          </a:p>
        </p:txBody>
      </p:sp>
      <p:sp>
        <p:nvSpPr>
          <p:cNvPr id="9" name="Text Placeholder 8">
            <a:extLst>
              <a:ext uri="{FF2B5EF4-FFF2-40B4-BE49-F238E27FC236}">
                <a16:creationId xmlns:a16="http://schemas.microsoft.com/office/drawing/2014/main" id="{3E6C12C2-B8CC-4632-ABE1-2EC86E3D7A39}"/>
              </a:ext>
            </a:extLst>
          </p:cNvPr>
          <p:cNvSpPr>
            <a:spLocks noGrp="1"/>
          </p:cNvSpPr>
          <p:nvPr>
            <p:ph type="body" sz="quarter" idx="16"/>
          </p:nvPr>
        </p:nvSpPr>
        <p:spPr>
          <a:xfrm>
            <a:off x="4274587" y="3850118"/>
            <a:ext cx="3641242" cy="2543644"/>
          </a:xfrm>
        </p:spPr>
        <p:txBody>
          <a:bodyPr/>
          <a:lstStyle/>
          <a:p>
            <a:r>
              <a:rPr lang="en-US"/>
              <a:t>…onboarding teams handle data across the value chain and monitor the quality and accuracy </a:t>
            </a:r>
          </a:p>
          <a:p>
            <a:r>
              <a:rPr lang="en-US"/>
              <a:t>… actuaries prepare data to optimize capitalization and reserving </a:t>
            </a:r>
          </a:p>
          <a:p>
            <a:r>
              <a:rPr lang="en-US"/>
              <a:t>…modelling teams collate, set and monitor pricing in line with performance</a:t>
            </a:r>
          </a:p>
          <a:p>
            <a:r>
              <a:rPr lang="en-US"/>
              <a:t>…relationship management teams with CRM data validation, cleansing, sales coverage processes and GDPR processes</a:t>
            </a:r>
          </a:p>
          <a:p>
            <a:r>
              <a:rPr lang="en-US"/>
              <a:t>… claims teams structure data to assess validity of the claim</a:t>
            </a:r>
          </a:p>
          <a:p>
            <a:endParaRPr lang="en-US"/>
          </a:p>
        </p:txBody>
      </p:sp>
      <p:sp>
        <p:nvSpPr>
          <p:cNvPr id="11" name="Text Placeholder 10">
            <a:extLst>
              <a:ext uri="{FF2B5EF4-FFF2-40B4-BE49-F238E27FC236}">
                <a16:creationId xmlns:a16="http://schemas.microsoft.com/office/drawing/2014/main" id="{49382EAF-742C-4709-A054-7F5A2A72E877}"/>
              </a:ext>
            </a:extLst>
          </p:cNvPr>
          <p:cNvSpPr>
            <a:spLocks noGrp="1"/>
          </p:cNvSpPr>
          <p:nvPr>
            <p:ph type="body" sz="quarter" idx="17"/>
          </p:nvPr>
        </p:nvSpPr>
        <p:spPr>
          <a:xfrm>
            <a:off x="8168171" y="3850118"/>
            <a:ext cx="3641242" cy="2543644"/>
          </a:xfrm>
        </p:spPr>
        <p:txBody>
          <a:bodyPr/>
          <a:lstStyle/>
          <a:p>
            <a:r>
              <a:rPr lang="en-US"/>
              <a:t>…customer service teams manage customer documentation, customer requests,  status updates, exception requests  and more</a:t>
            </a:r>
          </a:p>
          <a:p>
            <a:r>
              <a:rPr lang="en-US"/>
              <a:t>…sales teams bind risks on customer or broker instructions </a:t>
            </a:r>
          </a:p>
          <a:p>
            <a:r>
              <a:rPr lang="en-US"/>
              <a:t>…underwriting assurance monitor compliance with all regulatory processes</a:t>
            </a:r>
          </a:p>
          <a:p>
            <a:r>
              <a:rPr lang="en-US"/>
              <a:t>…claims officers quickly take action to resolve an incident for a customer</a:t>
            </a:r>
          </a:p>
          <a:p>
            <a:r>
              <a:rPr lang="en-US"/>
              <a:t>…Reinsurance specialists generate reinsurance programs to transfer risk from Insurers</a:t>
            </a:r>
          </a:p>
        </p:txBody>
      </p:sp>
      <p:pic>
        <p:nvPicPr>
          <p:cNvPr id="30" name="Picture 29" descr="A picture containing clock&#10;&#10;Description automatically generated">
            <a:extLst>
              <a:ext uri="{FF2B5EF4-FFF2-40B4-BE49-F238E27FC236}">
                <a16:creationId xmlns:a16="http://schemas.microsoft.com/office/drawing/2014/main" id="{EDD976C5-A41E-4E26-AFC1-7ED83B3633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5935" y="2877678"/>
            <a:ext cx="1465999" cy="745414"/>
          </a:xfrm>
          <a:prstGeom prst="rect">
            <a:avLst/>
          </a:prstGeom>
        </p:spPr>
      </p:pic>
      <p:pic>
        <p:nvPicPr>
          <p:cNvPr id="15" name="Picture 14">
            <a:extLst>
              <a:ext uri="{FF2B5EF4-FFF2-40B4-BE49-F238E27FC236}">
                <a16:creationId xmlns:a16="http://schemas.microsoft.com/office/drawing/2014/main" id="{ADD8C43F-8CBB-4B1C-927E-068D57F7AC5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257745" y="2877678"/>
            <a:ext cx="1037194" cy="67453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pic>
        <p:nvPicPr>
          <p:cNvPr id="17" name="Picture 16" descr="A picture containing table, blue, sitting, food&#10;&#10;Description automatically generated">
            <a:extLst>
              <a:ext uri="{FF2B5EF4-FFF2-40B4-BE49-F238E27FC236}">
                <a16:creationId xmlns:a16="http://schemas.microsoft.com/office/drawing/2014/main" id="{A971CD06-0A2B-4049-9DA5-4E0B6D9D21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4182890" y="2849487"/>
            <a:ext cx="1037194" cy="762975"/>
          </a:xfrm>
          <a:prstGeom prst="rect">
            <a:avLst/>
          </a:prstGeom>
        </p:spPr>
      </p:pic>
      <p:sp>
        <p:nvSpPr>
          <p:cNvPr id="2" name="Title 3">
            <a:extLst>
              <a:ext uri="{FF2B5EF4-FFF2-40B4-BE49-F238E27FC236}">
                <a16:creationId xmlns:a16="http://schemas.microsoft.com/office/drawing/2014/main" id="{FE7BDCB1-6272-4C38-B82D-E291CE042031}"/>
              </a:ext>
            </a:extLst>
          </p:cNvPr>
          <p:cNvSpPr txBox="1">
            <a:spLocks/>
          </p:cNvSpPr>
          <p:nvPr/>
        </p:nvSpPr>
        <p:spPr>
          <a:xfrm>
            <a:off x="2122489" y="719793"/>
            <a:ext cx="8835886" cy="340577"/>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a:latin typeface="Arial"/>
              </a:rPr>
              <a:t>A robot assistant for every…</a:t>
            </a:r>
            <a:endParaRPr lang="en-US"/>
          </a:p>
        </p:txBody>
      </p:sp>
    </p:spTree>
    <p:extLst>
      <p:ext uri="{BB962C8B-B14F-4D97-AF65-F5344CB8AC3E}">
        <p14:creationId xmlns:p14="http://schemas.microsoft.com/office/powerpoint/2010/main" val="3987754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78378D-FBD0-4BAF-809E-348706BDB2F0}"/>
              </a:ext>
            </a:extLst>
          </p:cNvPr>
          <p:cNvSpPr>
            <a:spLocks noGrp="1"/>
          </p:cNvSpPr>
          <p:nvPr>
            <p:ph type="title"/>
          </p:nvPr>
        </p:nvSpPr>
        <p:spPr>
          <a:xfrm>
            <a:off x="381001" y="357721"/>
            <a:ext cx="8414656" cy="690029"/>
          </a:xfrm>
        </p:spPr>
        <p:txBody>
          <a:bodyPr/>
          <a:lstStyle/>
          <a:p>
            <a:r>
              <a:rPr lang="en-US"/>
              <a:t>Tedious work makes your employees less productive &amp; engaged – and business suffers</a:t>
            </a:r>
          </a:p>
        </p:txBody>
      </p:sp>
      <p:sp>
        <p:nvSpPr>
          <p:cNvPr id="6" name="Rectangle 5">
            <a:extLst>
              <a:ext uri="{FF2B5EF4-FFF2-40B4-BE49-F238E27FC236}">
                <a16:creationId xmlns:a16="http://schemas.microsoft.com/office/drawing/2014/main" id="{FCEE1981-DCB0-4865-A1F5-51D4266DE827}"/>
              </a:ext>
            </a:extLst>
          </p:cNvPr>
          <p:cNvSpPr/>
          <p:nvPr/>
        </p:nvSpPr>
        <p:spPr>
          <a:xfrm>
            <a:off x="358589" y="1972022"/>
            <a:ext cx="3608293" cy="135815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74320" tIns="274320" rIns="274320" bIns="0" rtlCol="0" anchor="ctr" anchorCtr="0"/>
          <a:lstStyle/>
          <a:p>
            <a:pPr algn="ctr"/>
            <a:r>
              <a:rPr lang="en-US" sz="1800" b="1" spc="-30">
                <a:solidFill>
                  <a:srgbClr val="FFFFFF"/>
                </a:solidFill>
              </a:rPr>
              <a:t>Employees spend too much time on manual work</a:t>
            </a:r>
          </a:p>
        </p:txBody>
      </p:sp>
      <p:sp>
        <p:nvSpPr>
          <p:cNvPr id="5" name="Text Placeholder 4">
            <a:extLst>
              <a:ext uri="{FF2B5EF4-FFF2-40B4-BE49-F238E27FC236}">
                <a16:creationId xmlns:a16="http://schemas.microsoft.com/office/drawing/2014/main" id="{1C6895EB-0B17-4E0E-A517-22DB6C13BBAC}"/>
              </a:ext>
            </a:extLst>
          </p:cNvPr>
          <p:cNvSpPr txBox="1">
            <a:spLocks/>
          </p:cNvSpPr>
          <p:nvPr/>
        </p:nvSpPr>
        <p:spPr>
          <a:xfrm>
            <a:off x="0" y="4794977"/>
            <a:ext cx="12188825" cy="822051"/>
          </a:xfrm>
          <a:prstGeom prst="rect">
            <a:avLst/>
          </a:prstGeom>
          <a:solidFill>
            <a:schemeClr val="accent1"/>
          </a:solidFill>
        </p:spPr>
        <p:txBody>
          <a:bodyPr lIns="182880" rIns="182880" anchor="ct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500"/>
              </a:spcBef>
              <a:defRPr/>
            </a:pPr>
            <a:endParaRPr lang="en-US" sz="1400"/>
          </a:p>
        </p:txBody>
      </p:sp>
      <p:grpSp>
        <p:nvGrpSpPr>
          <p:cNvPr id="8" name="Group 7">
            <a:extLst>
              <a:ext uri="{FF2B5EF4-FFF2-40B4-BE49-F238E27FC236}">
                <a16:creationId xmlns:a16="http://schemas.microsoft.com/office/drawing/2014/main" id="{9A25D2A2-E04B-4BC0-9C6C-24AFCCFA9F52}"/>
              </a:ext>
            </a:extLst>
          </p:cNvPr>
          <p:cNvGrpSpPr/>
          <p:nvPr/>
        </p:nvGrpSpPr>
        <p:grpSpPr>
          <a:xfrm>
            <a:off x="1864511" y="4932645"/>
            <a:ext cx="8409227" cy="523352"/>
            <a:chOff x="381002" y="3321374"/>
            <a:chExt cx="3893838" cy="584775"/>
          </a:xfrm>
        </p:grpSpPr>
        <p:sp>
          <p:nvSpPr>
            <p:cNvPr id="9" name="Content Placeholder 16">
              <a:extLst>
                <a:ext uri="{FF2B5EF4-FFF2-40B4-BE49-F238E27FC236}">
                  <a16:creationId xmlns:a16="http://schemas.microsoft.com/office/drawing/2014/main" id="{471E6E80-9F37-4806-AAAB-576C90935AB5}"/>
                </a:ext>
              </a:extLst>
            </p:cNvPr>
            <p:cNvSpPr txBox="1">
              <a:spLocks/>
            </p:cNvSpPr>
            <p:nvPr/>
          </p:nvSpPr>
          <p:spPr>
            <a:xfrm>
              <a:off x="1657895" y="3489649"/>
              <a:ext cx="2616945" cy="275119"/>
            </a:xfrm>
            <a:prstGeom prst="rect">
              <a:avLst/>
            </a:prstGeom>
          </p:spPr>
          <p:txBody>
            <a:bodyPr wrap="square" lIns="0" tIns="0" rIns="0" bIns="0" anchor="ctr">
              <a:sp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1200"/>
                </a:spcBef>
                <a:buClr>
                  <a:schemeClr val="accent3"/>
                </a:buClr>
                <a:buNone/>
              </a:pPr>
              <a:r>
                <a:rPr lang="en-US" sz="1600">
                  <a:solidFill>
                    <a:schemeClr val="bg1"/>
                  </a:solidFill>
                </a:rPr>
                <a:t>estimated annual cost of disengaged employees</a:t>
              </a:r>
              <a:r>
                <a:rPr lang="en-US" sz="1600" baseline="30000">
                  <a:solidFill>
                    <a:schemeClr val="bg1"/>
                  </a:solidFill>
                </a:rPr>
                <a:t>3</a:t>
              </a:r>
              <a:endParaRPr lang="en-US" sz="1600">
                <a:solidFill>
                  <a:schemeClr val="bg1"/>
                </a:solidFill>
              </a:endParaRPr>
            </a:p>
          </p:txBody>
        </p:sp>
        <p:sp>
          <p:nvSpPr>
            <p:cNvPr id="10" name="Rectangle 9">
              <a:extLst>
                <a:ext uri="{FF2B5EF4-FFF2-40B4-BE49-F238E27FC236}">
                  <a16:creationId xmlns:a16="http://schemas.microsoft.com/office/drawing/2014/main" id="{5151E906-11E8-46B9-B8DB-98F7448A9AA5}"/>
                </a:ext>
              </a:extLst>
            </p:cNvPr>
            <p:cNvSpPr/>
            <p:nvPr/>
          </p:nvSpPr>
          <p:spPr>
            <a:xfrm>
              <a:off x="381002" y="3321374"/>
              <a:ext cx="1168398" cy="584775"/>
            </a:xfrm>
            <a:prstGeom prst="rect">
              <a:avLst/>
            </a:prstGeom>
          </p:spPr>
          <p:txBody>
            <a:bodyPr wrap="square" lIns="0" rIns="0">
              <a:spAutoFit/>
            </a:bodyPr>
            <a:lstStyle/>
            <a:p>
              <a:pPr algn="r"/>
              <a:r>
                <a:rPr lang="en-US" sz="3200" b="1">
                  <a:solidFill>
                    <a:schemeClr val="bg1"/>
                  </a:solidFill>
                </a:rPr>
                <a:t>$483b-$605b</a:t>
              </a:r>
            </a:p>
          </p:txBody>
        </p:sp>
      </p:grpSp>
      <p:sp>
        <p:nvSpPr>
          <p:cNvPr id="12" name="Content Placeholder 16">
            <a:extLst>
              <a:ext uri="{FF2B5EF4-FFF2-40B4-BE49-F238E27FC236}">
                <a16:creationId xmlns:a16="http://schemas.microsoft.com/office/drawing/2014/main" id="{38E90182-BFFD-42CC-B00D-65C54DA47FE4}"/>
              </a:ext>
            </a:extLst>
          </p:cNvPr>
          <p:cNvSpPr txBox="1">
            <a:spLocks/>
          </p:cNvSpPr>
          <p:nvPr/>
        </p:nvSpPr>
        <p:spPr>
          <a:xfrm>
            <a:off x="1442534" y="3748769"/>
            <a:ext cx="2204629" cy="646331"/>
          </a:xfrm>
          <a:prstGeom prst="rect">
            <a:avLst/>
          </a:prstGeom>
        </p:spPr>
        <p:txBody>
          <a:bodyPr wrap="square" lIns="0" tIns="0" rIns="0" bIns="0" anchor="ctr">
            <a:sp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1200"/>
              </a:spcBef>
              <a:buClr>
                <a:schemeClr val="accent3"/>
              </a:buClr>
              <a:buNone/>
            </a:pPr>
            <a:r>
              <a:rPr lang="en-GB" sz="1400"/>
              <a:t>of workers feel they are constantly doing the same tasks over and over again</a:t>
            </a:r>
            <a:r>
              <a:rPr lang="en-US" sz="1400" baseline="30000"/>
              <a:t>1</a:t>
            </a:r>
            <a:endParaRPr lang="en-US" sz="1400"/>
          </a:p>
        </p:txBody>
      </p:sp>
      <p:sp>
        <p:nvSpPr>
          <p:cNvPr id="13" name="Rectangle 12">
            <a:extLst>
              <a:ext uri="{FF2B5EF4-FFF2-40B4-BE49-F238E27FC236}">
                <a16:creationId xmlns:a16="http://schemas.microsoft.com/office/drawing/2014/main" id="{CD51B969-96E1-4BE5-8A0E-B9DB036D9A76}"/>
              </a:ext>
            </a:extLst>
          </p:cNvPr>
          <p:cNvSpPr/>
          <p:nvPr/>
        </p:nvSpPr>
        <p:spPr>
          <a:xfrm>
            <a:off x="358589" y="3779547"/>
            <a:ext cx="825866" cy="584775"/>
          </a:xfrm>
          <a:prstGeom prst="rect">
            <a:avLst/>
          </a:prstGeom>
        </p:spPr>
        <p:txBody>
          <a:bodyPr wrap="square" lIns="0" rIns="0">
            <a:spAutoFit/>
          </a:bodyPr>
          <a:lstStyle/>
          <a:p>
            <a:r>
              <a:rPr lang="en-US" sz="3200" b="1">
                <a:solidFill>
                  <a:schemeClr val="accent1"/>
                </a:solidFill>
              </a:rPr>
              <a:t>67% </a:t>
            </a:r>
          </a:p>
        </p:txBody>
      </p:sp>
      <p:sp>
        <p:nvSpPr>
          <p:cNvPr id="14" name="Rectangle 13">
            <a:extLst>
              <a:ext uri="{FF2B5EF4-FFF2-40B4-BE49-F238E27FC236}">
                <a16:creationId xmlns:a16="http://schemas.microsoft.com/office/drawing/2014/main" id="{004EE78D-317C-4694-BCE0-BCE8A8B6D5B6}"/>
              </a:ext>
            </a:extLst>
          </p:cNvPr>
          <p:cNvSpPr/>
          <p:nvPr/>
        </p:nvSpPr>
        <p:spPr>
          <a:xfrm>
            <a:off x="4249271" y="1976504"/>
            <a:ext cx="3608293" cy="135815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74320" tIns="274320" rIns="274320" bIns="0" rtlCol="0" anchor="ctr" anchorCtr="0"/>
          <a:lstStyle/>
          <a:p>
            <a:pPr algn="ctr"/>
            <a:r>
              <a:rPr lang="en-US" sz="1800" b="1" spc="-30">
                <a:solidFill>
                  <a:srgbClr val="FFFFFF"/>
                </a:solidFill>
              </a:rPr>
              <a:t>Employees are less productive &amp; less engaged</a:t>
            </a:r>
          </a:p>
        </p:txBody>
      </p:sp>
      <p:sp>
        <p:nvSpPr>
          <p:cNvPr id="16" name="Content Placeholder 16">
            <a:extLst>
              <a:ext uri="{FF2B5EF4-FFF2-40B4-BE49-F238E27FC236}">
                <a16:creationId xmlns:a16="http://schemas.microsoft.com/office/drawing/2014/main" id="{F231CCFA-B125-4E2D-9B9A-885D883BF81F}"/>
              </a:ext>
            </a:extLst>
          </p:cNvPr>
          <p:cNvSpPr txBox="1">
            <a:spLocks/>
          </p:cNvSpPr>
          <p:nvPr/>
        </p:nvSpPr>
        <p:spPr>
          <a:xfrm>
            <a:off x="5353606" y="3739805"/>
            <a:ext cx="2251042" cy="646331"/>
          </a:xfrm>
          <a:prstGeom prst="rect">
            <a:avLst/>
          </a:prstGeom>
        </p:spPr>
        <p:txBody>
          <a:bodyPr wrap="square" lIns="0" tIns="0" rIns="0" bIns="0" anchor="ctr">
            <a:sp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1200"/>
              </a:spcBef>
              <a:buClr>
                <a:schemeClr val="accent3"/>
              </a:buClr>
              <a:buNone/>
            </a:pPr>
            <a:r>
              <a:rPr lang="en-US" sz="1400"/>
              <a:t>of each employee’s daily time is lost to tedious processes and organization</a:t>
            </a:r>
            <a:r>
              <a:rPr lang="en-US" sz="1400" baseline="30000"/>
              <a:t>2</a:t>
            </a:r>
          </a:p>
        </p:txBody>
      </p:sp>
      <p:sp>
        <p:nvSpPr>
          <p:cNvPr id="17" name="Rectangle 16">
            <a:extLst>
              <a:ext uri="{FF2B5EF4-FFF2-40B4-BE49-F238E27FC236}">
                <a16:creationId xmlns:a16="http://schemas.microsoft.com/office/drawing/2014/main" id="{2E75A240-0429-4A60-89F8-5C39FFC87FA8}"/>
              </a:ext>
            </a:extLst>
          </p:cNvPr>
          <p:cNvSpPr/>
          <p:nvPr/>
        </p:nvSpPr>
        <p:spPr>
          <a:xfrm>
            <a:off x="4249271" y="3770583"/>
            <a:ext cx="843253" cy="584775"/>
          </a:xfrm>
          <a:prstGeom prst="rect">
            <a:avLst/>
          </a:prstGeom>
        </p:spPr>
        <p:txBody>
          <a:bodyPr wrap="square" lIns="0" rIns="0">
            <a:spAutoFit/>
          </a:bodyPr>
          <a:lstStyle/>
          <a:p>
            <a:r>
              <a:rPr lang="en-US" sz="3200" b="1">
                <a:solidFill>
                  <a:schemeClr val="accent1"/>
                </a:solidFill>
              </a:rPr>
              <a:t>48% </a:t>
            </a:r>
          </a:p>
        </p:txBody>
      </p:sp>
      <p:sp>
        <p:nvSpPr>
          <p:cNvPr id="18" name="Rectangle 17">
            <a:extLst>
              <a:ext uri="{FF2B5EF4-FFF2-40B4-BE49-F238E27FC236}">
                <a16:creationId xmlns:a16="http://schemas.microsoft.com/office/drawing/2014/main" id="{B9BC564A-89B1-46F0-B052-194E966E597B}"/>
              </a:ext>
            </a:extLst>
          </p:cNvPr>
          <p:cNvSpPr/>
          <p:nvPr/>
        </p:nvSpPr>
        <p:spPr>
          <a:xfrm>
            <a:off x="8162365" y="1976504"/>
            <a:ext cx="3608293" cy="135815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74320" tIns="274320" rIns="274320" bIns="0" rtlCol="0" anchor="ctr" anchorCtr="0"/>
          <a:lstStyle/>
          <a:p>
            <a:pPr algn="ctr"/>
            <a:r>
              <a:rPr lang="en-US" b="1" spc="-30">
                <a:solidFill>
                  <a:srgbClr val="FFFFFF"/>
                </a:solidFill>
              </a:rPr>
              <a:t>Bottom-line suffers</a:t>
            </a:r>
            <a:endParaRPr lang="en-US" sz="1800" b="1" spc="-30">
              <a:solidFill>
                <a:srgbClr val="FFFFFF"/>
              </a:solidFill>
            </a:endParaRPr>
          </a:p>
        </p:txBody>
      </p:sp>
      <p:sp>
        <p:nvSpPr>
          <p:cNvPr id="20" name="Content Placeholder 16">
            <a:extLst>
              <a:ext uri="{FF2B5EF4-FFF2-40B4-BE49-F238E27FC236}">
                <a16:creationId xmlns:a16="http://schemas.microsoft.com/office/drawing/2014/main" id="{31365BB4-B0E9-4DEC-A734-6D93419A2C8F}"/>
              </a:ext>
            </a:extLst>
          </p:cNvPr>
          <p:cNvSpPr txBox="1">
            <a:spLocks/>
          </p:cNvSpPr>
          <p:nvPr/>
        </p:nvSpPr>
        <p:spPr>
          <a:xfrm>
            <a:off x="9310874" y="3739804"/>
            <a:ext cx="2225912" cy="646331"/>
          </a:xfrm>
          <a:prstGeom prst="rect">
            <a:avLst/>
          </a:prstGeom>
        </p:spPr>
        <p:txBody>
          <a:bodyPr wrap="square" lIns="0" tIns="0" rIns="0" bIns="0" anchor="ctr">
            <a:sp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a:t>of workers in the U.S. believe they can’t efficiently help customers</a:t>
            </a:r>
            <a:r>
              <a:rPr lang="en-GB" sz="1400" baseline="29440"/>
              <a:t>1</a:t>
            </a:r>
            <a:endParaRPr lang="en-US" sz="1400"/>
          </a:p>
        </p:txBody>
      </p:sp>
      <p:sp>
        <p:nvSpPr>
          <p:cNvPr id="21" name="Rectangle 20">
            <a:extLst>
              <a:ext uri="{FF2B5EF4-FFF2-40B4-BE49-F238E27FC236}">
                <a16:creationId xmlns:a16="http://schemas.microsoft.com/office/drawing/2014/main" id="{B8CB38C4-67BB-4104-B9FF-082C38CDEC4B}"/>
              </a:ext>
            </a:extLst>
          </p:cNvPr>
          <p:cNvSpPr/>
          <p:nvPr/>
        </p:nvSpPr>
        <p:spPr>
          <a:xfrm>
            <a:off x="8162365" y="3770582"/>
            <a:ext cx="880924" cy="584775"/>
          </a:xfrm>
          <a:prstGeom prst="rect">
            <a:avLst/>
          </a:prstGeom>
        </p:spPr>
        <p:txBody>
          <a:bodyPr wrap="square" lIns="0" rIns="0">
            <a:spAutoFit/>
          </a:bodyPr>
          <a:lstStyle/>
          <a:p>
            <a:r>
              <a:rPr lang="en-US" sz="3200" b="1">
                <a:solidFill>
                  <a:schemeClr val="accent1"/>
                </a:solidFill>
              </a:rPr>
              <a:t>70% </a:t>
            </a:r>
          </a:p>
        </p:txBody>
      </p:sp>
      <p:grpSp>
        <p:nvGrpSpPr>
          <p:cNvPr id="31" name="Group 30">
            <a:extLst>
              <a:ext uri="{FF2B5EF4-FFF2-40B4-BE49-F238E27FC236}">
                <a16:creationId xmlns:a16="http://schemas.microsoft.com/office/drawing/2014/main" id="{0D01DF35-D2FB-406F-9897-777641CE096D}"/>
              </a:ext>
            </a:extLst>
          </p:cNvPr>
          <p:cNvGrpSpPr/>
          <p:nvPr/>
        </p:nvGrpSpPr>
        <p:grpSpPr>
          <a:xfrm>
            <a:off x="5746115" y="1628281"/>
            <a:ext cx="672912" cy="672912"/>
            <a:chOff x="5689761" y="1130407"/>
            <a:chExt cx="785620" cy="785620"/>
          </a:xfrm>
        </p:grpSpPr>
        <p:sp>
          <p:nvSpPr>
            <p:cNvPr id="22" name="Oval 21">
              <a:extLst>
                <a:ext uri="{FF2B5EF4-FFF2-40B4-BE49-F238E27FC236}">
                  <a16:creationId xmlns:a16="http://schemas.microsoft.com/office/drawing/2014/main" id="{48D38AFE-47B7-430D-85C6-5B292B0E88FA}"/>
                </a:ext>
              </a:extLst>
            </p:cNvPr>
            <p:cNvSpPr/>
            <p:nvPr/>
          </p:nvSpPr>
          <p:spPr>
            <a:xfrm>
              <a:off x="5689761" y="1130407"/>
              <a:ext cx="785620" cy="785620"/>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2800" b="1">
                <a:solidFill>
                  <a:schemeClr val="accent3"/>
                </a:solidFill>
                <a:latin typeface="Arial"/>
                <a:cs typeface="Arial"/>
              </a:endParaRPr>
            </a:p>
          </p:txBody>
        </p:sp>
        <p:pic>
          <p:nvPicPr>
            <p:cNvPr id="26" name="Graphic 25">
              <a:extLst>
                <a:ext uri="{FF2B5EF4-FFF2-40B4-BE49-F238E27FC236}">
                  <a16:creationId xmlns:a16="http://schemas.microsoft.com/office/drawing/2014/main" id="{04B8FB8D-AEA1-4183-90F8-61750ABBEA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60857" y="1319722"/>
              <a:ext cx="445813" cy="445813"/>
            </a:xfrm>
            <a:prstGeom prst="rect">
              <a:avLst/>
            </a:prstGeom>
          </p:spPr>
        </p:pic>
      </p:grpSp>
      <p:grpSp>
        <p:nvGrpSpPr>
          <p:cNvPr id="30" name="Group 29">
            <a:extLst>
              <a:ext uri="{FF2B5EF4-FFF2-40B4-BE49-F238E27FC236}">
                <a16:creationId xmlns:a16="http://schemas.microsoft.com/office/drawing/2014/main" id="{370BAE75-F5F3-4823-B5C2-E9F024C53BEB}"/>
              </a:ext>
            </a:extLst>
          </p:cNvPr>
          <p:cNvGrpSpPr/>
          <p:nvPr/>
        </p:nvGrpSpPr>
        <p:grpSpPr>
          <a:xfrm>
            <a:off x="1747856" y="1628281"/>
            <a:ext cx="672912" cy="672912"/>
            <a:chOff x="1691502" y="1139372"/>
            <a:chExt cx="785620" cy="785620"/>
          </a:xfrm>
        </p:grpSpPr>
        <p:sp>
          <p:nvSpPr>
            <p:cNvPr id="7" name="Oval 6">
              <a:extLst>
                <a:ext uri="{FF2B5EF4-FFF2-40B4-BE49-F238E27FC236}">
                  <a16:creationId xmlns:a16="http://schemas.microsoft.com/office/drawing/2014/main" id="{C237A7B8-627A-4610-BA5D-8F7EC3399848}"/>
                </a:ext>
              </a:extLst>
            </p:cNvPr>
            <p:cNvSpPr/>
            <p:nvPr/>
          </p:nvSpPr>
          <p:spPr>
            <a:xfrm>
              <a:off x="1691502" y="1139372"/>
              <a:ext cx="785620" cy="785620"/>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2800" b="1">
                <a:solidFill>
                  <a:schemeClr val="accent3"/>
                </a:solidFill>
                <a:latin typeface="Arial"/>
                <a:cs typeface="Arial"/>
              </a:endParaRPr>
            </a:p>
          </p:txBody>
        </p:sp>
        <p:pic>
          <p:nvPicPr>
            <p:cNvPr id="27" name="Graphic 26">
              <a:extLst>
                <a:ext uri="{FF2B5EF4-FFF2-40B4-BE49-F238E27FC236}">
                  <a16:creationId xmlns:a16="http://schemas.microsoft.com/office/drawing/2014/main" id="{BD9D7818-484E-4460-8DA0-6A4DC6A1C7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54353" y="1309827"/>
              <a:ext cx="471987" cy="471987"/>
            </a:xfrm>
            <a:prstGeom prst="rect">
              <a:avLst/>
            </a:prstGeom>
          </p:spPr>
        </p:pic>
      </p:grpSp>
      <p:grpSp>
        <p:nvGrpSpPr>
          <p:cNvPr id="32" name="Group 31">
            <a:extLst>
              <a:ext uri="{FF2B5EF4-FFF2-40B4-BE49-F238E27FC236}">
                <a16:creationId xmlns:a16="http://schemas.microsoft.com/office/drawing/2014/main" id="{41A6C7CA-7EF1-4F43-ADA1-68E3D7191F1D}"/>
              </a:ext>
            </a:extLst>
          </p:cNvPr>
          <p:cNvGrpSpPr/>
          <p:nvPr/>
        </p:nvGrpSpPr>
        <p:grpSpPr>
          <a:xfrm>
            <a:off x="9712997" y="1628281"/>
            <a:ext cx="672912" cy="672912"/>
            <a:chOff x="9656643" y="1090066"/>
            <a:chExt cx="785620" cy="785620"/>
          </a:xfrm>
        </p:grpSpPr>
        <p:sp>
          <p:nvSpPr>
            <p:cNvPr id="23" name="Oval 22">
              <a:extLst>
                <a:ext uri="{FF2B5EF4-FFF2-40B4-BE49-F238E27FC236}">
                  <a16:creationId xmlns:a16="http://schemas.microsoft.com/office/drawing/2014/main" id="{09A419D8-3FEF-47A7-84CF-3D876ADDF756}"/>
                </a:ext>
              </a:extLst>
            </p:cNvPr>
            <p:cNvSpPr/>
            <p:nvPr/>
          </p:nvSpPr>
          <p:spPr>
            <a:xfrm>
              <a:off x="9656643" y="1090066"/>
              <a:ext cx="785620" cy="785620"/>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2800" b="1">
                <a:solidFill>
                  <a:schemeClr val="accent3"/>
                </a:solidFill>
                <a:latin typeface="Arial"/>
                <a:cs typeface="Arial"/>
              </a:endParaRPr>
            </a:p>
          </p:txBody>
        </p:sp>
        <p:pic>
          <p:nvPicPr>
            <p:cNvPr id="28" name="Graphic 27">
              <a:extLst>
                <a:ext uri="{FF2B5EF4-FFF2-40B4-BE49-F238E27FC236}">
                  <a16:creationId xmlns:a16="http://schemas.microsoft.com/office/drawing/2014/main" id="{5DAD9F88-0E7E-437F-ACB4-016BA1DA9D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93361" y="1226784"/>
              <a:ext cx="512185" cy="512185"/>
            </a:xfrm>
            <a:prstGeom prst="rect">
              <a:avLst/>
            </a:prstGeom>
          </p:spPr>
        </p:pic>
      </p:grpSp>
      <p:sp>
        <p:nvSpPr>
          <p:cNvPr id="29" name="Rectangle 28">
            <a:extLst>
              <a:ext uri="{FF2B5EF4-FFF2-40B4-BE49-F238E27FC236}">
                <a16:creationId xmlns:a16="http://schemas.microsoft.com/office/drawing/2014/main" id="{9961A512-B2A4-497B-B8B4-887952E75077}"/>
              </a:ext>
            </a:extLst>
          </p:cNvPr>
          <p:cNvSpPr/>
          <p:nvPr/>
        </p:nvSpPr>
        <p:spPr>
          <a:xfrm>
            <a:off x="381001" y="6022808"/>
            <a:ext cx="2396066" cy="369332"/>
          </a:xfrm>
          <a:prstGeom prst="rect">
            <a:avLst/>
          </a:prstGeom>
        </p:spPr>
        <p:txBody>
          <a:bodyPr wrap="square" lIns="0" tIns="0" rIns="0" bIns="0" anchor="b">
            <a:spAutoFit/>
          </a:bodyPr>
          <a:lstStyle/>
          <a:p>
            <a:pPr marL="228600" indent="-228600" defTabSz="457200">
              <a:buFont typeface="+mj-lt"/>
              <a:buAutoNum type="arabicPeriod"/>
            </a:pPr>
            <a:r>
              <a:rPr lang="en-US" sz="800">
                <a:solidFill>
                  <a:srgbClr val="58595B"/>
                </a:solidFill>
                <a:latin typeface="+mj-lt"/>
                <a:hlinkClick r:id="rId9"/>
              </a:rPr>
              <a:t>UiPath, Office Worker Survey</a:t>
            </a:r>
            <a:endParaRPr lang="en-US" sz="800">
              <a:solidFill>
                <a:srgbClr val="58595B"/>
              </a:solidFill>
              <a:latin typeface="+mj-lt"/>
            </a:endParaRPr>
          </a:p>
          <a:p>
            <a:pPr marL="228600" indent="-228600">
              <a:buFont typeface="+mj-lt"/>
              <a:buAutoNum type="arabicPeriod"/>
            </a:pPr>
            <a:r>
              <a:rPr lang="en-US" sz="800" err="1">
                <a:solidFill>
                  <a:srgbClr val="58595B"/>
                </a:solidFill>
                <a:latin typeface="+mj-lt"/>
                <a:hlinkClick r:id="rId10"/>
              </a:rPr>
              <a:t>Mckinsey</a:t>
            </a:r>
            <a:r>
              <a:rPr lang="en-US" sz="800">
                <a:solidFill>
                  <a:srgbClr val="58595B"/>
                </a:solidFill>
                <a:latin typeface="+mj-lt"/>
                <a:hlinkClick r:id="rId10"/>
              </a:rPr>
              <a:t>, Welcome to the Digital Factory</a:t>
            </a:r>
            <a:endParaRPr lang="en-US" sz="800">
              <a:solidFill>
                <a:srgbClr val="58595B"/>
              </a:solidFill>
              <a:latin typeface="+mj-lt"/>
            </a:endParaRPr>
          </a:p>
          <a:p>
            <a:pPr marL="228600" indent="-228600" defTabSz="457200">
              <a:buFont typeface="+mj-lt"/>
              <a:buAutoNum type="arabicPeriod"/>
            </a:pPr>
            <a:r>
              <a:rPr lang="en-US" sz="800">
                <a:latin typeface="+mj-lt"/>
                <a:hlinkClick r:id="rId11"/>
              </a:rPr>
              <a:t>Gallup, </a:t>
            </a:r>
            <a:r>
              <a:rPr lang="en-GB" sz="800" b="0" i="0">
                <a:effectLst/>
                <a:latin typeface="+mj-lt"/>
                <a:hlinkClick r:id="rId11"/>
              </a:rPr>
              <a:t>State of the American Workplace</a:t>
            </a:r>
            <a:endParaRPr lang="en-US" sz="800">
              <a:solidFill>
                <a:srgbClr val="58595B"/>
              </a:solidFill>
              <a:latin typeface="+mj-lt"/>
            </a:endParaRPr>
          </a:p>
        </p:txBody>
      </p:sp>
      <p:sp>
        <p:nvSpPr>
          <p:cNvPr id="33" name="Isosceles Triangle 32">
            <a:extLst>
              <a:ext uri="{FF2B5EF4-FFF2-40B4-BE49-F238E27FC236}">
                <a16:creationId xmlns:a16="http://schemas.microsoft.com/office/drawing/2014/main" id="{F8734C8C-46DD-450B-8232-B155756DBBCF}"/>
              </a:ext>
            </a:extLst>
          </p:cNvPr>
          <p:cNvSpPr/>
          <p:nvPr/>
        </p:nvSpPr>
        <p:spPr>
          <a:xfrm rot="5400000">
            <a:off x="3835119" y="2551086"/>
            <a:ext cx="463550" cy="20002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34" name="Isosceles Triangle 33">
            <a:extLst>
              <a:ext uri="{FF2B5EF4-FFF2-40B4-BE49-F238E27FC236}">
                <a16:creationId xmlns:a16="http://schemas.microsoft.com/office/drawing/2014/main" id="{A16DEC7C-699B-45A9-AF3F-1979DCE7E546}"/>
              </a:ext>
            </a:extLst>
          </p:cNvPr>
          <p:cNvSpPr/>
          <p:nvPr/>
        </p:nvSpPr>
        <p:spPr>
          <a:xfrm rot="5400000">
            <a:off x="7725802" y="2551087"/>
            <a:ext cx="463550" cy="20002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Tree>
    <p:extLst>
      <p:ext uri="{BB962C8B-B14F-4D97-AF65-F5344CB8AC3E}">
        <p14:creationId xmlns:p14="http://schemas.microsoft.com/office/powerpoint/2010/main" val="2601965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smiling at the camera&#10;&#10;Description automatically generated with medium confidence">
            <a:extLst>
              <a:ext uri="{FF2B5EF4-FFF2-40B4-BE49-F238E27FC236}">
                <a16:creationId xmlns:a16="http://schemas.microsoft.com/office/drawing/2014/main" id="{22604E48-D30C-4124-9209-DEC0B15FB63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4865700" cy="6858000"/>
          </a:xfrm>
          <a:prstGeom prst="rect">
            <a:avLst/>
          </a:prstGeom>
        </p:spPr>
      </p:pic>
      <p:sp>
        <p:nvSpPr>
          <p:cNvPr id="9" name="Rectangle 8">
            <a:extLst>
              <a:ext uri="{FF2B5EF4-FFF2-40B4-BE49-F238E27FC236}">
                <a16:creationId xmlns:a16="http://schemas.microsoft.com/office/drawing/2014/main" id="{C20B8E75-0B99-496B-993B-7BFEEE457EE9}"/>
              </a:ext>
            </a:extLst>
          </p:cNvPr>
          <p:cNvSpPr/>
          <p:nvPr/>
        </p:nvSpPr>
        <p:spPr>
          <a:xfrm>
            <a:off x="4503256" y="1"/>
            <a:ext cx="7685570" cy="194001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Arial"/>
            </a:endParaRPr>
          </a:p>
        </p:txBody>
      </p:sp>
      <p:sp>
        <p:nvSpPr>
          <p:cNvPr id="8" name="Oval 7">
            <a:extLst>
              <a:ext uri="{FF2B5EF4-FFF2-40B4-BE49-F238E27FC236}">
                <a16:creationId xmlns:a16="http://schemas.microsoft.com/office/drawing/2014/main" id="{4E2A4295-3789-478E-A0EC-43EBA72B3488}"/>
              </a:ext>
            </a:extLst>
          </p:cNvPr>
          <p:cNvSpPr/>
          <p:nvPr/>
        </p:nvSpPr>
        <p:spPr>
          <a:xfrm>
            <a:off x="5623434" y="3032578"/>
            <a:ext cx="558938" cy="558938"/>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2800">
              <a:solidFill>
                <a:schemeClr val="accent3"/>
              </a:solidFill>
              <a:latin typeface="Arial"/>
              <a:cs typeface="Arial"/>
            </a:endParaRPr>
          </a:p>
        </p:txBody>
      </p:sp>
      <p:sp>
        <p:nvSpPr>
          <p:cNvPr id="10" name="Rectangle 9">
            <a:extLst>
              <a:ext uri="{FF2B5EF4-FFF2-40B4-BE49-F238E27FC236}">
                <a16:creationId xmlns:a16="http://schemas.microsoft.com/office/drawing/2014/main" id="{52F84578-7D6A-4F0B-BA1C-AA931F9C9EA8}"/>
              </a:ext>
            </a:extLst>
          </p:cNvPr>
          <p:cNvSpPr/>
          <p:nvPr/>
        </p:nvSpPr>
        <p:spPr>
          <a:xfrm>
            <a:off x="6536867" y="3188937"/>
            <a:ext cx="1469797" cy="246221"/>
          </a:xfrm>
          <a:prstGeom prst="rect">
            <a:avLst/>
          </a:prstGeom>
        </p:spPr>
        <p:txBody>
          <a:bodyPr wrap="square" lIns="0" tIns="0" rIns="0" bIns="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0000"/>
                </a:solidFill>
                <a:effectLst/>
                <a:uLnTx/>
                <a:uFillTx/>
                <a:latin typeface="Arial"/>
                <a:ea typeface="+mn-ea"/>
                <a:cs typeface="+mn-cs"/>
              </a:rPr>
              <a:t>Faster</a:t>
            </a:r>
          </a:p>
        </p:txBody>
      </p:sp>
      <p:sp>
        <p:nvSpPr>
          <p:cNvPr id="7" name="Oval 6">
            <a:extLst>
              <a:ext uri="{FF2B5EF4-FFF2-40B4-BE49-F238E27FC236}">
                <a16:creationId xmlns:a16="http://schemas.microsoft.com/office/drawing/2014/main" id="{0CB61360-A3A6-4811-82EB-C04E3A5D185C}"/>
              </a:ext>
            </a:extLst>
          </p:cNvPr>
          <p:cNvSpPr/>
          <p:nvPr/>
        </p:nvSpPr>
        <p:spPr>
          <a:xfrm>
            <a:off x="5623434" y="3949789"/>
            <a:ext cx="558938" cy="558938"/>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2800">
              <a:solidFill>
                <a:schemeClr val="accent3"/>
              </a:solidFill>
              <a:latin typeface="Arial"/>
              <a:cs typeface="Arial"/>
            </a:endParaRPr>
          </a:p>
        </p:txBody>
      </p:sp>
      <p:sp>
        <p:nvSpPr>
          <p:cNvPr id="11" name="Rectangle 10">
            <a:extLst>
              <a:ext uri="{FF2B5EF4-FFF2-40B4-BE49-F238E27FC236}">
                <a16:creationId xmlns:a16="http://schemas.microsoft.com/office/drawing/2014/main" id="{07A8CC8D-4E41-4B8B-9DA3-9B11BB78BC2F}"/>
              </a:ext>
            </a:extLst>
          </p:cNvPr>
          <p:cNvSpPr/>
          <p:nvPr/>
        </p:nvSpPr>
        <p:spPr>
          <a:xfrm>
            <a:off x="6536867" y="4059981"/>
            <a:ext cx="3689005" cy="338554"/>
          </a:xfrm>
          <a:prstGeom prst="rect">
            <a:avLst/>
          </a:prstGeom>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0000"/>
                </a:solidFill>
                <a:effectLst/>
                <a:uLnTx/>
                <a:uFillTx/>
                <a:latin typeface="Arial"/>
                <a:ea typeface="+mn-ea"/>
                <a:cs typeface="+mn-cs"/>
              </a:rPr>
              <a:t>More creatively &amp; collaboratively</a:t>
            </a:r>
          </a:p>
        </p:txBody>
      </p:sp>
      <p:sp>
        <p:nvSpPr>
          <p:cNvPr id="6" name="Oval 5">
            <a:extLst>
              <a:ext uri="{FF2B5EF4-FFF2-40B4-BE49-F238E27FC236}">
                <a16:creationId xmlns:a16="http://schemas.microsoft.com/office/drawing/2014/main" id="{F6F376B1-68F3-4755-9306-ED1D5D784B07}"/>
              </a:ext>
            </a:extLst>
          </p:cNvPr>
          <p:cNvSpPr/>
          <p:nvPr/>
        </p:nvSpPr>
        <p:spPr>
          <a:xfrm>
            <a:off x="5623434" y="4867000"/>
            <a:ext cx="558938" cy="558938"/>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2800">
              <a:solidFill>
                <a:schemeClr val="accent3"/>
              </a:solidFill>
              <a:latin typeface="Arial"/>
              <a:cs typeface="Arial"/>
            </a:endParaRPr>
          </a:p>
        </p:txBody>
      </p:sp>
      <p:sp>
        <p:nvSpPr>
          <p:cNvPr id="12" name="Rectangle 11">
            <a:extLst>
              <a:ext uri="{FF2B5EF4-FFF2-40B4-BE49-F238E27FC236}">
                <a16:creationId xmlns:a16="http://schemas.microsoft.com/office/drawing/2014/main" id="{26CE6437-01BA-478E-9D09-B4B9F2EB6275}"/>
              </a:ext>
            </a:extLst>
          </p:cNvPr>
          <p:cNvSpPr/>
          <p:nvPr/>
        </p:nvSpPr>
        <p:spPr>
          <a:xfrm>
            <a:off x="6536867" y="5023359"/>
            <a:ext cx="2583062" cy="246221"/>
          </a:xfrm>
          <a:prstGeom prst="rect">
            <a:avLst/>
          </a:prstGeom>
        </p:spPr>
        <p:txBody>
          <a:bodyPr wrap="square" lIns="0" tIns="0" rIns="0" bIns="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0000"/>
                </a:solidFill>
                <a:effectLst/>
                <a:uLnTx/>
                <a:uFillTx/>
                <a:latin typeface="Arial"/>
                <a:ea typeface="+mn-ea"/>
                <a:cs typeface="+mn-cs"/>
              </a:rPr>
              <a:t>With better accuracy</a:t>
            </a:r>
          </a:p>
        </p:txBody>
      </p:sp>
      <p:sp>
        <p:nvSpPr>
          <p:cNvPr id="5" name="Oval 4">
            <a:extLst>
              <a:ext uri="{FF2B5EF4-FFF2-40B4-BE49-F238E27FC236}">
                <a16:creationId xmlns:a16="http://schemas.microsoft.com/office/drawing/2014/main" id="{0F5B11A1-E7D0-427D-B9B5-D91209840A83}"/>
              </a:ext>
            </a:extLst>
          </p:cNvPr>
          <p:cNvSpPr/>
          <p:nvPr/>
        </p:nvSpPr>
        <p:spPr>
          <a:xfrm>
            <a:off x="5623434" y="5784211"/>
            <a:ext cx="558938" cy="558938"/>
          </a:xfrm>
          <a:prstGeom prst="ellipse">
            <a:avLst/>
          </a:prstGeom>
          <a:solidFill>
            <a:schemeClr val="bg1"/>
          </a:solidFill>
          <a:ln w="34925">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2800">
              <a:solidFill>
                <a:schemeClr val="accent3"/>
              </a:solidFill>
              <a:latin typeface="Arial"/>
              <a:cs typeface="Arial"/>
            </a:endParaRPr>
          </a:p>
        </p:txBody>
      </p:sp>
      <p:sp>
        <p:nvSpPr>
          <p:cNvPr id="13" name="Rectangle 12">
            <a:extLst>
              <a:ext uri="{FF2B5EF4-FFF2-40B4-BE49-F238E27FC236}">
                <a16:creationId xmlns:a16="http://schemas.microsoft.com/office/drawing/2014/main" id="{32DCD78E-4402-413E-B13F-3C2DC929A766}"/>
              </a:ext>
            </a:extLst>
          </p:cNvPr>
          <p:cNvSpPr/>
          <p:nvPr/>
        </p:nvSpPr>
        <p:spPr>
          <a:xfrm>
            <a:off x="6536867" y="5894403"/>
            <a:ext cx="3300244" cy="338554"/>
          </a:xfrm>
          <a:prstGeom prst="rect">
            <a:avLst/>
          </a:prstGeom>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0000"/>
                </a:solidFill>
                <a:effectLst/>
                <a:uLnTx/>
                <a:uFillTx/>
                <a:latin typeface="Arial"/>
                <a:ea typeface="+mn-ea"/>
                <a:cs typeface="+mn-cs"/>
              </a:rPr>
              <a:t>On higher value tasks</a:t>
            </a:r>
          </a:p>
        </p:txBody>
      </p:sp>
      <p:sp>
        <p:nvSpPr>
          <p:cNvPr id="14" name="Rectangle 13">
            <a:extLst>
              <a:ext uri="{FF2B5EF4-FFF2-40B4-BE49-F238E27FC236}">
                <a16:creationId xmlns:a16="http://schemas.microsoft.com/office/drawing/2014/main" id="{55D4B875-40EF-442A-BACB-2DDF72C65686}"/>
              </a:ext>
            </a:extLst>
          </p:cNvPr>
          <p:cNvSpPr/>
          <p:nvPr/>
        </p:nvSpPr>
        <p:spPr>
          <a:xfrm>
            <a:off x="5244021" y="2140076"/>
            <a:ext cx="5178482" cy="400110"/>
          </a:xfrm>
          <a:prstGeom prst="rect">
            <a:avLst/>
          </a:prstGeom>
        </p:spPr>
        <p:txBody>
          <a:bodyPr wrap="square" lIns="0" anchor="t">
            <a:spAutoFit/>
          </a:bodyPr>
          <a:lstStyle/>
          <a:p>
            <a:pPr marL="0" marR="0" lvl="0" indent="0" defTabSz="4572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a:ea typeface="+mn-ea"/>
                <a:cs typeface="Arial"/>
              </a:rPr>
              <a:t>Give your people the freedom to work: </a:t>
            </a:r>
          </a:p>
        </p:txBody>
      </p:sp>
      <p:sp>
        <p:nvSpPr>
          <p:cNvPr id="18" name="Text Placeholder 2">
            <a:extLst>
              <a:ext uri="{FF2B5EF4-FFF2-40B4-BE49-F238E27FC236}">
                <a16:creationId xmlns:a16="http://schemas.microsoft.com/office/drawing/2014/main" id="{68E18A0D-DB84-4CD5-ADF3-B1AD698C5C9A}"/>
              </a:ext>
            </a:extLst>
          </p:cNvPr>
          <p:cNvSpPr txBox="1">
            <a:spLocks/>
          </p:cNvSpPr>
          <p:nvPr/>
        </p:nvSpPr>
        <p:spPr>
          <a:xfrm>
            <a:off x="4865700" y="247781"/>
            <a:ext cx="5086327" cy="1384995"/>
          </a:xfrm>
          <a:prstGeom prst="rect">
            <a:avLst/>
          </a:prstGeom>
        </p:spPr>
        <p:txBody>
          <a:bodyPr wrap="square" lIns="0" anchor="t">
            <a:sp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Tx/>
              <a:buSzTx/>
              <a:buFont typeface="Arial"/>
              <a:buNone/>
              <a:tabLst/>
              <a:defRPr/>
            </a:pPr>
            <a:r>
              <a:rPr lang="en-US" sz="2800" b="1">
                <a:solidFill>
                  <a:srgbClr val="FFFFFF"/>
                </a:solidFill>
              </a:rPr>
              <a:t>Imagine if every employee could work with a digital assistant</a:t>
            </a:r>
            <a:endParaRPr kumimoji="0" lang="en-US" sz="2800" b="1" i="0" u="none" strike="noStrike" kern="1200" cap="none" spc="0" normalizeH="0" baseline="0" noProof="0">
              <a:ln>
                <a:noFill/>
              </a:ln>
              <a:solidFill>
                <a:srgbClr val="FFFFFF"/>
              </a:solidFill>
              <a:effectLst/>
              <a:uLnTx/>
              <a:uFillTx/>
              <a:latin typeface="Arial"/>
              <a:ea typeface="+mn-ea"/>
              <a:cs typeface="Arial"/>
            </a:endParaRPr>
          </a:p>
        </p:txBody>
      </p:sp>
      <p:pic>
        <p:nvPicPr>
          <p:cNvPr id="21" name="Picture 20">
            <a:extLst>
              <a:ext uri="{FF2B5EF4-FFF2-40B4-BE49-F238E27FC236}">
                <a16:creationId xmlns:a16="http://schemas.microsoft.com/office/drawing/2014/main" id="{A600BBA2-B5B9-4ECF-90B1-80EEE9E57735}"/>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p:blipFill>
        <p:spPr>
          <a:xfrm>
            <a:off x="10350499" y="349030"/>
            <a:ext cx="1419617" cy="325698"/>
          </a:xfrm>
          <a:prstGeom prst="rect">
            <a:avLst/>
          </a:prstGeom>
        </p:spPr>
      </p:pic>
      <p:pic>
        <p:nvPicPr>
          <p:cNvPr id="32" name="Graphic 31">
            <a:extLst>
              <a:ext uri="{FF2B5EF4-FFF2-40B4-BE49-F238E27FC236}">
                <a16:creationId xmlns:a16="http://schemas.microsoft.com/office/drawing/2014/main" id="{81103D9C-B385-423A-BF2A-73BB77D7F2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50503" y="3154540"/>
            <a:ext cx="304800" cy="304800"/>
          </a:xfrm>
          <a:prstGeom prst="rect">
            <a:avLst/>
          </a:prstGeom>
        </p:spPr>
      </p:pic>
      <p:pic>
        <p:nvPicPr>
          <p:cNvPr id="33" name="Graphic 32">
            <a:extLst>
              <a:ext uri="{FF2B5EF4-FFF2-40B4-BE49-F238E27FC236}">
                <a16:creationId xmlns:a16="http://schemas.microsoft.com/office/drawing/2014/main" id="{3C89E9C8-D1CD-4B20-A6EF-CE664775E3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36058" y="4062413"/>
            <a:ext cx="333690" cy="333690"/>
          </a:xfrm>
          <a:prstGeom prst="rect">
            <a:avLst/>
          </a:prstGeom>
        </p:spPr>
      </p:pic>
      <p:pic>
        <p:nvPicPr>
          <p:cNvPr id="34" name="Graphic 33">
            <a:extLst>
              <a:ext uri="{FF2B5EF4-FFF2-40B4-BE49-F238E27FC236}">
                <a16:creationId xmlns:a16="http://schemas.microsoft.com/office/drawing/2014/main" id="{40E55F1B-F509-4AC5-8441-D06BB5064F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28856" y="4972422"/>
            <a:ext cx="348094" cy="348094"/>
          </a:xfrm>
          <a:prstGeom prst="rect">
            <a:avLst/>
          </a:prstGeom>
        </p:spPr>
      </p:pic>
      <p:pic>
        <p:nvPicPr>
          <p:cNvPr id="35" name="Graphic 34">
            <a:extLst>
              <a:ext uri="{FF2B5EF4-FFF2-40B4-BE49-F238E27FC236}">
                <a16:creationId xmlns:a16="http://schemas.microsoft.com/office/drawing/2014/main" id="{427A24F1-F2CB-4BAB-B981-A0F1D8C5957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42342" y="5903119"/>
            <a:ext cx="321122" cy="321122"/>
          </a:xfrm>
          <a:prstGeom prst="rect">
            <a:avLst/>
          </a:prstGeom>
        </p:spPr>
      </p:pic>
      <p:cxnSp>
        <p:nvCxnSpPr>
          <p:cNvPr id="19" name="Straight Connector 18">
            <a:extLst>
              <a:ext uri="{FF2B5EF4-FFF2-40B4-BE49-F238E27FC236}">
                <a16:creationId xmlns:a16="http://schemas.microsoft.com/office/drawing/2014/main" id="{CC393CF2-78AB-4435-8509-EC4AC33516D2}"/>
              </a:ext>
            </a:extLst>
          </p:cNvPr>
          <p:cNvCxnSpPr>
            <a:cxnSpLocks/>
          </p:cNvCxnSpPr>
          <p:nvPr/>
        </p:nvCxnSpPr>
        <p:spPr>
          <a:xfrm flipH="1">
            <a:off x="5254171" y="2719113"/>
            <a:ext cx="6569530"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463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8C33B5-1B04-41D2-A8FE-991E05A14584}"/>
              </a:ext>
            </a:extLst>
          </p:cNvPr>
          <p:cNvSpPr>
            <a:spLocks noGrp="1"/>
          </p:cNvSpPr>
          <p:nvPr>
            <p:ph type="title"/>
          </p:nvPr>
        </p:nvSpPr>
        <p:spPr>
          <a:xfrm>
            <a:off x="381001" y="357721"/>
            <a:ext cx="9110869" cy="690029"/>
          </a:xfrm>
        </p:spPr>
        <p:txBody>
          <a:bodyPr/>
          <a:lstStyle/>
          <a:p>
            <a:r>
              <a:rPr lang="en-US" dirty="0"/>
              <a:t>People want to learn new skills &amp; do higher-value work – and they’re open to automation to help</a:t>
            </a:r>
          </a:p>
        </p:txBody>
      </p:sp>
      <p:sp>
        <p:nvSpPr>
          <p:cNvPr id="10" name="Rectangle 9">
            <a:extLst>
              <a:ext uri="{FF2B5EF4-FFF2-40B4-BE49-F238E27FC236}">
                <a16:creationId xmlns:a16="http://schemas.microsoft.com/office/drawing/2014/main" id="{02C96142-6B4F-450E-A29C-A8A4F770C896}"/>
              </a:ext>
            </a:extLst>
          </p:cNvPr>
          <p:cNvSpPr/>
          <p:nvPr/>
        </p:nvSpPr>
        <p:spPr>
          <a:xfrm>
            <a:off x="4419599" y="1462087"/>
            <a:ext cx="5696858" cy="432155"/>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latin typeface="Arial"/>
                <a:ea typeface="+mn-ea"/>
                <a:cs typeface="Arial"/>
                <a:sym typeface="Arial"/>
              </a:rPr>
              <a:t>By collaborating with robots, employees expect</a:t>
            </a:r>
            <a:r>
              <a:rPr lang="en-US" sz="1800" b="1" baseline="30000">
                <a:solidFill>
                  <a:schemeClr val="tx1"/>
                </a:solidFill>
                <a:latin typeface="Arial"/>
                <a:cs typeface="Arial"/>
              </a:rPr>
              <a:t>1</a:t>
            </a:r>
            <a:r>
              <a:rPr kumimoji="0" lang="en-US" b="1" i="0" u="none" strike="noStrike" kern="1200" cap="none" spc="0" normalizeH="0" baseline="0" noProof="0">
                <a:ln>
                  <a:noFill/>
                </a:ln>
                <a:solidFill>
                  <a:srgbClr val="000000"/>
                </a:solidFill>
                <a:effectLst/>
                <a:uLnTx/>
                <a:uFillTx/>
                <a:latin typeface="Arial"/>
                <a:ea typeface="+mn-ea"/>
                <a:cs typeface="Arial"/>
                <a:sym typeface="Arial"/>
              </a:rPr>
              <a:t>:</a:t>
            </a:r>
          </a:p>
        </p:txBody>
      </p:sp>
      <p:graphicFrame>
        <p:nvGraphicFramePr>
          <p:cNvPr id="11" name="Chart 10">
            <a:extLst>
              <a:ext uri="{FF2B5EF4-FFF2-40B4-BE49-F238E27FC236}">
                <a16:creationId xmlns:a16="http://schemas.microsoft.com/office/drawing/2014/main" id="{E67BF40A-F40B-4336-B255-9C28325FAC16}"/>
              </a:ext>
            </a:extLst>
          </p:cNvPr>
          <p:cNvGraphicFramePr/>
          <p:nvPr/>
        </p:nvGraphicFramePr>
        <p:xfrm>
          <a:off x="9783555" y="1498601"/>
          <a:ext cx="4725932" cy="471807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a:extLst>
              <a:ext uri="{FF2B5EF4-FFF2-40B4-BE49-F238E27FC236}">
                <a16:creationId xmlns:a16="http://schemas.microsoft.com/office/drawing/2014/main" id="{BF0D0981-69C3-460F-8BB0-A44B54328B64}"/>
              </a:ext>
            </a:extLst>
          </p:cNvPr>
          <p:cNvSpPr/>
          <p:nvPr/>
        </p:nvSpPr>
        <p:spPr>
          <a:xfrm>
            <a:off x="1" y="1322387"/>
            <a:ext cx="3936470" cy="465931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Arial"/>
            </a:endParaRPr>
          </a:p>
        </p:txBody>
      </p:sp>
      <p:sp>
        <p:nvSpPr>
          <p:cNvPr id="6" name="Rectangle 5">
            <a:extLst>
              <a:ext uri="{FF2B5EF4-FFF2-40B4-BE49-F238E27FC236}">
                <a16:creationId xmlns:a16="http://schemas.microsoft.com/office/drawing/2014/main" id="{060D3D1A-E89A-4BD4-9540-E49E508E340F}"/>
              </a:ext>
            </a:extLst>
          </p:cNvPr>
          <p:cNvSpPr/>
          <p:nvPr/>
        </p:nvSpPr>
        <p:spPr>
          <a:xfrm>
            <a:off x="5568043" y="2423886"/>
            <a:ext cx="4011386"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sym typeface="Arial"/>
              </a:rPr>
              <a:t>More time for critical tasks/value adding tasks</a:t>
            </a:r>
          </a:p>
        </p:txBody>
      </p:sp>
      <p:sp>
        <p:nvSpPr>
          <p:cNvPr id="15" name="Rectangle 14">
            <a:extLst>
              <a:ext uri="{FF2B5EF4-FFF2-40B4-BE49-F238E27FC236}">
                <a16:creationId xmlns:a16="http://schemas.microsoft.com/office/drawing/2014/main" id="{1250CA73-B592-4AEE-8FE8-22F15EB62E63}"/>
              </a:ext>
            </a:extLst>
          </p:cNvPr>
          <p:cNvSpPr/>
          <p:nvPr/>
        </p:nvSpPr>
        <p:spPr>
          <a:xfrm>
            <a:off x="4419599" y="2423886"/>
            <a:ext cx="994230"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2"/>
                </a:solidFill>
                <a:effectLst/>
                <a:uLnTx/>
                <a:uFillTx/>
                <a:latin typeface="Arial"/>
                <a:ea typeface="+mn-ea"/>
                <a:cs typeface="Arial"/>
                <a:sym typeface="Arial"/>
              </a:rPr>
              <a:t>33%</a:t>
            </a:r>
          </a:p>
        </p:txBody>
      </p:sp>
      <p:sp>
        <p:nvSpPr>
          <p:cNvPr id="7" name="Rectangle 6">
            <a:extLst>
              <a:ext uri="{FF2B5EF4-FFF2-40B4-BE49-F238E27FC236}">
                <a16:creationId xmlns:a16="http://schemas.microsoft.com/office/drawing/2014/main" id="{D394732E-D989-49DD-B430-5E1A45E1390B}"/>
              </a:ext>
            </a:extLst>
          </p:cNvPr>
          <p:cNvSpPr/>
          <p:nvPr/>
        </p:nvSpPr>
        <p:spPr>
          <a:xfrm>
            <a:off x="5568043" y="5120461"/>
            <a:ext cx="4011386"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sym typeface="Arial"/>
              </a:rPr>
              <a:t>More time for leisure/personal time</a:t>
            </a:r>
          </a:p>
        </p:txBody>
      </p:sp>
      <p:sp>
        <p:nvSpPr>
          <p:cNvPr id="16" name="Rectangle 15">
            <a:extLst>
              <a:ext uri="{FF2B5EF4-FFF2-40B4-BE49-F238E27FC236}">
                <a16:creationId xmlns:a16="http://schemas.microsoft.com/office/drawing/2014/main" id="{901D6CE0-FFA3-4B3B-9FDC-09212CABCFCD}"/>
              </a:ext>
            </a:extLst>
          </p:cNvPr>
          <p:cNvSpPr/>
          <p:nvPr/>
        </p:nvSpPr>
        <p:spPr>
          <a:xfrm>
            <a:off x="4419599" y="5120461"/>
            <a:ext cx="994230"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5"/>
                </a:solidFill>
                <a:effectLst/>
                <a:uLnTx/>
                <a:uFillTx/>
                <a:latin typeface="Arial"/>
                <a:ea typeface="+mn-ea"/>
                <a:cs typeface="Arial"/>
                <a:sym typeface="Arial"/>
              </a:rPr>
              <a:t>16%</a:t>
            </a:r>
          </a:p>
        </p:txBody>
      </p:sp>
      <p:sp>
        <p:nvSpPr>
          <p:cNvPr id="8" name="Rectangle 7">
            <a:extLst>
              <a:ext uri="{FF2B5EF4-FFF2-40B4-BE49-F238E27FC236}">
                <a16:creationId xmlns:a16="http://schemas.microsoft.com/office/drawing/2014/main" id="{22F0C7BE-41DB-4B34-A436-1CE6DF9393D3}"/>
              </a:ext>
            </a:extLst>
          </p:cNvPr>
          <p:cNvSpPr/>
          <p:nvPr/>
        </p:nvSpPr>
        <p:spPr>
          <a:xfrm>
            <a:off x="5568043" y="4221602"/>
            <a:ext cx="4011386"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sym typeface="Arial"/>
              </a:rPr>
              <a:t>Learning a new skill (professional development)</a:t>
            </a:r>
          </a:p>
        </p:txBody>
      </p:sp>
      <p:sp>
        <p:nvSpPr>
          <p:cNvPr id="17" name="Rectangle 16">
            <a:extLst>
              <a:ext uri="{FF2B5EF4-FFF2-40B4-BE49-F238E27FC236}">
                <a16:creationId xmlns:a16="http://schemas.microsoft.com/office/drawing/2014/main" id="{F195502C-683C-4AF0-9069-EAEFDA2FF054}"/>
              </a:ext>
            </a:extLst>
          </p:cNvPr>
          <p:cNvSpPr/>
          <p:nvPr/>
        </p:nvSpPr>
        <p:spPr>
          <a:xfrm>
            <a:off x="4419599" y="4221602"/>
            <a:ext cx="994230"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4"/>
                </a:solidFill>
                <a:effectLst/>
                <a:uLnTx/>
                <a:uFillTx/>
                <a:latin typeface="Arial"/>
                <a:ea typeface="+mn-ea"/>
                <a:cs typeface="Arial"/>
                <a:sym typeface="Arial"/>
              </a:rPr>
              <a:t>22%</a:t>
            </a:r>
          </a:p>
        </p:txBody>
      </p:sp>
      <p:sp>
        <p:nvSpPr>
          <p:cNvPr id="9" name="Rectangle 8">
            <a:extLst>
              <a:ext uri="{FF2B5EF4-FFF2-40B4-BE49-F238E27FC236}">
                <a16:creationId xmlns:a16="http://schemas.microsoft.com/office/drawing/2014/main" id="{5FB32C09-3E41-414A-A71E-13FAF592B642}"/>
              </a:ext>
            </a:extLst>
          </p:cNvPr>
          <p:cNvSpPr/>
          <p:nvPr/>
        </p:nvSpPr>
        <p:spPr>
          <a:xfrm>
            <a:off x="5568043" y="3322744"/>
            <a:ext cx="4011386"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sym typeface="Arial"/>
              </a:rPr>
              <a:t>Learning a new skill (personal development)</a:t>
            </a:r>
          </a:p>
        </p:txBody>
      </p:sp>
      <p:sp>
        <p:nvSpPr>
          <p:cNvPr id="18" name="Rectangle 17">
            <a:extLst>
              <a:ext uri="{FF2B5EF4-FFF2-40B4-BE49-F238E27FC236}">
                <a16:creationId xmlns:a16="http://schemas.microsoft.com/office/drawing/2014/main" id="{A4CA090C-63C8-4186-A181-663E16F1EE87}"/>
              </a:ext>
            </a:extLst>
          </p:cNvPr>
          <p:cNvSpPr/>
          <p:nvPr/>
        </p:nvSpPr>
        <p:spPr>
          <a:xfrm>
            <a:off x="4419599" y="3322744"/>
            <a:ext cx="994230" cy="575304"/>
          </a:xfrm>
          <a:prstGeom prst="rect">
            <a:avLst/>
          </a:prstGeom>
          <a:noFill/>
          <a:ln>
            <a:noFill/>
          </a:ln>
          <a:effectLst/>
        </p:spPr>
        <p:style>
          <a:lnRef idx="1">
            <a:schemeClr val="accen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06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3"/>
                </a:solidFill>
                <a:effectLst/>
                <a:uLnTx/>
                <a:uFillTx/>
                <a:latin typeface="Arial"/>
                <a:ea typeface="+mn-ea"/>
                <a:cs typeface="Arial"/>
                <a:sym typeface="Arial"/>
              </a:rPr>
              <a:t>27%</a:t>
            </a:r>
          </a:p>
        </p:txBody>
      </p:sp>
      <p:cxnSp>
        <p:nvCxnSpPr>
          <p:cNvPr id="33" name="Straight Connector 32">
            <a:extLst>
              <a:ext uri="{FF2B5EF4-FFF2-40B4-BE49-F238E27FC236}">
                <a16:creationId xmlns:a16="http://schemas.microsoft.com/office/drawing/2014/main" id="{89DBE648-D660-400E-9197-AB6E5AC9268E}"/>
              </a:ext>
            </a:extLst>
          </p:cNvPr>
          <p:cNvCxnSpPr>
            <a:cxnSpLocks/>
          </p:cNvCxnSpPr>
          <p:nvPr/>
        </p:nvCxnSpPr>
        <p:spPr>
          <a:xfrm>
            <a:off x="4407264" y="2055007"/>
            <a:ext cx="5680165"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17DE84C9-1FF1-409B-8B1D-312A0DF89494}"/>
              </a:ext>
            </a:extLst>
          </p:cNvPr>
          <p:cNvSpPr txBox="1"/>
          <p:nvPr/>
        </p:nvSpPr>
        <p:spPr>
          <a:xfrm>
            <a:off x="381001" y="2584627"/>
            <a:ext cx="3174470" cy="492443"/>
          </a:xfrm>
          <a:prstGeom prst="rect">
            <a:avLst/>
          </a:prstGeom>
          <a:noFill/>
        </p:spPr>
        <p:txBody>
          <a:bodyPr wrap="square" lIns="0" tIns="0" rIns="0" bIns="0">
            <a:spAutoFit/>
          </a:bodyPr>
          <a:lstStyle/>
          <a:p>
            <a:r>
              <a:rPr lang="en-US" sz="1600">
                <a:latin typeface="Arial"/>
                <a:cs typeface="Arial"/>
              </a:rPr>
              <a:t>of employees </a:t>
            </a:r>
            <a:r>
              <a:rPr lang="en-US" sz="1600" b="1">
                <a:solidFill>
                  <a:schemeClr val="accent1"/>
                </a:solidFill>
                <a:latin typeface="Arial"/>
                <a:cs typeface="Arial"/>
              </a:rPr>
              <a:t>are willing to use automation in the future</a:t>
            </a:r>
            <a:r>
              <a:rPr lang="en-US" sz="1600" b="1" baseline="30000">
                <a:solidFill>
                  <a:schemeClr val="accent1"/>
                </a:solidFill>
                <a:latin typeface="Arial"/>
                <a:cs typeface="Arial"/>
              </a:rPr>
              <a:t>1</a:t>
            </a:r>
            <a:endParaRPr lang="en-US" sz="1600" b="1">
              <a:solidFill>
                <a:schemeClr val="accent1"/>
              </a:solidFill>
              <a:latin typeface="Arial"/>
              <a:cs typeface="Arial"/>
            </a:endParaRPr>
          </a:p>
        </p:txBody>
      </p:sp>
      <p:sp>
        <p:nvSpPr>
          <p:cNvPr id="36" name="TextBox 35">
            <a:extLst>
              <a:ext uri="{FF2B5EF4-FFF2-40B4-BE49-F238E27FC236}">
                <a16:creationId xmlns:a16="http://schemas.microsoft.com/office/drawing/2014/main" id="{AD399CCE-D725-4B59-B075-CEAA74144B8B}"/>
              </a:ext>
            </a:extLst>
          </p:cNvPr>
          <p:cNvSpPr txBox="1"/>
          <p:nvPr/>
        </p:nvSpPr>
        <p:spPr>
          <a:xfrm>
            <a:off x="381001" y="1797358"/>
            <a:ext cx="1398531" cy="769441"/>
          </a:xfrm>
          <a:prstGeom prst="rect">
            <a:avLst/>
          </a:prstGeom>
          <a:noFill/>
        </p:spPr>
        <p:txBody>
          <a:bodyPr wrap="square" lIns="0">
            <a:spAutoFit/>
          </a:bodyPr>
          <a:lstStyle/>
          <a:p>
            <a:r>
              <a:rPr lang="en-US" sz="4400" b="1">
                <a:solidFill>
                  <a:schemeClr val="accent1"/>
                </a:solidFill>
                <a:latin typeface="Arial"/>
                <a:cs typeface="Arial"/>
              </a:rPr>
              <a:t>86% </a:t>
            </a:r>
            <a:endParaRPr lang="en-US" sz="4400">
              <a:solidFill>
                <a:schemeClr val="accent1"/>
              </a:solidFill>
            </a:endParaRPr>
          </a:p>
        </p:txBody>
      </p:sp>
      <p:sp>
        <p:nvSpPr>
          <p:cNvPr id="37" name="TextBox 36">
            <a:extLst>
              <a:ext uri="{FF2B5EF4-FFF2-40B4-BE49-F238E27FC236}">
                <a16:creationId xmlns:a16="http://schemas.microsoft.com/office/drawing/2014/main" id="{2113AF5B-E4D2-441B-913B-D46230E289BB}"/>
              </a:ext>
            </a:extLst>
          </p:cNvPr>
          <p:cNvSpPr txBox="1"/>
          <p:nvPr/>
        </p:nvSpPr>
        <p:spPr>
          <a:xfrm>
            <a:off x="381001" y="4921426"/>
            <a:ext cx="3174470" cy="492443"/>
          </a:xfrm>
          <a:prstGeom prst="rect">
            <a:avLst/>
          </a:prstGeom>
          <a:noFill/>
        </p:spPr>
        <p:txBody>
          <a:bodyPr wrap="square" lIns="0" tIns="0" rIns="0" bIns="0">
            <a:spAutoFit/>
          </a:bodyPr>
          <a:lstStyle/>
          <a:p>
            <a:r>
              <a:rPr lang="en-US" sz="1600">
                <a:latin typeface="Arial"/>
                <a:cs typeface="Arial"/>
              </a:rPr>
              <a:t>of employees </a:t>
            </a:r>
            <a:r>
              <a:rPr lang="en-US" sz="1600" b="1">
                <a:solidFill>
                  <a:schemeClr val="accent1"/>
                </a:solidFill>
                <a:latin typeface="Arial"/>
                <a:cs typeface="Arial"/>
              </a:rPr>
              <a:t>are comfortable with automation</a:t>
            </a:r>
            <a:r>
              <a:rPr lang="en-US" sz="1600" b="1" baseline="30000">
                <a:solidFill>
                  <a:schemeClr val="accent1"/>
                </a:solidFill>
                <a:latin typeface="Arial"/>
                <a:cs typeface="Arial"/>
              </a:rPr>
              <a:t>1</a:t>
            </a:r>
          </a:p>
        </p:txBody>
      </p:sp>
      <p:sp>
        <p:nvSpPr>
          <p:cNvPr id="38" name="TextBox 37">
            <a:extLst>
              <a:ext uri="{FF2B5EF4-FFF2-40B4-BE49-F238E27FC236}">
                <a16:creationId xmlns:a16="http://schemas.microsoft.com/office/drawing/2014/main" id="{A047E9F3-886E-47AE-A7E8-44BBEE2C98F3}"/>
              </a:ext>
            </a:extLst>
          </p:cNvPr>
          <p:cNvSpPr txBox="1"/>
          <p:nvPr/>
        </p:nvSpPr>
        <p:spPr>
          <a:xfrm>
            <a:off x="381001" y="4134157"/>
            <a:ext cx="1398531" cy="769441"/>
          </a:xfrm>
          <a:prstGeom prst="rect">
            <a:avLst/>
          </a:prstGeom>
          <a:noFill/>
        </p:spPr>
        <p:txBody>
          <a:bodyPr wrap="square" lIns="0">
            <a:spAutoFit/>
          </a:bodyPr>
          <a:lstStyle/>
          <a:p>
            <a:r>
              <a:rPr lang="en-US" sz="4400" b="1">
                <a:solidFill>
                  <a:schemeClr val="accent1"/>
                </a:solidFill>
                <a:latin typeface="Arial"/>
                <a:cs typeface="Arial"/>
              </a:rPr>
              <a:t>79% </a:t>
            </a:r>
            <a:endParaRPr lang="en-US" sz="4400">
              <a:solidFill>
                <a:schemeClr val="accent1"/>
              </a:solidFill>
            </a:endParaRPr>
          </a:p>
        </p:txBody>
      </p:sp>
      <p:cxnSp>
        <p:nvCxnSpPr>
          <p:cNvPr id="39" name="Straight Connector 38">
            <a:extLst>
              <a:ext uri="{FF2B5EF4-FFF2-40B4-BE49-F238E27FC236}">
                <a16:creationId xmlns:a16="http://schemas.microsoft.com/office/drawing/2014/main" id="{C2AE70A1-77A2-40FF-8E1A-962178773AF5}"/>
              </a:ext>
            </a:extLst>
          </p:cNvPr>
          <p:cNvCxnSpPr>
            <a:cxnSpLocks/>
          </p:cNvCxnSpPr>
          <p:nvPr/>
        </p:nvCxnSpPr>
        <p:spPr>
          <a:xfrm>
            <a:off x="427183" y="3652043"/>
            <a:ext cx="3082107"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76C98889-3CE0-44C7-8485-327DEE4C0254}"/>
              </a:ext>
            </a:extLst>
          </p:cNvPr>
          <p:cNvSpPr/>
          <p:nvPr/>
        </p:nvSpPr>
        <p:spPr>
          <a:xfrm>
            <a:off x="368030" y="6392246"/>
            <a:ext cx="11430000" cy="123111"/>
          </a:xfrm>
          <a:prstGeom prst="rect">
            <a:avLst/>
          </a:prstGeom>
        </p:spPr>
        <p:txBody>
          <a:bodyPr wrap="square" lIns="0" tIns="0" rIns="0" bIns="0" anchor="b">
            <a:spAutoFit/>
          </a:bodyPr>
          <a:lstStyle/>
          <a:p>
            <a:pPr marL="228600" indent="-228600">
              <a:buFont typeface="+mj-lt"/>
              <a:buAutoNum type="arabicPeriod"/>
            </a:pPr>
            <a:r>
              <a:rPr kumimoji="0" lang="en-US" sz="800" b="0" i="0" u="none" strike="noStrike" kern="1200" cap="none" spc="0" normalizeH="0" baseline="0" noProof="0" dirty="0">
                <a:ln>
                  <a:noFill/>
                </a:ln>
                <a:solidFill>
                  <a:srgbClr val="58595B"/>
                </a:solidFill>
                <a:effectLst/>
                <a:uLnTx/>
                <a:uFillTx/>
                <a:latin typeface="Arial"/>
              </a:rPr>
              <a:t>UiPath and </a:t>
            </a:r>
            <a:r>
              <a:rPr lang="en-US" sz="800" b="0" i="0" dirty="0">
                <a:solidFill>
                  <a:srgbClr val="000000"/>
                </a:solidFill>
                <a:effectLst/>
                <a:latin typeface="Calibri" panose="020F0502020204030204" pitchFamily="34" charset="0"/>
              </a:rPr>
              <a:t>Bain </a:t>
            </a:r>
            <a:r>
              <a:rPr lang="en-US" sz="800" dirty="0">
                <a:solidFill>
                  <a:srgbClr val="000000"/>
                </a:solidFill>
                <a:latin typeface="Calibri" panose="020F0502020204030204" pitchFamily="34" charset="0"/>
              </a:rPr>
              <a:t>&amp; </a:t>
            </a:r>
            <a:r>
              <a:rPr lang="en-US" sz="800" b="0" i="0" dirty="0">
                <a:solidFill>
                  <a:srgbClr val="000000"/>
                </a:solidFill>
                <a:effectLst/>
                <a:latin typeface="Calibri" panose="020F0502020204030204" pitchFamily="34" charset="0"/>
              </a:rPr>
              <a:t>Company research</a:t>
            </a:r>
            <a:r>
              <a:rPr lang="en-US" sz="800" b="0" i="0" dirty="0">
                <a:solidFill>
                  <a:srgbClr val="58595B"/>
                </a:solidFill>
                <a:effectLst/>
                <a:latin typeface="Arial"/>
              </a:rPr>
              <a:t>, </a:t>
            </a:r>
            <a:r>
              <a:rPr lang="en-US" sz="800" b="0" i="0" dirty="0">
                <a:solidFill>
                  <a:srgbClr val="000000"/>
                </a:solidFill>
                <a:effectLst/>
                <a:latin typeface="Graphik"/>
              </a:rPr>
              <a:t>Overcoming the Automation Paradox</a:t>
            </a:r>
          </a:p>
        </p:txBody>
      </p:sp>
    </p:spTree>
    <p:extLst>
      <p:ext uri="{BB962C8B-B14F-4D97-AF65-F5344CB8AC3E}">
        <p14:creationId xmlns:p14="http://schemas.microsoft.com/office/powerpoint/2010/main" val="342409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87046D-5E5B-4715-A3A4-9F37C8895340}"/>
              </a:ext>
            </a:extLst>
          </p:cNvPr>
          <p:cNvSpPr/>
          <p:nvPr/>
        </p:nvSpPr>
        <p:spPr>
          <a:xfrm>
            <a:off x="1" y="0"/>
            <a:ext cx="393647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a:ea typeface="+mn-ea"/>
              <a:cs typeface="Arial"/>
            </a:endParaRPr>
          </a:p>
        </p:txBody>
      </p:sp>
      <p:sp>
        <p:nvSpPr>
          <p:cNvPr id="4" name="Title 3">
            <a:extLst>
              <a:ext uri="{FF2B5EF4-FFF2-40B4-BE49-F238E27FC236}">
                <a16:creationId xmlns:a16="http://schemas.microsoft.com/office/drawing/2014/main" id="{970B1B2D-1272-4013-8F0E-38ABDFC1DDBA}"/>
              </a:ext>
            </a:extLst>
          </p:cNvPr>
          <p:cNvSpPr>
            <a:spLocks noGrp="1"/>
          </p:cNvSpPr>
          <p:nvPr>
            <p:ph type="title"/>
          </p:nvPr>
        </p:nvSpPr>
        <p:spPr>
          <a:xfrm>
            <a:off x="381002" y="3025475"/>
            <a:ext cx="3111498" cy="1445679"/>
          </a:xfrm>
        </p:spPr>
        <p:txBody>
          <a:bodyPr/>
          <a:lstStyle/>
          <a:p>
            <a:r>
              <a:rPr lang="en-US" dirty="0">
                <a:solidFill>
                  <a:schemeClr val="bg1"/>
                </a:solidFill>
              </a:rPr>
              <a:t>Companies across the world are giving employees access to automation</a:t>
            </a:r>
          </a:p>
        </p:txBody>
      </p:sp>
      <p:cxnSp>
        <p:nvCxnSpPr>
          <p:cNvPr id="18" name="Straight Connector 17">
            <a:extLst>
              <a:ext uri="{FF2B5EF4-FFF2-40B4-BE49-F238E27FC236}">
                <a16:creationId xmlns:a16="http://schemas.microsoft.com/office/drawing/2014/main" id="{5CF65031-4AF1-49E6-B825-ED756D9D2215}"/>
              </a:ext>
            </a:extLst>
          </p:cNvPr>
          <p:cNvCxnSpPr>
            <a:cxnSpLocks/>
          </p:cNvCxnSpPr>
          <p:nvPr/>
        </p:nvCxnSpPr>
        <p:spPr>
          <a:xfrm flipH="1">
            <a:off x="4383118" y="2983564"/>
            <a:ext cx="7507817"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69D3CB8B-CA7E-4554-B1C8-5D686F378AAE}"/>
              </a:ext>
            </a:extLst>
          </p:cNvPr>
          <p:cNvCxnSpPr>
            <a:cxnSpLocks/>
          </p:cNvCxnSpPr>
          <p:nvPr/>
        </p:nvCxnSpPr>
        <p:spPr>
          <a:xfrm flipH="1">
            <a:off x="4383118" y="4270848"/>
            <a:ext cx="7507817"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7E8013B3-DE68-469E-8B23-8E417F728E6E}"/>
              </a:ext>
            </a:extLst>
          </p:cNvPr>
          <p:cNvSpPr txBox="1"/>
          <p:nvPr/>
        </p:nvSpPr>
        <p:spPr>
          <a:xfrm>
            <a:off x="4378075" y="1905252"/>
            <a:ext cx="7455337" cy="835739"/>
          </a:xfrm>
          <a:prstGeom prst="rect">
            <a:avLst/>
          </a:prstGeom>
          <a:noFill/>
        </p:spPr>
        <p:txBody>
          <a:bodyPr wrap="square" lIns="0" tIns="0" rIns="0" bIns="0" anchor="ctr">
            <a:noAutofit/>
          </a:bodyPr>
          <a:lstStyle/>
          <a:p>
            <a:pPr marL="0" marR="0" lvl="0" indent="0" algn="l" defTabSz="457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hlinkClick r:id="rId3"/>
              </a:rPr>
              <a:t>Wells Fargo </a:t>
            </a:r>
            <a:r>
              <a:rPr kumimoji="0" lang="en-US" sz="1400" b="0" i="0" u="none" strike="noStrike" kern="1200" cap="none" spc="0" normalizeH="0" baseline="0" noProof="0">
                <a:ln>
                  <a:noFill/>
                </a:ln>
                <a:solidFill>
                  <a:srgbClr val="000000"/>
                </a:solidFill>
                <a:effectLst/>
                <a:uLnTx/>
                <a:uFillTx/>
                <a:latin typeface="Arial"/>
                <a:ea typeface="+mn-ea"/>
                <a:cs typeface="+mn-cs"/>
              </a:rPr>
              <a:t>deploys thousands of robots to help their employees </a:t>
            </a:r>
            <a:r>
              <a:rPr kumimoji="0" lang="en-GB" sz="1400" b="0" i="0" u="none" strike="noStrike" kern="1200" cap="none" spc="0" normalizeH="0" baseline="0" noProof="0">
                <a:ln>
                  <a:noFill/>
                </a:ln>
                <a:solidFill>
                  <a:srgbClr val="000000"/>
                </a:solidFill>
                <a:effectLst/>
                <a:uLnTx/>
                <a:uFillTx/>
                <a:latin typeface="Arial"/>
                <a:ea typeface="+mn-ea"/>
                <a:cs typeface="+mn-cs"/>
              </a:rPr>
              <a:t>improve customers’ experiences, </a:t>
            </a:r>
            <a:r>
              <a:rPr kumimoji="0" lang="en-GB" sz="1400" b="1" i="0" u="none" strike="noStrike" kern="1200" cap="none" spc="0" normalizeH="0" baseline="0" noProof="0">
                <a:ln>
                  <a:noFill/>
                </a:ln>
                <a:solidFill>
                  <a:srgbClr val="000000"/>
                </a:solidFill>
                <a:effectLst/>
                <a:uLnTx/>
                <a:uFillTx/>
                <a:latin typeface="Arial"/>
                <a:ea typeface="+mn-ea"/>
                <a:cs typeface="+mn-cs"/>
              </a:rPr>
              <a:t>saving millions of hours each year.</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36" name="TextBox 35">
            <a:extLst>
              <a:ext uri="{FF2B5EF4-FFF2-40B4-BE49-F238E27FC236}">
                <a16:creationId xmlns:a16="http://schemas.microsoft.com/office/drawing/2014/main" id="{59019FE6-BA11-438C-97CE-77A49D5E2A86}"/>
              </a:ext>
            </a:extLst>
          </p:cNvPr>
          <p:cNvSpPr txBox="1"/>
          <p:nvPr/>
        </p:nvSpPr>
        <p:spPr>
          <a:xfrm>
            <a:off x="4378075" y="3189182"/>
            <a:ext cx="7455337" cy="835739"/>
          </a:xfrm>
          <a:prstGeom prst="rect">
            <a:avLst/>
          </a:prstGeom>
          <a:noFill/>
        </p:spPr>
        <p:txBody>
          <a:bodyPr wrap="square" lIns="0" tIns="0" rIns="0" bIns="0" anchor="ctr">
            <a:noAutofit/>
          </a:bodyPr>
          <a:lstStyle/>
          <a:p>
            <a:pPr marL="0" marR="0" lvl="0" indent="0" algn="l" defTabSz="457200" rtl="0" eaLnBrk="1" fontAlgn="auto" latinLnBrk="0" hangingPunct="1">
              <a:lnSpc>
                <a:spcPct val="100000"/>
              </a:lnSpc>
              <a:spcBef>
                <a:spcPts val="1800"/>
              </a:spcBef>
              <a:spcAft>
                <a:spcPts val="0"/>
              </a:spcAft>
              <a:buClrTx/>
              <a:buSzTx/>
              <a:buFontTx/>
              <a:buNone/>
              <a:tabLst/>
              <a:defRPr/>
            </a:pPr>
            <a:r>
              <a:rPr kumimoji="0" lang="en-GB" sz="1400" b="1" i="0" u="none" strike="noStrike" kern="1200" cap="none" spc="0" normalizeH="0" baseline="0" noProof="0">
                <a:ln>
                  <a:noFill/>
                </a:ln>
                <a:solidFill>
                  <a:srgbClr val="273139"/>
                </a:solidFill>
                <a:effectLst/>
                <a:uLnTx/>
                <a:uFillTx/>
                <a:latin typeface="Arial"/>
                <a:ea typeface="+mn-ea"/>
                <a:cs typeface="+mn-cs"/>
                <a:hlinkClick r:id="rId4"/>
              </a:rPr>
              <a:t>Singtel</a:t>
            </a:r>
            <a:r>
              <a:rPr kumimoji="0" lang="en-GB" sz="1400" b="0" i="0" u="none" strike="noStrike" kern="1200" cap="none" spc="0" normalizeH="0" baseline="0" noProof="0">
                <a:ln>
                  <a:noFill/>
                </a:ln>
                <a:solidFill>
                  <a:srgbClr val="273139"/>
                </a:solidFill>
                <a:effectLst/>
                <a:uLnTx/>
                <a:uFillTx/>
                <a:latin typeface="Arial"/>
                <a:ea typeface="+mn-ea"/>
                <a:cs typeface="+mn-cs"/>
              </a:rPr>
              <a:t> believes it is important to bring employees along the RPA journey and has a vision t</a:t>
            </a:r>
            <a:r>
              <a:rPr kumimoji="0" lang="en-GB" sz="1400" b="0" i="0" u="none" strike="noStrike" kern="1200" cap="none" spc="0" normalizeH="0" baseline="0" noProof="0">
                <a:ln>
                  <a:noFill/>
                </a:ln>
                <a:solidFill>
                  <a:srgbClr val="000000"/>
                </a:solidFill>
                <a:effectLst/>
                <a:uLnTx/>
                <a:uFillTx/>
                <a:latin typeface="Arial"/>
                <a:ea typeface="+mn-ea"/>
                <a:cs typeface="+mn-cs"/>
              </a:rPr>
              <a:t>o save 30 minutes in each employee’s week – a massive capacity gain when </a:t>
            </a:r>
            <a:r>
              <a:rPr kumimoji="0" lang="en-GB" sz="1400" b="1" i="0" u="none" strike="noStrike" kern="1200" cap="none" spc="0" normalizeH="0" baseline="0" noProof="0">
                <a:ln>
                  <a:noFill/>
                </a:ln>
                <a:solidFill>
                  <a:srgbClr val="000000"/>
                </a:solidFill>
                <a:effectLst/>
                <a:uLnTx/>
                <a:uFillTx/>
                <a:latin typeface="Arial"/>
                <a:ea typeface="+mn-ea"/>
                <a:cs typeface="+mn-cs"/>
              </a:rPr>
              <a:t>scaled across company’s 23,000 employees.</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37" name="TextBox 36">
            <a:extLst>
              <a:ext uri="{FF2B5EF4-FFF2-40B4-BE49-F238E27FC236}">
                <a16:creationId xmlns:a16="http://schemas.microsoft.com/office/drawing/2014/main" id="{0C895A4F-42A3-4900-A7CF-7E89B5CAB5F4}"/>
              </a:ext>
            </a:extLst>
          </p:cNvPr>
          <p:cNvSpPr txBox="1"/>
          <p:nvPr/>
        </p:nvSpPr>
        <p:spPr>
          <a:xfrm>
            <a:off x="4378075" y="4473112"/>
            <a:ext cx="7455337" cy="835739"/>
          </a:xfrm>
          <a:prstGeom prst="rect">
            <a:avLst/>
          </a:prstGeom>
          <a:noFill/>
        </p:spPr>
        <p:txBody>
          <a:bodyPr wrap="square" lIns="0" tIns="0" rIns="0" bIns="0" anchor="ctr">
            <a:noAutofit/>
          </a:bodyPr>
          <a:lstStyle/>
          <a:p>
            <a:pPr marL="0" marR="0" lvl="0" indent="0" algn="l" defTabSz="457200" rtl="0" eaLnBrk="1" fontAlgn="auto" latinLnBrk="0" hangingPunct="1">
              <a:lnSpc>
                <a:spcPct val="100000"/>
              </a:lnSpc>
              <a:spcBef>
                <a:spcPts val="180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hlinkClick r:id="rId5"/>
              </a:rPr>
              <a:t>U.S. Air Force </a:t>
            </a:r>
            <a:r>
              <a:rPr kumimoji="0" lang="en-GB" sz="1400" b="0" i="0" u="none" strike="noStrike" kern="1200" cap="none" spc="0" normalizeH="0" baseline="0" noProof="0" dirty="0">
                <a:ln>
                  <a:noFill/>
                </a:ln>
                <a:solidFill>
                  <a:srgbClr val="000000"/>
                </a:solidFill>
                <a:effectLst/>
                <a:uLnTx/>
                <a:uFillTx/>
                <a:latin typeface="Arial"/>
                <a:ea typeface="+mn-ea"/>
                <a:cs typeface="+mn-cs"/>
              </a:rPr>
              <a:t>deployed automation to </a:t>
            </a:r>
            <a:r>
              <a:rPr kumimoji="0" lang="en-GB" sz="1400" b="1" i="0" u="none" strike="noStrike" kern="1200" cap="none" spc="0" normalizeH="0" baseline="0" noProof="0" dirty="0">
                <a:ln>
                  <a:noFill/>
                </a:ln>
                <a:solidFill>
                  <a:srgbClr val="000000"/>
                </a:solidFill>
                <a:effectLst/>
                <a:uLnTx/>
                <a:uFillTx/>
                <a:latin typeface="Arial"/>
                <a:ea typeface="+mn-ea"/>
                <a:cs typeface="+mn-cs"/>
              </a:rPr>
              <a:t>airmen </a:t>
            </a:r>
            <a:r>
              <a:rPr kumimoji="0" lang="en-GB" sz="1400" b="0" i="0" u="none" strike="noStrike" kern="1200" cap="none" spc="0" normalizeH="0" baseline="0" noProof="0" dirty="0">
                <a:ln>
                  <a:noFill/>
                </a:ln>
                <a:solidFill>
                  <a:srgbClr val="000000"/>
                </a:solidFill>
                <a:effectLst/>
                <a:uLnTx/>
                <a:uFillTx/>
                <a:latin typeface="Arial"/>
                <a:ea typeface="+mn-ea"/>
                <a:cs typeface="+mn-cs"/>
              </a:rPr>
              <a:t>to help with daily tasks</a:t>
            </a:r>
            <a:r>
              <a:rPr lang="en-GB" sz="1400" dirty="0">
                <a:solidFill>
                  <a:srgbClr val="000000"/>
                </a:solidFill>
                <a:latin typeface="Arial"/>
              </a:rPr>
              <a:t> and get more time for strategic work</a:t>
            </a:r>
            <a:endParaRPr kumimoji="0" lang="en-GB" sz="1400" b="0" i="0" u="none" strike="noStrike" kern="1200" cap="none" spc="0" normalizeH="0" baseline="0" noProof="0" dirty="0">
              <a:ln>
                <a:noFill/>
              </a:ln>
              <a:solidFill>
                <a:srgbClr val="273139"/>
              </a:solidFill>
              <a:effectLst/>
              <a:uLnTx/>
              <a:uFillTx/>
              <a:latin typeface="Arial"/>
              <a:ea typeface="+mn-ea"/>
              <a:cs typeface="+mn-cs"/>
            </a:endParaRPr>
          </a:p>
        </p:txBody>
      </p:sp>
      <p:pic>
        <p:nvPicPr>
          <p:cNvPr id="38" name="Graphic 37">
            <a:extLst>
              <a:ext uri="{FF2B5EF4-FFF2-40B4-BE49-F238E27FC236}">
                <a16:creationId xmlns:a16="http://schemas.microsoft.com/office/drawing/2014/main" id="{21B781EB-789D-46FB-BF3D-6C3C9372CA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2" y="2099988"/>
            <a:ext cx="496023" cy="460593"/>
          </a:xfrm>
          <a:prstGeom prst="rect">
            <a:avLst/>
          </a:prstGeom>
        </p:spPr>
      </p:pic>
    </p:spTree>
    <p:extLst>
      <p:ext uri="{BB962C8B-B14F-4D97-AF65-F5344CB8AC3E}">
        <p14:creationId xmlns:p14="http://schemas.microsoft.com/office/powerpoint/2010/main" val="131000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F30011-E57B-495F-813B-072113FEC9D5}"/>
              </a:ext>
            </a:extLst>
          </p:cNvPr>
          <p:cNvSpPr>
            <a:spLocks noGrp="1"/>
          </p:cNvSpPr>
          <p:nvPr>
            <p:ph type="title"/>
          </p:nvPr>
        </p:nvSpPr>
        <p:spPr>
          <a:xfrm>
            <a:off x="381001" y="357721"/>
            <a:ext cx="8879731" cy="690029"/>
          </a:xfrm>
        </p:spPr>
        <p:txBody>
          <a:bodyPr/>
          <a:lstStyle/>
          <a:p>
            <a:r>
              <a:rPr lang="en-US" dirty="0"/>
              <a:t>By working with robots, employees save time – unlocking capacity at scale</a:t>
            </a:r>
          </a:p>
        </p:txBody>
      </p:sp>
      <p:sp>
        <p:nvSpPr>
          <p:cNvPr id="5" name="TextBox 4">
            <a:extLst>
              <a:ext uri="{FF2B5EF4-FFF2-40B4-BE49-F238E27FC236}">
                <a16:creationId xmlns:a16="http://schemas.microsoft.com/office/drawing/2014/main" id="{8A53CCB7-1267-464B-94C2-64175D9B374F}"/>
              </a:ext>
            </a:extLst>
          </p:cNvPr>
          <p:cNvSpPr txBox="1"/>
          <p:nvPr/>
        </p:nvSpPr>
        <p:spPr>
          <a:xfrm>
            <a:off x="380999" y="1371939"/>
            <a:ext cx="4330701" cy="532045"/>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Estimated time savings by providing a </a:t>
            </a:r>
            <a:br>
              <a:rPr kumimoji="0" lang="en-US" sz="1600" b="0" i="0" u="none" strike="noStrike" kern="1200" cap="none" spc="0" normalizeH="0" baseline="0" noProof="0" dirty="0">
                <a:ln>
                  <a:noFill/>
                </a:ln>
                <a:solidFill>
                  <a:srgbClr val="000000"/>
                </a:solidFill>
                <a:effectLst/>
                <a:uLnTx/>
                <a:uFillTx/>
                <a:latin typeface="Arial"/>
                <a:ea typeface="+mn-ea"/>
                <a:cs typeface="Arial"/>
              </a:rPr>
            </a:br>
            <a:r>
              <a:rPr lang="en-US" sz="1600" dirty="0">
                <a:solidFill>
                  <a:srgbClr val="000000"/>
                </a:solidFill>
                <a:latin typeface="Arial"/>
                <a:cs typeface="Arial"/>
              </a:rPr>
              <a:t>digital</a:t>
            </a:r>
            <a:r>
              <a:rPr kumimoji="0" lang="en-US" sz="1600" b="0" i="0" u="none" strike="noStrike" kern="1200" cap="none" spc="0" normalizeH="0" baseline="0" noProof="0" dirty="0">
                <a:ln>
                  <a:noFill/>
                </a:ln>
                <a:solidFill>
                  <a:srgbClr val="000000"/>
                </a:solidFill>
                <a:effectLst/>
                <a:uLnTx/>
                <a:uFillTx/>
                <a:latin typeface="Arial"/>
                <a:ea typeface="+mn-ea"/>
                <a:cs typeface="Arial"/>
              </a:rPr>
              <a:t> assistant to </a:t>
            </a:r>
            <a:r>
              <a:rPr kumimoji="0" lang="en-US" sz="1600" b="1" i="0" u="none" strike="noStrike" kern="1200" cap="none" spc="0" normalizeH="0" baseline="0" noProof="0" dirty="0">
                <a:ln>
                  <a:noFill/>
                </a:ln>
                <a:solidFill>
                  <a:srgbClr val="0067DF"/>
                </a:solidFill>
                <a:effectLst/>
                <a:uLnTx/>
                <a:uFillTx/>
                <a:latin typeface="Arial"/>
                <a:ea typeface="+mn-ea"/>
                <a:cs typeface="Arial"/>
              </a:rPr>
              <a:t>one employee</a:t>
            </a:r>
            <a:endParaRPr kumimoji="0" lang="en-US" sz="1600" b="1" i="0" u="none" strike="noStrike" kern="1200" cap="none" spc="0" normalizeH="0" baseline="0" noProof="0" dirty="0">
              <a:ln>
                <a:noFill/>
              </a:ln>
              <a:solidFill>
                <a:srgbClr val="0067DF"/>
              </a:solidFill>
              <a:effectLst/>
              <a:uLnTx/>
              <a:uFillTx/>
              <a:latin typeface="Arial"/>
              <a:ea typeface="+mn-ea"/>
              <a:cs typeface="+mn-cs"/>
            </a:endParaRPr>
          </a:p>
        </p:txBody>
      </p:sp>
      <p:sp>
        <p:nvSpPr>
          <p:cNvPr id="6" name="TextBox 5">
            <a:extLst>
              <a:ext uri="{FF2B5EF4-FFF2-40B4-BE49-F238E27FC236}">
                <a16:creationId xmlns:a16="http://schemas.microsoft.com/office/drawing/2014/main" id="{D75A5F43-519D-4DD2-8E6D-BD9573588BD4}"/>
              </a:ext>
            </a:extLst>
          </p:cNvPr>
          <p:cNvSpPr txBox="1"/>
          <p:nvPr/>
        </p:nvSpPr>
        <p:spPr>
          <a:xfrm>
            <a:off x="4711701" y="1371939"/>
            <a:ext cx="7096125" cy="532045"/>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Estimated time savings by providing a </a:t>
            </a:r>
            <a:br>
              <a:rPr kumimoji="0" lang="en-US" sz="1600" b="0" i="0" u="none" strike="noStrike" kern="1200" cap="none" spc="0" normalizeH="0" baseline="0" noProof="0" dirty="0">
                <a:ln>
                  <a:noFill/>
                </a:ln>
                <a:solidFill>
                  <a:srgbClr val="000000"/>
                </a:solidFill>
                <a:effectLst/>
                <a:uLnTx/>
                <a:uFillTx/>
                <a:latin typeface="Arial"/>
                <a:ea typeface="+mn-ea"/>
                <a:cs typeface="Arial"/>
              </a:rPr>
            </a:br>
            <a:r>
              <a:rPr lang="en-US" sz="1600" dirty="0">
                <a:solidFill>
                  <a:srgbClr val="000000"/>
                </a:solidFill>
                <a:latin typeface="Arial"/>
                <a:cs typeface="Arial"/>
              </a:rPr>
              <a:t>digital</a:t>
            </a:r>
            <a:r>
              <a:rPr kumimoji="0" lang="en-US" sz="1600" b="0" i="0" u="none" strike="noStrike" kern="1200" cap="none" spc="0" normalizeH="0" baseline="0" noProof="0" dirty="0">
                <a:ln>
                  <a:noFill/>
                </a:ln>
                <a:solidFill>
                  <a:srgbClr val="000000"/>
                </a:solidFill>
                <a:effectLst/>
                <a:uLnTx/>
                <a:uFillTx/>
                <a:latin typeface="Arial"/>
                <a:ea typeface="+mn-ea"/>
                <a:cs typeface="Arial"/>
              </a:rPr>
              <a:t> assistant to </a:t>
            </a:r>
            <a:r>
              <a:rPr kumimoji="0" lang="en-US" sz="1600" b="1" i="0" u="none" strike="noStrike" kern="1200" cap="none" spc="0" normalizeH="0" baseline="0" noProof="0" dirty="0">
                <a:ln>
                  <a:noFill/>
                </a:ln>
                <a:solidFill>
                  <a:srgbClr val="FA4616"/>
                </a:solidFill>
                <a:effectLst/>
                <a:uLnTx/>
                <a:uFillTx/>
                <a:latin typeface="Arial"/>
                <a:ea typeface="+mn-ea"/>
                <a:cs typeface="Arial"/>
              </a:rPr>
              <a:t>15k employees</a:t>
            </a:r>
          </a:p>
        </p:txBody>
      </p:sp>
      <p:pic>
        <p:nvPicPr>
          <p:cNvPr id="7" name="Picture 6" descr="A black and white photo of a robot&#10;&#10;Description automatically generated with low confidence">
            <a:extLst>
              <a:ext uri="{FF2B5EF4-FFF2-40B4-BE49-F238E27FC236}">
                <a16:creationId xmlns:a16="http://schemas.microsoft.com/office/drawing/2014/main" id="{9FAFB38F-12D5-4E7C-8BBD-3FC3A84D0D3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3585" y="3323808"/>
            <a:ext cx="1224510" cy="2942110"/>
          </a:xfrm>
          <a:prstGeom prst="rect">
            <a:avLst/>
          </a:prstGeom>
        </p:spPr>
      </p:pic>
      <p:pic>
        <p:nvPicPr>
          <p:cNvPr id="8" name="Picture 7">
            <a:extLst>
              <a:ext uri="{FF2B5EF4-FFF2-40B4-BE49-F238E27FC236}">
                <a16:creationId xmlns:a16="http://schemas.microsoft.com/office/drawing/2014/main" id="{1871E56F-D759-488C-9497-C07D9F48D0D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15444" y="2888342"/>
            <a:ext cx="5713409" cy="3424238"/>
          </a:xfrm>
          <a:prstGeom prst="rect">
            <a:avLst/>
          </a:prstGeom>
        </p:spPr>
      </p:pic>
      <p:cxnSp>
        <p:nvCxnSpPr>
          <p:cNvPr id="16" name="Straight Connector 15">
            <a:extLst>
              <a:ext uri="{FF2B5EF4-FFF2-40B4-BE49-F238E27FC236}">
                <a16:creationId xmlns:a16="http://schemas.microsoft.com/office/drawing/2014/main" id="{25C73F79-D8D8-4AB7-B3D0-FF28F3FE0ED7}"/>
              </a:ext>
            </a:extLst>
          </p:cNvPr>
          <p:cNvCxnSpPr>
            <a:cxnSpLocks/>
          </p:cNvCxnSpPr>
          <p:nvPr/>
        </p:nvCxnSpPr>
        <p:spPr>
          <a:xfrm>
            <a:off x="4711701" y="3338285"/>
            <a:ext cx="0" cy="2670629"/>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2" name="Rectangle 21">
            <a:extLst>
              <a:ext uri="{FF2B5EF4-FFF2-40B4-BE49-F238E27FC236}">
                <a16:creationId xmlns:a16="http://schemas.microsoft.com/office/drawing/2014/main" id="{317A02AD-97C7-4992-99C8-B615B33B99F1}"/>
              </a:ext>
            </a:extLst>
          </p:cNvPr>
          <p:cNvSpPr/>
          <p:nvPr/>
        </p:nvSpPr>
        <p:spPr>
          <a:xfrm>
            <a:off x="381001" y="2100135"/>
            <a:ext cx="4330700" cy="846265"/>
          </a:xfrm>
          <a:prstGeom prst="rect">
            <a:avLst/>
          </a:prstGeom>
          <a:solidFill>
            <a:schemeClr val="accent2"/>
          </a:solidFill>
        </p:spPr>
        <p:txBody>
          <a:bodyPr wrap="square" lIns="182880" tIns="0" rIns="18288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150" normalizeH="0" baseline="0" noProof="0">
                <a:ln>
                  <a:noFill/>
                </a:ln>
                <a:solidFill>
                  <a:srgbClr val="FFFFFF"/>
                </a:solidFill>
                <a:effectLst/>
                <a:uLnTx/>
                <a:uFillTx/>
                <a:latin typeface="Arial"/>
                <a:ea typeface="+mn-ea"/>
                <a:cs typeface="Arial"/>
              </a:rPr>
              <a:t>240 </a:t>
            </a:r>
            <a:r>
              <a:rPr kumimoji="0" lang="en-US" sz="2400" b="1" i="0" u="none" strike="noStrike" kern="1200" cap="none" spc="-150" normalizeH="0" baseline="0" noProof="0">
                <a:ln>
                  <a:noFill/>
                </a:ln>
                <a:solidFill>
                  <a:srgbClr val="FFFFFF"/>
                </a:solidFill>
                <a:effectLst/>
                <a:uLnTx/>
                <a:uFillTx/>
                <a:latin typeface="Arial"/>
                <a:ea typeface="+mn-ea"/>
                <a:cs typeface="Arial"/>
              </a:rPr>
              <a:t>hours per year</a:t>
            </a:r>
          </a:p>
        </p:txBody>
      </p:sp>
      <p:sp>
        <p:nvSpPr>
          <p:cNvPr id="23" name="Rectangle 22">
            <a:extLst>
              <a:ext uri="{FF2B5EF4-FFF2-40B4-BE49-F238E27FC236}">
                <a16:creationId xmlns:a16="http://schemas.microsoft.com/office/drawing/2014/main" id="{6CE2CCFD-780E-4CE6-9F2F-CC5D51D5ACDF}"/>
              </a:ext>
            </a:extLst>
          </p:cNvPr>
          <p:cNvSpPr/>
          <p:nvPr/>
        </p:nvSpPr>
        <p:spPr>
          <a:xfrm>
            <a:off x="4711701" y="2100135"/>
            <a:ext cx="7096125" cy="846265"/>
          </a:xfrm>
          <a:prstGeom prst="rect">
            <a:avLst/>
          </a:prstGeom>
          <a:solidFill>
            <a:schemeClr val="accent1"/>
          </a:solidFill>
        </p:spPr>
        <p:txBody>
          <a:bodyPr wrap="square" lIns="182880" tIns="0" rIns="18288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150" normalizeH="0" baseline="0" noProof="0">
                <a:ln>
                  <a:noFill/>
                </a:ln>
                <a:solidFill>
                  <a:srgbClr val="FFFFFF"/>
                </a:solidFill>
                <a:effectLst/>
                <a:uLnTx/>
                <a:uFillTx/>
                <a:latin typeface="Arial"/>
                <a:ea typeface="+mn-ea"/>
                <a:cs typeface="Arial"/>
              </a:rPr>
              <a:t>3.6M+ </a:t>
            </a:r>
            <a:r>
              <a:rPr kumimoji="0" lang="en-US" sz="2400" b="1" i="0" u="none" strike="noStrike" kern="1200" cap="none" spc="-150" normalizeH="0" baseline="0" noProof="0">
                <a:ln>
                  <a:noFill/>
                </a:ln>
                <a:solidFill>
                  <a:srgbClr val="FFFFFF"/>
                </a:solidFill>
                <a:effectLst/>
                <a:uLnTx/>
                <a:uFillTx/>
                <a:latin typeface="Arial"/>
                <a:ea typeface="+mn-ea"/>
                <a:cs typeface="Arial"/>
              </a:rPr>
              <a:t>hours per year</a:t>
            </a:r>
            <a:endParaRPr kumimoji="0" lang="en-US" sz="4800" b="0" i="0" u="none" strike="noStrike" kern="1200" cap="none" spc="-150" normalizeH="0" baseline="0" noProof="0">
              <a:ln>
                <a:noFill/>
              </a:ln>
              <a:solidFill>
                <a:srgbClr val="FFFFFF"/>
              </a:solidFill>
              <a:effectLst/>
              <a:uLnTx/>
              <a:uFillTx/>
              <a:latin typeface="Arial"/>
              <a:ea typeface="+mn-ea"/>
              <a:cs typeface="+mn-cs"/>
            </a:endParaRPr>
          </a:p>
        </p:txBody>
      </p:sp>
      <p:sp>
        <p:nvSpPr>
          <p:cNvPr id="24" name="Isosceles Triangle 23">
            <a:extLst>
              <a:ext uri="{FF2B5EF4-FFF2-40B4-BE49-F238E27FC236}">
                <a16:creationId xmlns:a16="http://schemas.microsoft.com/office/drawing/2014/main" id="{5C8B98E6-5EDB-4E4B-8468-5F42C51B9D9C}"/>
              </a:ext>
            </a:extLst>
          </p:cNvPr>
          <p:cNvSpPr/>
          <p:nvPr/>
        </p:nvSpPr>
        <p:spPr>
          <a:xfrm rot="5400000">
            <a:off x="4629658" y="2435528"/>
            <a:ext cx="339568" cy="175483"/>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a:ea typeface="+mn-ea"/>
              <a:cs typeface="Arial"/>
            </a:endParaRPr>
          </a:p>
        </p:txBody>
      </p:sp>
      <p:sp>
        <p:nvSpPr>
          <p:cNvPr id="25" name="TextBox 24">
            <a:extLst>
              <a:ext uri="{FF2B5EF4-FFF2-40B4-BE49-F238E27FC236}">
                <a16:creationId xmlns:a16="http://schemas.microsoft.com/office/drawing/2014/main" id="{12A005B7-2DF7-4484-88ED-88A148364647}"/>
              </a:ext>
            </a:extLst>
          </p:cNvPr>
          <p:cNvSpPr txBox="1"/>
          <p:nvPr/>
        </p:nvSpPr>
        <p:spPr>
          <a:xfrm>
            <a:off x="2032000" y="3522206"/>
            <a:ext cx="2461986" cy="53204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7DF"/>
                </a:solidFill>
                <a:effectLst/>
                <a:uLnTx/>
                <a:uFillTx/>
                <a:latin typeface="Arial"/>
                <a:ea typeface="+mn-ea"/>
                <a:cs typeface="Arial"/>
              </a:rPr>
              <a:t>1 hour </a:t>
            </a:r>
            <a:r>
              <a:rPr kumimoji="0" lang="en-US" sz="1800" b="0" i="0" u="none" strike="noStrike" kern="1200" cap="none" spc="0" normalizeH="0" baseline="0" noProof="0">
                <a:ln>
                  <a:noFill/>
                </a:ln>
                <a:solidFill>
                  <a:srgbClr val="000000"/>
                </a:solidFill>
                <a:effectLst/>
                <a:uLnTx/>
                <a:uFillTx/>
                <a:latin typeface="Arial"/>
                <a:ea typeface="+mn-ea"/>
                <a:cs typeface="Arial"/>
              </a:rPr>
              <a:t>per day</a:t>
            </a:r>
            <a:br>
              <a:rPr kumimoji="0" lang="en-US" sz="1800" b="0" i="0" u="none" strike="noStrike" kern="1200" cap="none" spc="0" normalizeH="0" baseline="0" noProof="0">
                <a:ln>
                  <a:noFill/>
                </a:ln>
                <a:solidFill>
                  <a:srgbClr val="000000"/>
                </a:solidFill>
                <a:effectLst/>
                <a:uLnTx/>
                <a:uFillTx/>
                <a:latin typeface="Arial"/>
                <a:ea typeface="+mn-ea"/>
                <a:cs typeface="Arial"/>
              </a:rPr>
            </a:br>
            <a:r>
              <a:rPr kumimoji="0" lang="en-US" sz="1800" b="1" i="0" u="none" strike="noStrike" kern="1200" cap="none" spc="0" normalizeH="0" baseline="0" noProof="0">
                <a:ln>
                  <a:noFill/>
                </a:ln>
                <a:solidFill>
                  <a:srgbClr val="0067DF"/>
                </a:solidFill>
                <a:effectLst/>
                <a:uLnTx/>
                <a:uFillTx/>
                <a:latin typeface="Arial"/>
                <a:ea typeface="+mn-ea"/>
                <a:cs typeface="Arial"/>
              </a:rPr>
              <a:t>20 hours </a:t>
            </a:r>
            <a:r>
              <a:rPr kumimoji="0" lang="en-US" sz="1800" b="0" i="0" u="none" strike="noStrike" kern="1200" cap="none" spc="0" normalizeH="0" baseline="0" noProof="0">
                <a:ln>
                  <a:noFill/>
                </a:ln>
                <a:solidFill>
                  <a:srgbClr val="000000"/>
                </a:solidFill>
                <a:effectLst/>
                <a:uLnTx/>
                <a:uFillTx/>
                <a:latin typeface="Arial"/>
                <a:ea typeface="+mn-ea"/>
                <a:cs typeface="Arial"/>
              </a:rPr>
              <a:t>per month</a:t>
            </a:r>
          </a:p>
        </p:txBody>
      </p:sp>
    </p:spTree>
    <p:extLst>
      <p:ext uri="{BB962C8B-B14F-4D97-AF65-F5344CB8AC3E}">
        <p14:creationId xmlns:p14="http://schemas.microsoft.com/office/powerpoint/2010/main" val="219891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REVIOUSTEXTLENGTH" val="2"/>
</p:tagLst>
</file>

<file path=ppt/tags/tag4.xml><?xml version="1.0" encoding="utf-8"?>
<p:tagLst xmlns:a="http://schemas.openxmlformats.org/drawingml/2006/main" xmlns:r="http://schemas.openxmlformats.org/officeDocument/2006/relationships" xmlns:p="http://schemas.openxmlformats.org/presentationml/2006/main">
  <p:tag name="PREVIOUSTEXTLENGTH" val="2"/>
</p:tagLst>
</file>

<file path=ppt/theme/theme1.xml><?xml version="1.0" encoding="utf-8"?>
<a:theme xmlns:a="http://schemas.openxmlformats.org/drawingml/2006/main" name="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2.xml><?xml version="1.0" encoding="utf-8"?>
<a:theme xmlns:a="http://schemas.openxmlformats.org/drawingml/2006/main" name="Public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3.xml><?xml version="1.0" encoding="utf-8"?>
<a:theme xmlns:a="http://schemas.openxmlformats.org/drawingml/2006/main" name="Prim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UiPath Powerpoint Brand Template June2020" id="{3C7A47B1-A0E6-498E-BA3D-6839471568C0}" vid="{DA8BEB16-99CA-4525-B981-5A2878481298}"/>
    </a:ext>
  </a:extLst>
</a:theme>
</file>

<file path=ppt/theme/theme4.xml><?xml version="1.0" encoding="utf-8"?>
<a:theme xmlns:a="http://schemas.openxmlformats.org/drawingml/2006/main" name="Primary Public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3175" cap="flat" cmpd="sng" algn="ctr">
          <a:solidFill>
            <a:schemeClr val="bg1">
              <a:lumMod val="65000"/>
            </a:schemeClr>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5.xml><?xml version="1.0" encoding="utf-8"?>
<a:theme xmlns:a="http://schemas.openxmlformats.org/drawingml/2006/main" name="1_Primary Public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3175" cap="flat" cmpd="sng" algn="ctr">
          <a:solidFill>
            <a:schemeClr val="bg1">
              <a:lumMod val="65000"/>
            </a:schemeClr>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0308591EDBF964EB739F29FD2AAE853" ma:contentTypeVersion="12" ma:contentTypeDescription="Create a new document." ma:contentTypeScope="" ma:versionID="97fe45e44da2e6c8bdb80d8aa4a8821d">
  <xsd:schema xmlns:xsd="http://www.w3.org/2001/XMLSchema" xmlns:xs="http://www.w3.org/2001/XMLSchema" xmlns:p="http://schemas.microsoft.com/office/2006/metadata/properties" xmlns:ns3="c39f197e-0e77-42a9-8bda-c3574490acb2" xmlns:ns4="6d83b286-91cd-486e-b09a-a076f2f0173f" targetNamespace="http://schemas.microsoft.com/office/2006/metadata/properties" ma:root="true" ma:fieldsID="576ce818d35c4c08e97f86e60a7731a5" ns3:_="" ns4:_="">
    <xsd:import namespace="c39f197e-0e77-42a9-8bda-c3574490acb2"/>
    <xsd:import namespace="6d83b286-91cd-486e-b09a-a076f2f0173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9f197e-0e77-42a9-8bda-c3574490ac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83b286-91cd-486e-b09a-a076f2f017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9C0DC-4321-4421-B564-AA02EF9F7152}">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c39f197e-0e77-42a9-8bda-c3574490acb2"/>
    <ds:schemaRef ds:uri="6d83b286-91cd-486e-b09a-a076f2f0173f"/>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23FF3D86-180F-4DEA-B9A1-FE7063DE5251}">
  <ds:schemaRefs>
    <ds:schemaRef ds:uri="http://schemas.microsoft.com/sharepoint/v3/contenttype/forms"/>
  </ds:schemaRefs>
</ds:datastoreItem>
</file>

<file path=customXml/itemProps3.xml><?xml version="1.0" encoding="utf-8"?>
<ds:datastoreItem xmlns:ds="http://schemas.openxmlformats.org/officeDocument/2006/customXml" ds:itemID="{BFC5C075-D73A-432D-A84D-313BE5C854FD}">
  <ds:schemaRefs>
    <ds:schemaRef ds:uri="6d83b286-91cd-486e-b09a-a076f2f0173f"/>
    <ds:schemaRef ds:uri="c39f197e-0e77-42a9-8bda-c3574490acb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19-UIP-0019_UiPath_PPT_Template_m03</Template>
  <TotalTime>0</TotalTime>
  <Words>4532</Words>
  <Application>Microsoft Office PowerPoint</Application>
  <PresentationFormat>Benutzerdefiniert</PresentationFormat>
  <Paragraphs>684</Paragraphs>
  <Slides>47</Slides>
  <Notes>34</Notes>
  <HiddenSlides>0</HiddenSlides>
  <MMClips>0</MMClips>
  <ScaleCrop>false</ScaleCrop>
  <HeadingPairs>
    <vt:vector size="8" baseType="variant">
      <vt:variant>
        <vt:lpstr>Verwendete Schriftarten</vt:lpstr>
      </vt:variant>
      <vt:variant>
        <vt:i4>8</vt:i4>
      </vt:variant>
      <vt:variant>
        <vt:lpstr>Design</vt:lpstr>
      </vt:variant>
      <vt:variant>
        <vt:i4>5</vt:i4>
      </vt:variant>
      <vt:variant>
        <vt:lpstr>Eingebettete OLE-Server</vt:lpstr>
      </vt:variant>
      <vt:variant>
        <vt:i4>1</vt:i4>
      </vt:variant>
      <vt:variant>
        <vt:lpstr>Folientitel</vt:lpstr>
      </vt:variant>
      <vt:variant>
        <vt:i4>47</vt:i4>
      </vt:variant>
    </vt:vector>
  </HeadingPairs>
  <TitlesOfParts>
    <vt:vector size="61" baseType="lpstr">
      <vt:lpstr>Arial</vt:lpstr>
      <vt:lpstr>Arial</vt:lpstr>
      <vt:lpstr>Calibri</vt:lpstr>
      <vt:lpstr>Graphik</vt:lpstr>
      <vt:lpstr>Helvetica Neue</vt:lpstr>
      <vt:lpstr>Inter</vt:lpstr>
      <vt:lpstr>Lucida Grande</vt:lpstr>
      <vt:lpstr>Webdings</vt:lpstr>
      <vt:lpstr>Presentation Layouts</vt:lpstr>
      <vt:lpstr>Publication Layouts</vt:lpstr>
      <vt:lpstr>Primary Presentation Layouts</vt:lpstr>
      <vt:lpstr>Primary Publication Layouts</vt:lpstr>
      <vt:lpstr>1_Primary Publication Layouts</vt:lpstr>
      <vt:lpstr>think-cell Slide</vt:lpstr>
      <vt:lpstr>Robotic Process Automation (RPA) </vt:lpstr>
      <vt:lpstr>Agenda</vt:lpstr>
      <vt:lpstr>At UiPath, we believe in a world where every company encourages robot-human collaboration</vt:lpstr>
      <vt:lpstr>Employees &amp; robots working together helps your business</vt:lpstr>
      <vt:lpstr>Tedious work makes your employees less productive &amp; engaged – and business suffers</vt:lpstr>
      <vt:lpstr>PowerPoint-Präsentation</vt:lpstr>
      <vt:lpstr>People want to learn new skills &amp; do higher-value work – and they’re open to automation to help</vt:lpstr>
      <vt:lpstr>Companies across the world are giving employees access to automation</vt:lpstr>
      <vt:lpstr>By working with robots, employees save time – unlocking capacity at scale</vt:lpstr>
      <vt:lpstr>Companies that encourage humans to work with robots see massive gains</vt:lpstr>
      <vt:lpstr>How employees work with robots</vt:lpstr>
      <vt:lpstr>Meet Jane, a finance specialist</vt:lpstr>
      <vt:lpstr>PowerPoint-Präsentation</vt:lpstr>
      <vt:lpstr>For example, robots help Jane create financial reports faster </vt:lpstr>
      <vt:lpstr>5 ways Jane can use automation in her daily work</vt:lpstr>
      <vt:lpstr>Jane launches automations directly from her desktop digital assistant</vt:lpstr>
      <vt:lpstr>PowerPoint-Präsentation</vt:lpstr>
      <vt:lpstr>Jane launches an automation-powered app from her assistant to make financial approvals easy</vt:lpstr>
      <vt:lpstr>Jane interacts with automations directly in the enterprise tools she uses every day</vt:lpstr>
      <vt:lpstr>Jane’s assistant monitors incoming emails and automatically processes new invoices</vt:lpstr>
      <vt:lpstr>The UiPath platform makes it easy for Jane to work with automation</vt:lpstr>
      <vt:lpstr>We strive to create a world-class experience for humans working with automation</vt:lpstr>
      <vt:lpstr>The leap to democratized development</vt:lpstr>
      <vt:lpstr>People who work with  robots want to build their own</vt:lpstr>
      <vt:lpstr>Automation consumption unlocks a continuous automation flywheel </vt:lpstr>
      <vt:lpstr>The 4 pillars of a fully automated enterprise™</vt:lpstr>
      <vt:lpstr>Bottom-up innovation that leads to business growth at scale </vt:lpstr>
      <vt:lpstr>Making ‘a robot  for every person’ and ‘democratized development’  a reality</vt:lpstr>
      <vt:lpstr>Key factors that contribute to successful program execution at scale</vt:lpstr>
      <vt:lpstr>PowerPoint-Präsentation</vt:lpstr>
      <vt:lpstr>Central oversight and control</vt:lpstr>
      <vt:lpstr>Scale automation top-down &amp; bottom-up</vt:lpstr>
      <vt:lpstr>Each persona leverages relevant technology</vt:lpstr>
      <vt:lpstr>Maximize adoption at scale</vt:lpstr>
      <vt:lpstr>PowerPoint-Präsentation</vt:lpstr>
      <vt:lpstr>PowerPoint-Präsentation</vt:lpstr>
      <vt:lpstr>Whatever your goal, you can get there faster by empowering your people to work with robots</vt:lpstr>
      <vt:lpstr>healthcare professional</vt:lpstr>
      <vt:lpstr>telco professional</vt:lpstr>
      <vt:lpstr>government employee</vt:lpstr>
      <vt:lpstr>financial services professional</vt:lpstr>
      <vt:lpstr>lawyer</vt:lpstr>
      <vt:lpstr>contact center agent</vt:lpstr>
      <vt:lpstr>human resources professional</vt:lpstr>
      <vt:lpstr>finance professional</vt:lpstr>
      <vt:lpstr>farmer </vt:lpstr>
      <vt:lpstr>insurance professional</vt:lpstr>
    </vt:vector>
  </TitlesOfParts>
  <Company>Ingram Mic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botic Process Automation with UiPath provided by Ingram Micro</dc:title>
  <dc:subject>Robotic Process Automation</dc:subject>
  <dc:creator>Barbara Dorf;Jens.Albrecht@ingrammicro.com</dc:creator>
  <cp:lastModifiedBy>Albrecht, Jens</cp:lastModifiedBy>
  <cp:revision>35</cp:revision>
  <dcterms:created xsi:type="dcterms:W3CDTF">2019-04-27T00:55:32Z</dcterms:created>
  <dcterms:modified xsi:type="dcterms:W3CDTF">2022-01-07T13:33:59Z</dcterms:modified>
  <cp:category>Robotic Process Autom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308591EDBF964EB739F29FD2AAE853</vt:lpwstr>
  </property>
  <property fmtid="{D5CDD505-2E9C-101B-9397-08002B2CF9AE}" pid="3" name="_dlc_DocIdItemGuid">
    <vt:lpwstr>abad2051-30e8-4608-bdde-f9bdd2728da4</vt:lpwstr>
  </property>
</Properties>
</file>